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1.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4.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20.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21.xml" ContentType="application/vnd.openxmlformats-officedocument.theme+xml"/>
  <Override PartName="/ppt/media/image55.jpg" ContentType="image/jpg"/>
  <Override PartName="/ppt/media/image61.jpg" ContentType="image/jpg"/>
  <Override PartName="/ppt/media/image64.jpg" ContentType="image/jp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2"/>
    <p:sldMasterId id="2147483665" r:id="rId3"/>
    <p:sldMasterId id="2147483671" r:id="rId4"/>
    <p:sldMasterId id="2147483679" r:id="rId5"/>
    <p:sldMasterId id="2147483687" r:id="rId6"/>
    <p:sldMasterId id="2147483698" r:id="rId7"/>
    <p:sldMasterId id="2147483703" r:id="rId8"/>
    <p:sldMasterId id="2147483722" r:id="rId9"/>
    <p:sldMasterId id="2147483739" r:id="rId10"/>
    <p:sldMasterId id="2147483744" r:id="rId11"/>
    <p:sldMasterId id="2147483762" r:id="rId12"/>
    <p:sldMasterId id="2147483779" r:id="rId13"/>
    <p:sldMasterId id="2147483785" r:id="rId14"/>
    <p:sldMasterId id="2147483805" r:id="rId15"/>
    <p:sldMasterId id="2147483818" r:id="rId16"/>
    <p:sldMasterId id="2147483828" r:id="rId17"/>
    <p:sldMasterId id="2147483835" r:id="rId18"/>
    <p:sldMasterId id="2147483843" r:id="rId19"/>
    <p:sldMasterId id="2147483852" r:id="rId20"/>
    <p:sldMasterId id="2147483859" r:id="rId21"/>
  </p:sldMasterIdLst>
  <p:notesMasterIdLst>
    <p:notesMasterId r:id="rId93"/>
  </p:notesMasterIdLst>
  <p:sldIdLst>
    <p:sldId id="2145708120" r:id="rId22"/>
    <p:sldId id="2145708128" r:id="rId23"/>
    <p:sldId id="2145708129" r:id="rId24"/>
    <p:sldId id="2145708145" r:id="rId25"/>
    <p:sldId id="2145708146" r:id="rId26"/>
    <p:sldId id="2145708147" r:id="rId27"/>
    <p:sldId id="2145708148" r:id="rId28"/>
    <p:sldId id="2145708149" r:id="rId29"/>
    <p:sldId id="2145708150" r:id="rId30"/>
    <p:sldId id="2145708151" r:id="rId31"/>
    <p:sldId id="2145708152" r:id="rId32"/>
    <p:sldId id="2145708130" r:id="rId33"/>
    <p:sldId id="2145708153" r:id="rId34"/>
    <p:sldId id="2145708154" r:id="rId35"/>
    <p:sldId id="2145708155" r:id="rId36"/>
    <p:sldId id="2145708157" r:id="rId37"/>
    <p:sldId id="2145708159" r:id="rId38"/>
    <p:sldId id="2145708160" r:id="rId39"/>
    <p:sldId id="2145708162" r:id="rId40"/>
    <p:sldId id="2145708163" r:id="rId41"/>
    <p:sldId id="2145708164" r:id="rId42"/>
    <p:sldId id="2145708142" r:id="rId43"/>
    <p:sldId id="290" r:id="rId44"/>
    <p:sldId id="291" r:id="rId45"/>
    <p:sldId id="292" r:id="rId46"/>
    <p:sldId id="293" r:id="rId47"/>
    <p:sldId id="294" r:id="rId48"/>
    <p:sldId id="264" r:id="rId49"/>
    <p:sldId id="267" r:id="rId50"/>
    <p:sldId id="297" r:id="rId51"/>
    <p:sldId id="298" r:id="rId52"/>
    <p:sldId id="262" r:id="rId53"/>
    <p:sldId id="289" r:id="rId54"/>
    <p:sldId id="2145708165" r:id="rId55"/>
    <p:sldId id="2040" r:id="rId56"/>
    <p:sldId id="2232" r:id="rId57"/>
    <p:sldId id="2201" r:id="rId58"/>
    <p:sldId id="2202" r:id="rId59"/>
    <p:sldId id="2247" r:id="rId60"/>
    <p:sldId id="2251" r:id="rId61"/>
    <p:sldId id="2252" r:id="rId62"/>
    <p:sldId id="2253" r:id="rId63"/>
    <p:sldId id="2236" r:id="rId64"/>
    <p:sldId id="2221" r:id="rId65"/>
    <p:sldId id="2245" r:id="rId66"/>
    <p:sldId id="2206" r:id="rId67"/>
    <p:sldId id="2237" r:id="rId68"/>
    <p:sldId id="2179" r:id="rId69"/>
    <p:sldId id="2145708132" r:id="rId70"/>
    <p:sldId id="395" r:id="rId71"/>
    <p:sldId id="393" r:id="rId72"/>
    <p:sldId id="396" r:id="rId73"/>
    <p:sldId id="413" r:id="rId74"/>
    <p:sldId id="414" r:id="rId75"/>
    <p:sldId id="415" r:id="rId76"/>
    <p:sldId id="416" r:id="rId77"/>
    <p:sldId id="417" r:id="rId78"/>
    <p:sldId id="419" r:id="rId79"/>
    <p:sldId id="420" r:id="rId80"/>
    <p:sldId id="2145708166" r:id="rId81"/>
    <p:sldId id="322" r:id="rId82"/>
    <p:sldId id="2134809609" r:id="rId83"/>
    <p:sldId id="643" r:id="rId84"/>
    <p:sldId id="639" r:id="rId85"/>
    <p:sldId id="640" r:id="rId86"/>
    <p:sldId id="321" r:id="rId87"/>
    <p:sldId id="295" r:id="rId88"/>
    <p:sldId id="506" r:id="rId89"/>
    <p:sldId id="2145708133" r:id="rId90"/>
    <p:sldId id="2145708134" r:id="rId91"/>
    <p:sldId id="2145708135" r:id="rId92"/>
  </p:sldIdLst>
  <p:sldSz cx="12192000" cy="6858000"/>
  <p:notesSz cx="6858000" cy="9144000"/>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vesting in the UK" id="{1004CB5B-14B5-4932-A009-3F7154D78978}">
          <p14:sldIdLst>
            <p14:sldId id="2145708120"/>
            <p14:sldId id="2145708128"/>
            <p14:sldId id="2145708129"/>
            <p14:sldId id="2145708145"/>
            <p14:sldId id="2145708146"/>
            <p14:sldId id="2145708147"/>
            <p14:sldId id="2145708148"/>
            <p14:sldId id="2145708149"/>
            <p14:sldId id="2145708150"/>
            <p14:sldId id="2145708151"/>
            <p14:sldId id="2145708152"/>
            <p14:sldId id="2145708130"/>
            <p14:sldId id="2145708153"/>
            <p14:sldId id="2145708154"/>
            <p14:sldId id="2145708155"/>
            <p14:sldId id="2145708157"/>
            <p14:sldId id="2145708159"/>
            <p14:sldId id="2145708160"/>
            <p14:sldId id="2145708162"/>
            <p14:sldId id="2145708163"/>
            <p14:sldId id="2145708164"/>
            <p14:sldId id="2145708142"/>
            <p14:sldId id="290"/>
            <p14:sldId id="291"/>
            <p14:sldId id="292"/>
            <p14:sldId id="293"/>
            <p14:sldId id="294"/>
            <p14:sldId id="264"/>
            <p14:sldId id="267"/>
            <p14:sldId id="297"/>
            <p14:sldId id="298"/>
            <p14:sldId id="262"/>
            <p14:sldId id="289"/>
            <p14:sldId id="2145708165"/>
            <p14:sldId id="2040"/>
            <p14:sldId id="2232"/>
            <p14:sldId id="2201"/>
            <p14:sldId id="2202"/>
            <p14:sldId id="2247"/>
            <p14:sldId id="2251"/>
            <p14:sldId id="2252"/>
            <p14:sldId id="2253"/>
            <p14:sldId id="2236"/>
            <p14:sldId id="2221"/>
            <p14:sldId id="2245"/>
            <p14:sldId id="2206"/>
            <p14:sldId id="2237"/>
            <p14:sldId id="2179"/>
            <p14:sldId id="2145708132"/>
            <p14:sldId id="395"/>
            <p14:sldId id="393"/>
            <p14:sldId id="396"/>
            <p14:sldId id="413"/>
            <p14:sldId id="414"/>
            <p14:sldId id="415"/>
            <p14:sldId id="416"/>
            <p14:sldId id="417"/>
            <p14:sldId id="419"/>
            <p14:sldId id="420"/>
            <p14:sldId id="2145708166"/>
            <p14:sldId id="322"/>
            <p14:sldId id="2134809609"/>
            <p14:sldId id="643"/>
            <p14:sldId id="639"/>
            <p14:sldId id="640"/>
            <p14:sldId id="321"/>
            <p14:sldId id="295"/>
            <p14:sldId id="506"/>
            <p14:sldId id="2145708133"/>
            <p14:sldId id="2145708134"/>
            <p14:sldId id="214570813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A75"/>
    <a:srgbClr val="8859E5"/>
    <a:srgbClr val="6600FF"/>
    <a:srgbClr val="4472C4"/>
    <a:srgbClr val="11B1E8"/>
    <a:srgbClr val="00768F"/>
    <a:srgbClr val="D9D3E3"/>
    <a:srgbClr val="E9EBF5"/>
    <a:srgbClr val="CFD5EA"/>
    <a:srgbClr val="B3A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023479-C279-47B7-94B3-7EA48534D851}" v="8" dt="2024-04-12T11:39:19.7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660"/>
  </p:normalViewPr>
  <p:slideViewPr>
    <p:cSldViewPr snapToGrid="0">
      <p:cViewPr varScale="1">
        <p:scale>
          <a:sx n="67" d="100"/>
          <a:sy n="67" d="100"/>
        </p:scale>
        <p:origin x="77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0.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5.xml"/><Relationship Id="rId11" Type="http://schemas.openxmlformats.org/officeDocument/2006/relationships/slideMaster" Target="slideMasters/slideMaster10.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4.xml"/><Relationship Id="rId90" Type="http://schemas.openxmlformats.org/officeDocument/2006/relationships/slide" Target="slides/slide69.xml"/><Relationship Id="rId95" Type="http://schemas.openxmlformats.org/officeDocument/2006/relationships/viewProps" Target="viewProp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9.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Master" Target="slideMasters/slideMaster14.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9.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3" Type="http://schemas.openxmlformats.org/officeDocument/2006/relationships/slideMaster" Target="slideMasters/slideMaster12.xml"/><Relationship Id="rId18" Type="http://schemas.openxmlformats.org/officeDocument/2006/relationships/slideMaster" Target="slideMasters/slideMaster17.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tableStyles" Target="tableStyles.xml"/><Relationship Id="rId7" Type="http://schemas.openxmlformats.org/officeDocument/2006/relationships/slideMaster" Target="slideMasters/slideMaster6.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1.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8.xml"/><Relationship Id="rId14" Type="http://schemas.openxmlformats.org/officeDocument/2006/relationships/slideMaster" Target="slideMasters/slideMaster13.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7.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notesMaster" Target="notesMasters/notesMaster1.xml"/><Relationship Id="rId98"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0E16E7-45A4-41A5-B0CF-8360AE2F572E}" type="datetimeFigureOut">
              <a:rPr lang="pl-PL" smtClean="0"/>
              <a:t>12.04.2024</a:t>
            </a:fld>
            <a:endParaRPr lang="pl-P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l-P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4EC981-1477-46C6-9E2A-44F6BE408DFA}" type="slidenum">
              <a:rPr lang="pl-PL" smtClean="0"/>
              <a:t>‹#›</a:t>
            </a:fld>
            <a:endParaRPr lang="pl-PL"/>
          </a:p>
        </p:txBody>
      </p:sp>
    </p:spTree>
    <p:extLst>
      <p:ext uri="{BB962C8B-B14F-4D97-AF65-F5344CB8AC3E}">
        <p14:creationId xmlns:p14="http://schemas.microsoft.com/office/powerpoint/2010/main" val="3190142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2941296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42875" y="768350"/>
            <a:ext cx="6818313" cy="3836988"/>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37346999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42875" y="768350"/>
            <a:ext cx="6818313" cy="3836988"/>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400097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dirty="0"/>
          </a:p>
        </p:txBody>
      </p:sp>
    </p:spTree>
    <p:extLst>
      <p:ext uri="{BB962C8B-B14F-4D97-AF65-F5344CB8AC3E}">
        <p14:creationId xmlns:p14="http://schemas.microsoft.com/office/powerpoint/2010/main" val="408999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650505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8872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3190090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3442784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446073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2680871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2763827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325242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3631478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381000" y="685800"/>
            <a:ext cx="6096000" cy="3429000"/>
          </a:xfrm>
        </p:spPr>
      </p:sp>
      <p:sp>
        <p:nvSpPr>
          <p:cNvPr id="3" name="Symbol zastępczy notatek 2"/>
          <p:cNvSpPr>
            <a:spLocks noGrp="1"/>
          </p:cNvSpPr>
          <p:nvPr>
            <p:ph type="body" idx="1"/>
          </p:nvPr>
        </p:nvSpPr>
        <p:spPr/>
        <p:txBody>
          <a:bodyPr/>
          <a:lstStyle/>
          <a:p>
            <a:endParaRPr lang="pl-PL"/>
          </a:p>
        </p:txBody>
      </p:sp>
    </p:spTree>
    <p:extLst>
      <p:ext uri="{BB962C8B-B14F-4D97-AF65-F5344CB8AC3E}">
        <p14:creationId xmlns:p14="http://schemas.microsoft.com/office/powerpoint/2010/main" val="18565389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13.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13.xml"/><Relationship Id="rId5" Type="http://schemas.openxmlformats.org/officeDocument/2006/relationships/image" Target="../media/image24.emf"/><Relationship Id="rId4" Type="http://schemas.openxmlformats.org/officeDocument/2006/relationships/image" Target="../media/image22.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1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6.xml"/><Relationship Id="rId4" Type="http://schemas.openxmlformats.org/officeDocument/2006/relationships/image" Target="../media/image36.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5.xml"/><Relationship Id="rId7" Type="http://schemas.openxmlformats.org/officeDocument/2006/relationships/slideMaster" Target="../slideMasters/slideMaster1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11.xml"/><Relationship Id="rId7" Type="http://schemas.openxmlformats.org/officeDocument/2006/relationships/slideMaster" Target="../slideMasters/slideMaster1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40.jpg"/><Relationship Id="rId4" Type="http://schemas.openxmlformats.org/officeDocument/2006/relationships/tags" Target="../tags/tag18.xml"/><Relationship Id="rId9"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25.xml"/><Relationship Id="rId7" Type="http://schemas.openxmlformats.org/officeDocument/2006/relationships/slideMaster" Target="../slideMasters/slideMaster17.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tags" Target="../tags/tag31.xml"/><Relationship Id="rId7" Type="http://schemas.openxmlformats.org/officeDocument/2006/relationships/slideMaster" Target="../slideMasters/slideMaster17.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7.xml"/><Relationship Id="rId5" Type="http://schemas.openxmlformats.org/officeDocument/2006/relationships/tags" Target="../tags/tag39.xml"/><Relationship Id="rId4" Type="http://schemas.openxmlformats.org/officeDocument/2006/relationships/tags" Target="../tags/tag38.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7.xml"/><Relationship Id="rId5" Type="http://schemas.openxmlformats.org/officeDocument/2006/relationships/tags" Target="../tags/tag44.xml"/><Relationship Id="rId4" Type="http://schemas.openxmlformats.org/officeDocument/2006/relationships/tags" Target="../tags/tag4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6.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8.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xml"/><Relationship Id="rId1" Type="http://schemas.openxmlformats.org/officeDocument/2006/relationships/tags" Target="../tags/tag49.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2.xml"/><Relationship Id="rId1" Type="http://schemas.openxmlformats.org/officeDocument/2006/relationships/tags" Target="../tags/tag51.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4.xml"/><Relationship Id="rId1" Type="http://schemas.openxmlformats.org/officeDocument/2006/relationships/tags" Target="../tags/tag5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emf"/><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mediary patter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A4624-3BD1-4B08-B4B7-E81E75246994}"/>
              </a:ext>
            </a:extLst>
          </p:cNvPr>
          <p:cNvSpPr>
            <a:spLocks noGrp="1"/>
          </p:cNvSpPr>
          <p:nvPr>
            <p:ph type="title"/>
          </p:nvPr>
        </p:nvSpPr>
        <p:spPr>
          <a:xfrm>
            <a:off x="594000" y="2412000"/>
            <a:ext cx="3960000" cy="1440000"/>
          </a:xfrm>
        </p:spPr>
        <p:txBody>
          <a:body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291DB89-BFC9-4D18-B2AB-A101A7B60A0C}"/>
              </a:ext>
            </a:extLst>
          </p:cNvPr>
          <p:cNvSpPr>
            <a:spLocks noGrp="1"/>
          </p:cNvSpPr>
          <p:nvPr>
            <p:ph type="ftr" sz="quarter" idx="10"/>
          </p:nvPr>
        </p:nvSpPr>
        <p:spPr>
          <a:xfrm>
            <a:off x="594000" y="6264000"/>
            <a:ext cx="3960000" cy="594000"/>
          </a:xfrm>
        </p:spPr>
        <p:txBody>
          <a:bodyPr/>
          <a:lstStyle>
            <a:lvl1pPr>
              <a:defRPr>
                <a:solidFill>
                  <a:schemeClr val="bg1"/>
                </a:solidFill>
              </a:defRPr>
            </a:lvl1pPr>
          </a:lstStyle>
          <a:p>
            <a:r>
              <a:rPr lang="en-GB" dirty="0"/>
              <a:t>CMS example slides | February 2024</a:t>
            </a:r>
            <a:endParaRPr lang="de-DE" dirty="0"/>
          </a:p>
        </p:txBody>
      </p:sp>
      <p:sp>
        <p:nvSpPr>
          <p:cNvPr id="6" name="Text Placeholder 5">
            <a:extLst>
              <a:ext uri="{FF2B5EF4-FFF2-40B4-BE49-F238E27FC236}">
                <a16:creationId xmlns:a16="http://schemas.microsoft.com/office/drawing/2014/main" id="{DA2BE35B-C994-4209-BBA2-1DB725528453}"/>
              </a:ext>
            </a:extLst>
          </p:cNvPr>
          <p:cNvSpPr>
            <a:spLocks noGrp="1"/>
          </p:cNvSpPr>
          <p:nvPr>
            <p:ph type="body" sz="quarter" idx="12"/>
          </p:nvPr>
        </p:nvSpPr>
        <p:spPr>
          <a:xfrm>
            <a:off x="594000" y="4212000"/>
            <a:ext cx="3960000" cy="900000"/>
          </a:xfrm>
        </p:spPr>
        <p:txBody>
          <a:bodyPr/>
          <a:lstStyle/>
          <a:p>
            <a:pPr lvl="0"/>
            <a:r>
              <a:rPr lang="en-US" dirty="0"/>
              <a:t>Click to edit Master text styles</a:t>
            </a:r>
          </a:p>
        </p:txBody>
      </p:sp>
      <p:sp>
        <p:nvSpPr>
          <p:cNvPr id="5" name="Date Placeholder 2">
            <a:extLst>
              <a:ext uri="{FF2B5EF4-FFF2-40B4-BE49-F238E27FC236}">
                <a16:creationId xmlns:a16="http://schemas.microsoft.com/office/drawing/2014/main" id="{BDCECBF8-E264-4D30-AB20-A4EF420686FF}"/>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spTree>
    <p:extLst>
      <p:ext uri="{BB962C8B-B14F-4D97-AF65-F5344CB8AC3E}">
        <p14:creationId xmlns:p14="http://schemas.microsoft.com/office/powerpoint/2010/main" val="1947424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hart slide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Pentagon 8">
            <a:extLst>
              <a:ext uri="{FF2B5EF4-FFF2-40B4-BE49-F238E27FC236}">
                <a16:creationId xmlns:a16="http://schemas.microsoft.com/office/drawing/2014/main" id="{BD2A5EA0-0011-3349-A308-4FED6E2E22E0}"/>
              </a:ext>
            </a:extLst>
          </p:cNvPr>
          <p:cNvSpPr/>
          <p:nvPr userDrawn="1"/>
        </p:nvSpPr>
        <p:spPr>
          <a:xfrm>
            <a:off x="6595966" y="2532819"/>
            <a:ext cx="5060702" cy="2675973"/>
          </a:xfrm>
          <a:prstGeom prst="homePlate">
            <a:avLst/>
          </a:prstGeom>
          <a:solidFill>
            <a:srgbClr val="1ED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entagon 9">
            <a:extLst>
              <a:ext uri="{FF2B5EF4-FFF2-40B4-BE49-F238E27FC236}">
                <a16:creationId xmlns:a16="http://schemas.microsoft.com/office/drawing/2014/main" id="{3F678318-0237-704A-A49F-CC14CA53B234}"/>
              </a:ext>
            </a:extLst>
          </p:cNvPr>
          <p:cNvSpPr/>
          <p:nvPr userDrawn="1"/>
        </p:nvSpPr>
        <p:spPr>
          <a:xfrm>
            <a:off x="3138391" y="2532819"/>
            <a:ext cx="5066180" cy="2675973"/>
          </a:xfrm>
          <a:prstGeom prst="homePlate">
            <a:avLst/>
          </a:prstGeom>
          <a:solidFill>
            <a:srgbClr val="5A6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entagon 10">
            <a:extLst>
              <a:ext uri="{FF2B5EF4-FFF2-40B4-BE49-F238E27FC236}">
                <a16:creationId xmlns:a16="http://schemas.microsoft.com/office/drawing/2014/main" id="{32F540AB-C0E1-F64B-98D1-F49E43307712}"/>
              </a:ext>
            </a:extLst>
          </p:cNvPr>
          <p:cNvSpPr/>
          <p:nvPr userDrawn="1"/>
        </p:nvSpPr>
        <p:spPr>
          <a:xfrm>
            <a:off x="947738" y="2532819"/>
            <a:ext cx="3903315" cy="2675973"/>
          </a:xfrm>
          <a:prstGeom prst="homePlat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80B1528-A241-CB4D-AE2B-880870189DEB}"/>
              </a:ext>
            </a:extLst>
          </p:cNvPr>
          <p:cNvSpPr txBox="1"/>
          <p:nvPr userDrawn="1"/>
        </p:nvSpPr>
        <p:spPr>
          <a:xfrm>
            <a:off x="1179618"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1.</a:t>
            </a:r>
          </a:p>
        </p:txBody>
      </p:sp>
      <p:sp>
        <p:nvSpPr>
          <p:cNvPr id="13" name="TextBox 12">
            <a:extLst>
              <a:ext uri="{FF2B5EF4-FFF2-40B4-BE49-F238E27FC236}">
                <a16:creationId xmlns:a16="http://schemas.microsoft.com/office/drawing/2014/main" id="{6CAE8636-D48B-0647-BB7C-11BD34D48B26}"/>
              </a:ext>
            </a:extLst>
          </p:cNvPr>
          <p:cNvSpPr txBox="1"/>
          <p:nvPr userDrawn="1"/>
        </p:nvSpPr>
        <p:spPr>
          <a:xfrm>
            <a:off x="5012063" y="3017414"/>
            <a:ext cx="681650" cy="541174"/>
          </a:xfrm>
          <a:prstGeom prst="rect">
            <a:avLst/>
          </a:prstGeom>
          <a:noFill/>
        </p:spPr>
        <p:txBody>
          <a:bodyPr wrap="square" rtlCol="0">
            <a:spAutoFit/>
          </a:bodyPr>
          <a:lstStyle/>
          <a:p>
            <a:pPr>
              <a:lnSpc>
                <a:spcPts val="3500"/>
              </a:lnSpc>
            </a:pPr>
            <a:r>
              <a:rPr lang="en-GB" sz="3500" b="1">
                <a:solidFill>
                  <a:srgbClr val="FFFFFF"/>
                </a:solidFill>
                <a:latin typeface="Lato Black" panose="020F0502020204030203" pitchFamily="34" charset="77"/>
              </a:rPr>
              <a:t>2.</a:t>
            </a:r>
          </a:p>
        </p:txBody>
      </p:sp>
      <p:sp>
        <p:nvSpPr>
          <p:cNvPr id="14" name="TextBox 13">
            <a:extLst>
              <a:ext uri="{FF2B5EF4-FFF2-40B4-BE49-F238E27FC236}">
                <a16:creationId xmlns:a16="http://schemas.microsoft.com/office/drawing/2014/main" id="{D12FD69E-AD0B-F547-9D50-6EF3F8C18066}"/>
              </a:ext>
            </a:extLst>
          </p:cNvPr>
          <p:cNvSpPr txBox="1"/>
          <p:nvPr userDrawn="1"/>
        </p:nvSpPr>
        <p:spPr>
          <a:xfrm>
            <a:off x="8353442"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3.</a:t>
            </a:r>
          </a:p>
        </p:txBody>
      </p:sp>
      <p:sp>
        <p:nvSpPr>
          <p:cNvPr id="15" name="Text Placeholder 20">
            <a:extLst>
              <a:ext uri="{FF2B5EF4-FFF2-40B4-BE49-F238E27FC236}">
                <a16:creationId xmlns:a16="http://schemas.microsoft.com/office/drawing/2014/main" id="{EBDBA271-2CE3-984A-BAA9-1F097AF1EE12}"/>
              </a:ext>
            </a:extLst>
          </p:cNvPr>
          <p:cNvSpPr>
            <a:spLocks noGrp="1"/>
          </p:cNvSpPr>
          <p:nvPr>
            <p:ph type="body" sz="quarter" idx="10" hasCustomPrompt="1"/>
          </p:nvPr>
        </p:nvSpPr>
        <p:spPr>
          <a:xfrm>
            <a:off x="1310861" y="3558588"/>
            <a:ext cx="2754312" cy="1356313"/>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6" name="Text Placeholder 20">
            <a:extLst>
              <a:ext uri="{FF2B5EF4-FFF2-40B4-BE49-F238E27FC236}">
                <a16:creationId xmlns:a16="http://schemas.microsoft.com/office/drawing/2014/main" id="{D0A3A6BD-8857-F94A-9BA3-AA660D5C94EF}"/>
              </a:ext>
            </a:extLst>
          </p:cNvPr>
          <p:cNvSpPr>
            <a:spLocks noGrp="1"/>
          </p:cNvSpPr>
          <p:nvPr>
            <p:ph type="body" sz="quarter" idx="11" hasCustomPrompt="1"/>
          </p:nvPr>
        </p:nvSpPr>
        <p:spPr>
          <a:xfrm>
            <a:off x="5108161" y="3558589"/>
            <a:ext cx="2566920" cy="1356312"/>
          </a:xfrm>
          <a:prstGeom prst="rect">
            <a:avLst/>
          </a:prstGeom>
        </p:spPr>
        <p:txBody>
          <a:bodyPr lIns="0" tIns="0" rIns="0" bIns="0"/>
          <a:lstStyle>
            <a:lvl1pPr marL="0" indent="0">
              <a:lnSpc>
                <a:spcPts val="2000"/>
              </a:lnSpc>
              <a:spcBef>
                <a:spcPts val="0"/>
              </a:spcBef>
              <a:buNone/>
              <a:defRPr sz="16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7" name="Text Placeholder 20">
            <a:extLst>
              <a:ext uri="{FF2B5EF4-FFF2-40B4-BE49-F238E27FC236}">
                <a16:creationId xmlns:a16="http://schemas.microsoft.com/office/drawing/2014/main" id="{379250CF-F8E6-4348-9E9C-C193499BF302}"/>
              </a:ext>
            </a:extLst>
          </p:cNvPr>
          <p:cNvSpPr>
            <a:spLocks noGrp="1"/>
          </p:cNvSpPr>
          <p:nvPr>
            <p:ph type="body" sz="quarter" idx="12" hasCustomPrompt="1"/>
          </p:nvPr>
        </p:nvSpPr>
        <p:spPr>
          <a:xfrm>
            <a:off x="8460961" y="3558589"/>
            <a:ext cx="2551421" cy="1356312"/>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28928800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Main Title Slide: DI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4849DE-CF94-5A4E-805A-A5529AB357CA}"/>
              </a:ext>
            </a:extLst>
          </p:cNvPr>
          <p:cNvGrpSpPr/>
          <p:nvPr userDrawn="1"/>
        </p:nvGrpSpPr>
        <p:grpSpPr>
          <a:xfrm>
            <a:off x="301827" y="267632"/>
            <a:ext cx="11588347" cy="6322741"/>
            <a:chOff x="301826" y="267630"/>
            <a:chExt cx="11588347" cy="6322741"/>
          </a:xfrm>
        </p:grpSpPr>
        <p:pic>
          <p:nvPicPr>
            <p:cNvPr id="15" name="Picture 14" descr="A picture containing animal, sitting, cake, table&#10;&#10;Description automatically generated">
              <a:extLst>
                <a:ext uri="{FF2B5EF4-FFF2-40B4-BE49-F238E27FC236}">
                  <a16:creationId xmlns:a16="http://schemas.microsoft.com/office/drawing/2014/main" id="{229CC392-7C06-7A47-820B-4D61A41EFA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47"/>
            <a:stretch/>
          </p:blipFill>
          <p:spPr>
            <a:xfrm>
              <a:off x="301826" y="267631"/>
              <a:ext cx="10320196" cy="6322740"/>
            </a:xfrm>
            <a:prstGeom prst="rect">
              <a:avLst/>
            </a:prstGeom>
          </p:spPr>
        </p:pic>
        <p:pic>
          <p:nvPicPr>
            <p:cNvPr id="17" name="Picture 16">
              <a:extLst>
                <a:ext uri="{FF2B5EF4-FFF2-40B4-BE49-F238E27FC236}">
                  <a16:creationId xmlns:a16="http://schemas.microsoft.com/office/drawing/2014/main" id="{82E7FBCF-7BB8-4846-B869-6FE7CCE20C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051987" y="2752183"/>
              <a:ext cx="6322739" cy="1353633"/>
            </a:xfrm>
            <a:prstGeom prst="rect">
              <a:avLst/>
            </a:prstGeom>
          </p:spPr>
        </p:pic>
      </p:grpSp>
      <p:sp>
        <p:nvSpPr>
          <p:cNvPr id="3074" name="Rectangle 2"/>
          <p:cNvSpPr>
            <a:spLocks noGrp="1" noChangeArrowheads="1"/>
          </p:cNvSpPr>
          <p:nvPr userDrawn="1">
            <p:ph type="ctrTitle" hasCustomPrompt="1"/>
          </p:nvPr>
        </p:nvSpPr>
        <p:spPr>
          <a:xfrm>
            <a:off x="607167" y="566775"/>
            <a:ext cx="7934245" cy="717984"/>
          </a:xfrm>
        </p:spPr>
        <p:txBody>
          <a:bodyPr tIns="0" bIns="0" anchor="t" anchorCtr="0"/>
          <a:lstStyle>
            <a:lvl1pPr>
              <a:defRPr sz="2400">
                <a:solidFill>
                  <a:schemeClr val="bg1"/>
                </a:solidFill>
              </a:defRPr>
            </a:lvl1pPr>
          </a:lstStyle>
          <a:p>
            <a:pPr lvl="0"/>
            <a:r>
              <a:rPr lang="en-GB" altLang="en-US" noProof="0"/>
              <a:t>Title</a:t>
            </a:r>
          </a:p>
        </p:txBody>
      </p:sp>
      <p:sp>
        <p:nvSpPr>
          <p:cNvPr id="3075" name="Rectangle 3"/>
          <p:cNvSpPr>
            <a:spLocks noGrp="1" noChangeArrowheads="1"/>
          </p:cNvSpPr>
          <p:nvPr userDrawn="1">
            <p:ph type="subTitle" idx="1"/>
          </p:nvPr>
        </p:nvSpPr>
        <p:spPr>
          <a:xfrm>
            <a:off x="607167" y="1569602"/>
            <a:ext cx="7934245" cy="1579703"/>
          </a:xfrm>
        </p:spPr>
        <p:txBody>
          <a:bodyPr tIns="0" bIns="0"/>
          <a:lstStyle>
            <a:lvl1pPr>
              <a:defRPr sz="2100" b="0">
                <a:solidFill>
                  <a:schemeClr val="bg1"/>
                </a:solidFill>
              </a:defRPr>
            </a:lvl1pPr>
          </a:lstStyle>
          <a:p>
            <a:pPr lvl="0"/>
            <a:r>
              <a:rPr lang="en-GB" altLang="en-US" noProof="0"/>
              <a:t>Click to edit Master subtitle style</a:t>
            </a:r>
          </a:p>
        </p:txBody>
      </p:sp>
      <p:pic>
        <p:nvPicPr>
          <p:cNvPr id="16" name="Picture 1">
            <a:extLst>
              <a:ext uri="{FF2B5EF4-FFF2-40B4-BE49-F238E27FC236}">
                <a16:creationId xmlns:a16="http://schemas.microsoft.com/office/drawing/2014/main" id="{D6F530CD-0E8F-D44C-A75C-1BF95BC58EA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auto">
          <a:xfrm>
            <a:off x="7850189" y="4938714"/>
            <a:ext cx="2408239" cy="13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5" descr="C:\Users\webbek\AppData\Local\Microsoft\Windows\Temporary Internet Files\Content.IE5\G3BK4NT2\DfIT_WHITE_SML_AW.png">
            <a:extLst>
              <a:ext uri="{FF2B5EF4-FFF2-40B4-BE49-F238E27FC236}">
                <a16:creationId xmlns:a16="http://schemas.microsoft.com/office/drawing/2014/main" id="{6C67E215-25FA-5A4C-8866-EF43FC1667DD}"/>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94675" y="5427766"/>
            <a:ext cx="1873251" cy="88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a:extLst>
              <a:ext uri="{FF2B5EF4-FFF2-40B4-BE49-F238E27FC236}">
                <a16:creationId xmlns:a16="http://schemas.microsoft.com/office/drawing/2014/main" id="{5776901A-391C-EC46-95E1-83DA01EE200B}"/>
              </a:ext>
            </a:extLst>
          </p:cNvPr>
          <p:cNvSpPr>
            <a:spLocks noGrp="1"/>
          </p:cNvSpPr>
          <p:nvPr>
            <p:ph type="body" sz="quarter" idx="10"/>
          </p:nvPr>
        </p:nvSpPr>
        <p:spPr>
          <a:xfrm>
            <a:off x="607165" y="4479567"/>
            <a:ext cx="4921251" cy="554038"/>
          </a:xfrm>
        </p:spPr>
        <p:txBody>
          <a:bodyPr/>
          <a:lstStyle>
            <a:lvl1pPr>
              <a:defRPr sz="1200" b="0">
                <a:solidFill>
                  <a:schemeClr val="bg1"/>
                </a:solidFill>
              </a:defRPr>
            </a:lvl1pPr>
            <a:lvl2pPr>
              <a:defRPr sz="1200" b="0"/>
            </a:lvl2pPr>
            <a:lvl3pPr>
              <a:defRPr sz="1200" b="0"/>
            </a:lvl3pPr>
            <a:lvl4pPr>
              <a:defRPr sz="1200" b="0"/>
            </a:lvl4pPr>
            <a:lvl5pPr>
              <a:defRPr sz="1200" b="0"/>
            </a:lvl5pPr>
          </a:lstStyle>
          <a:p>
            <a:pPr lvl="0"/>
            <a:r>
              <a:rPr lang="en-GB"/>
              <a:t>Click to edit Master text styles</a:t>
            </a:r>
          </a:p>
        </p:txBody>
      </p:sp>
    </p:spTree>
    <p:extLst>
      <p:ext uri="{BB962C8B-B14F-4D97-AF65-F5344CB8AC3E}">
        <p14:creationId xmlns:p14="http://schemas.microsoft.com/office/powerpoint/2010/main" val="22118018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Main Title Slide: HM Gov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4849DE-CF94-5A4E-805A-A5529AB357CA}"/>
              </a:ext>
            </a:extLst>
          </p:cNvPr>
          <p:cNvGrpSpPr/>
          <p:nvPr userDrawn="1"/>
        </p:nvGrpSpPr>
        <p:grpSpPr>
          <a:xfrm>
            <a:off x="301827" y="267632"/>
            <a:ext cx="11588347" cy="6322741"/>
            <a:chOff x="301826" y="267630"/>
            <a:chExt cx="11588347" cy="6322741"/>
          </a:xfrm>
        </p:grpSpPr>
        <p:pic>
          <p:nvPicPr>
            <p:cNvPr id="15" name="Picture 14" descr="A picture containing animal, sitting, cake, table&#10;&#10;Description automatically generated">
              <a:extLst>
                <a:ext uri="{FF2B5EF4-FFF2-40B4-BE49-F238E27FC236}">
                  <a16:creationId xmlns:a16="http://schemas.microsoft.com/office/drawing/2014/main" id="{229CC392-7C06-7A47-820B-4D61A41EFA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47"/>
            <a:stretch/>
          </p:blipFill>
          <p:spPr>
            <a:xfrm>
              <a:off x="301826" y="267631"/>
              <a:ext cx="10320196" cy="6322740"/>
            </a:xfrm>
            <a:prstGeom prst="rect">
              <a:avLst/>
            </a:prstGeom>
          </p:spPr>
        </p:pic>
        <p:pic>
          <p:nvPicPr>
            <p:cNvPr id="17" name="Picture 16">
              <a:extLst>
                <a:ext uri="{FF2B5EF4-FFF2-40B4-BE49-F238E27FC236}">
                  <a16:creationId xmlns:a16="http://schemas.microsoft.com/office/drawing/2014/main" id="{82E7FBCF-7BB8-4846-B869-6FE7CCE20C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051987" y="2752183"/>
              <a:ext cx="6322739" cy="1353633"/>
            </a:xfrm>
            <a:prstGeom prst="rect">
              <a:avLst/>
            </a:prstGeom>
          </p:spPr>
        </p:pic>
      </p:grpSp>
      <p:sp>
        <p:nvSpPr>
          <p:cNvPr id="3074" name="Rectangle 2"/>
          <p:cNvSpPr>
            <a:spLocks noGrp="1" noChangeArrowheads="1"/>
          </p:cNvSpPr>
          <p:nvPr userDrawn="1">
            <p:ph type="ctrTitle" hasCustomPrompt="1"/>
          </p:nvPr>
        </p:nvSpPr>
        <p:spPr>
          <a:xfrm>
            <a:off x="607167" y="566775"/>
            <a:ext cx="7934245" cy="717984"/>
          </a:xfrm>
        </p:spPr>
        <p:txBody>
          <a:bodyPr tIns="0" bIns="0" anchor="t" anchorCtr="0"/>
          <a:lstStyle>
            <a:lvl1pPr>
              <a:defRPr sz="2400">
                <a:solidFill>
                  <a:schemeClr val="bg1"/>
                </a:solidFill>
              </a:defRPr>
            </a:lvl1pPr>
          </a:lstStyle>
          <a:p>
            <a:pPr lvl="0"/>
            <a:r>
              <a:rPr lang="en-GB" altLang="en-US" noProof="0"/>
              <a:t>Title</a:t>
            </a:r>
          </a:p>
        </p:txBody>
      </p:sp>
      <p:sp>
        <p:nvSpPr>
          <p:cNvPr id="3075" name="Rectangle 3"/>
          <p:cNvSpPr>
            <a:spLocks noGrp="1" noChangeArrowheads="1"/>
          </p:cNvSpPr>
          <p:nvPr userDrawn="1">
            <p:ph type="subTitle" idx="1"/>
          </p:nvPr>
        </p:nvSpPr>
        <p:spPr>
          <a:xfrm>
            <a:off x="607167" y="1569602"/>
            <a:ext cx="7934245" cy="1579703"/>
          </a:xfrm>
        </p:spPr>
        <p:txBody>
          <a:bodyPr tIns="0" bIns="0"/>
          <a:lstStyle>
            <a:lvl1pPr>
              <a:defRPr sz="2100" b="0">
                <a:solidFill>
                  <a:schemeClr val="bg1"/>
                </a:solidFill>
              </a:defRPr>
            </a:lvl1pPr>
          </a:lstStyle>
          <a:p>
            <a:pPr lvl="0"/>
            <a:r>
              <a:rPr lang="en-GB" altLang="en-US" noProof="0"/>
              <a:t>Click to edit Master subtitle style</a:t>
            </a:r>
          </a:p>
        </p:txBody>
      </p:sp>
      <p:pic>
        <p:nvPicPr>
          <p:cNvPr id="16" name="Picture 1">
            <a:extLst>
              <a:ext uri="{FF2B5EF4-FFF2-40B4-BE49-F238E27FC236}">
                <a16:creationId xmlns:a16="http://schemas.microsoft.com/office/drawing/2014/main" id="{D6F530CD-0E8F-D44C-A75C-1BF95BC58EA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auto">
          <a:xfrm>
            <a:off x="7850189" y="4938714"/>
            <a:ext cx="2408239" cy="13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a:extLst>
              <a:ext uri="{FF2B5EF4-FFF2-40B4-BE49-F238E27FC236}">
                <a16:creationId xmlns:a16="http://schemas.microsoft.com/office/drawing/2014/main" id="{5776901A-391C-EC46-95E1-83DA01EE200B}"/>
              </a:ext>
            </a:extLst>
          </p:cNvPr>
          <p:cNvSpPr>
            <a:spLocks noGrp="1"/>
          </p:cNvSpPr>
          <p:nvPr>
            <p:ph type="body" sz="quarter" idx="10"/>
          </p:nvPr>
        </p:nvSpPr>
        <p:spPr>
          <a:xfrm>
            <a:off x="607165" y="4479567"/>
            <a:ext cx="4921251" cy="554038"/>
          </a:xfrm>
        </p:spPr>
        <p:txBody>
          <a:bodyPr/>
          <a:lstStyle>
            <a:lvl1pPr>
              <a:defRPr sz="1200" b="0">
                <a:solidFill>
                  <a:schemeClr val="bg1"/>
                </a:solidFill>
              </a:defRPr>
            </a:lvl1pPr>
            <a:lvl2pPr>
              <a:defRPr sz="1200" b="0"/>
            </a:lvl2pPr>
            <a:lvl3pPr>
              <a:defRPr sz="1200" b="0"/>
            </a:lvl3pPr>
            <a:lvl4pPr>
              <a:defRPr sz="1200" b="0"/>
            </a:lvl4pPr>
            <a:lvl5pPr>
              <a:defRPr sz="1200" b="0"/>
            </a:lvl5pPr>
          </a:lstStyle>
          <a:p>
            <a:pPr lvl="0"/>
            <a:r>
              <a:rPr lang="en-GB"/>
              <a:t>Click to edit Master text styles</a:t>
            </a:r>
          </a:p>
        </p:txBody>
      </p:sp>
      <p:pic>
        <p:nvPicPr>
          <p:cNvPr id="5" name="Picture 4">
            <a:extLst>
              <a:ext uri="{FF2B5EF4-FFF2-40B4-BE49-F238E27FC236}">
                <a16:creationId xmlns:a16="http://schemas.microsoft.com/office/drawing/2014/main" id="{411A716F-3A38-944C-AD33-AA890848F775}"/>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94675" y="5590176"/>
            <a:ext cx="2070100" cy="723900"/>
          </a:xfrm>
          <a:prstGeom prst="rect">
            <a:avLst/>
          </a:prstGeom>
        </p:spPr>
      </p:pic>
    </p:spTree>
    <p:extLst>
      <p:ext uri="{BB962C8B-B14F-4D97-AF65-F5344CB8AC3E}">
        <p14:creationId xmlns:p14="http://schemas.microsoft.com/office/powerpoint/2010/main" val="419216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0673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fld id="{B0A4257A-F72D-455C-AEBB-5DF77C1C7340}" type="slidenum">
              <a:rPr lang="en-GB" smtClean="0"/>
              <a:t>‹#›</a:t>
            </a:fld>
            <a:endParaRPr lang="en-GB"/>
          </a:p>
        </p:txBody>
      </p:sp>
      <p:sp>
        <p:nvSpPr>
          <p:cNvPr id="4" name="Footer Placeholder 3">
            <a:extLst>
              <a:ext uri="{FF2B5EF4-FFF2-40B4-BE49-F238E27FC236}">
                <a16:creationId xmlns:a16="http://schemas.microsoft.com/office/drawing/2014/main" id="{7633C1FE-1789-4F47-B1D3-9DE233176A22}"/>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750" b="0">
                <a:solidFill>
                  <a:srgbClr val="1E1348"/>
                </a:solidFill>
              </a:rPr>
              <a:t>To edit click View&gt;Header and Footer</a:t>
            </a:r>
          </a:p>
        </p:txBody>
      </p:sp>
    </p:spTree>
    <p:extLst>
      <p:ext uri="{BB962C8B-B14F-4D97-AF65-F5344CB8AC3E}">
        <p14:creationId xmlns:p14="http://schemas.microsoft.com/office/powerpoint/2010/main" val="13370486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489600" y="334800"/>
            <a:ext cx="11203200" cy="6046528"/>
          </a:xfrm>
          <a:solidFill>
            <a:srgbClr val="E9E5DC"/>
          </a:solidFill>
        </p:spPr>
        <p:txBody>
          <a:bodyPr/>
          <a:lstStyle/>
          <a:p>
            <a:r>
              <a:rPr lang="en-GB"/>
              <a:t>Click icon to add picture</a:t>
            </a:r>
          </a:p>
        </p:txBody>
      </p:sp>
      <p:sp>
        <p:nvSpPr>
          <p:cNvPr id="2" name="Title 1"/>
          <p:cNvSpPr>
            <a:spLocks noGrp="1"/>
          </p:cNvSpPr>
          <p:nvPr>
            <p:ph type="title"/>
          </p:nvPr>
        </p:nvSpPr>
        <p:spPr>
          <a:xfrm>
            <a:off x="969600" y="1368000"/>
            <a:ext cx="6576000" cy="990000"/>
          </a:xfrm>
        </p:spPr>
        <p:txBody>
          <a:bodyPr anchor="t" anchorCtr="0"/>
          <a:lstStyle>
            <a:lvl1pPr>
              <a:defRPr>
                <a:solidFill>
                  <a:schemeClr val="bg1"/>
                </a:solidFill>
              </a:defRPr>
            </a:lvl1pPr>
          </a:lstStyle>
          <a:p>
            <a:r>
              <a:rPr lang="en-GB"/>
              <a:t>Click to edit Master title style</a:t>
            </a:r>
          </a:p>
        </p:txBody>
      </p:sp>
      <p:sp>
        <p:nvSpPr>
          <p:cNvPr id="7" name="Text Placeholder 6"/>
          <p:cNvSpPr>
            <a:spLocks noGrp="1"/>
          </p:cNvSpPr>
          <p:nvPr>
            <p:ph type="body" sz="quarter" idx="12"/>
          </p:nvPr>
        </p:nvSpPr>
        <p:spPr>
          <a:xfrm>
            <a:off x="969433" y="2487600"/>
            <a:ext cx="6566400" cy="3607200"/>
          </a:xfrm>
        </p:spPr>
        <p:txBody>
          <a:bodyPr/>
          <a:lstStyle>
            <a:lvl1pPr marL="214313" indent="-214313">
              <a:buFont typeface="Arial" panose="020B0604020202020204" pitchFamily="34" charset="0"/>
              <a:buChar char="•"/>
              <a:defRPr sz="1350">
                <a:solidFill>
                  <a:schemeClr val="bg1"/>
                </a:solidFill>
              </a:defRPr>
            </a:lvl1pPr>
            <a:lvl2pPr>
              <a:defRPr>
                <a:solidFill>
                  <a:schemeClr val="bg1"/>
                </a:solidFill>
              </a:defRPr>
            </a:lvl2pPr>
          </a:lstStyle>
          <a:p>
            <a:pPr lvl="0"/>
            <a:r>
              <a:rPr lang="en-GB"/>
              <a:t>Click to edit Master text styles</a:t>
            </a:r>
          </a:p>
        </p:txBody>
      </p:sp>
      <p:sp>
        <p:nvSpPr>
          <p:cNvPr id="4" name="Slide Number Placeholder 3"/>
          <p:cNvSpPr>
            <a:spLocks noGrp="1"/>
          </p:cNvSpPr>
          <p:nvPr>
            <p:ph type="sldNum" sz="quarter" idx="13"/>
          </p:nvPr>
        </p:nvSpPr>
        <p:spPr/>
        <p:txBody>
          <a:bodyPr/>
          <a:lstStyle/>
          <a:p>
            <a:fld id="{6DDE0785-C207-4AB4-9F5B-0D767D51038B}" type="slidenum">
              <a:rPr lang="en-GB" altLang="en-US" smtClean="0"/>
              <a:pPr/>
              <a:t>‹#›</a:t>
            </a:fld>
            <a:endParaRPr lang="en-GB" altLang="en-US"/>
          </a:p>
        </p:txBody>
      </p:sp>
      <p:sp>
        <p:nvSpPr>
          <p:cNvPr id="6" name="Footer Placeholder 3">
            <a:extLst>
              <a:ext uri="{FF2B5EF4-FFF2-40B4-BE49-F238E27FC236}">
                <a16:creationId xmlns:a16="http://schemas.microsoft.com/office/drawing/2014/main" id="{F422488E-592D-F249-94B8-80630B56A8D9}"/>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750" b="0">
                <a:solidFill>
                  <a:srgbClr val="1E1348"/>
                </a:solidFill>
              </a:rPr>
              <a:t>To edit click View&gt;Header and Footer</a:t>
            </a:r>
          </a:p>
        </p:txBody>
      </p:sp>
    </p:spTree>
    <p:extLst>
      <p:ext uri="{BB962C8B-B14F-4D97-AF65-F5344CB8AC3E}">
        <p14:creationId xmlns:p14="http://schemas.microsoft.com/office/powerpoint/2010/main" val="40161157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1_Back P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994EB1-DFC5-A345-B1E8-6F50FF6D5A27}"/>
              </a:ext>
            </a:extLst>
          </p:cNvPr>
          <p:cNvSpPr/>
          <p:nvPr userDrawn="1"/>
        </p:nvSpPr>
        <p:spPr>
          <a:xfrm>
            <a:off x="335281" y="285008"/>
            <a:ext cx="11551921" cy="6287984"/>
          </a:xfrm>
          <a:prstGeom prst="rect">
            <a:avLst/>
          </a:prstGeom>
          <a:solidFill>
            <a:srgbClr val="1E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highlight>
                <a:srgbClr val="1E1348"/>
              </a:highlight>
            </a:endParaRPr>
          </a:p>
        </p:txBody>
      </p:sp>
      <p:pic>
        <p:nvPicPr>
          <p:cNvPr id="4" name="Picture 7" descr="\\op2pdrv02\users$\FlockhaP\Documents\GREATBNI\GREAT\GREAT_&amp;_FLAG_White_RGB_BNI.png">
            <a:extLst>
              <a:ext uri="{FF2B5EF4-FFF2-40B4-BE49-F238E27FC236}">
                <a16:creationId xmlns:a16="http://schemas.microsoft.com/office/drawing/2014/main" id="{842E13EE-CF5B-034C-8480-1E9B4DDF2FB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53871" y="2616200"/>
            <a:ext cx="2914739"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Users\webbek\AppData\Local\Microsoft\Windows\Temporary Internet Files\Content.IE5\G3BK4NT2\DfIT_WHITE_SML_AW.png">
            <a:extLst>
              <a:ext uri="{FF2B5EF4-FFF2-40B4-BE49-F238E27FC236}">
                <a16:creationId xmlns:a16="http://schemas.microsoft.com/office/drawing/2014/main" id="{CFB2C415-2EE3-114A-90FE-B3976A18FC35}"/>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54053" y="635001"/>
            <a:ext cx="228282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60820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994EB1-DFC5-A345-B1E8-6F50FF6D5A27}"/>
              </a:ext>
            </a:extLst>
          </p:cNvPr>
          <p:cNvSpPr/>
          <p:nvPr userDrawn="1"/>
        </p:nvSpPr>
        <p:spPr>
          <a:xfrm>
            <a:off x="335281" y="285008"/>
            <a:ext cx="11551921" cy="6287984"/>
          </a:xfrm>
          <a:prstGeom prst="rect">
            <a:avLst/>
          </a:prstGeom>
          <a:solidFill>
            <a:srgbClr val="1E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highlight>
                <a:srgbClr val="1E1348"/>
              </a:highlight>
            </a:endParaRPr>
          </a:p>
        </p:txBody>
      </p:sp>
      <p:pic>
        <p:nvPicPr>
          <p:cNvPr id="4" name="Picture 7" descr="\\op2pdrv02\users$\FlockhaP\Documents\GREATBNI\GREAT\GREAT_&amp;_FLAG_White_RGB_BNI.png">
            <a:extLst>
              <a:ext uri="{FF2B5EF4-FFF2-40B4-BE49-F238E27FC236}">
                <a16:creationId xmlns:a16="http://schemas.microsoft.com/office/drawing/2014/main" id="{842E13EE-CF5B-034C-8480-1E9B4DDF2FB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53871" y="2616200"/>
            <a:ext cx="2914739"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825E22BA-3091-49E3-AF70-4875631E2F0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79083" y="680551"/>
            <a:ext cx="2070100" cy="723900"/>
          </a:xfrm>
          <a:prstGeom prst="rect">
            <a:avLst/>
          </a:prstGeom>
        </p:spPr>
      </p:pic>
    </p:spTree>
    <p:extLst>
      <p:ext uri="{BB962C8B-B14F-4D97-AF65-F5344CB8AC3E}">
        <p14:creationId xmlns:p14="http://schemas.microsoft.com/office/powerpoint/2010/main" val="24484476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8">
            <a:extLst>
              <a:ext uri="{FF2B5EF4-FFF2-40B4-BE49-F238E27FC236}">
                <a16:creationId xmlns:a16="http://schemas.microsoft.com/office/drawing/2014/main" id="{3E47EE1F-A93C-48A9-9B7D-161402878270}"/>
              </a:ext>
            </a:extLst>
          </p:cNvPr>
          <p:cNvGrpSpPr>
            <a:grpSpLocks/>
          </p:cNvGrpSpPr>
          <p:nvPr/>
        </p:nvGrpSpPr>
        <p:grpSpPr bwMode="auto">
          <a:xfrm>
            <a:off x="0" y="0"/>
            <a:ext cx="12192000" cy="6858000"/>
            <a:chOff x="0" y="0"/>
            <a:chExt cx="5760" cy="4320"/>
          </a:xfrm>
        </p:grpSpPr>
        <p:sp>
          <p:nvSpPr>
            <p:cNvPr id="5" name="Rectangle 26">
              <a:extLst>
                <a:ext uri="{FF2B5EF4-FFF2-40B4-BE49-F238E27FC236}">
                  <a16:creationId xmlns:a16="http://schemas.microsoft.com/office/drawing/2014/main" id="{640D3E12-56E2-4F64-9E76-211BE0091391}"/>
                </a:ext>
              </a:extLst>
            </p:cNvPr>
            <p:cNvSpPr>
              <a:spLocks noChangeArrowheads="1"/>
            </p:cNvSpPr>
            <p:nvPr userDrawn="1"/>
          </p:nvSpPr>
          <p:spPr bwMode="auto">
            <a:xfrm>
              <a:off x="4784" y="164"/>
              <a:ext cx="844" cy="3988"/>
            </a:xfrm>
            <a:prstGeom prst="rect">
              <a:avLst/>
            </a:prstGeom>
            <a:solidFill>
              <a:schemeClr val="bg1"/>
            </a:solidFill>
            <a:ln>
              <a:noFill/>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a:p>
          </p:txBody>
        </p:sp>
        <p:pic>
          <p:nvPicPr>
            <p:cNvPr id="6" name="Picture 25">
              <a:extLst>
                <a:ext uri="{FF2B5EF4-FFF2-40B4-BE49-F238E27FC236}">
                  <a16:creationId xmlns:a16="http://schemas.microsoft.com/office/drawing/2014/main" id="{FC87BE52-C2E7-4EF4-93B4-25E4ACA255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74" name="Rectangle 2"/>
          <p:cNvSpPr>
            <a:spLocks noGrp="1" noChangeArrowheads="1"/>
          </p:cNvSpPr>
          <p:nvPr>
            <p:ph type="ctrTitle"/>
          </p:nvPr>
        </p:nvSpPr>
        <p:spPr>
          <a:xfrm>
            <a:off x="592666" y="4797425"/>
            <a:ext cx="6612467" cy="946150"/>
          </a:xfrm>
        </p:spPr>
        <p:txBody>
          <a:bodyPr tIns="0" bIns="0" anchor="b"/>
          <a:lstStyle>
            <a:lvl1pPr>
              <a:defRPr sz="2200">
                <a:solidFill>
                  <a:schemeClr val="bg1"/>
                </a:solidFill>
              </a:defRPr>
            </a:lvl1pPr>
          </a:lstStyle>
          <a:p>
            <a:pPr lvl="0"/>
            <a:r>
              <a:rPr lang="en-GB" altLang="en-US" noProof="0"/>
              <a:t>Click to edit Master title style</a:t>
            </a:r>
          </a:p>
        </p:txBody>
      </p:sp>
      <p:sp>
        <p:nvSpPr>
          <p:cNvPr id="3075" name="Rectangle 3"/>
          <p:cNvSpPr>
            <a:spLocks noGrp="1" noChangeArrowheads="1"/>
          </p:cNvSpPr>
          <p:nvPr>
            <p:ph type="subTitle" idx="1"/>
          </p:nvPr>
        </p:nvSpPr>
        <p:spPr>
          <a:xfrm>
            <a:off x="592668" y="5778500"/>
            <a:ext cx="6608233" cy="312738"/>
          </a:xfrm>
        </p:spPr>
        <p:txBody>
          <a:bodyPr tIns="0" bIns="0"/>
          <a:lstStyle>
            <a:lvl1pPr>
              <a:defRPr sz="1600" b="0">
                <a:solidFill>
                  <a:schemeClr val="bg1"/>
                </a:solidFill>
              </a:defRPr>
            </a:lvl1pPr>
          </a:lstStyle>
          <a:p>
            <a:pPr lvl="0"/>
            <a:r>
              <a:rPr lang="en-GB" altLang="en-US" noProof="0"/>
              <a:t>Click to edit Master subtitle style</a:t>
            </a:r>
          </a:p>
        </p:txBody>
      </p:sp>
      <p:sp>
        <p:nvSpPr>
          <p:cNvPr id="7" name="Rectangle 4">
            <a:extLst>
              <a:ext uri="{FF2B5EF4-FFF2-40B4-BE49-F238E27FC236}">
                <a16:creationId xmlns:a16="http://schemas.microsoft.com/office/drawing/2014/main" id="{E4F4F445-227F-4926-83A9-17117F847850}"/>
              </a:ext>
            </a:extLst>
          </p:cNvPr>
          <p:cNvSpPr>
            <a:spLocks noGrp="1" noChangeArrowheads="1"/>
          </p:cNvSpPr>
          <p:nvPr>
            <p:ph type="dt" sz="half" idx="10"/>
          </p:nvPr>
        </p:nvSpPr>
        <p:spPr bwMode="auto">
          <a:xfrm>
            <a:off x="592667" y="6092825"/>
            <a:ext cx="2844800" cy="266700"/>
          </a:xfrm>
          <a:prstGeom prst="rect">
            <a:avLst/>
          </a:prstGeom>
        </p:spPr>
        <p:txBody>
          <a:bodyPr vert="horz" wrap="square" lIns="91440" tIns="0" rIns="91440" bIns="0" numCol="1" anchor="t" anchorCtr="0" compatLnSpc="1">
            <a:prstTxWarp prst="textNoShape">
              <a:avLst/>
            </a:prstTxWarp>
          </a:bodyPr>
          <a:lstStyle>
            <a:lvl1pPr eaLnBrk="1" hangingPunct="1">
              <a:defRPr sz="1600">
                <a:solidFill>
                  <a:schemeClr val="bg1"/>
                </a:solidFill>
                <a:latin typeface="Arial" charset="0"/>
                <a:cs typeface="Arial" charset="0"/>
              </a:defRPr>
            </a:lvl1pPr>
          </a:lstStyle>
          <a:p>
            <a:pPr>
              <a:defRPr/>
            </a:pPr>
            <a:endParaRPr lang="en-GB" altLang="en-US"/>
          </a:p>
        </p:txBody>
      </p:sp>
    </p:spTree>
    <p:extLst>
      <p:ext uri="{BB962C8B-B14F-4D97-AF65-F5344CB8AC3E}">
        <p14:creationId xmlns:p14="http://schemas.microsoft.com/office/powerpoint/2010/main" val="31292804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id="{F11AEAEA-BC61-47F8-A9D2-635FFBA274CE}"/>
              </a:ext>
            </a:extLst>
          </p:cNvPr>
          <p:cNvSpPr>
            <a:spLocks noGrp="1" noChangeArrowheads="1"/>
          </p:cNvSpPr>
          <p:nvPr>
            <p:ph type="sldNum" sz="quarter" idx="10"/>
          </p:nvPr>
        </p:nvSpPr>
        <p:spPr>
          <a:ln/>
        </p:spPr>
        <p:txBody>
          <a:bodyPr/>
          <a:lstStyle>
            <a:lvl1pPr>
              <a:defRPr/>
            </a:lvl1pPr>
          </a:lstStyle>
          <a:p>
            <a:fld id="{A5C84911-FFB2-4A06-94C9-9D5F6BAA22F0}" type="slidenum">
              <a:rPr lang="en-GB" altLang="en-US"/>
              <a:pPr/>
              <a:t>‹#›</a:t>
            </a:fld>
            <a:endParaRPr lang="en-GB" altLang="en-US"/>
          </a:p>
        </p:txBody>
      </p:sp>
    </p:spTree>
    <p:extLst>
      <p:ext uri="{BB962C8B-B14F-4D97-AF65-F5344CB8AC3E}">
        <p14:creationId xmlns:p14="http://schemas.microsoft.com/office/powerpoint/2010/main" val="34120214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a:extLst>
              <a:ext uri="{FF2B5EF4-FFF2-40B4-BE49-F238E27FC236}">
                <a16:creationId xmlns:a16="http://schemas.microsoft.com/office/drawing/2014/main" id="{B70DB8D4-2B1A-4F95-9971-936BDBF0EC4E}"/>
              </a:ext>
            </a:extLst>
          </p:cNvPr>
          <p:cNvSpPr>
            <a:spLocks noGrp="1" noChangeArrowheads="1"/>
          </p:cNvSpPr>
          <p:nvPr>
            <p:ph type="sldNum" sz="quarter" idx="10"/>
          </p:nvPr>
        </p:nvSpPr>
        <p:spPr>
          <a:ln/>
        </p:spPr>
        <p:txBody>
          <a:bodyPr/>
          <a:lstStyle>
            <a:lvl1pPr>
              <a:defRPr/>
            </a:lvl1pPr>
          </a:lstStyle>
          <a:p>
            <a:fld id="{4513020E-44A7-4201-98CB-BBCA0D89FB10}" type="slidenum">
              <a:rPr lang="en-GB" altLang="en-US"/>
              <a:pPr/>
              <a:t>‹#›</a:t>
            </a:fld>
            <a:endParaRPr lang="en-GB" altLang="en-US"/>
          </a:p>
        </p:txBody>
      </p:sp>
    </p:spTree>
    <p:extLst>
      <p:ext uri="{BB962C8B-B14F-4D97-AF65-F5344CB8AC3E}">
        <p14:creationId xmlns:p14="http://schemas.microsoft.com/office/powerpoint/2010/main" val="1099236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1" name="Picture 10" descr="A picture containing clock&#10;&#10;Description automatically generated">
            <a:extLst>
              <a:ext uri="{FF2B5EF4-FFF2-40B4-BE49-F238E27FC236}">
                <a16:creationId xmlns:a16="http://schemas.microsoft.com/office/drawing/2014/main" id="{31A3334B-7E90-2845-9094-11D69D8B7C94}"/>
              </a:ext>
            </a:extLst>
          </p:cNvPr>
          <p:cNvPicPr>
            <a:picLocks noChangeAspect="1"/>
          </p:cNvPicPr>
          <p:nvPr userDrawn="1"/>
        </p:nvPicPr>
        <p:blipFill rotWithShape="1">
          <a:blip r:embed="rId2"/>
          <a:srcRect t="60689" r="31758"/>
          <a:stretch/>
        </p:blipFill>
        <p:spPr>
          <a:xfrm>
            <a:off x="6096001" y="0"/>
            <a:ext cx="6096000" cy="4264741"/>
          </a:xfrm>
          <a:prstGeom prst="rect">
            <a:avLst/>
          </a:prstGeom>
        </p:spPr>
      </p:pic>
      <p:sp>
        <p:nvSpPr>
          <p:cNvPr id="12" name="Title 1">
            <a:extLst>
              <a:ext uri="{FF2B5EF4-FFF2-40B4-BE49-F238E27FC236}">
                <a16:creationId xmlns:a16="http://schemas.microsoft.com/office/drawing/2014/main" id="{B2DA0970-0AEF-DE49-8195-F92FCDC24598}"/>
              </a:ext>
            </a:extLst>
          </p:cNvPr>
          <p:cNvSpPr>
            <a:spLocks noGrp="1"/>
          </p:cNvSpPr>
          <p:nvPr>
            <p:ph type="ctrTitle" hasCustomPrompt="1"/>
          </p:nvPr>
        </p:nvSpPr>
        <p:spPr>
          <a:xfrm>
            <a:off x="1311966" y="2703927"/>
            <a:ext cx="9144000" cy="582574"/>
          </a:xfrm>
          <a:prstGeom prst="rect">
            <a:avLst/>
          </a:prstGeo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13" name="Subtitle 2">
            <a:extLst>
              <a:ext uri="{FF2B5EF4-FFF2-40B4-BE49-F238E27FC236}">
                <a16:creationId xmlns:a16="http://schemas.microsoft.com/office/drawing/2014/main" id="{3258BBC6-D169-1E4C-AA1C-436BC3786EA4}"/>
              </a:ext>
            </a:extLst>
          </p:cNvPr>
          <p:cNvSpPr>
            <a:spLocks noGrp="1"/>
          </p:cNvSpPr>
          <p:nvPr>
            <p:ph type="subTitle" idx="1" hasCustomPrompt="1"/>
          </p:nvPr>
        </p:nvSpPr>
        <p:spPr>
          <a:xfrm>
            <a:off x="1311965" y="4539566"/>
            <a:ext cx="9144000" cy="1655762"/>
          </a:xfrm>
          <a:prstGeom prst="rect">
            <a:avLst/>
          </a:prstGeom>
        </p:spPr>
        <p:txBody>
          <a:bodyPr lIns="0" tIns="0" rIns="0" bIns="0">
            <a:noAutofit/>
          </a:bodyPr>
          <a:lstStyle>
            <a:lvl1pPr marL="0" indent="0" algn="l">
              <a:buNone/>
              <a:defRPr sz="1800">
                <a:solidFill>
                  <a:srgbClr val="FFFFFF"/>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14" name="Text Placeholder 13">
            <a:extLst>
              <a:ext uri="{FF2B5EF4-FFF2-40B4-BE49-F238E27FC236}">
                <a16:creationId xmlns:a16="http://schemas.microsoft.com/office/drawing/2014/main" id="{452DDB02-F986-1943-8D51-90D21EFEF32E}"/>
              </a:ext>
            </a:extLst>
          </p:cNvPr>
          <p:cNvSpPr>
            <a:spLocks noGrp="1"/>
          </p:cNvSpPr>
          <p:nvPr>
            <p:ph type="body" sz="quarter" idx="13" hasCustomPrompt="1"/>
          </p:nvPr>
        </p:nvSpPr>
        <p:spPr>
          <a:xfrm>
            <a:off x="1311965" y="3310250"/>
            <a:ext cx="9144000" cy="814388"/>
          </a:xfrm>
          <a:prstGeom prst="rect">
            <a:avLst/>
          </a:prstGeom>
        </p:spPr>
        <p:txBody>
          <a:bodyPr wrap="none" lIns="0" tIns="0" rIns="0" bIns="0">
            <a:noAutofit/>
          </a:bodyPr>
          <a:lstStyle>
            <a:lvl1pPr marL="0" indent="0">
              <a:buNone/>
              <a:defRPr sz="4500" b="0" i="0">
                <a:solidFill>
                  <a:srgbClr val="FFFFFF"/>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sp>
        <p:nvSpPr>
          <p:cNvPr id="15" name="Text Placeholder 58">
            <a:extLst>
              <a:ext uri="{FF2B5EF4-FFF2-40B4-BE49-F238E27FC236}">
                <a16:creationId xmlns:a16="http://schemas.microsoft.com/office/drawing/2014/main" id="{1C49AB30-E9F5-7846-BA76-5609AAF9C9C3}"/>
              </a:ext>
            </a:extLst>
          </p:cNvPr>
          <p:cNvSpPr>
            <a:spLocks noGrp="1"/>
          </p:cNvSpPr>
          <p:nvPr>
            <p:ph type="body" sz="quarter" idx="17" hasCustomPrompt="1"/>
          </p:nvPr>
        </p:nvSpPr>
        <p:spPr>
          <a:xfrm flipV="1">
            <a:off x="1311965" y="4232240"/>
            <a:ext cx="752132" cy="45719"/>
          </a:xfrm>
          <a:prstGeom prst="rect">
            <a:avLst/>
          </a:prstGeom>
          <a:blipFill>
            <a:blip r:embed="rId2">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22774050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5533" y="349250"/>
            <a:ext cx="10972800" cy="647700"/>
          </a:xfrm>
        </p:spPr>
        <p:txBody>
          <a:bodyPr/>
          <a:lstStyle/>
          <a:p>
            <a:r>
              <a:rPr lang="en-US"/>
              <a:t>Click to edit Master title style</a:t>
            </a:r>
            <a:endParaRPr lang="en-GB"/>
          </a:p>
        </p:txBody>
      </p:sp>
      <p:sp>
        <p:nvSpPr>
          <p:cNvPr id="3" name="Content Placeholder 2"/>
          <p:cNvSpPr>
            <a:spLocks noGrp="1"/>
          </p:cNvSpPr>
          <p:nvPr>
            <p:ph sz="half" idx="1"/>
          </p:nvPr>
        </p:nvSpPr>
        <p:spPr>
          <a:xfrm>
            <a:off x="588433" y="1341438"/>
            <a:ext cx="5384800" cy="44307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6433" y="1341438"/>
            <a:ext cx="5384800" cy="44307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a:extLst>
              <a:ext uri="{FF2B5EF4-FFF2-40B4-BE49-F238E27FC236}">
                <a16:creationId xmlns:a16="http://schemas.microsoft.com/office/drawing/2014/main" id="{0BFDED1E-48E0-4D70-BE7E-63B8F646A359}"/>
              </a:ext>
            </a:extLst>
          </p:cNvPr>
          <p:cNvSpPr>
            <a:spLocks noGrp="1" noChangeArrowheads="1"/>
          </p:cNvSpPr>
          <p:nvPr>
            <p:ph type="sldNum" sz="quarter" idx="10"/>
          </p:nvPr>
        </p:nvSpPr>
        <p:spPr>
          <a:ln/>
        </p:spPr>
        <p:txBody>
          <a:bodyPr/>
          <a:lstStyle>
            <a:lvl1pPr>
              <a:defRPr/>
            </a:lvl1pPr>
          </a:lstStyle>
          <a:p>
            <a:fld id="{65C8C979-1FB1-47E5-9AA9-15603CF85A73}" type="slidenum">
              <a:rPr lang="en-GB" altLang="en-US"/>
              <a:pPr/>
              <a:t>‹#›</a:t>
            </a:fld>
            <a:endParaRPr lang="en-GB" altLang="en-US"/>
          </a:p>
        </p:txBody>
      </p:sp>
    </p:spTree>
    <p:extLst>
      <p:ext uri="{BB962C8B-B14F-4D97-AF65-F5344CB8AC3E}">
        <p14:creationId xmlns:p14="http://schemas.microsoft.com/office/powerpoint/2010/main" val="16611868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a:extLst>
              <a:ext uri="{FF2B5EF4-FFF2-40B4-BE49-F238E27FC236}">
                <a16:creationId xmlns:a16="http://schemas.microsoft.com/office/drawing/2014/main" id="{C6F26C4B-86F8-4A8E-8D5D-BE2B4621F2AA}"/>
              </a:ext>
            </a:extLst>
          </p:cNvPr>
          <p:cNvSpPr>
            <a:spLocks noGrp="1" noChangeArrowheads="1"/>
          </p:cNvSpPr>
          <p:nvPr>
            <p:ph type="sldNum" sz="quarter" idx="10"/>
          </p:nvPr>
        </p:nvSpPr>
        <p:spPr>
          <a:ln/>
        </p:spPr>
        <p:txBody>
          <a:bodyPr/>
          <a:lstStyle>
            <a:lvl1pPr>
              <a:defRPr/>
            </a:lvl1pPr>
          </a:lstStyle>
          <a:p>
            <a:fld id="{2E410B24-8CD0-4794-8510-2433EFA8B477}" type="slidenum">
              <a:rPr lang="en-GB" altLang="en-US"/>
              <a:pPr/>
              <a:t>‹#›</a:t>
            </a:fld>
            <a:endParaRPr lang="en-GB" altLang="en-US"/>
          </a:p>
        </p:txBody>
      </p:sp>
    </p:spTree>
    <p:extLst>
      <p:ext uri="{BB962C8B-B14F-4D97-AF65-F5344CB8AC3E}">
        <p14:creationId xmlns:p14="http://schemas.microsoft.com/office/powerpoint/2010/main" val="19812446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a:extLst>
              <a:ext uri="{FF2B5EF4-FFF2-40B4-BE49-F238E27FC236}">
                <a16:creationId xmlns:a16="http://schemas.microsoft.com/office/drawing/2014/main" id="{8BAE6B8A-570D-48A1-B33B-B5AA1079CFF7}"/>
              </a:ext>
            </a:extLst>
          </p:cNvPr>
          <p:cNvSpPr>
            <a:spLocks noGrp="1" noChangeArrowheads="1"/>
          </p:cNvSpPr>
          <p:nvPr>
            <p:ph type="sldNum" sz="quarter" idx="10"/>
          </p:nvPr>
        </p:nvSpPr>
        <p:spPr>
          <a:ln/>
        </p:spPr>
        <p:txBody>
          <a:bodyPr/>
          <a:lstStyle>
            <a:lvl1pPr>
              <a:defRPr/>
            </a:lvl1pPr>
          </a:lstStyle>
          <a:p>
            <a:fld id="{3EA0D2C8-B24B-49F2-AA9D-36F28512FE99}" type="slidenum">
              <a:rPr lang="en-GB" altLang="en-US"/>
              <a:pPr/>
              <a:t>‹#›</a:t>
            </a:fld>
            <a:endParaRPr lang="en-GB" altLang="en-US"/>
          </a:p>
        </p:txBody>
      </p:sp>
    </p:spTree>
    <p:extLst>
      <p:ext uri="{BB962C8B-B14F-4D97-AF65-F5344CB8AC3E}">
        <p14:creationId xmlns:p14="http://schemas.microsoft.com/office/powerpoint/2010/main" val="17301896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83CA9D5C-F214-4B42-B677-6B75139F249F}"/>
              </a:ext>
            </a:extLst>
          </p:cNvPr>
          <p:cNvSpPr>
            <a:spLocks noGrp="1" noChangeArrowheads="1"/>
          </p:cNvSpPr>
          <p:nvPr>
            <p:ph type="sldNum" sz="quarter" idx="10"/>
          </p:nvPr>
        </p:nvSpPr>
        <p:spPr>
          <a:ln/>
        </p:spPr>
        <p:txBody>
          <a:bodyPr/>
          <a:lstStyle>
            <a:lvl1pPr>
              <a:defRPr/>
            </a:lvl1pPr>
          </a:lstStyle>
          <a:p>
            <a:fld id="{0344531C-18A3-41F6-9D00-B636C3F6525A}" type="slidenum">
              <a:rPr lang="en-GB" altLang="en-US"/>
              <a:pPr/>
              <a:t>‹#›</a:t>
            </a:fld>
            <a:endParaRPr lang="en-GB" altLang="en-US"/>
          </a:p>
        </p:txBody>
      </p:sp>
    </p:spTree>
    <p:extLst>
      <p:ext uri="{BB962C8B-B14F-4D97-AF65-F5344CB8AC3E}">
        <p14:creationId xmlns:p14="http://schemas.microsoft.com/office/powerpoint/2010/main" val="27126129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600959CC-A4C4-440B-8198-E1E6A6171B43}"/>
              </a:ext>
            </a:extLst>
          </p:cNvPr>
          <p:cNvSpPr>
            <a:spLocks noGrp="1" noChangeArrowheads="1"/>
          </p:cNvSpPr>
          <p:nvPr>
            <p:ph type="sldNum" sz="quarter" idx="10"/>
          </p:nvPr>
        </p:nvSpPr>
        <p:spPr>
          <a:ln/>
        </p:spPr>
        <p:txBody>
          <a:bodyPr/>
          <a:lstStyle>
            <a:lvl1pPr>
              <a:defRPr/>
            </a:lvl1pPr>
          </a:lstStyle>
          <a:p>
            <a:fld id="{4DFACAAD-A398-4E50-954B-26DA85932AEB}" type="slidenum">
              <a:rPr lang="en-GB" altLang="en-US"/>
              <a:pPr/>
              <a:t>‹#›</a:t>
            </a:fld>
            <a:endParaRPr lang="en-GB" altLang="en-US"/>
          </a:p>
        </p:txBody>
      </p:sp>
    </p:spTree>
    <p:extLst>
      <p:ext uri="{BB962C8B-B14F-4D97-AF65-F5344CB8AC3E}">
        <p14:creationId xmlns:p14="http://schemas.microsoft.com/office/powerpoint/2010/main" val="15024907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709AE56E-2CCB-40CE-AC07-0FE40358B32C}"/>
              </a:ext>
            </a:extLst>
          </p:cNvPr>
          <p:cNvSpPr>
            <a:spLocks noGrp="1" noChangeArrowheads="1"/>
          </p:cNvSpPr>
          <p:nvPr>
            <p:ph type="sldNum" sz="quarter" idx="10"/>
          </p:nvPr>
        </p:nvSpPr>
        <p:spPr>
          <a:ln/>
        </p:spPr>
        <p:txBody>
          <a:bodyPr/>
          <a:lstStyle>
            <a:lvl1pPr>
              <a:defRPr/>
            </a:lvl1pPr>
          </a:lstStyle>
          <a:p>
            <a:fld id="{8CE4B18C-0826-4579-85B0-CF5F8A4F6F91}" type="slidenum">
              <a:rPr lang="en-GB" altLang="en-US"/>
              <a:pPr/>
              <a:t>‹#›</a:t>
            </a:fld>
            <a:endParaRPr lang="en-GB" altLang="en-US"/>
          </a:p>
        </p:txBody>
      </p:sp>
    </p:spTree>
    <p:extLst>
      <p:ext uri="{BB962C8B-B14F-4D97-AF65-F5344CB8AC3E}">
        <p14:creationId xmlns:p14="http://schemas.microsoft.com/office/powerpoint/2010/main" val="37199743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id="{488D4854-296D-43C4-9AA2-82D01162F761}"/>
              </a:ext>
            </a:extLst>
          </p:cNvPr>
          <p:cNvSpPr>
            <a:spLocks noGrp="1" noChangeArrowheads="1"/>
          </p:cNvSpPr>
          <p:nvPr>
            <p:ph type="sldNum" sz="quarter" idx="10"/>
          </p:nvPr>
        </p:nvSpPr>
        <p:spPr>
          <a:ln/>
        </p:spPr>
        <p:txBody>
          <a:bodyPr/>
          <a:lstStyle>
            <a:lvl1pPr>
              <a:defRPr/>
            </a:lvl1pPr>
          </a:lstStyle>
          <a:p>
            <a:fld id="{5ADA2F37-0BB5-4ACC-A4D3-908E927B5ED8}" type="slidenum">
              <a:rPr lang="en-GB" altLang="en-US"/>
              <a:pPr/>
              <a:t>‹#›</a:t>
            </a:fld>
            <a:endParaRPr lang="en-GB" altLang="en-US"/>
          </a:p>
        </p:txBody>
      </p:sp>
    </p:spTree>
    <p:extLst>
      <p:ext uri="{BB962C8B-B14F-4D97-AF65-F5344CB8AC3E}">
        <p14:creationId xmlns:p14="http://schemas.microsoft.com/office/powerpoint/2010/main" val="3131301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18033" y="349250"/>
            <a:ext cx="2743200" cy="54229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88433" y="349250"/>
            <a:ext cx="8026400" cy="54229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a:extLst>
              <a:ext uri="{FF2B5EF4-FFF2-40B4-BE49-F238E27FC236}">
                <a16:creationId xmlns:a16="http://schemas.microsoft.com/office/drawing/2014/main" id="{0EA0168E-66FE-4E01-8BD4-1078E511D693}"/>
              </a:ext>
            </a:extLst>
          </p:cNvPr>
          <p:cNvSpPr>
            <a:spLocks noGrp="1" noChangeArrowheads="1"/>
          </p:cNvSpPr>
          <p:nvPr>
            <p:ph type="sldNum" sz="quarter" idx="10"/>
          </p:nvPr>
        </p:nvSpPr>
        <p:spPr>
          <a:ln/>
        </p:spPr>
        <p:txBody>
          <a:bodyPr/>
          <a:lstStyle>
            <a:lvl1pPr>
              <a:defRPr/>
            </a:lvl1pPr>
          </a:lstStyle>
          <a:p>
            <a:fld id="{7F4A2C7A-D513-4879-9A26-27DFBF918B15}" type="slidenum">
              <a:rPr lang="en-GB" altLang="en-US"/>
              <a:pPr/>
              <a:t>‹#›</a:t>
            </a:fld>
            <a:endParaRPr lang="en-GB" altLang="en-US"/>
          </a:p>
        </p:txBody>
      </p:sp>
    </p:spTree>
    <p:extLst>
      <p:ext uri="{BB962C8B-B14F-4D97-AF65-F5344CB8AC3E}">
        <p14:creationId xmlns:p14="http://schemas.microsoft.com/office/powerpoint/2010/main" val="26882291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Rectangle 2">
            <a:extLst>
              <a:ext uri="{FF2B5EF4-FFF2-40B4-BE49-F238E27FC236}">
                <a16:creationId xmlns:a16="http://schemas.microsoft.com/office/drawing/2014/main" id="{A844C6C8-555B-9E47-952F-A0CF52749E2B}"/>
              </a:ext>
            </a:extLst>
          </p:cNvPr>
          <p:cNvSpPr>
            <a:spLocks noGrp="1" noChangeArrowheads="1"/>
          </p:cNvSpPr>
          <p:nvPr>
            <p:ph type="title"/>
          </p:nvPr>
        </p:nvSpPr>
        <p:spPr bwMode="auto">
          <a:xfrm>
            <a:off x="706120" y="349250"/>
            <a:ext cx="8070851"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1" name="Rectangle 3">
            <a:extLst>
              <a:ext uri="{FF2B5EF4-FFF2-40B4-BE49-F238E27FC236}">
                <a16:creationId xmlns:a16="http://schemas.microsoft.com/office/drawing/2014/main" id="{C0D30F18-088E-9C4E-9FCD-1E914D26BD71}"/>
              </a:ext>
            </a:extLst>
          </p:cNvPr>
          <p:cNvSpPr>
            <a:spLocks noGrp="1" noChangeArrowheads="1"/>
          </p:cNvSpPr>
          <p:nvPr>
            <p:ph idx="1"/>
          </p:nvPr>
        </p:nvSpPr>
        <p:spPr bwMode="auto">
          <a:xfrm>
            <a:off x="706120" y="1341438"/>
            <a:ext cx="8070851"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Tree>
    <p:extLst>
      <p:ext uri="{BB962C8B-B14F-4D97-AF65-F5344CB8AC3E}">
        <p14:creationId xmlns:p14="http://schemas.microsoft.com/office/powerpoint/2010/main" val="16672351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A picture containing projector, electronics&#10;&#10;Description automatically generated">
            <a:extLst>
              <a:ext uri="{FF2B5EF4-FFF2-40B4-BE49-F238E27FC236}">
                <a16:creationId xmlns:a16="http://schemas.microsoft.com/office/drawing/2014/main" id="{D34B2193-04FC-B345-A76F-7CBD0DE1750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38904"/>
          <a:stretch/>
        </p:blipFill>
        <p:spPr>
          <a:xfrm>
            <a:off x="335280" y="285008"/>
            <a:ext cx="11521443" cy="6287984"/>
          </a:xfrm>
          <a:prstGeom prst="rect">
            <a:avLst/>
          </a:prstGeom>
        </p:spPr>
      </p:pic>
      <p:pic>
        <p:nvPicPr>
          <p:cNvPr id="13" name="Picture 12">
            <a:extLst>
              <a:ext uri="{FF2B5EF4-FFF2-40B4-BE49-F238E27FC236}">
                <a16:creationId xmlns:a16="http://schemas.microsoft.com/office/drawing/2014/main" id="{3472887D-08B7-7D4D-B92C-B709A30788B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074" name="Rectangle 2"/>
          <p:cNvSpPr>
            <a:spLocks noGrp="1" noChangeArrowheads="1"/>
          </p:cNvSpPr>
          <p:nvPr userDrawn="1">
            <p:ph type="ctrTitle" hasCustomPrompt="1"/>
          </p:nvPr>
        </p:nvSpPr>
        <p:spPr>
          <a:xfrm>
            <a:off x="607168" y="566775"/>
            <a:ext cx="7934245" cy="717984"/>
          </a:xfrm>
        </p:spPr>
        <p:txBody>
          <a:bodyPr tIns="0" bIns="0" anchor="t" anchorCtr="0"/>
          <a:lstStyle>
            <a:lvl1pPr>
              <a:defRPr sz="4800">
                <a:solidFill>
                  <a:schemeClr val="bg1"/>
                </a:solidFill>
              </a:defRPr>
            </a:lvl1pPr>
          </a:lstStyle>
          <a:p>
            <a:pPr lvl="0"/>
            <a:r>
              <a:rPr lang="en-GB" altLang="en-US" noProof="0"/>
              <a:t>Title</a:t>
            </a:r>
          </a:p>
        </p:txBody>
      </p:sp>
      <p:sp>
        <p:nvSpPr>
          <p:cNvPr id="3075" name="Rectangle 3"/>
          <p:cNvSpPr>
            <a:spLocks noGrp="1" noChangeArrowheads="1"/>
          </p:cNvSpPr>
          <p:nvPr userDrawn="1">
            <p:ph type="subTitle" idx="1"/>
          </p:nvPr>
        </p:nvSpPr>
        <p:spPr>
          <a:xfrm>
            <a:off x="607168" y="1356639"/>
            <a:ext cx="7934245" cy="1579703"/>
          </a:xfrm>
        </p:spPr>
        <p:txBody>
          <a:bodyPr tIns="0" bIns="0"/>
          <a:lstStyle>
            <a:lvl1pPr>
              <a:defRPr sz="4800" b="0">
                <a:solidFill>
                  <a:schemeClr val="bg1"/>
                </a:solidFill>
              </a:defRPr>
            </a:lvl1pPr>
          </a:lstStyle>
          <a:p>
            <a:pPr lvl="0"/>
            <a:r>
              <a:rPr lang="en-GB" altLang="en-US" noProof="0"/>
              <a:t>Click to edit Master subtitle style</a:t>
            </a:r>
          </a:p>
        </p:txBody>
      </p:sp>
      <p:sp>
        <p:nvSpPr>
          <p:cNvPr id="7" name="Rectangle 4"/>
          <p:cNvSpPr>
            <a:spLocks noGrp="1" noChangeArrowheads="1"/>
          </p:cNvSpPr>
          <p:nvPr userDrawn="1">
            <p:ph type="dt" sz="half" idx="10"/>
          </p:nvPr>
        </p:nvSpPr>
        <p:spPr bwMode="auto">
          <a:xfrm>
            <a:off x="616883" y="3034283"/>
            <a:ext cx="2844800" cy="2667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defRPr sz="1600">
                <a:solidFill>
                  <a:schemeClr val="bg1"/>
                </a:solidFill>
                <a:latin typeface="Arial" charset="0"/>
                <a:cs typeface="Arial" charset="0"/>
              </a:defRPr>
            </a:lvl1pPr>
          </a:lstStyle>
          <a:p>
            <a:fld id="{45978E8B-0242-49AC-9EB3-EBDD0030D902}" type="datetimeFigureOut">
              <a:rPr lang="en-GB" smtClean="0"/>
              <a:t>12/04/2024</a:t>
            </a:fld>
            <a:endParaRPr lang="en-GB"/>
          </a:p>
        </p:txBody>
      </p:sp>
      <p:pic>
        <p:nvPicPr>
          <p:cNvPr id="16" name="Picture 1">
            <a:extLst>
              <a:ext uri="{FF2B5EF4-FFF2-40B4-BE49-F238E27FC236}">
                <a16:creationId xmlns:a16="http://schemas.microsoft.com/office/drawing/2014/main" id="{D6F530CD-0E8F-D44C-A75C-1BF95BC58EA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bwMode="auto">
          <a:xfrm>
            <a:off x="7850190" y="4938716"/>
            <a:ext cx="2408239" cy="13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45107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py and icon slide">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05C51238-6B49-BD47-9F62-7B3EF14B85B4}"/>
              </a:ext>
            </a:extLst>
          </p:cNvPr>
          <p:cNvSpPr>
            <a:spLocks noGrp="1"/>
          </p:cNvSpPr>
          <p:nvPr>
            <p:ph type="body" sz="quarter" idx="14" hasCustomPrompt="1"/>
          </p:nvPr>
        </p:nvSpPr>
        <p:spPr>
          <a:xfrm>
            <a:off x="959849" y="2474629"/>
            <a:ext cx="5008561" cy="3597275"/>
          </a:xfrm>
          <a:prstGeom prst="rect">
            <a:avLst/>
          </a:prstGeom>
        </p:spPr>
        <p:txBody>
          <a:bodyPr lIns="0" tIns="0" rIns="0" bIns="0">
            <a:noAutofit/>
          </a:bodyPr>
          <a:lstStyle>
            <a:lvl1pPr marL="285750" indent="-285750">
              <a:lnSpc>
                <a:spcPts val="2200"/>
              </a:lnSpc>
              <a:spcBef>
                <a:spcPts val="0"/>
              </a:spcBef>
              <a:spcAft>
                <a:spcPts val="2200"/>
              </a:spcAft>
              <a:buFontTx/>
              <a:buBlip>
                <a:blip r:embed="rId2"/>
              </a:buBlip>
              <a:defRPr sz="1600">
                <a:solidFill>
                  <a:srgbClr val="FFFFFF"/>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br>
              <a:rPr lang="en-GB"/>
            </a:br>
            <a:r>
              <a:rPr lang="en-GB" err="1"/>
              <a:t>viverra</a:t>
            </a:r>
            <a:r>
              <a:rPr lang="en-GB"/>
              <a:t> </a:t>
            </a:r>
            <a:r>
              <a:rPr lang="en-GB" err="1"/>
              <a:t>aliquet</a:t>
            </a:r>
            <a:r>
              <a:rPr lang="en-GB"/>
              <a:t> </a:t>
            </a:r>
            <a:r>
              <a:rPr lang="en-GB" err="1"/>
              <a:t>eget</a:t>
            </a:r>
            <a:r>
              <a:rPr lang="en-GB"/>
              <a:t>.</a:t>
            </a:r>
          </a:p>
        </p:txBody>
      </p:sp>
      <p:pic>
        <p:nvPicPr>
          <p:cNvPr id="12" name="Picture 11" descr="A picture containing building&#10;&#10;Description automatically generated">
            <a:extLst>
              <a:ext uri="{FF2B5EF4-FFF2-40B4-BE49-F238E27FC236}">
                <a16:creationId xmlns:a16="http://schemas.microsoft.com/office/drawing/2014/main" id="{0BDD72A3-165D-524E-BA4D-F0DFFDADC6CD}"/>
              </a:ext>
            </a:extLst>
          </p:cNvPr>
          <p:cNvPicPr>
            <a:picLocks noChangeAspect="1"/>
          </p:cNvPicPr>
          <p:nvPr userDrawn="1"/>
        </p:nvPicPr>
        <p:blipFill>
          <a:blip r:embed="rId2"/>
          <a:stretch>
            <a:fillRect/>
          </a:stretch>
        </p:blipFill>
        <p:spPr>
          <a:xfrm>
            <a:off x="6368553" y="1941948"/>
            <a:ext cx="4870294" cy="3694072"/>
          </a:xfrm>
          <a:prstGeom prst="rect">
            <a:avLst/>
          </a:prstGeom>
        </p:spPr>
      </p:pic>
      <p:sp>
        <p:nvSpPr>
          <p:cNvPr id="13" name="Text Placeholder 16">
            <a:extLst>
              <a:ext uri="{FF2B5EF4-FFF2-40B4-BE49-F238E27FC236}">
                <a16:creationId xmlns:a16="http://schemas.microsoft.com/office/drawing/2014/main" id="{348D5DCD-BDBD-C04E-8E63-855C1B25623B}"/>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
        <p:nvSpPr>
          <p:cNvPr id="16" name="Title 1">
            <a:extLst>
              <a:ext uri="{FF2B5EF4-FFF2-40B4-BE49-F238E27FC236}">
                <a16:creationId xmlns:a16="http://schemas.microsoft.com/office/drawing/2014/main" id="{7FD2900F-5C82-6543-A6C4-FB49DFA29EC7}"/>
              </a:ext>
            </a:extLst>
          </p:cNvPr>
          <p:cNvSpPr>
            <a:spLocks noGrp="1"/>
          </p:cNvSpPr>
          <p:nvPr>
            <p:ph type="title" hasCustomPrompt="1"/>
          </p:nvPr>
        </p:nvSpPr>
        <p:spPr>
          <a:xfrm>
            <a:off x="953154" y="1054238"/>
            <a:ext cx="5008562" cy="416753"/>
          </a:xfrm>
          <a:prstGeom prst="rect">
            <a:avLst/>
          </a:prstGeo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7" name="Text Placeholder 13">
            <a:extLst>
              <a:ext uri="{FF2B5EF4-FFF2-40B4-BE49-F238E27FC236}">
                <a16:creationId xmlns:a16="http://schemas.microsoft.com/office/drawing/2014/main" id="{229C69AE-51D4-1E4B-98B4-71B19B4BC61E}"/>
              </a:ext>
            </a:extLst>
          </p:cNvPr>
          <p:cNvSpPr>
            <a:spLocks noGrp="1"/>
          </p:cNvSpPr>
          <p:nvPr>
            <p:ph type="body" sz="quarter" idx="13" hasCustomPrompt="1"/>
          </p:nvPr>
        </p:nvSpPr>
        <p:spPr>
          <a:xfrm>
            <a:off x="953153" y="1502498"/>
            <a:ext cx="5008561" cy="627582"/>
          </a:xfrm>
          <a:prstGeom prst="rect">
            <a:avLst/>
          </a:prstGeo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
        <p:nvSpPr>
          <p:cNvPr id="18" name="Text Placeholder 58">
            <a:extLst>
              <a:ext uri="{FF2B5EF4-FFF2-40B4-BE49-F238E27FC236}">
                <a16:creationId xmlns:a16="http://schemas.microsoft.com/office/drawing/2014/main" id="{950F325F-9EFD-DB4C-BF48-8408889EFEEF}"/>
              </a:ext>
            </a:extLst>
          </p:cNvPr>
          <p:cNvSpPr>
            <a:spLocks noGrp="1"/>
          </p:cNvSpPr>
          <p:nvPr>
            <p:ph type="body" sz="quarter" idx="17" hasCustomPrompt="1"/>
          </p:nvPr>
        </p:nvSpPr>
        <p:spPr>
          <a:xfrm>
            <a:off x="953154" y="2156126"/>
            <a:ext cx="591769" cy="45719"/>
          </a:xfrm>
          <a:prstGeom prst="rect">
            <a:avLst/>
          </a:prstGeom>
          <a:blipFill>
            <a:blip r:embed="rId2">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22538329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350E28-811E-154D-A860-96EFAB1D18B4}"/>
              </a:ext>
            </a:extLst>
          </p:cNvPr>
          <p:cNvSpPr/>
          <p:nvPr userDrawn="1"/>
        </p:nvSpPr>
        <p:spPr>
          <a:xfrm>
            <a:off x="7981628" y="0"/>
            <a:ext cx="421037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4496089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a:xfrm>
            <a:off x="711199" y="1341438"/>
            <a:ext cx="5192780" cy="4430712"/>
          </a:xfrm>
        </p:spPr>
        <p:txBody>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Content Placeholder 2"/>
          <p:cNvSpPr>
            <a:spLocks noGrp="1"/>
          </p:cNvSpPr>
          <p:nvPr>
            <p:ph idx="11"/>
          </p:nvPr>
        </p:nvSpPr>
        <p:spPr>
          <a:xfrm>
            <a:off x="6279555" y="1341438"/>
            <a:ext cx="5192780" cy="4430712"/>
          </a:xfrm>
        </p:spPr>
        <p:txBody>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9588542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fld id="{B0A4257A-F72D-455C-AEBB-5DF77C1C7340}" type="slidenum">
              <a:rPr lang="en-GB" smtClean="0"/>
              <a:t>‹#›</a:t>
            </a:fld>
            <a:endParaRPr lang="en-GB"/>
          </a:p>
        </p:txBody>
      </p:sp>
      <p:sp>
        <p:nvSpPr>
          <p:cNvPr id="4" name="Footer Placeholder 3">
            <a:extLst>
              <a:ext uri="{FF2B5EF4-FFF2-40B4-BE49-F238E27FC236}">
                <a16:creationId xmlns:a16="http://schemas.microsoft.com/office/drawing/2014/main" id="{7633C1FE-1789-4F47-B1D3-9DE233176A22}"/>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1000" b="0">
                <a:solidFill>
                  <a:srgbClr val="1E1348"/>
                </a:solidFill>
              </a:rPr>
              <a:t>To edit click View&gt;Header and Footer</a:t>
            </a:r>
          </a:p>
        </p:txBody>
      </p:sp>
    </p:spTree>
    <p:extLst>
      <p:ext uri="{BB962C8B-B14F-4D97-AF65-F5344CB8AC3E}">
        <p14:creationId xmlns:p14="http://schemas.microsoft.com/office/powerpoint/2010/main" val="325209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7D397B48-DEC6-934B-BBE2-DA3A9BA6DB86}"/>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1000" b="0">
                <a:solidFill>
                  <a:srgbClr val="1E1348"/>
                </a:solidFill>
              </a:rPr>
              <a:t>To edit click View&gt;Header and Footer</a:t>
            </a:r>
          </a:p>
        </p:txBody>
      </p:sp>
    </p:spTree>
    <p:extLst>
      <p:ext uri="{BB962C8B-B14F-4D97-AF65-F5344CB8AC3E}">
        <p14:creationId xmlns:p14="http://schemas.microsoft.com/office/powerpoint/2010/main" val="11081992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489600" y="334800"/>
            <a:ext cx="11203200" cy="6046528"/>
          </a:xfrm>
          <a:solidFill>
            <a:srgbClr val="E9E5DC"/>
          </a:solidFill>
        </p:spPr>
        <p:txBody>
          <a:bodyPr/>
          <a:lstStyle/>
          <a:p>
            <a:r>
              <a:rPr lang="en-GB"/>
              <a:t>Click icon to add picture</a:t>
            </a:r>
          </a:p>
        </p:txBody>
      </p:sp>
      <p:sp>
        <p:nvSpPr>
          <p:cNvPr id="2" name="Title 1"/>
          <p:cNvSpPr>
            <a:spLocks noGrp="1"/>
          </p:cNvSpPr>
          <p:nvPr>
            <p:ph type="title"/>
          </p:nvPr>
        </p:nvSpPr>
        <p:spPr>
          <a:xfrm>
            <a:off x="969600" y="1368000"/>
            <a:ext cx="6576000" cy="990000"/>
          </a:xfrm>
        </p:spPr>
        <p:txBody>
          <a:bodyPr anchor="t" anchorCtr="0"/>
          <a:lstStyle>
            <a:lvl1pPr>
              <a:defRPr>
                <a:solidFill>
                  <a:schemeClr val="bg1"/>
                </a:solidFill>
              </a:defRPr>
            </a:lvl1pPr>
          </a:lstStyle>
          <a:p>
            <a:r>
              <a:rPr lang="en-GB"/>
              <a:t>Click to edit Master title style</a:t>
            </a:r>
          </a:p>
        </p:txBody>
      </p:sp>
      <p:sp>
        <p:nvSpPr>
          <p:cNvPr id="7" name="Text Placeholder 6"/>
          <p:cNvSpPr>
            <a:spLocks noGrp="1"/>
          </p:cNvSpPr>
          <p:nvPr>
            <p:ph type="body" sz="quarter" idx="12"/>
          </p:nvPr>
        </p:nvSpPr>
        <p:spPr>
          <a:xfrm>
            <a:off x="969433" y="2487600"/>
            <a:ext cx="6566400" cy="3607200"/>
          </a:xfrm>
        </p:spPr>
        <p:txBody>
          <a:bodyPr/>
          <a:lstStyle>
            <a:lvl1pPr marL="285744" indent="-285744">
              <a:buFont typeface="Arial" panose="020B0604020202020204" pitchFamily="34" charset="0"/>
              <a:buChar char="•"/>
              <a:defRPr sz="1800">
                <a:solidFill>
                  <a:schemeClr val="bg1"/>
                </a:solidFill>
              </a:defRPr>
            </a:lvl1pPr>
            <a:lvl2pPr>
              <a:defRPr>
                <a:solidFill>
                  <a:schemeClr val="bg1"/>
                </a:solidFill>
              </a:defRPr>
            </a:lvl2pPr>
          </a:lstStyle>
          <a:p>
            <a:pPr lvl="0"/>
            <a:r>
              <a:rPr lang="en-GB"/>
              <a:t>Click to edit Master text styles</a:t>
            </a:r>
          </a:p>
        </p:txBody>
      </p:sp>
      <p:sp>
        <p:nvSpPr>
          <p:cNvPr id="4" name="Slide Number Placeholder 3"/>
          <p:cNvSpPr>
            <a:spLocks noGrp="1"/>
          </p:cNvSpPr>
          <p:nvPr>
            <p:ph type="sldNum" sz="quarter" idx="13"/>
          </p:nvPr>
        </p:nvSpPr>
        <p:spPr/>
        <p:txBody>
          <a:bodyPr/>
          <a:lstStyle/>
          <a:p>
            <a:fld id="{6DDE0785-C207-4AB4-9F5B-0D767D51038B}" type="slidenum">
              <a:rPr lang="en-GB" altLang="en-US" smtClean="0"/>
              <a:pPr/>
              <a:t>‹#›</a:t>
            </a:fld>
            <a:endParaRPr lang="en-GB" altLang="en-US"/>
          </a:p>
        </p:txBody>
      </p:sp>
      <p:sp>
        <p:nvSpPr>
          <p:cNvPr id="6" name="Footer Placeholder 3">
            <a:extLst>
              <a:ext uri="{FF2B5EF4-FFF2-40B4-BE49-F238E27FC236}">
                <a16:creationId xmlns:a16="http://schemas.microsoft.com/office/drawing/2014/main" id="{F422488E-592D-F249-94B8-80630B56A8D9}"/>
              </a:ext>
            </a:extLst>
          </p:cNvPr>
          <p:cNvSpPr txBox="1">
            <a:spLocks/>
          </p:cNvSpPr>
          <p:nvPr userDrawn="1"/>
        </p:nvSpPr>
        <p:spPr>
          <a:xfrm>
            <a:off x="8642349" y="6453188"/>
            <a:ext cx="3016251" cy="2159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GB"/>
            </a:defPPr>
            <a:lvl1pPr algn="l" rtl="0" eaLnBrk="0" fontAlgn="base" hangingPunct="0">
              <a:spcBef>
                <a:spcPct val="20000"/>
              </a:spcBef>
              <a:spcAft>
                <a:spcPct val="0"/>
              </a:spcAft>
              <a:defRPr sz="2200" b="1"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Clr>
                <a:schemeClr val="accent1"/>
              </a:buClr>
              <a:buChar char="•"/>
              <a:defRPr sz="2200" kern="1200">
                <a:solidFill>
                  <a:schemeClr val="tx1"/>
                </a:solidFill>
                <a:latin typeface="Arial" charset="0"/>
                <a:ea typeface="Arial" charset="0"/>
                <a:cs typeface="Arial" charset="0"/>
              </a:defRPr>
            </a:lvl2pPr>
            <a:lvl3pPr marL="1143000" indent="-228600" algn="l" rtl="0" eaLnBrk="0" fontAlgn="base" hangingPunct="0">
              <a:spcBef>
                <a:spcPct val="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spcBef>
                <a:spcPct val="0"/>
              </a:spcBef>
              <a:spcAft>
                <a:spcPct val="0"/>
              </a:spcAft>
              <a:buChar char="–"/>
              <a:defRPr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Char char="»"/>
              <a:defRPr sz="2000" kern="1200">
                <a:solidFill>
                  <a:schemeClr val="tx1"/>
                </a:solidFill>
                <a:latin typeface="Arial" charset="0"/>
                <a:ea typeface="Arial" charset="0"/>
                <a:cs typeface="Arial"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charset="0"/>
                <a:ea typeface="Arial" charset="0"/>
                <a:cs typeface="Arial" charset="0"/>
              </a:defRPr>
            </a:lvl9pPr>
          </a:lstStyle>
          <a:p>
            <a:pPr eaLnBrk="1" hangingPunct="1">
              <a:spcBef>
                <a:spcPct val="0"/>
              </a:spcBef>
              <a:defRPr/>
            </a:pPr>
            <a:r>
              <a:rPr lang="en-GB" altLang="en-US" sz="1000" b="0">
                <a:solidFill>
                  <a:srgbClr val="1E1348"/>
                </a:solidFill>
              </a:rPr>
              <a:t>To edit click View&gt;Header and Footer</a:t>
            </a:r>
          </a:p>
        </p:txBody>
      </p:sp>
    </p:spTree>
    <p:extLst>
      <p:ext uri="{BB962C8B-B14F-4D97-AF65-F5344CB8AC3E}">
        <p14:creationId xmlns:p14="http://schemas.microsoft.com/office/powerpoint/2010/main" val="1369517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994EB1-DFC5-A345-B1E8-6F50FF6D5A27}"/>
              </a:ext>
            </a:extLst>
          </p:cNvPr>
          <p:cNvSpPr/>
          <p:nvPr userDrawn="1"/>
        </p:nvSpPr>
        <p:spPr>
          <a:xfrm>
            <a:off x="335282" y="285008"/>
            <a:ext cx="11551921" cy="6287984"/>
          </a:xfrm>
          <a:prstGeom prst="rect">
            <a:avLst/>
          </a:prstGeom>
          <a:solidFill>
            <a:srgbClr val="1E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highlight>
                <a:srgbClr val="1E1348"/>
              </a:highlight>
            </a:endParaRPr>
          </a:p>
        </p:txBody>
      </p:sp>
      <p:pic>
        <p:nvPicPr>
          <p:cNvPr id="4" name="Picture 7" descr="\\op2pdrv02\users$\FlockhaP\Documents\GREATBNI\GREAT\GREAT_&amp;_FLAG_White_RGB_BNI.png">
            <a:extLst>
              <a:ext uri="{FF2B5EF4-FFF2-40B4-BE49-F238E27FC236}">
                <a16:creationId xmlns:a16="http://schemas.microsoft.com/office/drawing/2014/main" id="{842E13EE-CF5B-034C-8480-1E9B4DDF2FB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53872" y="2616200"/>
            <a:ext cx="2914739"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Users\webbek\AppData\Local\Microsoft\Windows\Temporary Internet Files\Content.IE5\G3BK4NT2\DfIT_WHITE_SML_AW.png">
            <a:extLst>
              <a:ext uri="{FF2B5EF4-FFF2-40B4-BE49-F238E27FC236}">
                <a16:creationId xmlns:a16="http://schemas.microsoft.com/office/drawing/2014/main" id="{CFB2C415-2EE3-114A-90FE-B3976A18FC3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4054" y="635001"/>
            <a:ext cx="228282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541275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737A4F-31B6-47B0-A2E6-7AD10967D2BF}" type="datetimeFigureOut">
              <a:rPr lang="en-GB" smtClean="0"/>
              <a:t>12/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506BA3-056D-4FF5-BA7C-1D2E9F68E76D}" type="slidenum">
              <a:rPr lang="en-GB" smtClean="0"/>
              <a:t>‹#›</a:t>
            </a:fld>
            <a:endParaRPr lang="en-GB"/>
          </a:p>
        </p:txBody>
      </p:sp>
    </p:spTree>
    <p:extLst>
      <p:ext uri="{BB962C8B-B14F-4D97-AF65-F5344CB8AC3E}">
        <p14:creationId xmlns:p14="http://schemas.microsoft.com/office/powerpoint/2010/main" val="245148524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6" name="Holder 6"/>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3953897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04043F"/>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6" name="Holder 6"/>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40587166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04043F"/>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7" name="Holder 7"/>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345249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ext and image slide">
    <p:spTree>
      <p:nvGrpSpPr>
        <p:cNvPr id="1" name=""/>
        <p:cNvGrpSpPr/>
        <p:nvPr/>
      </p:nvGrpSpPr>
      <p:grpSpPr>
        <a:xfrm>
          <a:off x="0" y="0"/>
          <a:ext cx="0" cy="0"/>
          <a:chOff x="0" y="0"/>
          <a:chExt cx="0" cy="0"/>
        </a:xfrm>
      </p:grpSpPr>
      <p:sp>
        <p:nvSpPr>
          <p:cNvPr id="9" name="Parallelogram 25">
            <a:extLst>
              <a:ext uri="{FF2B5EF4-FFF2-40B4-BE49-F238E27FC236}">
                <a16:creationId xmlns:a16="http://schemas.microsoft.com/office/drawing/2014/main" id="{846D357C-3351-784D-97A1-CE52AA038AA8}"/>
              </a:ext>
            </a:extLst>
          </p:cNvPr>
          <p:cNvSpPr/>
          <p:nvPr userDrawn="1"/>
        </p:nvSpPr>
        <p:spPr>
          <a:xfrm>
            <a:off x="1" y="-3175"/>
            <a:ext cx="12203504" cy="6858000"/>
          </a:xfrm>
          <a:custGeom>
            <a:avLst/>
            <a:gdLst>
              <a:gd name="connsiteX0" fmla="*/ 0 w 5438227"/>
              <a:gd name="connsiteY0" fmla="*/ 6858000 h 6858000"/>
              <a:gd name="connsiteX1" fmla="*/ 1359557 w 5438227"/>
              <a:gd name="connsiteY1" fmla="*/ 0 h 6858000"/>
              <a:gd name="connsiteX2" fmla="*/ 5438227 w 5438227"/>
              <a:gd name="connsiteY2" fmla="*/ 0 h 6858000"/>
              <a:gd name="connsiteX3" fmla="*/ 4078670 w 5438227"/>
              <a:gd name="connsiteY3" fmla="*/ 6858000 h 6858000"/>
              <a:gd name="connsiteX4" fmla="*/ 0 w 5438227"/>
              <a:gd name="connsiteY4" fmla="*/ 6858000 h 6858000"/>
              <a:gd name="connsiteX0" fmla="*/ 0 w 8853116"/>
              <a:gd name="connsiteY0" fmla="*/ 6858000 h 6858000"/>
              <a:gd name="connsiteX1" fmla="*/ 1359557 w 8853116"/>
              <a:gd name="connsiteY1" fmla="*/ 0 h 6858000"/>
              <a:gd name="connsiteX2" fmla="*/ 8853116 w 8853116"/>
              <a:gd name="connsiteY2" fmla="*/ 0 h 6858000"/>
              <a:gd name="connsiteX3" fmla="*/ 4078670 w 8853116"/>
              <a:gd name="connsiteY3" fmla="*/ 6858000 h 6858000"/>
              <a:gd name="connsiteX4" fmla="*/ 0 w 8853116"/>
              <a:gd name="connsiteY4" fmla="*/ 6858000 h 6858000"/>
              <a:gd name="connsiteX0" fmla="*/ 0 w 8853116"/>
              <a:gd name="connsiteY0" fmla="*/ 6858000 h 6858000"/>
              <a:gd name="connsiteX1" fmla="*/ 1359557 w 8853116"/>
              <a:gd name="connsiteY1" fmla="*/ 0 h 6858000"/>
              <a:gd name="connsiteX2" fmla="*/ 8853116 w 8853116"/>
              <a:gd name="connsiteY2" fmla="*/ 0 h 6858000"/>
              <a:gd name="connsiteX3" fmla="*/ 6206626 w 8853116"/>
              <a:gd name="connsiteY3" fmla="*/ 6858000 h 6858000"/>
              <a:gd name="connsiteX4" fmla="*/ 0 w 8853116"/>
              <a:gd name="connsiteY4" fmla="*/ 6858000 h 6858000"/>
              <a:gd name="connsiteX0" fmla="*/ 0 w 8853116"/>
              <a:gd name="connsiteY0" fmla="*/ 6858000 h 6858000"/>
              <a:gd name="connsiteX1" fmla="*/ 663236 w 8853116"/>
              <a:gd name="connsiteY1" fmla="*/ 0 h 6858000"/>
              <a:gd name="connsiteX2" fmla="*/ 8853116 w 8853116"/>
              <a:gd name="connsiteY2" fmla="*/ 0 h 6858000"/>
              <a:gd name="connsiteX3" fmla="*/ 6206626 w 8853116"/>
              <a:gd name="connsiteY3" fmla="*/ 6858000 h 6858000"/>
              <a:gd name="connsiteX4" fmla="*/ 0 w 8853116"/>
              <a:gd name="connsiteY4" fmla="*/ 6858000 h 6858000"/>
              <a:gd name="connsiteX0" fmla="*/ 0 w 8853116"/>
              <a:gd name="connsiteY0" fmla="*/ 6858000 h 6858000"/>
              <a:gd name="connsiteX1" fmla="*/ 131430 w 8853116"/>
              <a:gd name="connsiteY1" fmla="*/ 0 h 6858000"/>
              <a:gd name="connsiteX2" fmla="*/ 8853116 w 8853116"/>
              <a:gd name="connsiteY2" fmla="*/ 0 h 6858000"/>
              <a:gd name="connsiteX3" fmla="*/ 6206626 w 8853116"/>
              <a:gd name="connsiteY3" fmla="*/ 6858000 h 6858000"/>
              <a:gd name="connsiteX4" fmla="*/ 0 w 8853116"/>
              <a:gd name="connsiteY4" fmla="*/ 6858000 h 6858000"/>
              <a:gd name="connsiteX0" fmla="*/ 2478 w 8855594"/>
              <a:gd name="connsiteY0" fmla="*/ 6858000 h 6858000"/>
              <a:gd name="connsiteX1" fmla="*/ 0 w 8855594"/>
              <a:gd name="connsiteY1" fmla="*/ 3826 h 6858000"/>
              <a:gd name="connsiteX2" fmla="*/ 8855594 w 8855594"/>
              <a:gd name="connsiteY2" fmla="*/ 0 h 6858000"/>
              <a:gd name="connsiteX3" fmla="*/ 6209104 w 8855594"/>
              <a:gd name="connsiteY3" fmla="*/ 6858000 h 6858000"/>
              <a:gd name="connsiteX4" fmla="*/ 2478 w 8855594"/>
              <a:gd name="connsiteY4" fmla="*/ 6858000 h 6858000"/>
              <a:gd name="connsiteX0" fmla="*/ 2478 w 12084971"/>
              <a:gd name="connsiteY0" fmla="*/ 6858000 h 6858000"/>
              <a:gd name="connsiteX1" fmla="*/ 0 w 12084971"/>
              <a:gd name="connsiteY1" fmla="*/ 3826 h 6858000"/>
              <a:gd name="connsiteX2" fmla="*/ 8855594 w 12084971"/>
              <a:gd name="connsiteY2" fmla="*/ 0 h 6858000"/>
              <a:gd name="connsiteX3" fmla="*/ 12084971 w 12084971"/>
              <a:gd name="connsiteY3" fmla="*/ 6172200 h 6858000"/>
              <a:gd name="connsiteX4" fmla="*/ 2478 w 12084971"/>
              <a:gd name="connsiteY4" fmla="*/ 6858000 h 6858000"/>
              <a:gd name="connsiteX0" fmla="*/ 2478 w 12203504"/>
              <a:gd name="connsiteY0" fmla="*/ 6858000 h 6858000"/>
              <a:gd name="connsiteX1" fmla="*/ 0 w 12203504"/>
              <a:gd name="connsiteY1" fmla="*/ 3826 h 6858000"/>
              <a:gd name="connsiteX2" fmla="*/ 8855594 w 12203504"/>
              <a:gd name="connsiteY2" fmla="*/ 0 h 6858000"/>
              <a:gd name="connsiteX3" fmla="*/ 12203504 w 12203504"/>
              <a:gd name="connsiteY3" fmla="*/ 6858000 h 6858000"/>
              <a:gd name="connsiteX4" fmla="*/ 2478 w 12203504"/>
              <a:gd name="connsiteY4" fmla="*/ 6858000 h 6858000"/>
              <a:gd name="connsiteX0" fmla="*/ 2478 w 12203504"/>
              <a:gd name="connsiteY0" fmla="*/ 6858000 h 6858000"/>
              <a:gd name="connsiteX1" fmla="*/ 0 w 12203504"/>
              <a:gd name="connsiteY1" fmla="*/ 3826 h 6858000"/>
              <a:gd name="connsiteX2" fmla="*/ 12182994 w 12203504"/>
              <a:gd name="connsiteY2" fmla="*/ 0 h 6858000"/>
              <a:gd name="connsiteX3" fmla="*/ 12203504 w 12203504"/>
              <a:gd name="connsiteY3" fmla="*/ 6858000 h 6858000"/>
              <a:gd name="connsiteX4" fmla="*/ 2478 w 12203504"/>
              <a:gd name="connsiteY4" fmla="*/ 6858000 h 6858000"/>
              <a:gd name="connsiteX0" fmla="*/ 2478 w 12203504"/>
              <a:gd name="connsiteY0" fmla="*/ 6858000 h 6858000"/>
              <a:gd name="connsiteX1" fmla="*/ 0 w 12203504"/>
              <a:gd name="connsiteY1" fmla="*/ 3826 h 6858000"/>
              <a:gd name="connsiteX2" fmla="*/ 12198362 w 12203504"/>
              <a:gd name="connsiteY2" fmla="*/ 0 h 6858000"/>
              <a:gd name="connsiteX3" fmla="*/ 12203504 w 12203504"/>
              <a:gd name="connsiteY3" fmla="*/ 6858000 h 6858000"/>
              <a:gd name="connsiteX4" fmla="*/ 2478 w 1220350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504" h="6858000">
                <a:moveTo>
                  <a:pt x="2478" y="6858000"/>
                </a:moveTo>
                <a:lnTo>
                  <a:pt x="0" y="3826"/>
                </a:lnTo>
                <a:lnTo>
                  <a:pt x="12198362" y="0"/>
                </a:lnTo>
                <a:cubicBezTo>
                  <a:pt x="12205199" y="2286000"/>
                  <a:pt x="12196667" y="4572000"/>
                  <a:pt x="12203504" y="6858000"/>
                </a:cubicBezTo>
                <a:lnTo>
                  <a:pt x="2478" y="6858000"/>
                </a:lnTo>
                <a:close/>
              </a:path>
            </a:pathLst>
          </a:cu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t>
            </a:r>
          </a:p>
        </p:txBody>
      </p:sp>
      <p:pic>
        <p:nvPicPr>
          <p:cNvPr id="13" name="Picture 12">
            <a:extLst>
              <a:ext uri="{FF2B5EF4-FFF2-40B4-BE49-F238E27FC236}">
                <a16:creationId xmlns:a16="http://schemas.microsoft.com/office/drawing/2014/main" id="{76BE3E08-37EE-E44D-B7A6-5DFECC6B0D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738" y="6242704"/>
            <a:ext cx="720459" cy="119067"/>
          </a:xfrm>
          <a:prstGeom prst="rect">
            <a:avLst/>
          </a:prstGeom>
        </p:spPr>
      </p:pic>
    </p:spTree>
    <p:extLst>
      <p:ext uri="{BB962C8B-B14F-4D97-AF65-F5344CB8AC3E}">
        <p14:creationId xmlns:p14="http://schemas.microsoft.com/office/powerpoint/2010/main" val="42041827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04043F"/>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5" name="Holder 5"/>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24376433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4" name="Holder 4"/>
          <p:cNvSpPr>
            <a:spLocks noGrp="1"/>
          </p:cNvSpPr>
          <p:nvPr>
            <p:ph type="sldNum" sz="quarter" idx="7"/>
          </p:nvPr>
        </p:nvSpPr>
        <p:spPr/>
        <p:txBody>
          <a:bodyPr lIns="0" tIns="0" rIns="0" bIns="0"/>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Tree>
    <p:extLst>
      <p:ext uri="{BB962C8B-B14F-4D97-AF65-F5344CB8AC3E}">
        <p14:creationId xmlns:p14="http://schemas.microsoft.com/office/powerpoint/2010/main" val="36102552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2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8056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60F8DFC6-F06B-A64F-BD46-C043BAAA02C1}"/>
              </a:ext>
            </a:extLst>
          </p:cNvPr>
          <p:cNvSpPr>
            <a:spLocks noGrp="1"/>
          </p:cNvSpPr>
          <p:nvPr>
            <p:ph type="pic" sz="quarter" idx="10" hasCustomPrompt="1"/>
          </p:nvPr>
        </p:nvSpPr>
        <p:spPr>
          <a:xfrm>
            <a:off x="317500" y="3335079"/>
            <a:ext cx="11557000" cy="184666"/>
          </a:xfrm>
          <a:prstGeom prst="rect">
            <a:avLst/>
          </a:prstGeom>
          <a:solidFill>
            <a:schemeClr val="bg2"/>
          </a:solidFill>
          <a:ln>
            <a:noFill/>
          </a:ln>
        </p:spPr>
        <p:txBody>
          <a:bodyPr anchor="ctr"/>
          <a:lstStyle>
            <a:lvl1pPr>
              <a:defRPr sz="1200" b="0">
                <a:latin typeface="+mj-lt"/>
              </a:defRPr>
            </a:lvl1pPr>
          </a:lstStyle>
          <a:p>
            <a:r>
              <a:rPr lang="en-US"/>
              <a:t>Insert Image Here</a:t>
            </a:r>
          </a:p>
        </p:txBody>
      </p:sp>
    </p:spTree>
    <p:extLst>
      <p:ext uri="{BB962C8B-B14F-4D97-AF65-F5344CB8AC3E}">
        <p14:creationId xmlns:p14="http://schemas.microsoft.com/office/powerpoint/2010/main" val="1597464164"/>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cSld name="Main Slide">
    <p:spTree>
      <p:nvGrpSpPr>
        <p:cNvPr id="1" name=""/>
        <p:cNvGrpSpPr/>
        <p:nvPr/>
      </p:nvGrpSpPr>
      <p:grpSpPr>
        <a:xfrm>
          <a:off x="0" y="0"/>
          <a:ext cx="0" cy="0"/>
          <a:chOff x="0" y="0"/>
          <a:chExt cx="0" cy="0"/>
        </a:xfrm>
      </p:grpSpPr>
      <p:sp>
        <p:nvSpPr>
          <p:cNvPr id="15" name="Slide Number"/>
          <p:cNvSpPr txBox="1">
            <a:spLocks noGrp="1"/>
          </p:cNvSpPr>
          <p:nvPr>
            <p:ph type="sldNum" sz="quarter" idx="2"/>
          </p:nvPr>
        </p:nvSpPr>
        <p:spPr>
          <a:xfrm>
            <a:off x="11552721" y="6411680"/>
            <a:ext cx="257175" cy="18466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01340856"/>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2_Tytuł i zawartość">
    <p:spTree>
      <p:nvGrpSpPr>
        <p:cNvPr id="1" name=""/>
        <p:cNvGrpSpPr/>
        <p:nvPr/>
      </p:nvGrpSpPr>
      <p:grpSpPr>
        <a:xfrm>
          <a:off x="0" y="0"/>
          <a:ext cx="0" cy="0"/>
          <a:chOff x="0" y="0"/>
          <a:chExt cx="0" cy="0"/>
        </a:xfrm>
      </p:grpSpPr>
      <p:pic>
        <p:nvPicPr>
          <p:cNvPr id="34" name="Picture 9" descr="Picture 9"/>
          <p:cNvPicPr>
            <a:picLocks noChangeAspect="1"/>
          </p:cNvPicPr>
          <p:nvPr/>
        </p:nvPicPr>
        <p:blipFill>
          <a:blip r:embed="rId2" cstate="print"/>
          <a:stretch>
            <a:fillRect/>
          </a:stretch>
        </p:blipFill>
        <p:spPr>
          <a:xfrm>
            <a:off x="1" y="6548362"/>
            <a:ext cx="2438400" cy="309639"/>
          </a:xfrm>
          <a:prstGeom prst="rect">
            <a:avLst/>
          </a:prstGeom>
          <a:ln w="12700">
            <a:miter lim="400000"/>
          </a:ln>
        </p:spPr>
      </p:pic>
      <p:sp>
        <p:nvSpPr>
          <p:cNvPr id="35" name="Prostokąt 2"/>
          <p:cNvSpPr/>
          <p:nvPr/>
        </p:nvSpPr>
        <p:spPr>
          <a:xfrm>
            <a:off x="-1659467" y="2260600"/>
            <a:ext cx="372534" cy="277106"/>
          </a:xfrm>
          <a:prstGeom prst="rect">
            <a:avLst/>
          </a:prstGeom>
          <a:solidFill>
            <a:srgbClr val="A60C27"/>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6" name="Prostokąt 3"/>
          <p:cNvSpPr/>
          <p:nvPr/>
        </p:nvSpPr>
        <p:spPr>
          <a:xfrm>
            <a:off x="-1659467" y="1790700"/>
            <a:ext cx="372534" cy="277106"/>
          </a:xfrm>
          <a:prstGeom prst="rect">
            <a:avLst/>
          </a:prstGeom>
          <a:solidFill>
            <a:srgbClr val="CF002B"/>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7" name="Prostokąt 4"/>
          <p:cNvSpPr/>
          <p:nvPr/>
        </p:nvSpPr>
        <p:spPr>
          <a:xfrm>
            <a:off x="-1659467" y="2700510"/>
            <a:ext cx="372534" cy="277106"/>
          </a:xfrm>
          <a:prstGeom prst="rect">
            <a:avLst/>
          </a:prstGeom>
          <a:solidFill>
            <a:srgbClr val="DA0029"/>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8" name="Prostokąt 5"/>
          <p:cNvSpPr/>
          <p:nvPr/>
        </p:nvSpPr>
        <p:spPr>
          <a:xfrm>
            <a:off x="-1659467" y="3197225"/>
            <a:ext cx="372534" cy="277106"/>
          </a:xfrm>
          <a:prstGeom prst="rect">
            <a:avLst/>
          </a:prstGeom>
          <a:solidFill>
            <a:srgbClr val="636B71"/>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39" name="Prostokąt 6"/>
          <p:cNvSpPr/>
          <p:nvPr/>
        </p:nvSpPr>
        <p:spPr>
          <a:xfrm>
            <a:off x="-1642534" y="3607487"/>
            <a:ext cx="372534" cy="277106"/>
          </a:xfrm>
          <a:prstGeom prst="rect">
            <a:avLst/>
          </a:prstGeom>
          <a:solidFill>
            <a:srgbClr val="CCCCCC"/>
          </a:solidFill>
          <a:ln>
            <a:solidFill>
              <a:srgbClr val="CE1731"/>
            </a:solidFill>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40" name="PoleTekstowe 7"/>
          <p:cNvSpPr txBox="1"/>
          <p:nvPr/>
        </p:nvSpPr>
        <p:spPr>
          <a:xfrm>
            <a:off x="-1224281" y="3638372"/>
            <a:ext cx="1127762" cy="2285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204/204/204</a:t>
            </a:r>
          </a:p>
        </p:txBody>
      </p:sp>
      <p:sp>
        <p:nvSpPr>
          <p:cNvPr id="41" name="PoleTekstowe 8"/>
          <p:cNvSpPr txBox="1"/>
          <p:nvPr/>
        </p:nvSpPr>
        <p:spPr>
          <a:xfrm>
            <a:off x="-1224281" y="1810630"/>
            <a:ext cx="1127762" cy="2285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218/32/56</a:t>
            </a:r>
          </a:p>
        </p:txBody>
      </p:sp>
      <p:sp>
        <p:nvSpPr>
          <p:cNvPr id="42" name="PoleTekstowe 10"/>
          <p:cNvSpPr txBox="1"/>
          <p:nvPr/>
        </p:nvSpPr>
        <p:spPr>
          <a:xfrm>
            <a:off x="-1224281" y="3221017"/>
            <a:ext cx="1127762" cy="2285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118/126/132</a:t>
            </a:r>
          </a:p>
        </p:txBody>
      </p:sp>
      <p:sp>
        <p:nvSpPr>
          <p:cNvPr id="43" name="PoleTekstowe 11"/>
          <p:cNvSpPr txBox="1"/>
          <p:nvPr/>
        </p:nvSpPr>
        <p:spPr>
          <a:xfrm>
            <a:off x="-1224281" y="2277177"/>
            <a:ext cx="1127762" cy="2285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183/32/51</a:t>
            </a:r>
          </a:p>
        </p:txBody>
      </p:sp>
      <p:sp>
        <p:nvSpPr>
          <p:cNvPr id="44" name="PoleTekstowe 12"/>
          <p:cNvSpPr txBox="1"/>
          <p:nvPr/>
        </p:nvSpPr>
        <p:spPr>
          <a:xfrm>
            <a:off x="-1224281" y="2714792"/>
            <a:ext cx="1127762" cy="2285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lvl1pPr>
          </a:lstStyle>
          <a:p>
            <a:r>
              <a:t>227/30/54</a:t>
            </a:r>
          </a:p>
        </p:txBody>
      </p:sp>
      <p:sp>
        <p:nvSpPr>
          <p:cNvPr id="45" name="Prostokąt 1"/>
          <p:cNvSpPr/>
          <p:nvPr/>
        </p:nvSpPr>
        <p:spPr>
          <a:xfrm>
            <a:off x="1" y="6074228"/>
            <a:ext cx="2638696" cy="783772"/>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20" name="Slide Number Placeholder 19"/>
          <p:cNvSpPr>
            <a:spLocks noGrp="1"/>
          </p:cNvSpPr>
          <p:nvPr>
            <p:ph type="sldNum" sz="quarter" idx="4"/>
          </p:nvPr>
        </p:nvSpPr>
        <p:spPr>
          <a:xfrm>
            <a:off x="910854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A145B3-C375-4AB9-8F99-B9C6AEFD5B3D}" type="slidenum">
              <a:rPr lang="en-US" smtClean="0"/>
              <a:t>‹#›</a:t>
            </a:fld>
            <a:endParaRPr lang="en-US" dirty="0"/>
          </a:p>
        </p:txBody>
      </p:sp>
      <p:pic>
        <p:nvPicPr>
          <p:cNvPr id="18" name="Obraz 17"/>
          <p:cNvPicPr>
            <a:picLocks noChangeAspect="1"/>
          </p:cNvPicPr>
          <p:nvPr userDrawn="1"/>
        </p:nvPicPr>
        <p:blipFill rotWithShape="1">
          <a:blip r:embed="rId3" cstate="print">
            <a:extLst>
              <a:ext uri="{28A0092B-C50C-407E-A947-70E740481C1C}">
                <a14:useLocalDpi xmlns:a14="http://schemas.microsoft.com/office/drawing/2010/main" val="0"/>
              </a:ext>
            </a:extLst>
          </a:blip>
          <a:srcRect b="16342"/>
          <a:stretch/>
        </p:blipFill>
        <p:spPr>
          <a:xfrm>
            <a:off x="312769" y="6559080"/>
            <a:ext cx="1435983" cy="275829"/>
          </a:xfrm>
          <a:prstGeom prst="rect">
            <a:avLst/>
          </a:prstGeom>
        </p:spPr>
      </p:pic>
      <p:pic>
        <p:nvPicPr>
          <p:cNvPr id="17" name="Obraz 16"/>
          <p:cNvPicPr>
            <a:picLocks noChangeAspect="1"/>
          </p:cNvPicPr>
          <p:nvPr userDrawn="1"/>
        </p:nvPicPr>
        <p:blipFill rotWithShape="1">
          <a:blip r:embed="rId4" cstate="print">
            <a:extLst>
              <a:ext uri="{28A0092B-C50C-407E-A947-70E740481C1C}">
                <a14:useLocalDpi xmlns:a14="http://schemas.microsoft.com/office/drawing/2010/main" val="0"/>
              </a:ext>
            </a:extLst>
          </a:blip>
          <a:srcRect t="19404" r="14525"/>
          <a:stretch/>
        </p:blipFill>
        <p:spPr>
          <a:xfrm>
            <a:off x="10415392" y="87682"/>
            <a:ext cx="1665961" cy="792057"/>
          </a:xfrm>
          <a:prstGeom prst="rect">
            <a:avLst/>
          </a:prstGeom>
        </p:spPr>
      </p:pic>
    </p:spTree>
    <p:extLst>
      <p:ext uri="{BB962C8B-B14F-4D97-AF65-F5344CB8AC3E}">
        <p14:creationId xmlns:p14="http://schemas.microsoft.com/office/powerpoint/2010/main" val="750325516"/>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Zawartość z podpisem">
    <p:spTree>
      <p:nvGrpSpPr>
        <p:cNvPr id="1" name=""/>
        <p:cNvGrpSpPr/>
        <p:nvPr/>
      </p:nvGrpSpPr>
      <p:grpSpPr>
        <a:xfrm>
          <a:off x="0" y="0"/>
          <a:ext cx="0" cy="0"/>
          <a:chOff x="0" y="0"/>
          <a:chExt cx="0" cy="0"/>
        </a:xfrm>
      </p:grpSpPr>
      <p:sp>
        <p:nvSpPr>
          <p:cNvPr id="6" name="Tytuł 5"/>
          <p:cNvSpPr>
            <a:spLocks noGrp="1"/>
          </p:cNvSpPr>
          <p:nvPr>
            <p:ph type="title"/>
          </p:nvPr>
        </p:nvSpPr>
        <p:spPr>
          <a:xfrm>
            <a:off x="362139" y="232543"/>
            <a:ext cx="10293790" cy="829933"/>
          </a:xfrm>
          <a:prstGeom prst="rect">
            <a:avLst/>
          </a:prstGeom>
        </p:spPr>
        <p:txBody>
          <a:bodyPr/>
          <a:lstStyle>
            <a:lvl1pPr>
              <a:defRPr sz="2400" b="1">
                <a:solidFill>
                  <a:schemeClr val="tx2"/>
                </a:solidFill>
              </a:defRPr>
            </a:lvl1pPr>
          </a:lstStyle>
          <a:p>
            <a:r>
              <a:rPr lang="pl-PL"/>
              <a:t>Kliknij, aby edytować styl</a:t>
            </a:r>
          </a:p>
        </p:txBody>
      </p:sp>
      <p:sp>
        <p:nvSpPr>
          <p:cNvPr id="7" name="Symbol zastępczy tekstu 12"/>
          <p:cNvSpPr>
            <a:spLocks noGrp="1"/>
          </p:cNvSpPr>
          <p:nvPr>
            <p:ph type="body" sz="quarter" idx="10"/>
          </p:nvPr>
        </p:nvSpPr>
        <p:spPr>
          <a:xfrm>
            <a:off x="362140" y="1692275"/>
            <a:ext cx="11434526" cy="4591050"/>
          </a:xfrm>
          <a:prstGeom prst="rect">
            <a:avLst/>
          </a:prstGeom>
        </p:spPr>
        <p:txBody>
          <a:bodyPr/>
          <a:lstStyle>
            <a:lvl1pPr marL="180975" indent="-180975">
              <a:buClr>
                <a:schemeClr val="tx2"/>
              </a:buClr>
              <a:buFont typeface="Wingdings" panose="05000000000000000000" pitchFamily="2" charset="2"/>
              <a:buChar char="§"/>
              <a:defRPr sz="1600"/>
            </a:lvl1pPr>
            <a:lvl2pPr marL="533400" indent="-171450">
              <a:buClr>
                <a:schemeClr val="tx2"/>
              </a:buClr>
              <a:buFont typeface="Wingdings" panose="05000000000000000000" pitchFamily="2" charset="2"/>
              <a:buChar char="§"/>
              <a:defRPr sz="1600"/>
            </a:lvl2pPr>
            <a:lvl3pPr marL="896938" indent="-180975">
              <a:buClr>
                <a:schemeClr val="tx2"/>
              </a:buClr>
              <a:buFont typeface="Wingdings" panose="05000000000000000000" pitchFamily="2" charset="2"/>
              <a:buChar char="§"/>
              <a:defRPr sz="1600"/>
            </a:lvl3pPr>
            <a:lvl4pPr marL="1258888" indent="-180975">
              <a:buClr>
                <a:schemeClr val="tx2"/>
              </a:buClr>
              <a:buFont typeface="Wingdings" panose="05000000000000000000" pitchFamily="2" charset="2"/>
              <a:buChar char="§"/>
              <a:defRPr sz="1600"/>
            </a:lvl4pPr>
            <a:lvl5pPr marL="1611313" indent="-171450">
              <a:buClr>
                <a:schemeClr val="tx2"/>
              </a:buClr>
              <a:buFont typeface="Wingdings" panose="05000000000000000000" pitchFamily="2" charset="2"/>
              <a:buChar char="§"/>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pl-PL" dirty="0"/>
          </a:p>
        </p:txBody>
      </p:sp>
      <p:sp>
        <p:nvSpPr>
          <p:cNvPr id="4" name="Slide Number Placeholder 15"/>
          <p:cNvSpPr>
            <a:spLocks noGrp="1"/>
          </p:cNvSpPr>
          <p:nvPr>
            <p:ph type="sldNum" sz="quarter" idx="4"/>
          </p:nvPr>
        </p:nvSpPr>
        <p:spPr>
          <a:xfrm>
            <a:off x="91059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30D576-EDB4-4767-A840-38EFCFF3C29D}" type="slidenum">
              <a:rPr lang="en-US" smtClean="0"/>
              <a:t>‹#›</a:t>
            </a:fld>
            <a:endParaRPr lang="en-US"/>
          </a:p>
        </p:txBody>
      </p:sp>
    </p:spTree>
    <p:extLst>
      <p:ext uri="{BB962C8B-B14F-4D97-AF65-F5344CB8AC3E}">
        <p14:creationId xmlns:p14="http://schemas.microsoft.com/office/powerpoint/2010/main" val="604711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strona tytuowa_2">
    <p:spTree>
      <p:nvGrpSpPr>
        <p:cNvPr id="1" name=""/>
        <p:cNvGrpSpPr/>
        <p:nvPr/>
      </p:nvGrpSpPr>
      <p:grpSpPr>
        <a:xfrm>
          <a:off x="0" y="0"/>
          <a:ext cx="0" cy="0"/>
          <a:chOff x="0" y="0"/>
          <a:chExt cx="0" cy="0"/>
        </a:xfrm>
      </p:grpSpPr>
      <p:pic>
        <p:nvPicPr>
          <p:cNvPr id="8" name="Obraz 7" descr="Obraz zawierający obiekt, znak, zegar&#10;&#10;Opis wygenerowany automatycznie">
            <a:extLst>
              <a:ext uri="{FF2B5EF4-FFF2-40B4-BE49-F238E27FC236}">
                <a16:creationId xmlns:a16="http://schemas.microsoft.com/office/drawing/2014/main" id="{A9850A80-9FB2-9C4A-AFB6-ECC92379393B}"/>
              </a:ext>
            </a:extLst>
          </p:cNvPr>
          <p:cNvPicPr>
            <a:picLocks noChangeAspect="1"/>
          </p:cNvPicPr>
          <p:nvPr userDrawn="1"/>
        </p:nvPicPr>
        <p:blipFill>
          <a:blip r:embed="rId2"/>
          <a:stretch>
            <a:fillRect/>
          </a:stretch>
        </p:blipFill>
        <p:spPr>
          <a:xfrm>
            <a:off x="458095" y="446666"/>
            <a:ext cx="2749089" cy="648000"/>
          </a:xfrm>
          <a:prstGeom prst="rect">
            <a:avLst/>
          </a:prstGeom>
        </p:spPr>
      </p:pic>
      <p:pic>
        <p:nvPicPr>
          <p:cNvPr id="6" name="Obraz 5" descr="Obraz zawierający zabawka&#10;&#10;Opis wygenerowany automatycznie">
            <a:extLst>
              <a:ext uri="{FF2B5EF4-FFF2-40B4-BE49-F238E27FC236}">
                <a16:creationId xmlns:a16="http://schemas.microsoft.com/office/drawing/2014/main" id="{392A028D-E7D5-3843-96C4-8C8C4BAC4A20}"/>
              </a:ext>
            </a:extLst>
          </p:cNvPr>
          <p:cNvPicPr>
            <a:picLocks noChangeAspect="1"/>
          </p:cNvPicPr>
          <p:nvPr userDrawn="1"/>
        </p:nvPicPr>
        <p:blipFill>
          <a:blip r:embed="rId3"/>
          <a:stretch>
            <a:fillRect/>
          </a:stretch>
        </p:blipFill>
        <p:spPr>
          <a:xfrm>
            <a:off x="5555818" y="0"/>
            <a:ext cx="6858000" cy="6858000"/>
          </a:xfrm>
          <a:prstGeom prst="rect">
            <a:avLst/>
          </a:prstGeom>
        </p:spPr>
      </p:pic>
      <p:sp>
        <p:nvSpPr>
          <p:cNvPr id="9" name="Tytuł 1">
            <a:extLst>
              <a:ext uri="{FF2B5EF4-FFF2-40B4-BE49-F238E27FC236}">
                <a16:creationId xmlns:a16="http://schemas.microsoft.com/office/drawing/2014/main" id="{BB1F27D3-15F7-2649-98E9-45017768DF86}"/>
              </a:ext>
            </a:extLst>
          </p:cNvPr>
          <p:cNvSpPr>
            <a:spLocks noGrp="1"/>
          </p:cNvSpPr>
          <p:nvPr>
            <p:ph type="ctrTitle"/>
          </p:nvPr>
        </p:nvSpPr>
        <p:spPr>
          <a:xfrm>
            <a:off x="361273" y="1892174"/>
            <a:ext cx="4609079" cy="1734450"/>
          </a:xfrm>
          <a:prstGeom prst="rect">
            <a:avLst/>
          </a:prstGeom>
        </p:spPr>
        <p:txBody>
          <a:bodyPr anchor="b">
            <a:normAutofit/>
          </a:bodyPr>
          <a:lstStyle>
            <a:lvl1pPr algn="l">
              <a:defRPr sz="4000"/>
            </a:lvl1pPr>
          </a:lstStyle>
          <a:p>
            <a:r>
              <a:rPr lang="pl-PL" dirty="0"/>
              <a:t>Kliknij, aby edytować styl</a:t>
            </a:r>
          </a:p>
        </p:txBody>
      </p:sp>
      <p:sp>
        <p:nvSpPr>
          <p:cNvPr id="10" name="Podtytuł 2">
            <a:extLst>
              <a:ext uri="{FF2B5EF4-FFF2-40B4-BE49-F238E27FC236}">
                <a16:creationId xmlns:a16="http://schemas.microsoft.com/office/drawing/2014/main" id="{934BD025-2397-D940-9E08-8782E174431F}"/>
              </a:ext>
            </a:extLst>
          </p:cNvPr>
          <p:cNvSpPr>
            <a:spLocks noGrp="1"/>
          </p:cNvSpPr>
          <p:nvPr>
            <p:ph type="subTitle" idx="1"/>
          </p:nvPr>
        </p:nvSpPr>
        <p:spPr>
          <a:xfrm>
            <a:off x="361274" y="3824392"/>
            <a:ext cx="4609078" cy="1070338"/>
          </a:xfrm>
        </p:spPr>
        <p:txBody>
          <a:bodyPr>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19" name="Symbol zastępczy tekstu 13">
            <a:extLst>
              <a:ext uri="{FF2B5EF4-FFF2-40B4-BE49-F238E27FC236}">
                <a16:creationId xmlns:a16="http://schemas.microsoft.com/office/drawing/2014/main" id="{FD4BD2F1-2BAB-6444-84E7-B650159872D5}"/>
              </a:ext>
            </a:extLst>
          </p:cNvPr>
          <p:cNvSpPr>
            <a:spLocks noGrp="1"/>
          </p:cNvSpPr>
          <p:nvPr>
            <p:ph type="body" sz="quarter" idx="10" hasCustomPrompt="1"/>
          </p:nvPr>
        </p:nvSpPr>
        <p:spPr>
          <a:xfrm>
            <a:off x="361273" y="5583816"/>
            <a:ext cx="5540375" cy="532456"/>
          </a:xfrm>
        </p:spPr>
        <p:txBody>
          <a:bodyPr anchor="ctr">
            <a:noAutofit/>
          </a:bodyPr>
          <a:lstStyle>
            <a:lvl1pPr>
              <a:defRPr sz="1600">
                <a:solidFill>
                  <a:schemeClr val="bg2">
                    <a:lumMod val="50000"/>
                  </a:schemeClr>
                </a:solidFill>
              </a:defRPr>
            </a:lvl1pPr>
            <a:lvl2pPr>
              <a:defRPr sz="1800"/>
            </a:lvl2pPr>
            <a:lvl3pPr>
              <a:defRPr sz="1800"/>
            </a:lvl3pPr>
            <a:lvl4pPr>
              <a:defRPr sz="1800"/>
            </a:lvl4pPr>
            <a:lvl5pPr>
              <a:defRPr sz="1800"/>
            </a:lvl5pPr>
          </a:lstStyle>
          <a:p>
            <a:pPr lvl="0"/>
            <a:r>
              <a:rPr lang="pl-PL" dirty="0"/>
              <a:t>Data i miejsce</a:t>
            </a:r>
          </a:p>
        </p:txBody>
      </p:sp>
    </p:spTree>
    <p:extLst>
      <p:ext uri="{BB962C8B-B14F-4D97-AF65-F5344CB8AC3E}">
        <p14:creationId xmlns:p14="http://schemas.microsoft.com/office/powerpoint/2010/main" val="281911815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wstep_3">
    <p:spTree>
      <p:nvGrpSpPr>
        <p:cNvPr id="1" name=""/>
        <p:cNvGrpSpPr/>
        <p:nvPr/>
      </p:nvGrpSpPr>
      <p:grpSpPr>
        <a:xfrm>
          <a:off x="0" y="0"/>
          <a:ext cx="0" cy="0"/>
          <a:chOff x="0" y="0"/>
          <a:chExt cx="0" cy="0"/>
        </a:xfrm>
      </p:grpSpPr>
      <p:pic>
        <p:nvPicPr>
          <p:cNvPr id="6" name="Obraz 5" descr="Obraz zawierający znak, talerz, rysunek&#10;&#10;Opis wygenerowany automatycznie">
            <a:extLst>
              <a:ext uri="{FF2B5EF4-FFF2-40B4-BE49-F238E27FC236}">
                <a16:creationId xmlns:a16="http://schemas.microsoft.com/office/drawing/2014/main" id="{112796CD-447B-F345-ABF6-EEC02D9DB370}"/>
              </a:ext>
            </a:extLst>
          </p:cNvPr>
          <p:cNvPicPr>
            <a:picLocks noChangeAspect="1"/>
          </p:cNvPicPr>
          <p:nvPr userDrawn="1"/>
        </p:nvPicPr>
        <p:blipFill>
          <a:blip r:embed="rId2"/>
          <a:stretch>
            <a:fillRect/>
          </a:stretch>
        </p:blipFill>
        <p:spPr>
          <a:xfrm>
            <a:off x="476201" y="519092"/>
            <a:ext cx="881240" cy="296473"/>
          </a:xfrm>
          <a:prstGeom prst="rect">
            <a:avLst/>
          </a:prstGeom>
        </p:spPr>
      </p:pic>
      <p:sp>
        <p:nvSpPr>
          <p:cNvPr id="10" name="Symbol zastępczy obrazu 13">
            <a:extLst>
              <a:ext uri="{FF2B5EF4-FFF2-40B4-BE49-F238E27FC236}">
                <a16:creationId xmlns:a16="http://schemas.microsoft.com/office/drawing/2014/main" id="{C317B7CE-C9F6-0F46-B12E-2ADBEE092612}"/>
              </a:ext>
            </a:extLst>
          </p:cNvPr>
          <p:cNvSpPr>
            <a:spLocks noGrp="1"/>
          </p:cNvSpPr>
          <p:nvPr>
            <p:ph type="pic" sz="quarter" idx="12" hasCustomPrompt="1"/>
          </p:nvPr>
        </p:nvSpPr>
        <p:spPr>
          <a:xfrm>
            <a:off x="7455049" y="0"/>
            <a:ext cx="4736951" cy="6858000"/>
          </a:xfrm>
          <a:solidFill>
            <a:schemeClr val="bg1">
              <a:lumMod val="95000"/>
            </a:schemeClr>
          </a:solidFill>
        </p:spPr>
        <p:txBody>
          <a:bodyPr/>
          <a:lstStyle/>
          <a:p>
            <a:r>
              <a:rPr lang="pl-PL" dirty="0"/>
              <a:t>foto</a:t>
            </a:r>
          </a:p>
        </p:txBody>
      </p:sp>
      <p:sp>
        <p:nvSpPr>
          <p:cNvPr id="11" name="Symbol zastępczy obrazu 13">
            <a:extLst>
              <a:ext uri="{FF2B5EF4-FFF2-40B4-BE49-F238E27FC236}">
                <a16:creationId xmlns:a16="http://schemas.microsoft.com/office/drawing/2014/main" id="{A51B9D92-1E20-A545-AB76-4B574ED037E8}"/>
              </a:ext>
            </a:extLst>
          </p:cNvPr>
          <p:cNvSpPr>
            <a:spLocks noGrp="1"/>
          </p:cNvSpPr>
          <p:nvPr>
            <p:ph type="pic" sz="quarter" idx="13" hasCustomPrompt="1"/>
          </p:nvPr>
        </p:nvSpPr>
        <p:spPr>
          <a:xfrm>
            <a:off x="6328373" y="921972"/>
            <a:ext cx="2190938" cy="2219579"/>
          </a:xfrm>
          <a:noFill/>
        </p:spPr>
        <p:txBody>
          <a:bodyPr/>
          <a:lstStyle>
            <a:lvl1pPr marL="0" indent="0">
              <a:buNone/>
              <a:defRPr/>
            </a:lvl1pPr>
          </a:lstStyle>
          <a:p>
            <a:r>
              <a:rPr lang="pl-PL" dirty="0"/>
              <a:t>Ikona</a:t>
            </a:r>
          </a:p>
        </p:txBody>
      </p:sp>
      <p:sp>
        <p:nvSpPr>
          <p:cNvPr id="12" name="Tytuł 1">
            <a:extLst>
              <a:ext uri="{FF2B5EF4-FFF2-40B4-BE49-F238E27FC236}">
                <a16:creationId xmlns:a16="http://schemas.microsoft.com/office/drawing/2014/main" id="{4F4B6E99-3623-484F-B020-A75C878706A0}"/>
              </a:ext>
            </a:extLst>
          </p:cNvPr>
          <p:cNvSpPr>
            <a:spLocks noGrp="1"/>
          </p:cNvSpPr>
          <p:nvPr>
            <p:ph type="ctrTitle"/>
          </p:nvPr>
        </p:nvSpPr>
        <p:spPr>
          <a:xfrm>
            <a:off x="361273" y="2088445"/>
            <a:ext cx="5502355" cy="959555"/>
          </a:xfrm>
        </p:spPr>
        <p:txBody>
          <a:bodyPr anchor="b">
            <a:normAutofit/>
          </a:bodyPr>
          <a:lstStyle>
            <a:lvl1pPr algn="l">
              <a:lnSpc>
                <a:spcPct val="100000"/>
              </a:lnSpc>
              <a:defRPr sz="3000" b="1" i="0">
                <a:latin typeface="Helvetica" pitchFamily="2" charset="0"/>
              </a:defRPr>
            </a:lvl1pPr>
          </a:lstStyle>
          <a:p>
            <a:r>
              <a:rPr lang="pl-PL" dirty="0"/>
              <a:t>Kliknij, aby edytować styl</a:t>
            </a:r>
          </a:p>
        </p:txBody>
      </p:sp>
      <p:sp>
        <p:nvSpPr>
          <p:cNvPr id="13" name="Podtytuł 2">
            <a:extLst>
              <a:ext uri="{FF2B5EF4-FFF2-40B4-BE49-F238E27FC236}">
                <a16:creationId xmlns:a16="http://schemas.microsoft.com/office/drawing/2014/main" id="{E0AE9057-EAA6-4541-939A-FA64E3FABA8F}"/>
              </a:ext>
            </a:extLst>
          </p:cNvPr>
          <p:cNvSpPr>
            <a:spLocks noGrp="1"/>
          </p:cNvSpPr>
          <p:nvPr>
            <p:ph type="subTitle" idx="1"/>
          </p:nvPr>
        </p:nvSpPr>
        <p:spPr>
          <a:xfrm>
            <a:off x="361273" y="3253017"/>
            <a:ext cx="5502355" cy="2459161"/>
          </a:xfrm>
        </p:spPr>
        <p:txBody>
          <a:bodyPr numCol="1" anchor="t">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pl-PL" sz="22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lang="pl-PL" dirty="0" err="1">
              <a:solidFill>
                <a:srgbClr val="454545"/>
              </a:solidFill>
              <a:effectLst/>
              <a:latin typeface="Helvetica Neue" panose="02000503000000020004" pitchFamily="2" charset="0"/>
            </a:endParaRPr>
          </a:p>
        </p:txBody>
      </p:sp>
    </p:spTree>
    <p:extLst>
      <p:ext uri="{BB962C8B-B14F-4D97-AF65-F5344CB8AC3E}">
        <p14:creationId xmlns:p14="http://schemas.microsoft.com/office/powerpoint/2010/main" val="9629077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ekst podstawowy_0">
    <p:spTree>
      <p:nvGrpSpPr>
        <p:cNvPr id="1" name=""/>
        <p:cNvGrpSpPr/>
        <p:nvPr/>
      </p:nvGrpSpPr>
      <p:grpSpPr>
        <a:xfrm>
          <a:off x="0" y="0"/>
          <a:ext cx="0" cy="0"/>
          <a:chOff x="0" y="0"/>
          <a:chExt cx="0" cy="0"/>
        </a:xfrm>
      </p:grpSpPr>
      <p:pic>
        <p:nvPicPr>
          <p:cNvPr id="6" name="Obraz 5" descr="Obraz zawierający znak, talerz, rysunek&#10;&#10;Opis wygenerowany automatycznie">
            <a:extLst>
              <a:ext uri="{FF2B5EF4-FFF2-40B4-BE49-F238E27FC236}">
                <a16:creationId xmlns:a16="http://schemas.microsoft.com/office/drawing/2014/main" id="{112796CD-447B-F345-ABF6-EEC02D9DB370}"/>
              </a:ext>
            </a:extLst>
          </p:cNvPr>
          <p:cNvPicPr>
            <a:picLocks noChangeAspect="1"/>
          </p:cNvPicPr>
          <p:nvPr userDrawn="1"/>
        </p:nvPicPr>
        <p:blipFill>
          <a:blip r:embed="rId2"/>
          <a:stretch>
            <a:fillRect/>
          </a:stretch>
        </p:blipFill>
        <p:spPr>
          <a:xfrm>
            <a:off x="476201" y="519092"/>
            <a:ext cx="881240" cy="296473"/>
          </a:xfrm>
          <a:prstGeom prst="rect">
            <a:avLst/>
          </a:prstGeom>
        </p:spPr>
      </p:pic>
      <p:sp>
        <p:nvSpPr>
          <p:cNvPr id="9" name="Podtytuł 2">
            <a:extLst>
              <a:ext uri="{FF2B5EF4-FFF2-40B4-BE49-F238E27FC236}">
                <a16:creationId xmlns:a16="http://schemas.microsoft.com/office/drawing/2014/main" id="{15900FF0-DF9B-1F42-9D2E-76A68A7776FD}"/>
              </a:ext>
            </a:extLst>
          </p:cNvPr>
          <p:cNvSpPr>
            <a:spLocks noGrp="1"/>
          </p:cNvSpPr>
          <p:nvPr>
            <p:ph type="subTitle" idx="1" hasCustomPrompt="1"/>
          </p:nvPr>
        </p:nvSpPr>
        <p:spPr>
          <a:xfrm>
            <a:off x="361273" y="2199419"/>
            <a:ext cx="7868327" cy="3354714"/>
          </a:xfrm>
        </p:spPr>
        <p:txBody>
          <a:bodyPr vert="horz" wrap="square" numCol="2" spcCol="540000" anchor="t">
            <a:noAutofit/>
          </a:bodyPr>
          <a:lstStyle>
            <a:lvl1pPr marL="0" indent="0" algn="l">
              <a:lnSpc>
                <a:spcPts val="1940"/>
              </a:lnSpc>
              <a:buFontTx/>
              <a:buNone/>
              <a:defRPr lang="pl-PL" sz="12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ps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lor</a:t>
            </a:r>
            <a:r>
              <a:rPr lang="pl-PL" dirty="0">
                <a:solidFill>
                  <a:srgbClr val="222222"/>
                </a:solidFill>
                <a:effectLst/>
                <a:latin typeface="Helvetica Light" panose="020B0403020202020204" pitchFamily="34" charset="0"/>
              </a:rPr>
              <a:t> sit </a:t>
            </a:r>
            <a:r>
              <a:rPr lang="pl-PL" dirty="0" err="1">
                <a:solidFill>
                  <a:srgbClr val="222222"/>
                </a:solidFill>
                <a:effectLst/>
                <a:latin typeface="Helvetica Light" panose="020B0403020202020204" pitchFamily="34" charset="0"/>
              </a:rPr>
              <a:t>am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sectetu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dipiscing</a:t>
            </a:r>
            <a:r>
              <a:rPr lang="pl-PL" dirty="0">
                <a:solidFill>
                  <a:srgbClr val="222222"/>
                </a:solidFill>
                <a:effectLst/>
                <a:latin typeface="Helvetica Light" panose="020B0403020202020204" pitchFamily="34" charset="0"/>
              </a:rPr>
              <a:t> elit. </a:t>
            </a:r>
            <a:r>
              <a:rPr lang="pl-PL" dirty="0" err="1">
                <a:solidFill>
                  <a:srgbClr val="222222"/>
                </a:solidFill>
                <a:effectLst/>
                <a:latin typeface="Helvetica Light" panose="020B0403020202020204" pitchFamily="34" charset="0"/>
              </a:rPr>
              <a:t>Proin</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bh</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u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uscipit</a:t>
            </a:r>
            <a:r>
              <a:rPr lang="pl-PL" dirty="0">
                <a:solidFill>
                  <a:srgbClr val="222222"/>
                </a:solidFill>
                <a:effectLst/>
                <a:latin typeface="Helvetica Light" panose="020B0403020202020204" pitchFamily="34" charset="0"/>
              </a:rPr>
              <a:t> a, </a:t>
            </a:r>
            <a:r>
              <a:rPr lang="pl-PL" dirty="0" err="1">
                <a:solidFill>
                  <a:srgbClr val="222222"/>
                </a:solidFill>
                <a:effectLst/>
                <a:latin typeface="Helvetica Light" panose="020B0403020202020204" pitchFamily="34" charset="0"/>
              </a:rPr>
              <a:t>sceler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acinia</a:t>
            </a:r>
            <a:r>
              <a:rPr lang="pl-PL" dirty="0">
                <a:solidFill>
                  <a:srgbClr val="222222"/>
                </a:solidFill>
                <a:effectLst/>
                <a:latin typeface="Helvetica Light" panose="020B0403020202020204" pitchFamily="34" charset="0"/>
              </a:rPr>
              <a:t> in, mi. </a:t>
            </a:r>
            <a:r>
              <a:rPr lang="pl-PL" dirty="0" err="1">
                <a:solidFill>
                  <a:srgbClr val="222222"/>
                </a:solidFill>
                <a:effectLst/>
                <a:latin typeface="Helvetica Light" panose="020B0403020202020204" pitchFamily="34" charset="0"/>
              </a:rPr>
              <a:t>Cra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t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llente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retr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ull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mpe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just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ris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ne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enenat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urpi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hendreri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nterd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ligula </a:t>
            </a:r>
            <a:r>
              <a:rPr lang="pl-PL" dirty="0" err="1">
                <a:solidFill>
                  <a:srgbClr val="222222"/>
                </a:solidFill>
                <a:effectLst/>
                <a:latin typeface="Helvetica Light" panose="020B0403020202020204" pitchFamily="34" charset="0"/>
              </a:rPr>
              <a:t>ultrici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ur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osuer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iber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id </a:t>
            </a:r>
            <a:r>
              <a:rPr lang="pl-PL" dirty="0" err="1">
                <a:solidFill>
                  <a:srgbClr val="222222"/>
                </a:solidFill>
                <a:effectLst/>
                <a:latin typeface="Helvetica Light" panose="020B0403020202020204" pitchFamily="34" charset="0"/>
              </a:rPr>
              <a:t>orci</a:t>
            </a:r>
            <a:r>
              <a:rPr lang="pl-PL" dirty="0">
                <a:solidFill>
                  <a:srgbClr val="222222"/>
                </a:solidFill>
                <a:effectLst/>
                <a:latin typeface="Helvetica Light" panose="020B0403020202020204" pitchFamily="34" charset="0"/>
              </a:rPr>
              <a:t>. Nam </a:t>
            </a:r>
            <a:r>
              <a:rPr lang="pl-PL" dirty="0" err="1">
                <a:solidFill>
                  <a:srgbClr val="222222"/>
                </a:solidFill>
                <a:effectLst/>
                <a:latin typeface="Helvetica Light" panose="020B0403020202020204" pitchFamily="34" charset="0"/>
              </a:rPr>
              <a:t>con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de</a:t>
            </a:r>
            <a:r>
              <a:rPr lang="pl-PL" dirty="0">
                <a:solidFill>
                  <a:srgbClr val="222222"/>
                </a:solidFill>
                <a:effectLst/>
                <a:latin typeface="Helvetica Light" panose="020B0403020202020204" pitchFamily="34" charset="0"/>
              </a:rPr>
              <a:t> vitae </a:t>
            </a:r>
            <a:r>
              <a:rPr lang="pl-PL" dirty="0" err="1">
                <a:solidFill>
                  <a:srgbClr val="222222"/>
                </a:solidFill>
                <a:effectLst/>
                <a:latin typeface="Helvetica Light" panose="020B0403020202020204" pitchFamily="34" charset="0"/>
              </a:rPr>
              <a:t>dapib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et</a:t>
            </a:r>
            <a:r>
              <a:rPr lang="pl-PL" dirty="0">
                <a:solidFill>
                  <a:srgbClr val="222222"/>
                </a:solidFill>
                <a:effectLst/>
                <a:latin typeface="Helvetica Light" panose="020B0403020202020204" pitchFamily="34" charset="0"/>
              </a:rPr>
              <a:t>, elit </a:t>
            </a:r>
            <a:r>
              <a:rPr lang="pl-PL" dirty="0" err="1">
                <a:solidFill>
                  <a:srgbClr val="222222"/>
                </a:solidFill>
                <a:effectLst/>
                <a:latin typeface="Helvetica Light" panose="020B0403020202020204" pitchFamily="34" charset="0"/>
              </a:rPr>
              <a:t>magn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ulputat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rcu</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temp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et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eo</a:t>
            </a:r>
            <a:r>
              <a:rPr lang="pl-PL" dirty="0">
                <a:solidFill>
                  <a:srgbClr val="222222"/>
                </a:solidFill>
                <a:effectLst/>
                <a:latin typeface="Helvetica Light" panose="020B0403020202020204" pitchFamily="34" charset="0"/>
              </a:rPr>
              <a:t> non </a:t>
            </a:r>
            <a:r>
              <a:rPr lang="pl-PL" dirty="0" err="1">
                <a:solidFill>
                  <a:srgbClr val="222222"/>
                </a:solidFill>
                <a:effectLst/>
                <a:latin typeface="Helvetica Light" panose="020B0403020202020204" pitchFamily="34" charset="0"/>
              </a:rPr>
              <a:t>es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tiam</a:t>
            </a:r>
            <a:r>
              <a:rPr lang="pl-PL" dirty="0">
                <a:solidFill>
                  <a:srgbClr val="222222"/>
                </a:solidFill>
                <a:effectLst/>
                <a:latin typeface="Helvetica Light" panose="020B0403020202020204" pitchFamily="34" charset="0"/>
              </a:rPr>
              <a:t> sit </a:t>
            </a:r>
            <a:r>
              <a:rPr lang="pl-PL" dirty="0" err="1">
                <a:solidFill>
                  <a:srgbClr val="222222"/>
                </a:solidFill>
                <a:effectLst/>
                <a:latin typeface="Helvetica Light" panose="020B0403020202020204" pitchFamily="34" charset="0"/>
              </a:rPr>
              <a:t>am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ect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s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oll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ac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g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eque</a:t>
            </a:r>
            <a:r>
              <a:rPr lang="pl-PL" dirty="0">
                <a:solidFill>
                  <a:srgbClr val="222222"/>
                </a:solidFill>
                <a:effectLst/>
                <a:latin typeface="Helvetica Light" panose="020B0403020202020204" pitchFamily="34" charset="0"/>
              </a:rPr>
              <a:t>. </a:t>
            </a:r>
          </a:p>
          <a:p>
            <a:pPr lvl="0"/>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ornar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nte</a:t>
            </a:r>
            <a:r>
              <a:rPr lang="pl-PL" dirty="0">
                <a:solidFill>
                  <a:srgbClr val="222222"/>
                </a:solidFill>
                <a:effectLst/>
                <a:latin typeface="Helvetica Light" panose="020B0403020202020204" pitchFamily="34" charset="0"/>
              </a:rPr>
              <a:t> vitae </a:t>
            </a:r>
            <a:r>
              <a:rPr lang="pl-PL" dirty="0" err="1">
                <a:solidFill>
                  <a:srgbClr val="222222"/>
                </a:solidFill>
                <a:effectLst/>
                <a:latin typeface="Helvetica Light" panose="020B0403020202020204" pitchFamily="34" charset="0"/>
              </a:rPr>
              <a:t>consectetue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sequ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ur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apien</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ultrici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lor</a:t>
            </a:r>
            <a:r>
              <a:rPr lang="pl-PL" dirty="0">
                <a:solidFill>
                  <a:srgbClr val="222222"/>
                </a:solidFill>
                <a:effectLst/>
                <a:latin typeface="Helvetica Light" panose="020B0403020202020204" pitchFamily="34" charset="0"/>
              </a:rPr>
              <a:t>, et </a:t>
            </a:r>
            <a:r>
              <a:rPr lang="pl-PL" dirty="0" err="1">
                <a:solidFill>
                  <a:srgbClr val="222222"/>
                </a:solidFill>
                <a:effectLst/>
                <a:latin typeface="Helvetica Light" panose="020B0403020202020204" pitchFamily="34" charset="0"/>
              </a:rPr>
              <a:t>moll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d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et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g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si</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raesen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odal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eli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u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ra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uscipit</a:t>
            </a:r>
            <a:r>
              <a:rPr lang="pl-PL" dirty="0">
                <a:solidFill>
                  <a:srgbClr val="222222"/>
                </a:solidFill>
                <a:effectLst/>
                <a:latin typeface="Helvetica Light" panose="020B0403020202020204" pitchFamily="34" charset="0"/>
              </a:rPr>
              <a:t>, urna </a:t>
            </a:r>
            <a:r>
              <a:rPr lang="pl-PL" dirty="0" err="1">
                <a:solidFill>
                  <a:srgbClr val="222222"/>
                </a:solidFill>
                <a:effectLst/>
                <a:latin typeface="Helvetica Light" panose="020B0403020202020204" pitchFamily="34" charset="0"/>
              </a:rPr>
              <a:t>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rhoncus</a:t>
            </a:r>
            <a:r>
              <a:rPr lang="pl-PL" dirty="0">
                <a:solidFill>
                  <a:srgbClr val="222222"/>
                </a:solidFill>
                <a:effectLst/>
                <a:latin typeface="Helvetica Light" panose="020B0403020202020204" pitchFamily="34" charset="0"/>
              </a:rPr>
              <a:t>, urna </a:t>
            </a:r>
            <a:r>
              <a:rPr lang="pl-PL" dirty="0" err="1">
                <a:solidFill>
                  <a:srgbClr val="222222"/>
                </a:solidFill>
                <a:effectLst/>
                <a:latin typeface="Helvetica Light" panose="020B0403020202020204" pitchFamily="34" charset="0"/>
              </a:rPr>
              <a:t>qu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iverr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si</a:t>
            </a:r>
            <a:r>
              <a:rPr lang="pl-PL" dirty="0">
                <a:solidFill>
                  <a:srgbClr val="222222"/>
                </a:solidFill>
                <a:effectLst/>
                <a:latin typeface="Helvetica Light" panose="020B0403020202020204" pitchFamily="34" charset="0"/>
              </a:rPr>
              <a:t>, in </a:t>
            </a:r>
            <a:r>
              <a:rPr lang="pl-PL" dirty="0" err="1">
                <a:solidFill>
                  <a:srgbClr val="222222"/>
                </a:solidFill>
                <a:effectLst/>
                <a:latin typeface="Helvetica Light" panose="020B0403020202020204" pitchFamily="34" charset="0"/>
              </a:rPr>
              <a:t>interd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mass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bh</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e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rat</a:t>
            </a:r>
            <a:r>
              <a:rPr lang="pl-PL" dirty="0">
                <a:solidFill>
                  <a:srgbClr val="222222"/>
                </a:solidFill>
                <a:effectLst/>
                <a:latin typeface="Helvetica Light" panose="020B0403020202020204" pitchFamily="34" charset="0"/>
              </a:rPr>
              <a:t>.</a:t>
            </a:r>
          </a:p>
          <a:p>
            <a:pPr lvl="0"/>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ps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lor</a:t>
            </a:r>
            <a:r>
              <a:rPr lang="pl-PL" dirty="0">
                <a:solidFill>
                  <a:srgbClr val="222222"/>
                </a:solidFill>
                <a:effectLst/>
                <a:latin typeface="Helvetica Light" panose="020B0403020202020204" pitchFamily="34" charset="0"/>
              </a:rPr>
              <a:t> sit </a:t>
            </a:r>
            <a:r>
              <a:rPr lang="pl-PL" dirty="0" err="1">
                <a:solidFill>
                  <a:srgbClr val="222222"/>
                </a:solidFill>
                <a:effectLst/>
                <a:latin typeface="Helvetica Light" panose="020B0403020202020204" pitchFamily="34" charset="0"/>
              </a:rPr>
              <a:t>am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consectetu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dipiscing</a:t>
            </a:r>
            <a:r>
              <a:rPr lang="pl-PL" dirty="0">
                <a:solidFill>
                  <a:srgbClr val="222222"/>
                </a:solidFill>
                <a:effectLst/>
                <a:latin typeface="Helvetica Light" panose="020B0403020202020204" pitchFamily="34" charset="0"/>
              </a:rPr>
              <a:t> elit. </a:t>
            </a:r>
            <a:r>
              <a:rPr lang="pl-PL" dirty="0" err="1">
                <a:solidFill>
                  <a:srgbClr val="222222"/>
                </a:solidFill>
                <a:effectLst/>
                <a:latin typeface="Helvetica Light" panose="020B0403020202020204" pitchFamily="34" charset="0"/>
              </a:rPr>
              <a:t>Proin</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ibh</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ug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uscipit</a:t>
            </a:r>
            <a:r>
              <a:rPr lang="pl-PL" dirty="0">
                <a:solidFill>
                  <a:srgbClr val="222222"/>
                </a:solidFill>
                <a:effectLst/>
                <a:latin typeface="Helvetica Light" panose="020B0403020202020204" pitchFamily="34" charset="0"/>
              </a:rPr>
              <a:t> a, </a:t>
            </a:r>
            <a:r>
              <a:rPr lang="pl-PL" dirty="0" err="1">
                <a:solidFill>
                  <a:srgbClr val="222222"/>
                </a:solidFill>
                <a:effectLst/>
                <a:latin typeface="Helvetica Light" panose="020B0403020202020204" pitchFamily="34" charset="0"/>
              </a:rPr>
              <a:t>sceler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acinia</a:t>
            </a:r>
            <a:r>
              <a:rPr lang="pl-PL" dirty="0">
                <a:solidFill>
                  <a:srgbClr val="222222"/>
                </a:solidFill>
                <a:effectLst/>
                <a:latin typeface="Helvetica Light" panose="020B0403020202020204" pitchFamily="34" charset="0"/>
              </a:rPr>
              <a:t> in, mi. </a:t>
            </a:r>
            <a:r>
              <a:rPr lang="pl-PL" dirty="0" err="1">
                <a:solidFill>
                  <a:srgbClr val="222222"/>
                </a:solidFill>
                <a:effectLst/>
                <a:latin typeface="Helvetica Light" panose="020B0403020202020204" pitchFamily="34" charset="0"/>
              </a:rPr>
              <a:t>Cra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lore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Et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ellente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lique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sell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haretr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nulla</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ia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Quisqu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mper</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just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a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ris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onec</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venenati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turpis</a:t>
            </a:r>
            <a:r>
              <a:rPr lang="pl-PL" dirty="0">
                <a:solidFill>
                  <a:srgbClr val="222222"/>
                </a:solidFill>
                <a:effectLst/>
                <a:latin typeface="Helvetica Light" panose="020B0403020202020204" pitchFamily="34" charset="0"/>
              </a:rPr>
              <a:t> vel </a:t>
            </a:r>
            <a:r>
              <a:rPr lang="pl-PL" dirty="0" err="1">
                <a:solidFill>
                  <a:srgbClr val="222222"/>
                </a:solidFill>
                <a:effectLst/>
                <a:latin typeface="Helvetica Light" panose="020B0403020202020204" pitchFamily="34" charset="0"/>
              </a:rPr>
              <a:t>hendrerit</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interdum</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ligula </a:t>
            </a:r>
            <a:r>
              <a:rPr lang="pl-PL" dirty="0" err="1">
                <a:solidFill>
                  <a:srgbClr val="222222"/>
                </a:solidFill>
                <a:effectLst/>
                <a:latin typeface="Helvetica Light" panose="020B0403020202020204" pitchFamily="34" charset="0"/>
              </a:rPr>
              <a:t>ultricie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urus</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sed</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posuere</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libero</a:t>
            </a:r>
            <a:r>
              <a:rPr lang="pl-PL" dirty="0">
                <a:solidFill>
                  <a:srgbClr val="222222"/>
                </a:solidFill>
                <a:effectLst/>
                <a:latin typeface="Helvetica Light" panose="020B0403020202020204" pitchFamily="34" charset="0"/>
              </a:rPr>
              <a:t> </a:t>
            </a:r>
            <a:r>
              <a:rPr lang="pl-PL" dirty="0" err="1">
                <a:solidFill>
                  <a:srgbClr val="222222"/>
                </a:solidFill>
                <a:effectLst/>
                <a:latin typeface="Helvetica Light" panose="020B0403020202020204" pitchFamily="34" charset="0"/>
              </a:rPr>
              <a:t>dui</a:t>
            </a:r>
            <a:r>
              <a:rPr lang="pl-PL" dirty="0">
                <a:solidFill>
                  <a:srgbClr val="222222"/>
                </a:solidFill>
                <a:effectLst/>
                <a:latin typeface="Helvetica Light" panose="020B0403020202020204" pitchFamily="34" charset="0"/>
              </a:rPr>
              <a:t> id </a:t>
            </a:r>
            <a:r>
              <a:rPr lang="pl-PL" dirty="0" err="1">
                <a:solidFill>
                  <a:srgbClr val="222222"/>
                </a:solidFill>
                <a:effectLst/>
                <a:latin typeface="Helvetica Light" panose="020B0403020202020204" pitchFamily="34" charset="0"/>
              </a:rPr>
              <a:t>orci</a:t>
            </a:r>
            <a:r>
              <a:rPr lang="pl-PL" dirty="0">
                <a:solidFill>
                  <a:srgbClr val="222222"/>
                </a:solidFill>
                <a:effectLst/>
                <a:latin typeface="Helvetica Light" panose="020B0403020202020204" pitchFamily="34" charset="0"/>
              </a:rPr>
              <a:t>. </a:t>
            </a:r>
          </a:p>
          <a:p>
            <a:pPr lvl="0"/>
            <a:endParaRPr lang="pl-PL" dirty="0">
              <a:solidFill>
                <a:srgbClr val="222222"/>
              </a:solidFill>
              <a:effectLst/>
              <a:latin typeface="Helvetica Light" panose="020B0403020202020204" pitchFamily="34" charset="0"/>
            </a:endParaRPr>
          </a:p>
        </p:txBody>
      </p:sp>
      <p:sp>
        <p:nvSpPr>
          <p:cNvPr id="7" name="Symbol zastępczy obrazu 13">
            <a:extLst>
              <a:ext uri="{FF2B5EF4-FFF2-40B4-BE49-F238E27FC236}">
                <a16:creationId xmlns:a16="http://schemas.microsoft.com/office/drawing/2014/main" id="{36384B15-9AD4-D14D-A1B4-541251949524}"/>
              </a:ext>
            </a:extLst>
          </p:cNvPr>
          <p:cNvSpPr>
            <a:spLocks noGrp="1"/>
          </p:cNvSpPr>
          <p:nvPr>
            <p:ph type="pic" sz="quarter" idx="12" hasCustomPrompt="1"/>
          </p:nvPr>
        </p:nvSpPr>
        <p:spPr>
          <a:xfrm>
            <a:off x="8771467" y="0"/>
            <a:ext cx="3420533" cy="6858000"/>
          </a:xfrm>
          <a:solidFill>
            <a:schemeClr val="bg1">
              <a:lumMod val="95000"/>
            </a:schemeClr>
          </a:solidFill>
        </p:spPr>
        <p:txBody>
          <a:bodyPr/>
          <a:lstStyle/>
          <a:p>
            <a:r>
              <a:rPr lang="pl-PL" dirty="0"/>
              <a:t>foto</a:t>
            </a:r>
          </a:p>
        </p:txBody>
      </p:sp>
      <p:sp>
        <p:nvSpPr>
          <p:cNvPr id="10" name="Tytuł 1">
            <a:extLst>
              <a:ext uri="{FF2B5EF4-FFF2-40B4-BE49-F238E27FC236}">
                <a16:creationId xmlns:a16="http://schemas.microsoft.com/office/drawing/2014/main" id="{433D7E37-B06A-564C-9A24-C36573934F8D}"/>
              </a:ext>
            </a:extLst>
          </p:cNvPr>
          <p:cNvSpPr>
            <a:spLocks noGrp="1"/>
          </p:cNvSpPr>
          <p:nvPr>
            <p:ph type="ctrTitle"/>
          </p:nvPr>
        </p:nvSpPr>
        <p:spPr>
          <a:xfrm>
            <a:off x="361272" y="989351"/>
            <a:ext cx="5889625" cy="1087118"/>
          </a:xfrm>
        </p:spPr>
        <p:txBody>
          <a:bodyPr anchor="b">
            <a:normAutofit/>
          </a:bodyPr>
          <a:lstStyle>
            <a:lvl1pPr algn="l">
              <a:lnSpc>
                <a:spcPct val="100000"/>
              </a:lnSpc>
              <a:defRPr sz="2200" b="1" i="0">
                <a:latin typeface="Helvetica" pitchFamily="2" charset="0"/>
              </a:defRPr>
            </a:lvl1pPr>
          </a:lstStyle>
          <a:p>
            <a:r>
              <a:rPr lang="pl-PL" dirty="0"/>
              <a:t>Kliknij, aby edytować styl</a:t>
            </a:r>
          </a:p>
        </p:txBody>
      </p:sp>
    </p:spTree>
    <p:extLst>
      <p:ext uri="{BB962C8B-B14F-4D97-AF65-F5344CB8AC3E}">
        <p14:creationId xmlns:p14="http://schemas.microsoft.com/office/powerpoint/2010/main" val="29399370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nd icon slide">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05C51238-6B49-BD47-9F62-7B3EF14B85B4}"/>
              </a:ext>
            </a:extLst>
          </p:cNvPr>
          <p:cNvSpPr>
            <a:spLocks noGrp="1"/>
          </p:cNvSpPr>
          <p:nvPr>
            <p:ph type="body" sz="quarter" idx="14" hasCustomPrompt="1"/>
          </p:nvPr>
        </p:nvSpPr>
        <p:spPr>
          <a:xfrm>
            <a:off x="959849" y="2474629"/>
            <a:ext cx="5008561" cy="3597275"/>
          </a:xfrm>
          <a:prstGeom prst="rect">
            <a:avLst/>
          </a:prstGeom>
        </p:spPr>
        <p:txBody>
          <a:bodyPr lIns="0" tIns="0" rIns="0" bIns="0">
            <a:noAutofit/>
          </a:bodyPr>
          <a:lstStyle>
            <a:lvl1pPr marL="285750" indent="-285750">
              <a:lnSpc>
                <a:spcPts val="2200"/>
              </a:lnSpc>
              <a:spcBef>
                <a:spcPts val="0"/>
              </a:spcBef>
              <a:spcAft>
                <a:spcPts val="2200"/>
              </a:spcAft>
              <a:buFontTx/>
              <a:buBlip>
                <a:blip r:embed="rId2"/>
              </a:buBlip>
              <a:defRPr sz="1600">
                <a:solidFill>
                  <a:srgbClr val="FFFFFF"/>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br>
              <a:rPr lang="en-GB"/>
            </a:br>
            <a:r>
              <a:rPr lang="en-GB" err="1"/>
              <a:t>viverra</a:t>
            </a:r>
            <a:r>
              <a:rPr lang="en-GB"/>
              <a:t> </a:t>
            </a:r>
            <a:r>
              <a:rPr lang="en-GB" err="1"/>
              <a:t>aliquet</a:t>
            </a:r>
            <a:r>
              <a:rPr lang="en-GB"/>
              <a:t> </a:t>
            </a:r>
            <a:r>
              <a:rPr lang="en-GB" err="1"/>
              <a:t>eget</a:t>
            </a:r>
            <a:r>
              <a:rPr lang="en-GB"/>
              <a:t>.</a:t>
            </a:r>
          </a:p>
        </p:txBody>
      </p:sp>
      <p:pic>
        <p:nvPicPr>
          <p:cNvPr id="12" name="Picture 11" descr="A picture containing building&#10;&#10;Description automatically generated">
            <a:extLst>
              <a:ext uri="{FF2B5EF4-FFF2-40B4-BE49-F238E27FC236}">
                <a16:creationId xmlns:a16="http://schemas.microsoft.com/office/drawing/2014/main" id="{0BDD72A3-165D-524E-BA4D-F0DFFDADC6CD}"/>
              </a:ext>
            </a:extLst>
          </p:cNvPr>
          <p:cNvPicPr>
            <a:picLocks noChangeAspect="1"/>
          </p:cNvPicPr>
          <p:nvPr userDrawn="1"/>
        </p:nvPicPr>
        <p:blipFill>
          <a:blip r:embed="rId3"/>
          <a:stretch>
            <a:fillRect/>
          </a:stretch>
        </p:blipFill>
        <p:spPr>
          <a:xfrm>
            <a:off x="6368553" y="1941948"/>
            <a:ext cx="4870294" cy="3694072"/>
          </a:xfrm>
          <a:prstGeom prst="rect">
            <a:avLst/>
          </a:prstGeom>
        </p:spPr>
      </p:pic>
      <p:sp>
        <p:nvSpPr>
          <p:cNvPr id="13" name="Text Placeholder 16">
            <a:extLst>
              <a:ext uri="{FF2B5EF4-FFF2-40B4-BE49-F238E27FC236}">
                <a16:creationId xmlns:a16="http://schemas.microsoft.com/office/drawing/2014/main" id="{348D5DCD-BDBD-C04E-8E63-855C1B25623B}"/>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
        <p:nvSpPr>
          <p:cNvPr id="16" name="Title 1">
            <a:extLst>
              <a:ext uri="{FF2B5EF4-FFF2-40B4-BE49-F238E27FC236}">
                <a16:creationId xmlns:a16="http://schemas.microsoft.com/office/drawing/2014/main" id="{7FD2900F-5C82-6543-A6C4-FB49DFA29EC7}"/>
              </a:ext>
            </a:extLst>
          </p:cNvPr>
          <p:cNvSpPr>
            <a:spLocks noGrp="1"/>
          </p:cNvSpPr>
          <p:nvPr>
            <p:ph type="title" hasCustomPrompt="1"/>
          </p:nvPr>
        </p:nvSpPr>
        <p:spPr>
          <a:xfrm>
            <a:off x="953154" y="1054238"/>
            <a:ext cx="5008562" cy="416753"/>
          </a:xfrm>
          <a:prstGeom prst="rect">
            <a:avLst/>
          </a:prstGeo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7" name="Text Placeholder 13">
            <a:extLst>
              <a:ext uri="{FF2B5EF4-FFF2-40B4-BE49-F238E27FC236}">
                <a16:creationId xmlns:a16="http://schemas.microsoft.com/office/drawing/2014/main" id="{229C69AE-51D4-1E4B-98B4-71B19B4BC61E}"/>
              </a:ext>
            </a:extLst>
          </p:cNvPr>
          <p:cNvSpPr>
            <a:spLocks noGrp="1"/>
          </p:cNvSpPr>
          <p:nvPr>
            <p:ph type="body" sz="quarter" idx="13" hasCustomPrompt="1"/>
          </p:nvPr>
        </p:nvSpPr>
        <p:spPr>
          <a:xfrm>
            <a:off x="953153" y="1502498"/>
            <a:ext cx="5008561" cy="627582"/>
          </a:xfrm>
          <a:prstGeom prst="rect">
            <a:avLst/>
          </a:prstGeo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
        <p:nvSpPr>
          <p:cNvPr id="18" name="Text Placeholder 58">
            <a:extLst>
              <a:ext uri="{FF2B5EF4-FFF2-40B4-BE49-F238E27FC236}">
                <a16:creationId xmlns:a16="http://schemas.microsoft.com/office/drawing/2014/main" id="{950F325F-9EFD-DB4C-BF48-8408889EFEEF}"/>
              </a:ext>
            </a:extLst>
          </p:cNvPr>
          <p:cNvSpPr>
            <a:spLocks noGrp="1"/>
          </p:cNvSpPr>
          <p:nvPr>
            <p:ph type="body" sz="quarter" idx="17" hasCustomPrompt="1"/>
          </p:nvPr>
        </p:nvSpPr>
        <p:spPr>
          <a:xfrm>
            <a:off x="953154" y="2156126"/>
            <a:ext cx="591769" cy="45719"/>
          </a:xfrm>
          <a:prstGeom prst="rect">
            <a:avLst/>
          </a:prstGeom>
          <a:blipFill>
            <a:blip r:embed="rId4">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2782072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step_2">
    <p:spTree>
      <p:nvGrpSpPr>
        <p:cNvPr id="1" name=""/>
        <p:cNvGrpSpPr/>
        <p:nvPr/>
      </p:nvGrpSpPr>
      <p:grpSpPr>
        <a:xfrm>
          <a:off x="0" y="0"/>
          <a:ext cx="0" cy="0"/>
          <a:chOff x="0" y="0"/>
          <a:chExt cx="0" cy="0"/>
        </a:xfrm>
      </p:grpSpPr>
      <p:pic>
        <p:nvPicPr>
          <p:cNvPr id="6" name="Obraz 5" descr="Obraz zawierający znak, talerz, rysunek&#10;&#10;Opis wygenerowany automatycznie">
            <a:extLst>
              <a:ext uri="{FF2B5EF4-FFF2-40B4-BE49-F238E27FC236}">
                <a16:creationId xmlns:a16="http://schemas.microsoft.com/office/drawing/2014/main" id="{112796CD-447B-F345-ABF6-EEC02D9DB370}"/>
              </a:ext>
            </a:extLst>
          </p:cNvPr>
          <p:cNvPicPr>
            <a:picLocks noChangeAspect="1"/>
          </p:cNvPicPr>
          <p:nvPr userDrawn="1"/>
        </p:nvPicPr>
        <p:blipFill>
          <a:blip r:embed="rId2"/>
          <a:stretch>
            <a:fillRect/>
          </a:stretch>
        </p:blipFill>
        <p:spPr>
          <a:xfrm>
            <a:off x="476201" y="519092"/>
            <a:ext cx="881240" cy="296473"/>
          </a:xfrm>
          <a:prstGeom prst="rect">
            <a:avLst/>
          </a:prstGeom>
        </p:spPr>
      </p:pic>
      <p:sp>
        <p:nvSpPr>
          <p:cNvPr id="7" name="Symbol zastępczy obrazu 13">
            <a:extLst>
              <a:ext uri="{FF2B5EF4-FFF2-40B4-BE49-F238E27FC236}">
                <a16:creationId xmlns:a16="http://schemas.microsoft.com/office/drawing/2014/main" id="{7FFED274-2E31-9B44-804B-A0B20CA7BB03}"/>
              </a:ext>
            </a:extLst>
          </p:cNvPr>
          <p:cNvSpPr>
            <a:spLocks noGrp="1"/>
          </p:cNvSpPr>
          <p:nvPr>
            <p:ph type="pic" sz="quarter" idx="12" hasCustomPrompt="1"/>
          </p:nvPr>
        </p:nvSpPr>
        <p:spPr>
          <a:xfrm>
            <a:off x="7455049" y="0"/>
            <a:ext cx="4736951" cy="6858000"/>
          </a:xfrm>
          <a:solidFill>
            <a:schemeClr val="bg1">
              <a:lumMod val="95000"/>
            </a:schemeClr>
          </a:solidFill>
        </p:spPr>
        <p:txBody>
          <a:bodyPr/>
          <a:lstStyle/>
          <a:p>
            <a:r>
              <a:rPr lang="pl-PL" dirty="0"/>
              <a:t>foto</a:t>
            </a:r>
          </a:p>
        </p:txBody>
      </p:sp>
      <p:sp>
        <p:nvSpPr>
          <p:cNvPr id="8" name="Tytuł 1">
            <a:extLst>
              <a:ext uri="{FF2B5EF4-FFF2-40B4-BE49-F238E27FC236}">
                <a16:creationId xmlns:a16="http://schemas.microsoft.com/office/drawing/2014/main" id="{E17ED9A5-C3D5-E94B-BDB1-8BB1C4697533}"/>
              </a:ext>
            </a:extLst>
          </p:cNvPr>
          <p:cNvSpPr>
            <a:spLocks noGrp="1"/>
          </p:cNvSpPr>
          <p:nvPr>
            <p:ph type="ctrTitle"/>
          </p:nvPr>
        </p:nvSpPr>
        <p:spPr>
          <a:xfrm>
            <a:off x="361273" y="2088445"/>
            <a:ext cx="6490447" cy="959555"/>
          </a:xfrm>
        </p:spPr>
        <p:txBody>
          <a:bodyPr anchor="b">
            <a:normAutofit/>
          </a:bodyPr>
          <a:lstStyle>
            <a:lvl1pPr algn="l">
              <a:defRPr sz="3000" b="1" i="0">
                <a:latin typeface="Helvetica" pitchFamily="2" charset="0"/>
              </a:defRPr>
            </a:lvl1pPr>
          </a:lstStyle>
          <a:p>
            <a:r>
              <a:rPr lang="pl-PL" dirty="0"/>
              <a:t>Kliknij, aby edytować styl</a:t>
            </a:r>
          </a:p>
        </p:txBody>
      </p:sp>
      <p:sp>
        <p:nvSpPr>
          <p:cNvPr id="9" name="Podtytuł 2">
            <a:extLst>
              <a:ext uri="{FF2B5EF4-FFF2-40B4-BE49-F238E27FC236}">
                <a16:creationId xmlns:a16="http://schemas.microsoft.com/office/drawing/2014/main" id="{15900FF0-DF9B-1F42-9D2E-76A68A7776FD}"/>
              </a:ext>
            </a:extLst>
          </p:cNvPr>
          <p:cNvSpPr>
            <a:spLocks noGrp="1"/>
          </p:cNvSpPr>
          <p:nvPr>
            <p:ph type="subTitle" idx="1"/>
          </p:nvPr>
        </p:nvSpPr>
        <p:spPr>
          <a:xfrm>
            <a:off x="361273" y="3253017"/>
            <a:ext cx="6490447" cy="2459161"/>
          </a:xfrm>
        </p:spPr>
        <p:txBody>
          <a:bodyPr numCol="1" anchor="t">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pl-PL" sz="22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lang="pl-PL" dirty="0" err="1">
              <a:solidFill>
                <a:srgbClr val="454545"/>
              </a:solidFill>
              <a:effectLst/>
              <a:latin typeface="Helvetica Neue" panose="02000503000000020004" pitchFamily="2" charset="0"/>
            </a:endParaRPr>
          </a:p>
        </p:txBody>
      </p:sp>
    </p:spTree>
    <p:extLst>
      <p:ext uri="{BB962C8B-B14F-4D97-AF65-F5344CB8AC3E}">
        <p14:creationId xmlns:p14="http://schemas.microsoft.com/office/powerpoint/2010/main" val="12640583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lajd koncowy_2">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05ADFB6-9FAC-4847-9681-9F26B023261A}"/>
              </a:ext>
            </a:extLst>
          </p:cNvPr>
          <p:cNvSpPr>
            <a:spLocks noGrp="1"/>
          </p:cNvSpPr>
          <p:nvPr>
            <p:ph type="ctrTitle" hasCustomPrompt="1"/>
          </p:nvPr>
        </p:nvSpPr>
        <p:spPr>
          <a:xfrm>
            <a:off x="361273" y="2118400"/>
            <a:ext cx="5568747" cy="886174"/>
          </a:xfrm>
          <a:prstGeom prst="rect">
            <a:avLst/>
          </a:prstGeom>
        </p:spPr>
        <p:txBody>
          <a:bodyPr anchor="b">
            <a:normAutofit/>
          </a:bodyPr>
          <a:lstStyle>
            <a:lvl1pPr algn="l">
              <a:defRPr sz="4000" b="1" i="0">
                <a:latin typeface="Helvetica" pitchFamily="2" charset="0"/>
              </a:defRPr>
            </a:lvl1pPr>
          </a:lstStyle>
          <a:p>
            <a:r>
              <a:rPr lang="pl-PL" dirty="0"/>
              <a:t>Dziękujemy</a:t>
            </a:r>
          </a:p>
        </p:txBody>
      </p:sp>
      <p:pic>
        <p:nvPicPr>
          <p:cNvPr id="8" name="Obraz 7" descr="Obraz zawierający obiekt, znak, zegar&#10;&#10;Opis wygenerowany automatycznie">
            <a:extLst>
              <a:ext uri="{FF2B5EF4-FFF2-40B4-BE49-F238E27FC236}">
                <a16:creationId xmlns:a16="http://schemas.microsoft.com/office/drawing/2014/main" id="{A9850A80-9FB2-9C4A-AFB6-ECC92379393B}"/>
              </a:ext>
            </a:extLst>
          </p:cNvPr>
          <p:cNvPicPr>
            <a:picLocks noChangeAspect="1"/>
          </p:cNvPicPr>
          <p:nvPr userDrawn="1"/>
        </p:nvPicPr>
        <p:blipFill>
          <a:blip r:embed="rId2"/>
          <a:stretch>
            <a:fillRect/>
          </a:stretch>
        </p:blipFill>
        <p:spPr>
          <a:xfrm>
            <a:off x="458095" y="446666"/>
            <a:ext cx="2749089" cy="648000"/>
          </a:xfrm>
          <a:prstGeom prst="rect">
            <a:avLst/>
          </a:prstGeom>
        </p:spPr>
      </p:pic>
      <p:sp>
        <p:nvSpPr>
          <p:cNvPr id="5" name="pole tekstowe 4">
            <a:extLst>
              <a:ext uri="{FF2B5EF4-FFF2-40B4-BE49-F238E27FC236}">
                <a16:creationId xmlns:a16="http://schemas.microsoft.com/office/drawing/2014/main" id="{D6F7D926-5871-E64E-A7D7-5B6EE65FCEAE}"/>
              </a:ext>
            </a:extLst>
          </p:cNvPr>
          <p:cNvSpPr txBox="1"/>
          <p:nvPr userDrawn="1"/>
        </p:nvSpPr>
        <p:spPr>
          <a:xfrm>
            <a:off x="361274" y="3429000"/>
            <a:ext cx="9905470" cy="2982334"/>
          </a:xfrm>
          <a:prstGeom prst="rect">
            <a:avLst/>
          </a:prstGeom>
          <a:noFill/>
        </p:spPr>
        <p:txBody>
          <a:bodyPr wrap="square" numCol="2" spcCol="540000" rtlCol="0">
            <a:noAutofit/>
          </a:bodyPr>
          <a:lstStyle/>
          <a:p>
            <a:pPr algn="just">
              <a:lnSpc>
                <a:spcPts val="1400"/>
              </a:lnSpc>
            </a:pPr>
            <a:r>
              <a:rPr lang="pl-PL" sz="900" b="1" i="0" dirty="0">
                <a:solidFill>
                  <a:srgbClr val="616669"/>
                </a:solidFill>
                <a:effectLst/>
                <a:latin typeface="Helvetica" pitchFamily="2" charset="0"/>
                <a:cs typeface="Helvetica" panose="020B0604020202020204" pitchFamily="34" charset="0"/>
              </a:rPr>
              <a:t>Niniejsza prezentacja („Prezentacja”) jest wyłącznie materiałem promocyjnym dotyczącym rozwiązań produktowych oferowanych przez KUKE S.A. („Spółka”), przygotowanym przez Spółkę. </a:t>
            </a: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r>
              <a:rPr lang="pl-PL" sz="900" b="0" i="0" dirty="0">
                <a:solidFill>
                  <a:srgbClr val="616669"/>
                </a:solidFill>
                <a:effectLst/>
                <a:latin typeface="Helvetica" pitchFamily="2" charset="0"/>
                <a:cs typeface="Helvetica" panose="020B0604020202020204" pitchFamily="34" charset="0"/>
              </a:rPr>
              <a:t>Prezentacja nie stanowi oferty sprzedaży i ma charakter wyłącznie promocyjny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i w żadnym wypadku nie stanowi zachęty czy podstawy do podejmowania decyzji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o nabyciu danego rozwiązania produktowego. Informacje zawarte w Prezentacji służą wyłącznie celom informacyjnym i zostały oparte na źródłach, które Spółka uznaje za wiarygodne i sprawdzone. Podane informacje mogą być aktualizowane, uzupełniane, poprawiane lub zmieniane, przy czym mogą być to zmiany istotne. Spółka nie składa żadnych oświadczeń ani zapewnień, w sposób wyraźny lub dorozumiany, dotyczących poprawności, kompletności lub rzetelności informacji lub opinii zawartych w Prezentacji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i nie ponosi odpowiedzialności za decyzje podjęte na podstawie tych informacji lub opinii. </a:t>
            </a: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r>
              <a:rPr lang="pl-PL" sz="900" b="0" i="0" dirty="0">
                <a:solidFill>
                  <a:srgbClr val="616669"/>
                </a:solidFill>
                <a:effectLst/>
                <a:latin typeface="Helvetica" pitchFamily="2" charset="0"/>
                <a:cs typeface="Helvetica" panose="020B0604020202020204" pitchFamily="34" charset="0"/>
              </a:rPr>
              <a:t>Wszelkie opinie zawarte w Prezentacji odzwierciedlają ocenę na dzień sporządzenia Prezentacji i mogą ulec zmianie bez powiadomienia. Spółka nie zobowiązuje się do dokonania aktualizacji ani korekty Prezentacji, bądź informacji oraz danych, na podstawie których została ona przygotowana. Ryzyko związane z wykorzystaniem informacji przedstawionych w Prezentacji ponosi sam użytkownik. Spółka, ani osoby działające </a:t>
            </a:r>
            <a:br>
              <a:rPr lang="pl-PL" sz="900" b="0" i="0" dirty="0">
                <a:solidFill>
                  <a:srgbClr val="616669"/>
                </a:solidFill>
                <a:effectLst/>
                <a:latin typeface="Helvetica" pitchFamily="2" charset="0"/>
                <a:cs typeface="Helvetica" panose="020B0604020202020204" pitchFamily="34" charset="0"/>
              </a:rPr>
            </a:br>
            <a:r>
              <a:rPr lang="pl-PL" sz="900" b="0" i="0" dirty="0">
                <a:solidFill>
                  <a:srgbClr val="616669"/>
                </a:solidFill>
                <a:effectLst/>
                <a:latin typeface="Helvetica" pitchFamily="2" charset="0"/>
                <a:cs typeface="Helvetica" panose="020B0604020202020204" pitchFamily="34" charset="0"/>
              </a:rPr>
              <a:t>w imieniu Spółki nie ponoszą pod żadnym względem odpowiedzialności wobec użytkowników lub osób trzecich za jakiekolwiek szkody, jakie mogą powstać, wskutek niedbalstwa czy z innej przyczyny, w związku z wykorzystaniem niniejszej Prezentacji lub jakichkolwiek informacji w niej zawartych, ani za szkody, które mogą powstać w inny sposób w związku z informacjami stanowiącymi część niniejszej Prezentacji.</a:t>
            </a:r>
          </a:p>
          <a:p>
            <a:pPr algn="just">
              <a:lnSpc>
                <a:spcPts val="1400"/>
              </a:lnSpc>
            </a:pPr>
            <a:endParaRPr lang="pl-PL" sz="900" b="0" i="0" dirty="0">
              <a:solidFill>
                <a:srgbClr val="616669"/>
              </a:solidFill>
              <a:effectLst/>
              <a:latin typeface="Helvetica" pitchFamily="2" charset="0"/>
              <a:cs typeface="Helvetica" panose="020B0604020202020204" pitchFamily="34" charset="0"/>
            </a:endParaRPr>
          </a:p>
          <a:p>
            <a:pPr algn="just">
              <a:lnSpc>
                <a:spcPts val="1400"/>
              </a:lnSpc>
            </a:pPr>
            <a:r>
              <a:rPr lang="pl-PL" sz="900" b="1" i="0" dirty="0">
                <a:solidFill>
                  <a:srgbClr val="616669"/>
                </a:solidFill>
                <a:effectLst/>
                <a:latin typeface="Helvetica" pitchFamily="2" charset="0"/>
                <a:cs typeface="Helvetica" panose="020B0604020202020204" pitchFamily="34" charset="0"/>
              </a:rPr>
              <a:t>Majątkowe prawa autorskie do Prezentacji przysługują Spółce, a kopiowanie całości lub części Prezentacji, a także dokonywanie w niej zmian wymaga zgody Spółki.</a:t>
            </a:r>
          </a:p>
          <a:p>
            <a:pPr algn="just">
              <a:lnSpc>
                <a:spcPts val="1400"/>
              </a:lnSpc>
            </a:pPr>
            <a:endParaRPr lang="pl-PL" sz="900" b="0" i="0" dirty="0">
              <a:latin typeface="Helvetica" pitchFamily="2" charset="0"/>
              <a:cs typeface="Helvetica" panose="020B0604020202020204" pitchFamily="34" charset="0"/>
            </a:endParaRPr>
          </a:p>
        </p:txBody>
      </p:sp>
      <p:sp>
        <p:nvSpPr>
          <p:cNvPr id="6" name="Symbol zastępczy obrazu 13">
            <a:extLst>
              <a:ext uri="{FF2B5EF4-FFF2-40B4-BE49-F238E27FC236}">
                <a16:creationId xmlns:a16="http://schemas.microsoft.com/office/drawing/2014/main" id="{F2AA3B8D-2A2F-C043-AE66-3F77A63BE5AC}"/>
              </a:ext>
            </a:extLst>
          </p:cNvPr>
          <p:cNvSpPr>
            <a:spLocks noGrp="1"/>
          </p:cNvSpPr>
          <p:nvPr>
            <p:ph type="pic" sz="quarter" idx="13" hasCustomPrompt="1"/>
          </p:nvPr>
        </p:nvSpPr>
        <p:spPr>
          <a:xfrm>
            <a:off x="8762035" y="538296"/>
            <a:ext cx="2558348" cy="2591792"/>
          </a:xfrm>
          <a:noFill/>
        </p:spPr>
        <p:txBody>
          <a:bodyPr/>
          <a:lstStyle>
            <a:lvl1pPr marL="0" indent="0">
              <a:buNone/>
              <a:defRPr/>
            </a:lvl1pPr>
          </a:lstStyle>
          <a:p>
            <a:r>
              <a:rPr lang="pl-PL" dirty="0"/>
              <a:t>Ikona</a:t>
            </a:r>
          </a:p>
        </p:txBody>
      </p:sp>
    </p:spTree>
    <p:extLst>
      <p:ext uri="{BB962C8B-B14F-4D97-AF65-F5344CB8AC3E}">
        <p14:creationId xmlns:p14="http://schemas.microsoft.com/office/powerpoint/2010/main" val="35289987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_with_image">
    <p:spTree>
      <p:nvGrpSpPr>
        <p:cNvPr id="1" name=""/>
        <p:cNvGrpSpPr/>
        <p:nvPr/>
      </p:nvGrpSpPr>
      <p:grpSpPr>
        <a:xfrm>
          <a:off x="0" y="0"/>
          <a:ext cx="0" cy="0"/>
          <a:chOff x="0" y="0"/>
          <a:chExt cx="0" cy="0"/>
        </a:xfrm>
      </p:grpSpPr>
      <p:pic>
        <p:nvPicPr>
          <p:cNvPr id="10" name="TextBox 1">
            <a:extLst>
              <a:ext uri="{FF2B5EF4-FFF2-40B4-BE49-F238E27FC236}">
                <a16:creationId xmlns:a16="http://schemas.microsoft.com/office/drawing/2014/main" id="{6312A5C5-DE91-CCA4-0F02-6980A5AFB46C}"/>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effectLst>
            <a:glow>
              <a:srgbClr val="000000"/>
            </a:glow>
          </a:effectLst>
        </p:spPr>
      </p:pic>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vl1pPr>
            <a:lvl2pPr>
              <a:defRPr sz="1800"/>
            </a:lvl2pPr>
            <a:lvl3pPr>
              <a:defRPr sz="1800"/>
            </a:lvl3pPr>
            <a:lvl4pPr>
              <a:defRPr sz="1800"/>
            </a:lvl4pPr>
            <a:lvl5pPr>
              <a:defRPr sz="1800"/>
            </a:lvl5pPr>
          </a:lstStyle>
          <a:p>
            <a:pPr lvl="0"/>
            <a:r>
              <a:rPr lang="en-US"/>
              <a:t>&lt;&lt;Subitle.Text&gt;&gt;</a:t>
            </a:r>
            <a:endParaRPr lang="en-US" dirty="0"/>
          </a:p>
        </p:txBody>
      </p:sp>
      <p:sp>
        <p:nvSpPr>
          <p:cNvPr id="8" name="TextBox 7" descr="CMSLegal_Cover_Footer_and_Date">
            <a:extLst>
              <a:ext uri="{FF2B5EF4-FFF2-40B4-BE49-F238E27FC236}">
                <a16:creationId xmlns:a16="http://schemas.microsoft.com/office/drawing/2014/main" id="{02382028-2560-40CB-B8A3-508FFB878652}"/>
              </a:ext>
            </a:extLst>
          </p:cNvPr>
          <p:cNvSpPr txBox="1"/>
          <p:nvPr userDrawn="1">
            <p:custDataLst>
              <p:tags r:id="rId4"/>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7" name="TextBox 6" descr="CMSLegal_Footer_Firm">
            <a:extLst>
              <a:ext uri="{FF2B5EF4-FFF2-40B4-BE49-F238E27FC236}">
                <a16:creationId xmlns:a16="http://schemas.microsoft.com/office/drawing/2014/main" id="{206827BF-1454-4554-87AD-62A399CAE624}"/>
              </a:ext>
            </a:extLst>
          </p:cNvPr>
          <p:cNvSpPr txBox="1"/>
          <p:nvPr userDrawn="1">
            <p:custDataLst>
              <p:tags r:id="rId5"/>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
        <p:nvSpPr>
          <p:cNvPr id="6" name="Picture Placeholder 15">
            <a:extLst>
              <a:ext uri="{FF2B5EF4-FFF2-40B4-BE49-F238E27FC236}">
                <a16:creationId xmlns:a16="http://schemas.microsoft.com/office/drawing/2014/main" id="{0F621E8F-32A7-EF0C-154A-B269F0A6930B}"/>
              </a:ext>
            </a:extLst>
          </p:cNvPr>
          <p:cNvSpPr>
            <a:spLocks noGrp="1" noChangeAspect="1"/>
          </p:cNvSpPr>
          <p:nvPr>
            <p:ph type="pic" sz="quarter" idx="18" hasCustomPrompt="1"/>
            <p:custDataLst>
              <p:tags r:id="rId6"/>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Tree>
    <p:extLst>
      <p:ext uri="{BB962C8B-B14F-4D97-AF65-F5344CB8AC3E}">
        <p14:creationId xmlns:p14="http://schemas.microsoft.com/office/powerpoint/2010/main" val="1484005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_with_image_colour_supergraphic">
    <p:spTree>
      <p:nvGrpSpPr>
        <p:cNvPr id="1" name=""/>
        <p:cNvGrpSpPr/>
        <p:nvPr/>
      </p:nvGrpSpPr>
      <p:grpSpPr>
        <a:xfrm>
          <a:off x="0" y="0"/>
          <a:ext cx="0" cy="0"/>
          <a:chOff x="0" y="0"/>
          <a:chExt cx="0" cy="0"/>
        </a:xfrm>
      </p:grpSpPr>
      <p:pic>
        <p:nvPicPr>
          <p:cNvPr id="8" name="Rectangle 6">
            <a:extLst>
              <a:ext uri="{FF2B5EF4-FFF2-40B4-BE49-F238E27FC236}">
                <a16:creationId xmlns:a16="http://schemas.microsoft.com/office/drawing/2014/main" id="{5D11EC74-3570-1420-0971-F07B135B7552}"/>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4"/>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Freeform 10">
            <a:extLst>
              <a:ext uri="{FF2B5EF4-FFF2-40B4-BE49-F238E27FC236}">
                <a16:creationId xmlns:a16="http://schemas.microsoft.com/office/drawing/2014/main" id="{C5846466-E2B4-4B2B-A696-92D6705ACB24}"/>
              </a:ext>
            </a:extLst>
          </p:cNvPr>
          <p:cNvSpPr>
            <a:spLocks/>
          </p:cNvSpPr>
          <p:nvPr userDrawn="1"/>
        </p:nvSpPr>
        <p:spPr bwMode="auto">
          <a:xfrm>
            <a:off x="0" y="0"/>
            <a:ext cx="12192000" cy="3657600"/>
          </a:xfrm>
          <a:custGeom>
            <a:avLst/>
            <a:gdLst>
              <a:gd name="T0" fmla="*/ 0 w 3840"/>
              <a:gd name="T1" fmla="*/ 234 h 1152"/>
              <a:gd name="T2" fmla="*/ 3840 w 3840"/>
              <a:gd name="T3" fmla="*/ 1152 h 1152"/>
              <a:gd name="T4" fmla="*/ 3840 w 3840"/>
              <a:gd name="T5" fmla="*/ 0 h 1152"/>
              <a:gd name="T6" fmla="*/ 0 w 3840"/>
              <a:gd name="T7" fmla="*/ 0 h 1152"/>
              <a:gd name="T8" fmla="*/ 0 w 3840"/>
              <a:gd name="T9" fmla="*/ 234 h 1152"/>
            </a:gdLst>
            <a:ahLst/>
            <a:cxnLst>
              <a:cxn ang="0">
                <a:pos x="T0" y="T1"/>
              </a:cxn>
              <a:cxn ang="0">
                <a:pos x="T2" y="T3"/>
              </a:cxn>
              <a:cxn ang="0">
                <a:pos x="T4" y="T5"/>
              </a:cxn>
              <a:cxn ang="0">
                <a:pos x="T6" y="T7"/>
              </a:cxn>
              <a:cxn ang="0">
                <a:pos x="T8" y="T9"/>
              </a:cxn>
            </a:cxnLst>
            <a:rect l="0" t="0" r="r" b="b"/>
            <a:pathLst>
              <a:path w="3840" h="1152">
                <a:moveTo>
                  <a:pt x="0" y="234"/>
                </a:moveTo>
                <a:cubicBezTo>
                  <a:pt x="1146" y="809"/>
                  <a:pt x="2447" y="1133"/>
                  <a:pt x="3840" y="1152"/>
                </a:cubicBezTo>
                <a:cubicBezTo>
                  <a:pt x="3840" y="0"/>
                  <a:pt x="3840" y="0"/>
                  <a:pt x="3840" y="0"/>
                </a:cubicBezTo>
                <a:cubicBezTo>
                  <a:pt x="0" y="0"/>
                  <a:pt x="0" y="0"/>
                  <a:pt x="0" y="0"/>
                </a:cubicBezTo>
                <a:lnTo>
                  <a:pt x="0" y="23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1">
            <a:extLst>
              <a:ext uri="{FF2B5EF4-FFF2-40B4-BE49-F238E27FC236}">
                <a16:creationId xmlns:a16="http://schemas.microsoft.com/office/drawing/2014/main" id="{22324458-F95B-4165-9D5A-805B967DB003}"/>
              </a:ext>
            </a:extLst>
          </p:cNvPr>
          <p:cNvSpPr>
            <a:spLocks/>
          </p:cNvSpPr>
          <p:nvPr userDrawn="1"/>
        </p:nvSpPr>
        <p:spPr bwMode="auto">
          <a:xfrm>
            <a:off x="0" y="4797425"/>
            <a:ext cx="6829425" cy="2060575"/>
          </a:xfrm>
          <a:custGeom>
            <a:avLst/>
            <a:gdLst>
              <a:gd name="T0" fmla="*/ 0 w 2152"/>
              <a:gd name="T1" fmla="*/ 0 h 649"/>
              <a:gd name="T2" fmla="*/ 542 w 2152"/>
              <a:gd name="T3" fmla="*/ 207 h 649"/>
              <a:gd name="T4" fmla="*/ 2152 w 2152"/>
              <a:gd name="T5" fmla="*/ 649 h 649"/>
              <a:gd name="T6" fmla="*/ 0 w 2152"/>
              <a:gd name="T7" fmla="*/ 649 h 649"/>
              <a:gd name="T8" fmla="*/ 0 w 2152"/>
              <a:gd name="T9" fmla="*/ 0 h 649"/>
            </a:gdLst>
            <a:ahLst/>
            <a:cxnLst>
              <a:cxn ang="0">
                <a:pos x="T0" y="T1"/>
              </a:cxn>
              <a:cxn ang="0">
                <a:pos x="T2" y="T3"/>
              </a:cxn>
              <a:cxn ang="0">
                <a:pos x="T4" y="T5"/>
              </a:cxn>
              <a:cxn ang="0">
                <a:pos x="T6" y="T7"/>
              </a:cxn>
              <a:cxn ang="0">
                <a:pos x="T8" y="T9"/>
              </a:cxn>
            </a:cxnLst>
            <a:rect l="0" t="0" r="r" b="b"/>
            <a:pathLst>
              <a:path w="2152" h="649">
                <a:moveTo>
                  <a:pt x="0" y="0"/>
                </a:moveTo>
                <a:cubicBezTo>
                  <a:pt x="178" y="74"/>
                  <a:pt x="359" y="143"/>
                  <a:pt x="542" y="207"/>
                </a:cubicBezTo>
                <a:cubicBezTo>
                  <a:pt x="1060" y="397"/>
                  <a:pt x="1597" y="546"/>
                  <a:pt x="2152" y="649"/>
                </a:cubicBezTo>
                <a:cubicBezTo>
                  <a:pt x="0" y="649"/>
                  <a:pt x="0" y="649"/>
                  <a:pt x="0" y="649"/>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TextBox 11" descr="CMSLegal_Cover_Footer_and_Date">
            <a:extLst>
              <a:ext uri="{FF2B5EF4-FFF2-40B4-BE49-F238E27FC236}">
                <a16:creationId xmlns:a16="http://schemas.microsoft.com/office/drawing/2014/main" id="{FCC2C753-79D3-4A0F-B78D-37308CC01A9C}"/>
              </a:ext>
            </a:extLst>
          </p:cNvPr>
          <p:cNvSpPr txBox="1"/>
          <p:nvPr userDrawn="1">
            <p:custDataLst>
              <p:tags r:id="rId5"/>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1" name="TextBox 10" descr="CMSLegal_Footer_Firm">
            <a:extLst>
              <a:ext uri="{FF2B5EF4-FFF2-40B4-BE49-F238E27FC236}">
                <a16:creationId xmlns:a16="http://schemas.microsoft.com/office/drawing/2014/main" id="{DB02E2B5-89BF-44D8-8D5C-04F9F6684F53}"/>
              </a:ext>
            </a:extLst>
          </p:cNvPr>
          <p:cNvSpPr txBox="1"/>
          <p:nvPr userDrawn="1">
            <p:custDataLst>
              <p:tags r:id="rId6"/>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10199188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ver_with_image_white_supergraphic">
    <p:spTree>
      <p:nvGrpSpPr>
        <p:cNvPr id="1" name=""/>
        <p:cNvGrpSpPr/>
        <p:nvPr/>
      </p:nvGrpSpPr>
      <p:grpSpPr>
        <a:xfrm>
          <a:off x="0" y="0"/>
          <a:ext cx="0" cy="0"/>
          <a:chOff x="0" y="0"/>
          <a:chExt cx="0" cy="0"/>
        </a:xfrm>
      </p:grpSpPr>
      <p:pic>
        <p:nvPicPr>
          <p:cNvPr id="19" name="Rectangle 13" descr="CMSLegal_BG_IM_Fill">
            <a:extLst>
              <a:ext uri="{FF2B5EF4-FFF2-40B4-BE49-F238E27FC236}">
                <a16:creationId xmlns:a16="http://schemas.microsoft.com/office/drawing/2014/main" id="{D95F1C77-9746-1092-AA3B-705EE185722E}"/>
              </a:ext>
            </a:extLst>
          </p:cNvPr>
          <p:cNvPicPr>
            <a:picLocks/>
          </p:cNvPicPr>
          <p:nvPr userDrawn="1">
            <p:custDataLst>
              <p:tags r:id="rId1"/>
            </p:custDataLst>
          </p:nvPr>
        </p:nvPicPr>
        <p:blipFill>
          <a:blip r:embed="rId10">
            <a:extLst>
              <a:ext uri="{28A0092B-C50C-407E-A947-70E740481C1C}">
                <a14:useLocalDpi xmlns:a14="http://schemas.microsoft.com/office/drawing/2010/main" val="0"/>
              </a:ext>
            </a:extLst>
          </a:blip>
          <a:stretch>
            <a:fillRect/>
          </a:stretch>
        </p:blipFill>
        <p:spPr bwMode="auto">
          <a:xfrm>
            <a:off x="0" y="0"/>
            <a:ext cx="12193200" cy="6858000"/>
          </a:xfrm>
          <a:prstGeom prst="rect">
            <a:avLst/>
          </a:prstGeom>
          <a:solidFill>
            <a:srgbClr val="0D535F"/>
          </a:solidFill>
          <a:effectLst>
            <a:glow>
              <a:srgbClr val="000000"/>
            </a:glow>
          </a:effectLst>
        </p:spPr>
      </p:pic>
      <p:pic>
        <p:nvPicPr>
          <p:cNvPr id="17" name="Rectangle 6">
            <a:extLst>
              <a:ext uri="{FF2B5EF4-FFF2-40B4-BE49-F238E27FC236}">
                <a16:creationId xmlns:a16="http://schemas.microsoft.com/office/drawing/2014/main" id="{24CC2C0F-6810-08F7-E954-20C18295F6AF}"/>
              </a:ext>
            </a:extLst>
          </p:cNvPr>
          <p:cNvPicPr>
            <a:picLocks/>
          </p:cNvPicPr>
          <p:nvPr userDrawn="1">
            <p:custDataLst>
              <p:tags r:id="rId2"/>
            </p:custDataLst>
          </p:nvPr>
        </p:nvPicPr>
        <p:blipFill>
          <a:blip r:embed="rId10">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3"/>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4"/>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5"/>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Freeform 10">
            <a:extLst>
              <a:ext uri="{FF2B5EF4-FFF2-40B4-BE49-F238E27FC236}">
                <a16:creationId xmlns:a16="http://schemas.microsoft.com/office/drawing/2014/main" id="{C5846466-E2B4-4B2B-A696-92D6705ACB24}"/>
              </a:ext>
            </a:extLst>
          </p:cNvPr>
          <p:cNvSpPr>
            <a:spLocks/>
          </p:cNvSpPr>
          <p:nvPr userDrawn="1"/>
        </p:nvSpPr>
        <p:spPr bwMode="auto">
          <a:xfrm>
            <a:off x="0" y="0"/>
            <a:ext cx="12192000" cy="3657600"/>
          </a:xfrm>
          <a:custGeom>
            <a:avLst/>
            <a:gdLst>
              <a:gd name="T0" fmla="*/ 0 w 3840"/>
              <a:gd name="T1" fmla="*/ 234 h 1152"/>
              <a:gd name="T2" fmla="*/ 3840 w 3840"/>
              <a:gd name="T3" fmla="*/ 1152 h 1152"/>
              <a:gd name="T4" fmla="*/ 3840 w 3840"/>
              <a:gd name="T5" fmla="*/ 0 h 1152"/>
              <a:gd name="T6" fmla="*/ 0 w 3840"/>
              <a:gd name="T7" fmla="*/ 0 h 1152"/>
              <a:gd name="T8" fmla="*/ 0 w 3840"/>
              <a:gd name="T9" fmla="*/ 234 h 1152"/>
            </a:gdLst>
            <a:ahLst/>
            <a:cxnLst>
              <a:cxn ang="0">
                <a:pos x="T0" y="T1"/>
              </a:cxn>
              <a:cxn ang="0">
                <a:pos x="T2" y="T3"/>
              </a:cxn>
              <a:cxn ang="0">
                <a:pos x="T4" y="T5"/>
              </a:cxn>
              <a:cxn ang="0">
                <a:pos x="T6" y="T7"/>
              </a:cxn>
              <a:cxn ang="0">
                <a:pos x="T8" y="T9"/>
              </a:cxn>
            </a:cxnLst>
            <a:rect l="0" t="0" r="r" b="b"/>
            <a:pathLst>
              <a:path w="3840" h="1152">
                <a:moveTo>
                  <a:pt x="0" y="234"/>
                </a:moveTo>
                <a:cubicBezTo>
                  <a:pt x="1146" y="809"/>
                  <a:pt x="2447" y="1133"/>
                  <a:pt x="3840" y="1152"/>
                </a:cubicBezTo>
                <a:cubicBezTo>
                  <a:pt x="3840" y="0"/>
                  <a:pt x="3840" y="0"/>
                  <a:pt x="3840" y="0"/>
                </a:cubicBezTo>
                <a:cubicBezTo>
                  <a:pt x="0" y="0"/>
                  <a:pt x="0" y="0"/>
                  <a:pt x="0" y="0"/>
                </a:cubicBezTo>
                <a:lnTo>
                  <a:pt x="0" y="2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1">
            <a:extLst>
              <a:ext uri="{FF2B5EF4-FFF2-40B4-BE49-F238E27FC236}">
                <a16:creationId xmlns:a16="http://schemas.microsoft.com/office/drawing/2014/main" id="{22324458-F95B-4165-9D5A-805B967DB003}"/>
              </a:ext>
            </a:extLst>
          </p:cNvPr>
          <p:cNvSpPr>
            <a:spLocks/>
          </p:cNvSpPr>
          <p:nvPr userDrawn="1"/>
        </p:nvSpPr>
        <p:spPr bwMode="auto">
          <a:xfrm>
            <a:off x="0" y="4797425"/>
            <a:ext cx="6829425" cy="2060575"/>
          </a:xfrm>
          <a:custGeom>
            <a:avLst/>
            <a:gdLst>
              <a:gd name="T0" fmla="*/ 0 w 2152"/>
              <a:gd name="T1" fmla="*/ 0 h 649"/>
              <a:gd name="T2" fmla="*/ 542 w 2152"/>
              <a:gd name="T3" fmla="*/ 207 h 649"/>
              <a:gd name="T4" fmla="*/ 2152 w 2152"/>
              <a:gd name="T5" fmla="*/ 649 h 649"/>
              <a:gd name="T6" fmla="*/ 0 w 2152"/>
              <a:gd name="T7" fmla="*/ 649 h 649"/>
              <a:gd name="T8" fmla="*/ 0 w 2152"/>
              <a:gd name="T9" fmla="*/ 0 h 649"/>
            </a:gdLst>
            <a:ahLst/>
            <a:cxnLst>
              <a:cxn ang="0">
                <a:pos x="T0" y="T1"/>
              </a:cxn>
              <a:cxn ang="0">
                <a:pos x="T2" y="T3"/>
              </a:cxn>
              <a:cxn ang="0">
                <a:pos x="T4" y="T5"/>
              </a:cxn>
              <a:cxn ang="0">
                <a:pos x="T6" y="T7"/>
              </a:cxn>
              <a:cxn ang="0">
                <a:pos x="T8" y="T9"/>
              </a:cxn>
            </a:cxnLst>
            <a:rect l="0" t="0" r="r" b="b"/>
            <a:pathLst>
              <a:path w="2152" h="649">
                <a:moveTo>
                  <a:pt x="0" y="0"/>
                </a:moveTo>
                <a:cubicBezTo>
                  <a:pt x="178" y="74"/>
                  <a:pt x="359" y="143"/>
                  <a:pt x="542" y="207"/>
                </a:cubicBezTo>
                <a:cubicBezTo>
                  <a:pt x="1060" y="397"/>
                  <a:pt x="1597" y="546"/>
                  <a:pt x="2152" y="649"/>
                </a:cubicBezTo>
                <a:cubicBezTo>
                  <a:pt x="0" y="649"/>
                  <a:pt x="0" y="649"/>
                  <a:pt x="0" y="649"/>
                </a:cubicBez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TextBox 10" descr="CMSLegal_Cover_Footer_and_Date">
            <a:extLst>
              <a:ext uri="{FF2B5EF4-FFF2-40B4-BE49-F238E27FC236}">
                <a16:creationId xmlns:a16="http://schemas.microsoft.com/office/drawing/2014/main" id="{BD014D82-FE55-444F-B40F-C87828145287}"/>
              </a:ext>
            </a:extLst>
          </p:cNvPr>
          <p:cNvSpPr txBox="1"/>
          <p:nvPr userDrawn="1">
            <p:custDataLst>
              <p:tags r:id="rId6"/>
            </p:custDataLst>
          </p:nvPr>
        </p:nvSpPr>
        <p:spPr>
          <a:xfrm>
            <a:off x="607448" y="5998552"/>
            <a:ext cx="864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2" name="TextBox 11" descr="CMSLegal_Cover_Footer_and_Date">
            <a:extLst>
              <a:ext uri="{FF2B5EF4-FFF2-40B4-BE49-F238E27FC236}">
                <a16:creationId xmlns:a16="http://schemas.microsoft.com/office/drawing/2014/main" id="{9357BE0E-D61F-4999-94CE-FF6E25D43294}"/>
              </a:ext>
            </a:extLst>
          </p:cNvPr>
          <p:cNvSpPr txBox="1"/>
          <p:nvPr userDrawn="1">
            <p:custDataLst>
              <p:tags r:id="rId7"/>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chemeClr val="tx1"/>
                </a:solidFill>
                <a:latin typeface="Arial"/>
                <a:cs typeface="Arial" pitchFamily="34" charset="0"/>
              </a:rPr>
              <a:t>13 March 2024</a:t>
            </a:r>
            <a:endParaRPr lang="en-GB" sz="1000" kern="1560" baseline="0" noProof="0" dirty="0">
              <a:solidFill>
                <a:schemeClr val="tx1"/>
              </a:solidFill>
              <a:latin typeface="Arial"/>
              <a:cs typeface="Arial" pitchFamily="34" charset="0"/>
            </a:endParaRPr>
          </a:p>
        </p:txBody>
      </p:sp>
      <p:sp>
        <p:nvSpPr>
          <p:cNvPr id="15" name="TextBox 14" descr="CMSLegal_Footer_Firm">
            <a:extLst>
              <a:ext uri="{FF2B5EF4-FFF2-40B4-BE49-F238E27FC236}">
                <a16:creationId xmlns:a16="http://schemas.microsoft.com/office/drawing/2014/main" id="{0733BF2B-315C-4EE5-B2E7-537498743216}"/>
              </a:ext>
            </a:extLst>
          </p:cNvPr>
          <p:cNvSpPr txBox="1"/>
          <p:nvPr userDrawn="1">
            <p:custDataLst>
              <p:tags r:id="rId8"/>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825094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cover_with_image_colour_supergraphic">
    <p:spTree>
      <p:nvGrpSpPr>
        <p:cNvPr id="1" name=""/>
        <p:cNvGrpSpPr/>
        <p:nvPr/>
      </p:nvGrpSpPr>
      <p:grpSpPr>
        <a:xfrm>
          <a:off x="0" y="0"/>
          <a:ext cx="0" cy="0"/>
          <a:chOff x="0" y="0"/>
          <a:chExt cx="0" cy="0"/>
        </a:xfrm>
      </p:grpSpPr>
      <p:pic>
        <p:nvPicPr>
          <p:cNvPr id="7" name="Rectangle 6">
            <a:extLst>
              <a:ext uri="{FF2B5EF4-FFF2-40B4-BE49-F238E27FC236}">
                <a16:creationId xmlns:a16="http://schemas.microsoft.com/office/drawing/2014/main" id="{A8C5FAE6-7316-73BC-7EDA-EACDACE8732D}"/>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4" name="Freeform: Shape 13" descr="CMSLegal_BG_IM_Fill">
            <a:extLst>
              <a:ext uri="{FF2B5EF4-FFF2-40B4-BE49-F238E27FC236}">
                <a16:creationId xmlns:a16="http://schemas.microsoft.com/office/drawing/2014/main" id="{54A93A10-08A3-4572-8CCF-7C7EC7C617B8}"/>
              </a:ext>
            </a:extLst>
          </p:cNvPr>
          <p:cNvSpPr>
            <a:spLocks noChangeArrowheads="1"/>
          </p:cNvSpPr>
          <p:nvPr userDrawn="1"/>
        </p:nvSpPr>
        <p:spPr bwMode="auto">
          <a:xfrm>
            <a:off x="0" y="742950"/>
            <a:ext cx="12192000" cy="6115050"/>
          </a:xfrm>
          <a:custGeom>
            <a:avLst/>
            <a:gdLst>
              <a:gd name="connsiteX0" fmla="*/ 0 w 12192000"/>
              <a:gd name="connsiteY0" fmla="*/ 0 h 6115050"/>
              <a:gd name="connsiteX1" fmla="*/ 12192000 w 12192000"/>
              <a:gd name="connsiteY1" fmla="*/ 2914650 h 6115050"/>
              <a:gd name="connsiteX2" fmla="*/ 12192000 w 12192000"/>
              <a:gd name="connsiteY2" fmla="*/ 6115050 h 6115050"/>
              <a:gd name="connsiteX3" fmla="*/ 6829425 w 12192000"/>
              <a:gd name="connsiteY3" fmla="*/ 6115050 h 6115050"/>
              <a:gd name="connsiteX4" fmla="*/ 1720051 w 12192000"/>
              <a:gd name="connsiteY4" fmla="*/ 4711700 h 6115050"/>
              <a:gd name="connsiteX5" fmla="*/ 854075 w 12192000"/>
              <a:gd name="connsiteY5" fmla="*/ 4394994 h 6115050"/>
              <a:gd name="connsiteX6" fmla="*/ 0 w 12192000"/>
              <a:gd name="connsiteY6" fmla="*/ 4054475 h 611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115050">
                <a:moveTo>
                  <a:pt x="0" y="0"/>
                </a:moveTo>
                <a:cubicBezTo>
                  <a:pt x="3638551" y="1825625"/>
                  <a:pt x="7769225" y="2854325"/>
                  <a:pt x="12192000" y="2914650"/>
                </a:cubicBezTo>
                <a:lnTo>
                  <a:pt x="12192000" y="6115050"/>
                </a:lnTo>
                <a:lnTo>
                  <a:pt x="6829425" y="6115050"/>
                </a:lnTo>
                <a:cubicBezTo>
                  <a:pt x="5068119" y="5788025"/>
                  <a:pt x="3363936" y="5314950"/>
                  <a:pt x="1720051" y="4711700"/>
                </a:cubicBezTo>
                <a:cubicBezTo>
                  <a:pt x="1429673" y="4610100"/>
                  <a:pt x="1140882" y="4504532"/>
                  <a:pt x="854075" y="4394994"/>
                </a:cubicBezTo>
                <a:lnTo>
                  <a:pt x="0" y="4054475"/>
                </a:lnTo>
                <a:close/>
              </a:path>
            </a:pathLst>
          </a:custGeom>
          <a:solidFill>
            <a:schemeClr val="accent1"/>
          </a:solidFill>
          <a:ln w="9525">
            <a:noFill/>
            <a:miter lim="800000"/>
            <a:headEnd/>
            <a:tailEnd/>
          </a:ln>
        </p:spPr>
        <p:txBody>
          <a:bodyPr wrap="square" lIns="0" tIns="0" rIns="0" bIns="0">
            <a:noAutofit/>
          </a:bodyPr>
          <a:lstStyle/>
          <a:p>
            <a:endParaRPr lang="en-GB" sz="1800" noProof="0" dirty="0">
              <a:latin typeface="Calibri" pitchFamily="-110" charset="0"/>
            </a:endParaRPr>
          </a:p>
        </p:txBody>
      </p:sp>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4"/>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12" name="TextBox 11" descr="CMSLegal_Cover_Footer_and_Date">
            <a:extLst>
              <a:ext uri="{FF2B5EF4-FFF2-40B4-BE49-F238E27FC236}">
                <a16:creationId xmlns:a16="http://schemas.microsoft.com/office/drawing/2014/main" id="{FCC2C753-79D3-4A0F-B78D-37308CC01A9C}"/>
              </a:ext>
            </a:extLst>
          </p:cNvPr>
          <p:cNvSpPr txBox="1"/>
          <p:nvPr userDrawn="1">
            <p:custDataLst>
              <p:tags r:id="rId5"/>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8" name="TextBox 7" descr="CMSLegal_Footer_Firm">
            <a:extLst>
              <a:ext uri="{FF2B5EF4-FFF2-40B4-BE49-F238E27FC236}">
                <a16:creationId xmlns:a16="http://schemas.microsoft.com/office/drawing/2014/main" id="{02A8800C-AA5A-4548-9036-B7E682E0FF6A}"/>
              </a:ext>
            </a:extLst>
          </p:cNvPr>
          <p:cNvSpPr txBox="1"/>
          <p:nvPr userDrawn="1">
            <p:custDataLst>
              <p:tags r:id="rId6"/>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3201830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cover_with_image_white_supergraphic">
    <p:spTree>
      <p:nvGrpSpPr>
        <p:cNvPr id="1" name=""/>
        <p:cNvGrpSpPr/>
        <p:nvPr/>
      </p:nvGrpSpPr>
      <p:grpSpPr>
        <a:xfrm>
          <a:off x="0" y="0"/>
          <a:ext cx="0" cy="0"/>
          <a:chOff x="0" y="0"/>
          <a:chExt cx="0" cy="0"/>
        </a:xfrm>
      </p:grpSpPr>
      <p:pic>
        <p:nvPicPr>
          <p:cNvPr id="7" name="Rectangle 6">
            <a:extLst>
              <a:ext uri="{FF2B5EF4-FFF2-40B4-BE49-F238E27FC236}">
                <a16:creationId xmlns:a16="http://schemas.microsoft.com/office/drawing/2014/main" id="{FD276053-4ACB-294F-16C2-C39B412657EA}"/>
              </a:ext>
            </a:extLst>
          </p:cNvPr>
          <p:cNvPicPr>
            <a:picLocks/>
          </p:cNvPicPr>
          <p:nvPr userDrawn="1">
            <p:custDataLst>
              <p:tags r:id="rId1"/>
            </p:custDataLst>
          </p:nvPr>
        </p:nvPicPr>
        <p:blipFill>
          <a:blip r:embed="rId8">
            <a:extLst>
              <a:ext uri="{28A0092B-C50C-407E-A947-70E740481C1C}">
                <a14:useLocalDpi xmlns:a14="http://schemas.microsoft.com/office/drawing/2010/main" val="0"/>
              </a:ext>
            </a:extLst>
          </a:blip>
          <a:stretch>
            <a:fillRect/>
          </a:stretch>
        </p:blipFill>
        <p:spPr bwMode="auto">
          <a:xfrm>
            <a:off x="0" y="1312"/>
            <a:ext cx="12193200" cy="6858000"/>
          </a:xfrm>
          <a:prstGeom prst="rect">
            <a:avLst/>
          </a:prstGeom>
          <a:solidFill>
            <a:srgbClr val="0D535F"/>
          </a:solidFill>
          <a:effectLst>
            <a:glow>
              <a:srgbClr val="000000"/>
            </a:glow>
          </a:effectLst>
        </p:spPr>
      </p:pic>
      <p:sp>
        <p:nvSpPr>
          <p:cNvPr id="14" name="Freeform: Shape 13" descr="CMSLegal_BG_IM_Fill">
            <a:extLst>
              <a:ext uri="{FF2B5EF4-FFF2-40B4-BE49-F238E27FC236}">
                <a16:creationId xmlns:a16="http://schemas.microsoft.com/office/drawing/2014/main" id="{54A93A10-08A3-4572-8CCF-7C7EC7C617B8}"/>
              </a:ext>
            </a:extLst>
          </p:cNvPr>
          <p:cNvSpPr>
            <a:spLocks noChangeArrowheads="1"/>
          </p:cNvSpPr>
          <p:nvPr userDrawn="1"/>
        </p:nvSpPr>
        <p:spPr bwMode="auto">
          <a:xfrm>
            <a:off x="0" y="742950"/>
            <a:ext cx="12192000" cy="6115050"/>
          </a:xfrm>
          <a:custGeom>
            <a:avLst/>
            <a:gdLst>
              <a:gd name="connsiteX0" fmla="*/ 0 w 12192000"/>
              <a:gd name="connsiteY0" fmla="*/ 0 h 6115050"/>
              <a:gd name="connsiteX1" fmla="*/ 12192000 w 12192000"/>
              <a:gd name="connsiteY1" fmla="*/ 2914650 h 6115050"/>
              <a:gd name="connsiteX2" fmla="*/ 12192000 w 12192000"/>
              <a:gd name="connsiteY2" fmla="*/ 6115050 h 6115050"/>
              <a:gd name="connsiteX3" fmla="*/ 6829425 w 12192000"/>
              <a:gd name="connsiteY3" fmla="*/ 6115050 h 6115050"/>
              <a:gd name="connsiteX4" fmla="*/ 1720051 w 12192000"/>
              <a:gd name="connsiteY4" fmla="*/ 4711700 h 6115050"/>
              <a:gd name="connsiteX5" fmla="*/ 854075 w 12192000"/>
              <a:gd name="connsiteY5" fmla="*/ 4394994 h 6115050"/>
              <a:gd name="connsiteX6" fmla="*/ 0 w 12192000"/>
              <a:gd name="connsiteY6" fmla="*/ 4054475 h 611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115050">
                <a:moveTo>
                  <a:pt x="0" y="0"/>
                </a:moveTo>
                <a:cubicBezTo>
                  <a:pt x="3638551" y="1825625"/>
                  <a:pt x="7769225" y="2854325"/>
                  <a:pt x="12192000" y="2914650"/>
                </a:cubicBezTo>
                <a:lnTo>
                  <a:pt x="12192000" y="6115050"/>
                </a:lnTo>
                <a:lnTo>
                  <a:pt x="6829425" y="6115050"/>
                </a:lnTo>
                <a:cubicBezTo>
                  <a:pt x="5068119" y="5788025"/>
                  <a:pt x="3363936" y="5314950"/>
                  <a:pt x="1720051" y="4711700"/>
                </a:cubicBezTo>
                <a:cubicBezTo>
                  <a:pt x="1429673" y="4610100"/>
                  <a:pt x="1140882" y="4504532"/>
                  <a:pt x="854075" y="4394994"/>
                </a:cubicBezTo>
                <a:lnTo>
                  <a:pt x="0" y="4054475"/>
                </a:lnTo>
                <a:close/>
              </a:path>
            </a:pathLst>
          </a:custGeom>
          <a:solidFill>
            <a:schemeClr val="bg1"/>
          </a:solidFill>
          <a:ln w="9525">
            <a:noFill/>
            <a:miter lim="800000"/>
            <a:headEnd/>
            <a:tailEnd/>
          </a:ln>
        </p:spPr>
        <p:txBody>
          <a:bodyPr wrap="square" lIns="0" tIns="0" rIns="0" bIns="0">
            <a:noAutofit/>
          </a:bodyPr>
          <a:lstStyle/>
          <a:p>
            <a:endParaRPr lang="en-GB" sz="1800" noProof="0" dirty="0">
              <a:latin typeface="Calibri" pitchFamily="-110" charset="0"/>
            </a:endParaRPr>
          </a:p>
        </p:txBody>
      </p:sp>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2"/>
            </p:custDataLst>
          </p:nvPr>
        </p:nvSpPr>
        <p:spPr>
          <a:xfrm>
            <a:off x="594000" y="2411999"/>
            <a:ext cx="3960000" cy="1440000"/>
          </a:xfrm>
        </p:spPr>
        <p:txBody>
          <a:bodyPr anchor="b" anchorCtr="0"/>
          <a:lstStyle>
            <a:lvl1pPr marL="0" indent="0">
              <a:defRPr sz="4000">
                <a:latin typeface="+mj-lt"/>
              </a:defRPr>
            </a:lvl1pPr>
          </a:lstStyle>
          <a:p>
            <a:pPr lvl="0"/>
            <a:r>
              <a:rPr lang="en-US" dirty="0"/>
              <a:t>&lt;&lt;</a:t>
            </a:r>
            <a:r>
              <a:rPr lang="en-US" dirty="0" err="1"/>
              <a:t>Title.Text</a:t>
            </a:r>
            <a:r>
              <a:rPr lang="en-US" dirty="0"/>
              <a:t>&gt;&gt;</a:t>
            </a:r>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3"/>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dirty="0"/>
              <a:t>&lt;&lt;</a:t>
            </a:r>
            <a:r>
              <a:rPr lang="en-US" dirty="0" err="1"/>
              <a:t>Subitle.Text</a:t>
            </a:r>
            <a:r>
              <a:rPr lang="en-US" dirty="0"/>
              <a:t>&gt;&gt;</a:t>
            </a:r>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4"/>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12" name="TextBox 11" descr="CMSLegal_Cover_Footer_and_Date">
            <a:extLst>
              <a:ext uri="{FF2B5EF4-FFF2-40B4-BE49-F238E27FC236}">
                <a16:creationId xmlns:a16="http://schemas.microsoft.com/office/drawing/2014/main" id="{FCC2C753-79D3-4A0F-B78D-37308CC01A9C}"/>
              </a:ext>
            </a:extLst>
          </p:cNvPr>
          <p:cNvSpPr txBox="1"/>
          <p:nvPr userDrawn="1">
            <p:custDataLst>
              <p:tags r:id="rId5"/>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8" name="TextBox 7" descr="CMSLegal_Footer_Firm">
            <a:extLst>
              <a:ext uri="{FF2B5EF4-FFF2-40B4-BE49-F238E27FC236}">
                <a16:creationId xmlns:a16="http://schemas.microsoft.com/office/drawing/2014/main" id="{B95451F5-FE49-4C1B-B62A-D715AA276FBA}"/>
              </a:ext>
            </a:extLst>
          </p:cNvPr>
          <p:cNvSpPr txBox="1"/>
          <p:nvPr userDrawn="1">
            <p:custDataLst>
              <p:tags r:id="rId6"/>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Tree>
    <p:extLst>
      <p:ext uri="{BB962C8B-B14F-4D97-AF65-F5344CB8AC3E}">
        <p14:creationId xmlns:p14="http://schemas.microsoft.com/office/powerpoint/2010/main" val="23675088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_with_colour_supergraphic">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1"/>
            </p:custDataLst>
          </p:nvPr>
        </p:nvSpPr>
        <p:spPr>
          <a:xfrm>
            <a:off x="594000" y="2411999"/>
            <a:ext cx="3960000" cy="1440000"/>
          </a:xfrm>
        </p:spPr>
        <p:txBody>
          <a:bodyPr anchor="b" anchorCtr="0"/>
          <a:lstStyle>
            <a:lvl1pPr marL="0" indent="0">
              <a:defRPr sz="4000">
                <a:latin typeface="+mj-lt"/>
              </a:defRPr>
            </a:lvl1pPr>
          </a:lstStyle>
          <a:p>
            <a:pPr lvl="0"/>
            <a:r>
              <a:rPr lang="en-US"/>
              <a:t>&lt;&lt;Title.Text&gt;&gt;</a:t>
            </a:r>
            <a:endParaRPr lang="en-US" dirty="0"/>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2"/>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a:t>&lt;&lt;Subitle.Text&gt;&gt;</a:t>
            </a:r>
            <a:endParaRPr lang="en-US" dirty="0"/>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3"/>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Freeform 10">
            <a:extLst>
              <a:ext uri="{FF2B5EF4-FFF2-40B4-BE49-F238E27FC236}">
                <a16:creationId xmlns:a16="http://schemas.microsoft.com/office/drawing/2014/main" id="{C5846466-E2B4-4B2B-A696-92D6705ACB24}"/>
              </a:ext>
            </a:extLst>
          </p:cNvPr>
          <p:cNvSpPr>
            <a:spLocks/>
          </p:cNvSpPr>
          <p:nvPr userDrawn="1"/>
        </p:nvSpPr>
        <p:spPr bwMode="auto">
          <a:xfrm>
            <a:off x="0" y="0"/>
            <a:ext cx="12192000" cy="3657600"/>
          </a:xfrm>
          <a:custGeom>
            <a:avLst/>
            <a:gdLst>
              <a:gd name="T0" fmla="*/ 0 w 3840"/>
              <a:gd name="T1" fmla="*/ 234 h 1152"/>
              <a:gd name="T2" fmla="*/ 3840 w 3840"/>
              <a:gd name="T3" fmla="*/ 1152 h 1152"/>
              <a:gd name="T4" fmla="*/ 3840 w 3840"/>
              <a:gd name="T5" fmla="*/ 0 h 1152"/>
              <a:gd name="T6" fmla="*/ 0 w 3840"/>
              <a:gd name="T7" fmla="*/ 0 h 1152"/>
              <a:gd name="T8" fmla="*/ 0 w 3840"/>
              <a:gd name="T9" fmla="*/ 234 h 1152"/>
            </a:gdLst>
            <a:ahLst/>
            <a:cxnLst>
              <a:cxn ang="0">
                <a:pos x="T0" y="T1"/>
              </a:cxn>
              <a:cxn ang="0">
                <a:pos x="T2" y="T3"/>
              </a:cxn>
              <a:cxn ang="0">
                <a:pos x="T4" y="T5"/>
              </a:cxn>
              <a:cxn ang="0">
                <a:pos x="T6" y="T7"/>
              </a:cxn>
              <a:cxn ang="0">
                <a:pos x="T8" y="T9"/>
              </a:cxn>
            </a:cxnLst>
            <a:rect l="0" t="0" r="r" b="b"/>
            <a:pathLst>
              <a:path w="3840" h="1152">
                <a:moveTo>
                  <a:pt x="0" y="234"/>
                </a:moveTo>
                <a:cubicBezTo>
                  <a:pt x="1146" y="809"/>
                  <a:pt x="2447" y="1133"/>
                  <a:pt x="3840" y="1152"/>
                </a:cubicBezTo>
                <a:cubicBezTo>
                  <a:pt x="3840" y="0"/>
                  <a:pt x="3840" y="0"/>
                  <a:pt x="3840" y="0"/>
                </a:cubicBezTo>
                <a:cubicBezTo>
                  <a:pt x="0" y="0"/>
                  <a:pt x="0" y="0"/>
                  <a:pt x="0" y="0"/>
                </a:cubicBezTo>
                <a:lnTo>
                  <a:pt x="0" y="23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1">
            <a:extLst>
              <a:ext uri="{FF2B5EF4-FFF2-40B4-BE49-F238E27FC236}">
                <a16:creationId xmlns:a16="http://schemas.microsoft.com/office/drawing/2014/main" id="{22324458-F95B-4165-9D5A-805B967DB003}"/>
              </a:ext>
            </a:extLst>
          </p:cNvPr>
          <p:cNvSpPr>
            <a:spLocks/>
          </p:cNvSpPr>
          <p:nvPr userDrawn="1"/>
        </p:nvSpPr>
        <p:spPr bwMode="auto">
          <a:xfrm>
            <a:off x="0" y="4797426"/>
            <a:ext cx="6829425" cy="2060574"/>
          </a:xfrm>
          <a:custGeom>
            <a:avLst/>
            <a:gdLst>
              <a:gd name="T0" fmla="*/ 0 w 2152"/>
              <a:gd name="T1" fmla="*/ 0 h 649"/>
              <a:gd name="T2" fmla="*/ 542 w 2152"/>
              <a:gd name="T3" fmla="*/ 207 h 649"/>
              <a:gd name="T4" fmla="*/ 2152 w 2152"/>
              <a:gd name="T5" fmla="*/ 649 h 649"/>
              <a:gd name="T6" fmla="*/ 0 w 2152"/>
              <a:gd name="T7" fmla="*/ 649 h 649"/>
              <a:gd name="T8" fmla="*/ 0 w 2152"/>
              <a:gd name="T9" fmla="*/ 0 h 649"/>
            </a:gdLst>
            <a:ahLst/>
            <a:cxnLst>
              <a:cxn ang="0">
                <a:pos x="T0" y="T1"/>
              </a:cxn>
              <a:cxn ang="0">
                <a:pos x="T2" y="T3"/>
              </a:cxn>
              <a:cxn ang="0">
                <a:pos x="T4" y="T5"/>
              </a:cxn>
              <a:cxn ang="0">
                <a:pos x="T6" y="T7"/>
              </a:cxn>
              <a:cxn ang="0">
                <a:pos x="T8" y="T9"/>
              </a:cxn>
            </a:cxnLst>
            <a:rect l="0" t="0" r="r" b="b"/>
            <a:pathLst>
              <a:path w="2152" h="649">
                <a:moveTo>
                  <a:pt x="0" y="0"/>
                </a:moveTo>
                <a:cubicBezTo>
                  <a:pt x="178" y="74"/>
                  <a:pt x="359" y="143"/>
                  <a:pt x="542" y="207"/>
                </a:cubicBezTo>
                <a:cubicBezTo>
                  <a:pt x="1060" y="397"/>
                  <a:pt x="1597" y="546"/>
                  <a:pt x="2152" y="649"/>
                </a:cubicBezTo>
                <a:cubicBezTo>
                  <a:pt x="0" y="649"/>
                  <a:pt x="0" y="649"/>
                  <a:pt x="0" y="649"/>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TextBox 7" descr="CMSLegal_Cover_Footer_and_Date">
            <a:extLst>
              <a:ext uri="{FF2B5EF4-FFF2-40B4-BE49-F238E27FC236}">
                <a16:creationId xmlns:a16="http://schemas.microsoft.com/office/drawing/2014/main" id="{BD9A5E84-44E1-4D45-9F5B-0874E73567B8}"/>
              </a:ext>
            </a:extLst>
          </p:cNvPr>
          <p:cNvSpPr txBox="1"/>
          <p:nvPr userDrawn="1">
            <p:custDataLst>
              <p:tags r:id="rId4"/>
            </p:custDataLst>
          </p:nvPr>
        </p:nvSpPr>
        <p:spPr>
          <a:xfrm>
            <a:off x="607448"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1" name="TextBox 10" descr="CMSLegal_Footer_Firm">
            <a:extLst>
              <a:ext uri="{FF2B5EF4-FFF2-40B4-BE49-F238E27FC236}">
                <a16:creationId xmlns:a16="http://schemas.microsoft.com/office/drawing/2014/main" id="{6B3D0776-20A9-466A-BE26-4E6F4E2AA43F}"/>
              </a:ext>
            </a:extLst>
          </p:cNvPr>
          <p:cNvSpPr txBox="1"/>
          <p:nvPr userDrawn="1">
            <p:custDataLst>
              <p:tags r:id="rId5"/>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Tree>
    <p:extLst>
      <p:ext uri="{BB962C8B-B14F-4D97-AF65-F5344CB8AC3E}">
        <p14:creationId xmlns:p14="http://schemas.microsoft.com/office/powerpoint/2010/main" val="1462360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over_with_theme_colour">
    <p:spTree>
      <p:nvGrpSpPr>
        <p:cNvPr id="1" name=""/>
        <p:cNvGrpSpPr/>
        <p:nvPr/>
      </p:nvGrpSpPr>
      <p:grpSpPr>
        <a:xfrm>
          <a:off x="0" y="0"/>
          <a:ext cx="0" cy="0"/>
          <a:chOff x="0" y="0"/>
          <a:chExt cx="0" cy="0"/>
        </a:xfrm>
      </p:grpSpPr>
      <p:sp>
        <p:nvSpPr>
          <p:cNvPr id="8" name="Rectangle 7" descr="CMSLegal_BG_IM_Fill">
            <a:extLst>
              <a:ext uri="{FF2B5EF4-FFF2-40B4-BE49-F238E27FC236}">
                <a16:creationId xmlns:a16="http://schemas.microsoft.com/office/drawing/2014/main" id="{A7E7FE3E-07C8-44FF-B0C3-081C122B3592}"/>
              </a:ext>
            </a:extLst>
          </p:cNvPr>
          <p:cNvSpPr>
            <a:spLocks noChangeArrowheads="1"/>
          </p:cNvSpPr>
          <p:nvPr userDrawn="1"/>
        </p:nvSpPr>
        <p:spPr bwMode="auto">
          <a:xfrm>
            <a:off x="0" y="0"/>
            <a:ext cx="12192000" cy="6858000"/>
          </a:xfrm>
          <a:prstGeom prst="rect">
            <a:avLst/>
          </a:prstGeom>
          <a:solidFill>
            <a:schemeClr val="accent1"/>
          </a:solidFill>
          <a:ln w="9525">
            <a:noFill/>
            <a:miter lim="800000"/>
            <a:headEnd/>
            <a:tailEnd/>
          </a:ln>
        </p:spPr>
        <p:txBody>
          <a:bodyPr lIns="0" tIns="0" rIns="0" bIns="0"/>
          <a:lstStyle/>
          <a:p>
            <a:endParaRPr lang="en-GB" sz="1800" noProof="0" dirty="0">
              <a:latin typeface="Calibri" pitchFamily="-110" charset="0"/>
            </a:endParaRPr>
          </a:p>
        </p:txBody>
      </p:sp>
      <p:sp>
        <p:nvSpPr>
          <p:cNvPr id="13" name="Text Placeholder 12">
            <a:extLst>
              <a:ext uri="{FF2B5EF4-FFF2-40B4-BE49-F238E27FC236}">
                <a16:creationId xmlns:a16="http://schemas.microsoft.com/office/drawing/2014/main" id="{36B9EAC9-ABE8-4A8F-B30F-A5711D995D28}"/>
              </a:ext>
            </a:extLst>
          </p:cNvPr>
          <p:cNvSpPr>
            <a:spLocks noGrp="1"/>
          </p:cNvSpPr>
          <p:nvPr userDrawn="1">
            <p:ph type="body" sz="quarter" idx="13" hasCustomPrompt="1"/>
            <p:custDataLst>
              <p:tags r:id="rId1"/>
            </p:custDataLst>
          </p:nvPr>
        </p:nvSpPr>
        <p:spPr>
          <a:xfrm>
            <a:off x="594000" y="2411999"/>
            <a:ext cx="3960000" cy="1440000"/>
          </a:xfrm>
        </p:spPr>
        <p:txBody>
          <a:bodyPr anchor="b" anchorCtr="0"/>
          <a:lstStyle>
            <a:lvl1pPr marL="0" indent="0">
              <a:defRPr sz="4000">
                <a:latin typeface="+mj-lt"/>
              </a:defRPr>
            </a:lvl1pPr>
          </a:lstStyle>
          <a:p>
            <a:pPr lvl="0"/>
            <a:r>
              <a:rPr lang="en-US"/>
              <a:t>&lt;&lt;Title.Text&gt;&gt;</a:t>
            </a:r>
            <a:endParaRPr lang="en-US" dirty="0"/>
          </a:p>
        </p:txBody>
      </p:sp>
      <p:sp>
        <p:nvSpPr>
          <p:cNvPr id="3" name="Text Placeholder 2">
            <a:extLst>
              <a:ext uri="{FF2B5EF4-FFF2-40B4-BE49-F238E27FC236}">
                <a16:creationId xmlns:a16="http://schemas.microsoft.com/office/drawing/2014/main" id="{44ED424E-0430-45FD-A90F-D0EE75C82B2C}"/>
              </a:ext>
            </a:extLst>
          </p:cNvPr>
          <p:cNvSpPr>
            <a:spLocks noGrp="1"/>
          </p:cNvSpPr>
          <p:nvPr userDrawn="1">
            <p:ph type="body" sz="quarter" idx="14" hasCustomPrompt="1"/>
            <p:custDataLst>
              <p:tags r:id="rId2"/>
            </p:custDataLst>
          </p:nvPr>
        </p:nvSpPr>
        <p:spPr>
          <a:xfrm>
            <a:off x="594000" y="4212000"/>
            <a:ext cx="3960000" cy="900000"/>
          </a:xfrm>
        </p:spPr>
        <p:txBody>
          <a:bodyPr/>
          <a:lstStyle>
            <a:lvl1pPr marL="0" indent="0">
              <a:defRPr sz="2000">
                <a:latin typeface="+mn-lt"/>
              </a:defRPr>
            </a:lvl1pPr>
            <a:lvl2pPr>
              <a:defRPr sz="1800"/>
            </a:lvl2pPr>
            <a:lvl3pPr>
              <a:defRPr sz="1800"/>
            </a:lvl3pPr>
            <a:lvl4pPr>
              <a:defRPr sz="1800"/>
            </a:lvl4pPr>
            <a:lvl5pPr>
              <a:defRPr sz="1800"/>
            </a:lvl5pPr>
          </a:lstStyle>
          <a:p>
            <a:pPr lvl="0"/>
            <a:r>
              <a:rPr lang="en-US"/>
              <a:t>&lt;&lt;Subitle.Text&gt;&gt;</a:t>
            </a:r>
            <a:endParaRPr lang="en-US" dirty="0"/>
          </a:p>
        </p:txBody>
      </p:sp>
      <p:sp>
        <p:nvSpPr>
          <p:cNvPr id="10" name="Picture Placeholder 15">
            <a:extLst>
              <a:ext uri="{FF2B5EF4-FFF2-40B4-BE49-F238E27FC236}">
                <a16:creationId xmlns:a16="http://schemas.microsoft.com/office/drawing/2014/main" id="{63911939-E668-447D-82E0-7A53C0F8C0F7}"/>
              </a:ext>
            </a:extLst>
          </p:cNvPr>
          <p:cNvSpPr>
            <a:spLocks noGrp="1" noChangeAspect="1"/>
          </p:cNvSpPr>
          <p:nvPr userDrawn="1">
            <p:ph type="pic" sz="quarter" idx="18" hasCustomPrompt="1"/>
            <p:custDataLst>
              <p:tags r:id="rId3"/>
            </p:custDataLst>
          </p:nvPr>
        </p:nvSpPr>
        <p:spPr>
          <a:xfrm>
            <a:off x="607448" y="562448"/>
            <a:ext cx="10972800" cy="1018800"/>
          </a:xfrm>
        </p:spPr>
        <p:txBody>
          <a:bodyPr/>
          <a:lstStyle>
            <a:lvl1pPr algn="r">
              <a:defRPr>
                <a:solidFill>
                  <a:schemeClr val="tx1"/>
                </a:solidFill>
              </a:defRPr>
            </a:lvl1pPr>
          </a:lstStyle>
          <a:p>
            <a:r>
              <a:rPr lang="en-GB" dirty="0"/>
              <a:t>&lt;&lt;Logo&gt;&gt;</a:t>
            </a:r>
          </a:p>
        </p:txBody>
      </p:sp>
      <p:sp>
        <p:nvSpPr>
          <p:cNvPr id="7" name="TextBox 6" descr="CMSLegal_Cover_Footer_and_Date">
            <a:extLst>
              <a:ext uri="{FF2B5EF4-FFF2-40B4-BE49-F238E27FC236}">
                <a16:creationId xmlns:a16="http://schemas.microsoft.com/office/drawing/2014/main" id="{AE24B72D-1443-415A-87E7-FBA97A4C3F92}"/>
              </a:ext>
            </a:extLst>
          </p:cNvPr>
          <p:cNvSpPr txBox="1"/>
          <p:nvPr userDrawn="1">
            <p:custDataLst>
              <p:tags r:id="rId4"/>
            </p:custDataLst>
          </p:nvPr>
        </p:nvSpPr>
        <p:spPr>
          <a:xfrm>
            <a:off x="594000"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9" name="TextBox 8" descr="CMSLegal_Footer_Firm">
            <a:extLst>
              <a:ext uri="{FF2B5EF4-FFF2-40B4-BE49-F238E27FC236}">
                <a16:creationId xmlns:a16="http://schemas.microsoft.com/office/drawing/2014/main" id="{E36D9CB0-EAF3-476E-88A6-5396A489C733}"/>
              </a:ext>
            </a:extLst>
          </p:cNvPr>
          <p:cNvSpPr txBox="1"/>
          <p:nvPr userDrawn="1">
            <p:custDataLst>
              <p:tags r:id="rId5"/>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2543405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_and_content_supergraphic">
    <p:spTree>
      <p:nvGrpSpPr>
        <p:cNvPr id="1" name=""/>
        <p:cNvGrpSpPr/>
        <p:nvPr/>
      </p:nvGrpSpPr>
      <p:grpSpPr>
        <a:xfrm>
          <a:off x="0" y="0"/>
          <a:ext cx="0" cy="0"/>
          <a:chOff x="0" y="0"/>
          <a:chExt cx="0" cy="0"/>
        </a:xfrm>
      </p:grpSpPr>
      <p:sp>
        <p:nvSpPr>
          <p:cNvPr id="2" name="Title 1"/>
          <p:cNvSpPr>
            <a:spLocks noGrp="1"/>
          </p:cNvSpPr>
          <p:nvPr>
            <p:ph type="title"/>
          </p:nvPr>
        </p:nvSpPr>
        <p:spPr>
          <a:xfrm>
            <a:off x="576000" y="576000"/>
            <a:ext cx="6840000" cy="900000"/>
          </a:xfrm>
        </p:spPr>
        <p:txBody>
          <a:bodyPr anchor="t">
            <a:normAutofit/>
          </a:bodyPr>
          <a:lstStyle>
            <a:lvl1pPr>
              <a:defRPr sz="3200" b="0"/>
            </a:lvl1pPr>
          </a:lstStyle>
          <a:p>
            <a:r>
              <a:rPr lang="en-US" dirty="0"/>
              <a:t>Click to edit Master title style</a:t>
            </a:r>
          </a:p>
        </p:txBody>
      </p:sp>
      <p:sp>
        <p:nvSpPr>
          <p:cNvPr id="3" name="Content Placeholder 2"/>
          <p:cNvSpPr>
            <a:spLocks noGrp="1"/>
          </p:cNvSpPr>
          <p:nvPr>
            <p:ph idx="1"/>
          </p:nvPr>
        </p:nvSpPr>
        <p:spPr>
          <a:xfrm>
            <a:off x="576000" y="1868400"/>
            <a:ext cx="6840000" cy="446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atin typeface="+mj-lt"/>
              </a:defRPr>
            </a:lvl1pPr>
          </a:lstStyle>
          <a:p>
            <a:fld id="{586824BF-3B93-454D-8CFC-2835FAC2A0AB}" type="slidenum">
              <a:rPr lang="de-DE" smtClean="0"/>
              <a:pPr/>
              <a:t>‹#›</a:t>
            </a:fld>
            <a:endParaRPr lang="de-DE" dirty="0"/>
          </a:p>
        </p:txBody>
      </p:sp>
      <p:grpSp>
        <p:nvGrpSpPr>
          <p:cNvPr id="9" name="Group 4">
            <a:extLst>
              <a:ext uri="{FF2B5EF4-FFF2-40B4-BE49-F238E27FC236}">
                <a16:creationId xmlns:a16="http://schemas.microsoft.com/office/drawing/2014/main" id="{4DD382A5-2F3E-4B8E-B5E0-DE1BF284D911}"/>
              </a:ext>
            </a:extLst>
          </p:cNvPr>
          <p:cNvGrpSpPr>
            <a:grpSpLocks noChangeAspect="1"/>
          </p:cNvGrpSpPr>
          <p:nvPr userDrawn="1"/>
        </p:nvGrpSpPr>
        <p:grpSpPr bwMode="auto">
          <a:xfrm>
            <a:off x="8529638" y="3175"/>
            <a:ext cx="3662362" cy="6858000"/>
            <a:chOff x="5373" y="2"/>
            <a:chExt cx="2307" cy="4320"/>
          </a:xfrm>
          <a:solidFill>
            <a:schemeClr val="accent1">
              <a:alpha val="20000"/>
            </a:schemeClr>
          </a:solidFill>
        </p:grpSpPr>
        <p:sp>
          <p:nvSpPr>
            <p:cNvPr id="11" name="Freeform 5">
              <a:extLst>
                <a:ext uri="{FF2B5EF4-FFF2-40B4-BE49-F238E27FC236}">
                  <a16:creationId xmlns:a16="http://schemas.microsoft.com/office/drawing/2014/main" id="{00642F99-62A0-4E57-91E5-C73150BBC88A}"/>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378E226B-2679-42FC-89C8-3B57A90BF8A4}"/>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61610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hart slide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Pentagon 8">
            <a:extLst>
              <a:ext uri="{FF2B5EF4-FFF2-40B4-BE49-F238E27FC236}">
                <a16:creationId xmlns:a16="http://schemas.microsoft.com/office/drawing/2014/main" id="{BD2A5EA0-0011-3349-A308-4FED6E2E22E0}"/>
              </a:ext>
            </a:extLst>
          </p:cNvPr>
          <p:cNvSpPr/>
          <p:nvPr userDrawn="1"/>
        </p:nvSpPr>
        <p:spPr>
          <a:xfrm>
            <a:off x="6595966" y="2532819"/>
            <a:ext cx="5060702" cy="2675973"/>
          </a:xfrm>
          <a:prstGeom prst="homePlate">
            <a:avLst/>
          </a:prstGeom>
          <a:solidFill>
            <a:srgbClr val="1ED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entagon 9">
            <a:extLst>
              <a:ext uri="{FF2B5EF4-FFF2-40B4-BE49-F238E27FC236}">
                <a16:creationId xmlns:a16="http://schemas.microsoft.com/office/drawing/2014/main" id="{3F678318-0237-704A-A49F-CC14CA53B234}"/>
              </a:ext>
            </a:extLst>
          </p:cNvPr>
          <p:cNvSpPr/>
          <p:nvPr userDrawn="1"/>
        </p:nvSpPr>
        <p:spPr>
          <a:xfrm>
            <a:off x="3138391" y="2532819"/>
            <a:ext cx="5066180" cy="2675973"/>
          </a:xfrm>
          <a:prstGeom prst="homePlate">
            <a:avLst/>
          </a:prstGeom>
          <a:solidFill>
            <a:srgbClr val="5A6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entagon 10">
            <a:extLst>
              <a:ext uri="{FF2B5EF4-FFF2-40B4-BE49-F238E27FC236}">
                <a16:creationId xmlns:a16="http://schemas.microsoft.com/office/drawing/2014/main" id="{32F540AB-C0E1-F64B-98D1-F49E43307712}"/>
              </a:ext>
            </a:extLst>
          </p:cNvPr>
          <p:cNvSpPr/>
          <p:nvPr userDrawn="1"/>
        </p:nvSpPr>
        <p:spPr>
          <a:xfrm>
            <a:off x="947738" y="2532819"/>
            <a:ext cx="3903315" cy="2675973"/>
          </a:xfrm>
          <a:prstGeom prst="homePlat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80B1528-A241-CB4D-AE2B-880870189DEB}"/>
              </a:ext>
            </a:extLst>
          </p:cNvPr>
          <p:cNvSpPr txBox="1"/>
          <p:nvPr userDrawn="1"/>
        </p:nvSpPr>
        <p:spPr>
          <a:xfrm>
            <a:off x="1179618"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1.</a:t>
            </a:r>
          </a:p>
        </p:txBody>
      </p:sp>
      <p:sp>
        <p:nvSpPr>
          <p:cNvPr id="13" name="TextBox 12">
            <a:extLst>
              <a:ext uri="{FF2B5EF4-FFF2-40B4-BE49-F238E27FC236}">
                <a16:creationId xmlns:a16="http://schemas.microsoft.com/office/drawing/2014/main" id="{6CAE8636-D48B-0647-BB7C-11BD34D48B26}"/>
              </a:ext>
            </a:extLst>
          </p:cNvPr>
          <p:cNvSpPr txBox="1"/>
          <p:nvPr userDrawn="1"/>
        </p:nvSpPr>
        <p:spPr>
          <a:xfrm>
            <a:off x="5012063" y="3017414"/>
            <a:ext cx="681650" cy="541174"/>
          </a:xfrm>
          <a:prstGeom prst="rect">
            <a:avLst/>
          </a:prstGeom>
          <a:noFill/>
        </p:spPr>
        <p:txBody>
          <a:bodyPr wrap="square" rtlCol="0">
            <a:spAutoFit/>
          </a:bodyPr>
          <a:lstStyle/>
          <a:p>
            <a:pPr>
              <a:lnSpc>
                <a:spcPts val="3500"/>
              </a:lnSpc>
            </a:pPr>
            <a:r>
              <a:rPr lang="en-GB" sz="3500" b="1">
                <a:solidFill>
                  <a:srgbClr val="FFFFFF"/>
                </a:solidFill>
                <a:latin typeface="Lato Black" panose="020F0502020204030203" pitchFamily="34" charset="77"/>
              </a:rPr>
              <a:t>2.</a:t>
            </a:r>
          </a:p>
        </p:txBody>
      </p:sp>
      <p:sp>
        <p:nvSpPr>
          <p:cNvPr id="14" name="TextBox 13">
            <a:extLst>
              <a:ext uri="{FF2B5EF4-FFF2-40B4-BE49-F238E27FC236}">
                <a16:creationId xmlns:a16="http://schemas.microsoft.com/office/drawing/2014/main" id="{D12FD69E-AD0B-F547-9D50-6EF3F8C18066}"/>
              </a:ext>
            </a:extLst>
          </p:cNvPr>
          <p:cNvSpPr txBox="1"/>
          <p:nvPr userDrawn="1"/>
        </p:nvSpPr>
        <p:spPr>
          <a:xfrm>
            <a:off x="8353442"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3.</a:t>
            </a:r>
          </a:p>
        </p:txBody>
      </p:sp>
      <p:sp>
        <p:nvSpPr>
          <p:cNvPr id="15" name="Text Placeholder 20">
            <a:extLst>
              <a:ext uri="{FF2B5EF4-FFF2-40B4-BE49-F238E27FC236}">
                <a16:creationId xmlns:a16="http://schemas.microsoft.com/office/drawing/2014/main" id="{EBDBA271-2CE3-984A-BAA9-1F097AF1EE12}"/>
              </a:ext>
            </a:extLst>
          </p:cNvPr>
          <p:cNvSpPr>
            <a:spLocks noGrp="1"/>
          </p:cNvSpPr>
          <p:nvPr>
            <p:ph type="body" sz="quarter" idx="10" hasCustomPrompt="1"/>
          </p:nvPr>
        </p:nvSpPr>
        <p:spPr>
          <a:xfrm>
            <a:off x="1310861" y="3558588"/>
            <a:ext cx="2754312" cy="1356313"/>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6" name="Text Placeholder 20">
            <a:extLst>
              <a:ext uri="{FF2B5EF4-FFF2-40B4-BE49-F238E27FC236}">
                <a16:creationId xmlns:a16="http://schemas.microsoft.com/office/drawing/2014/main" id="{D0A3A6BD-8857-F94A-9BA3-AA660D5C94EF}"/>
              </a:ext>
            </a:extLst>
          </p:cNvPr>
          <p:cNvSpPr>
            <a:spLocks noGrp="1"/>
          </p:cNvSpPr>
          <p:nvPr>
            <p:ph type="body" sz="quarter" idx="11" hasCustomPrompt="1"/>
          </p:nvPr>
        </p:nvSpPr>
        <p:spPr>
          <a:xfrm>
            <a:off x="5108161" y="3558589"/>
            <a:ext cx="2566920" cy="1356312"/>
          </a:xfrm>
          <a:prstGeom prst="rect">
            <a:avLst/>
          </a:prstGeom>
        </p:spPr>
        <p:txBody>
          <a:bodyPr lIns="0" tIns="0" rIns="0" bIns="0"/>
          <a:lstStyle>
            <a:lvl1pPr marL="0" indent="0">
              <a:lnSpc>
                <a:spcPts val="2000"/>
              </a:lnSpc>
              <a:spcBef>
                <a:spcPts val="0"/>
              </a:spcBef>
              <a:buNone/>
              <a:defRPr sz="16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7" name="Text Placeholder 20">
            <a:extLst>
              <a:ext uri="{FF2B5EF4-FFF2-40B4-BE49-F238E27FC236}">
                <a16:creationId xmlns:a16="http://schemas.microsoft.com/office/drawing/2014/main" id="{379250CF-F8E6-4348-9E9C-C193499BF302}"/>
              </a:ext>
            </a:extLst>
          </p:cNvPr>
          <p:cNvSpPr>
            <a:spLocks noGrp="1"/>
          </p:cNvSpPr>
          <p:nvPr>
            <p:ph type="body" sz="quarter" idx="12" hasCustomPrompt="1"/>
          </p:nvPr>
        </p:nvSpPr>
        <p:spPr>
          <a:xfrm>
            <a:off x="8460961" y="3558589"/>
            <a:ext cx="2551421" cy="1356312"/>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40862804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_and_three_content_supergraphic_ba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AA6E7C-909A-4A6D-970F-B29D111184E0}"/>
              </a:ext>
            </a:extLst>
          </p:cNvPr>
          <p:cNvSpPr/>
          <p:nvPr userDrawn="1"/>
        </p:nvSpPr>
        <p:spPr>
          <a:xfrm>
            <a:off x="0" y="0"/>
            <a:ext cx="12192000" cy="20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576000" y="576000"/>
            <a:ext cx="6840000" cy="900000"/>
          </a:xfrm>
        </p:spPr>
        <p:txBody>
          <a:bodyPr anchor="t">
            <a:normAutofit/>
          </a:bodyPr>
          <a:lstStyle>
            <a:lvl1pPr>
              <a:defRPr sz="3200" b="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94000" y="2520000"/>
            <a:ext cx="3420000" cy="374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atin typeface="+mj-lt"/>
              </a:defRPr>
            </a:lvl1pPr>
          </a:lstStyle>
          <a:p>
            <a:fld id="{586824BF-3B93-454D-8CFC-2835FAC2A0AB}" type="slidenum">
              <a:rPr lang="de-DE" smtClean="0"/>
              <a:pPr/>
              <a:t>‹#›</a:t>
            </a:fld>
            <a:endParaRPr lang="de-DE" dirty="0"/>
          </a:p>
        </p:txBody>
      </p:sp>
      <p:sp>
        <p:nvSpPr>
          <p:cNvPr id="10" name="Content Placeholder 2">
            <a:extLst>
              <a:ext uri="{FF2B5EF4-FFF2-40B4-BE49-F238E27FC236}">
                <a16:creationId xmlns:a16="http://schemas.microsoft.com/office/drawing/2014/main" id="{E8205BC0-B62A-4F5C-8DF8-B0CED8EFC7AB}"/>
              </a:ext>
            </a:extLst>
          </p:cNvPr>
          <p:cNvSpPr>
            <a:spLocks noGrp="1"/>
          </p:cNvSpPr>
          <p:nvPr>
            <p:ph idx="14"/>
          </p:nvPr>
        </p:nvSpPr>
        <p:spPr>
          <a:xfrm>
            <a:off x="4386000" y="2518688"/>
            <a:ext cx="3420000" cy="374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2F80681E-1639-4BDC-B02B-246235FAEC82}"/>
              </a:ext>
            </a:extLst>
          </p:cNvPr>
          <p:cNvSpPr>
            <a:spLocks noGrp="1"/>
          </p:cNvSpPr>
          <p:nvPr>
            <p:ph idx="15"/>
          </p:nvPr>
        </p:nvSpPr>
        <p:spPr>
          <a:xfrm>
            <a:off x="8176687" y="2525288"/>
            <a:ext cx="3420000" cy="3744000"/>
          </a:xfrm>
          <a:prstGeom prst="rect">
            <a:avLst/>
          </a:prstGeom>
        </p:spPr>
        <p:txBody>
          <a:bodyPr/>
          <a:lstStyle>
            <a:lvl1pPr>
              <a:defRPr>
                <a:solidFill>
                  <a:schemeClr val="tx1"/>
                </a:solidFill>
              </a:defRPr>
            </a:lvl1pPr>
            <a:lvl2pPr>
              <a:defRPr>
                <a:solidFill>
                  <a:schemeClr val="tx1"/>
                </a:solidFill>
              </a:defRPr>
            </a:lvl2pPr>
            <a:lvl3pPr marL="895350" indent="-266700" algn="l">
              <a:defRPr>
                <a:solidFill>
                  <a:schemeClr val="tx1"/>
                </a:solidFill>
              </a:defRPr>
            </a:lvl3pPr>
            <a:lvl4pPr marL="1162050" indent="-266700" algn="l">
              <a:defRPr>
                <a:solidFill>
                  <a:schemeClr val="tx1"/>
                </a:solidFill>
              </a:defRPr>
            </a:lvl4pPr>
            <a:lvl5pPr marL="1438275" indent="-276225" algn="l">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86B9502D-5EF0-4D78-8647-9CA266A703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15349" y="3174"/>
            <a:ext cx="3076388" cy="2084825"/>
          </a:xfrm>
          <a:prstGeom prst="rect">
            <a:avLst/>
          </a:prstGeom>
        </p:spPr>
      </p:pic>
    </p:spTree>
    <p:extLst>
      <p:ext uri="{BB962C8B-B14F-4D97-AF65-F5344CB8AC3E}">
        <p14:creationId xmlns:p14="http://schemas.microsoft.com/office/powerpoint/2010/main" val="232482960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_and_content_supergraphic_half_r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AB5291B-EE1E-4FCA-A6D7-9314ED4FCEE0}"/>
              </a:ext>
            </a:extLst>
          </p:cNvPr>
          <p:cNvSpPr/>
          <p:nvPr userDrawn="1"/>
        </p:nvSpPr>
        <p:spPr>
          <a:xfrm>
            <a:off x="6096000" y="-1"/>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a:extLst>
              <a:ext uri="{FF2B5EF4-FFF2-40B4-BE49-F238E27FC236}">
                <a16:creationId xmlns:a16="http://schemas.microsoft.com/office/drawing/2014/main" id="{F32D8540-D05E-4D9C-8FF3-DC6966AB3958}"/>
              </a:ext>
            </a:extLst>
          </p:cNvPr>
          <p:cNvGrpSpPr>
            <a:grpSpLocks noChangeAspect="1"/>
          </p:cNvGrpSpPr>
          <p:nvPr userDrawn="1"/>
        </p:nvGrpSpPr>
        <p:grpSpPr bwMode="auto">
          <a:xfrm>
            <a:off x="8529638" y="3175"/>
            <a:ext cx="3662362" cy="6858000"/>
            <a:chOff x="5373" y="2"/>
            <a:chExt cx="2307" cy="4320"/>
          </a:xfrm>
          <a:solidFill>
            <a:schemeClr val="bg1">
              <a:alpha val="20000"/>
            </a:schemeClr>
          </a:solidFill>
        </p:grpSpPr>
        <p:sp>
          <p:nvSpPr>
            <p:cNvPr id="15" name="Freeform 5">
              <a:extLst>
                <a:ext uri="{FF2B5EF4-FFF2-40B4-BE49-F238E27FC236}">
                  <a16:creationId xmlns:a16="http://schemas.microsoft.com/office/drawing/2014/main" id="{B6B1BFB2-45CE-4BB4-8817-B856EC3C9FE5}"/>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6">
              <a:extLst>
                <a:ext uri="{FF2B5EF4-FFF2-40B4-BE49-F238E27FC236}">
                  <a16:creationId xmlns:a16="http://schemas.microsoft.com/office/drawing/2014/main" id="{51775000-C478-41EA-A96C-2F31851AE886}"/>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576000" y="576000"/>
            <a:ext cx="4860000" cy="900000"/>
          </a:xfrm>
        </p:spPr>
        <p:txBody>
          <a:bodyPr anchor="t"/>
          <a:lstStyle>
            <a:lvl1pPr>
              <a:defRPr sz="3200" b="0"/>
            </a:lvl1pPr>
          </a:lstStyle>
          <a:p>
            <a:r>
              <a:rPr lang="en-US" dirty="0"/>
              <a:t>Click to edit Master title style</a:t>
            </a:r>
          </a:p>
        </p:txBody>
      </p:sp>
      <p:sp>
        <p:nvSpPr>
          <p:cNvPr id="5" name="Text Placeholder 4">
            <a:extLst>
              <a:ext uri="{FF2B5EF4-FFF2-40B4-BE49-F238E27FC236}">
                <a16:creationId xmlns:a16="http://schemas.microsoft.com/office/drawing/2014/main" id="{2FE1B5BC-5710-4248-B2BF-4FBE84F5868B}"/>
              </a:ext>
            </a:extLst>
          </p:cNvPr>
          <p:cNvSpPr>
            <a:spLocks noGrp="1"/>
          </p:cNvSpPr>
          <p:nvPr>
            <p:ph type="body" sz="quarter" idx="14"/>
          </p:nvPr>
        </p:nvSpPr>
        <p:spPr>
          <a:xfrm>
            <a:off x="576000" y="1868400"/>
            <a:ext cx="486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8" name="Slide Number Placeholder 5">
            <a:extLst>
              <a:ext uri="{FF2B5EF4-FFF2-40B4-BE49-F238E27FC236}">
                <a16:creationId xmlns:a16="http://schemas.microsoft.com/office/drawing/2014/main" id="{9B9FA291-AC87-4C10-A5EA-2DA9A458D106}"/>
              </a:ext>
            </a:extLst>
          </p:cNvPr>
          <p:cNvSpPr>
            <a:spLocks noGrp="1"/>
          </p:cNvSpPr>
          <p:nvPr>
            <p:ph type="sldNum" sz="quarter" idx="4"/>
          </p:nvPr>
        </p:nvSpPr>
        <p:spPr>
          <a:xfrm>
            <a:off x="594000" y="6264000"/>
            <a:ext cx="288000" cy="594000"/>
          </a:xfrm>
          <a:prstGeom prst="rect">
            <a:avLst/>
          </a:prstGeom>
        </p:spPr>
        <p:txBody>
          <a:bodyPr vert="horz" lIns="0" tIns="0" rIns="0" bIns="0" rtlCol="0" anchor="ctr"/>
          <a:lstStyle>
            <a:lvl1pPr algn="l">
              <a:defRPr sz="1000" b="0">
                <a:solidFill>
                  <a:schemeClr val="tx1"/>
                </a:solidFill>
                <a:latin typeface="+mj-lt"/>
                <a:ea typeface="Open Sans" panose="020B0606030504020204" pitchFamily="34" charset="0"/>
                <a:cs typeface="Open Sans" panose="020B0606030504020204" pitchFamily="34" charset="0"/>
              </a:defRPr>
            </a:lvl1pPr>
          </a:lstStyle>
          <a:p>
            <a:fld id="{586824BF-3B93-454D-8CFC-2835FAC2A0AB}" type="slidenum">
              <a:rPr lang="de-DE" smtClean="0"/>
              <a:pPr/>
              <a:t>‹#›</a:t>
            </a:fld>
            <a:endParaRPr lang="de-DE" dirty="0"/>
          </a:p>
        </p:txBody>
      </p:sp>
      <p:sp>
        <p:nvSpPr>
          <p:cNvPr id="11" name="TextBox 10" descr="CMSLegal_Footer_Firm">
            <a:extLst>
              <a:ext uri="{FF2B5EF4-FFF2-40B4-BE49-F238E27FC236}">
                <a16:creationId xmlns:a16="http://schemas.microsoft.com/office/drawing/2014/main" id="{67FE776E-6D0D-4FA6-8D9C-BC2208562EB2}"/>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12394232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_and_content_supergraphic_half_lef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EA8B791-AB5C-42D9-85F9-C4929C4144F5}"/>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1" name="Group 4">
            <a:extLst>
              <a:ext uri="{FF2B5EF4-FFF2-40B4-BE49-F238E27FC236}">
                <a16:creationId xmlns:a16="http://schemas.microsoft.com/office/drawing/2014/main" id="{7C138FE4-6A36-41E7-83CA-D4BB63FFDB9D}"/>
              </a:ext>
            </a:extLst>
          </p:cNvPr>
          <p:cNvGrpSpPr>
            <a:grpSpLocks noChangeAspect="1"/>
          </p:cNvGrpSpPr>
          <p:nvPr userDrawn="1"/>
        </p:nvGrpSpPr>
        <p:grpSpPr bwMode="auto">
          <a:xfrm>
            <a:off x="2433639" y="-1312"/>
            <a:ext cx="3662362" cy="6858000"/>
            <a:chOff x="5373" y="2"/>
            <a:chExt cx="2307" cy="4320"/>
          </a:xfrm>
          <a:solidFill>
            <a:schemeClr val="bg1">
              <a:alpha val="20000"/>
            </a:schemeClr>
          </a:solidFill>
        </p:grpSpPr>
        <p:sp>
          <p:nvSpPr>
            <p:cNvPr id="18" name="Freeform 5">
              <a:extLst>
                <a:ext uri="{FF2B5EF4-FFF2-40B4-BE49-F238E27FC236}">
                  <a16:creationId xmlns:a16="http://schemas.microsoft.com/office/drawing/2014/main" id="{802C3217-5BC3-46ED-9A3D-B872C22705DB}"/>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6">
              <a:extLst>
                <a:ext uri="{FF2B5EF4-FFF2-40B4-BE49-F238E27FC236}">
                  <a16:creationId xmlns:a16="http://schemas.microsoft.com/office/drawing/2014/main" id="{DA00E224-412E-4E80-B7CB-DA84A4D11E67}"/>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6739089" y="594000"/>
            <a:ext cx="4860000" cy="900000"/>
          </a:xfrm>
        </p:spPr>
        <p:txBody>
          <a:bodyPr anchor="t"/>
          <a:lstStyle>
            <a:lvl1pPr>
              <a:defRPr sz="3200" b="0"/>
            </a:lvl1pPr>
          </a:lstStyle>
          <a:p>
            <a:r>
              <a:rPr lang="en-US" dirty="0"/>
              <a:t>Click to edit Master title style</a:t>
            </a:r>
          </a:p>
        </p:txBody>
      </p:sp>
      <p:sp>
        <p:nvSpPr>
          <p:cNvPr id="5" name="Text Placeholder 4">
            <a:extLst>
              <a:ext uri="{FF2B5EF4-FFF2-40B4-BE49-F238E27FC236}">
                <a16:creationId xmlns:a16="http://schemas.microsoft.com/office/drawing/2014/main" id="{2FE1B5BC-5710-4248-B2BF-4FBE84F5868B}"/>
              </a:ext>
            </a:extLst>
          </p:cNvPr>
          <p:cNvSpPr>
            <a:spLocks noGrp="1"/>
          </p:cNvSpPr>
          <p:nvPr>
            <p:ph type="body" sz="quarter" idx="14"/>
          </p:nvPr>
        </p:nvSpPr>
        <p:spPr>
          <a:xfrm>
            <a:off x="6739089" y="1868400"/>
            <a:ext cx="486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3" name="Foliennummernplatzhalter 5" descr="CMSLegal_Footer_SlideNumber">
            <a:extLst>
              <a:ext uri="{FF2B5EF4-FFF2-40B4-BE49-F238E27FC236}">
                <a16:creationId xmlns:a16="http://schemas.microsoft.com/office/drawing/2014/main" id="{C4580922-8779-4EAA-9CD4-F71E8D0ADBA1}"/>
              </a:ext>
            </a:extLst>
          </p:cNvPr>
          <p:cNvSpPr>
            <a:spLocks noGrp="1"/>
          </p:cNvSpPr>
          <p:nvPr>
            <p:ph type="sldNum" sz="quarter" idx="4"/>
          </p:nvPr>
        </p:nvSpPr>
        <p:spPr>
          <a:xfrm>
            <a:off x="594000"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rgbClr val="FFFFFF"/>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9" name="TextBox 8" descr="CMSLegal_Cover_Footer_and_Date">
            <a:extLst>
              <a:ext uri="{FF2B5EF4-FFF2-40B4-BE49-F238E27FC236}">
                <a16:creationId xmlns:a16="http://schemas.microsoft.com/office/drawing/2014/main" id="{DAFF3702-057D-4B8D-A2D5-BEA4E9A23913}"/>
              </a:ext>
            </a:extLst>
          </p:cNvPr>
          <p:cNvSpPr txBox="1"/>
          <p:nvPr userDrawn="1">
            <p:custDataLst>
              <p:tags r:id="rId1"/>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Tree>
    <p:extLst>
      <p:ext uri="{BB962C8B-B14F-4D97-AF65-F5344CB8AC3E}">
        <p14:creationId xmlns:p14="http://schemas.microsoft.com/office/powerpoint/2010/main" val="259311850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_and_two_content_picture ">
    <p:spTree>
      <p:nvGrpSpPr>
        <p:cNvPr id="1" name=""/>
        <p:cNvGrpSpPr/>
        <p:nvPr/>
      </p:nvGrpSpPr>
      <p:grpSpPr>
        <a:xfrm>
          <a:off x="0" y="0"/>
          <a:ext cx="0" cy="0"/>
          <a:chOff x="0" y="0"/>
          <a:chExt cx="0" cy="0"/>
        </a:xfrm>
      </p:grpSpPr>
      <p:sp>
        <p:nvSpPr>
          <p:cNvPr id="2" name="Title 1"/>
          <p:cNvSpPr>
            <a:spLocks noGrp="1"/>
          </p:cNvSpPr>
          <p:nvPr>
            <p:ph type="title"/>
          </p:nvPr>
        </p:nvSpPr>
        <p:spPr>
          <a:xfrm>
            <a:off x="576000" y="576000"/>
            <a:ext cx="7959001" cy="900000"/>
          </a:xfrm>
        </p:spPr>
        <p:txBody>
          <a:bodyPr anchor="t"/>
          <a:lstStyle>
            <a:lvl1pPr>
              <a:defRPr sz="3200" b="0"/>
            </a:lvl1pPr>
          </a:lstStyle>
          <a:p>
            <a:r>
              <a:rPr lang="en-US" dirty="0"/>
              <a:t>Click to edit Master title style</a:t>
            </a:r>
          </a:p>
        </p:txBody>
      </p:sp>
      <p:sp>
        <p:nvSpPr>
          <p:cNvPr id="10" name="Content Placeholder 9">
            <a:extLst>
              <a:ext uri="{FF2B5EF4-FFF2-40B4-BE49-F238E27FC236}">
                <a16:creationId xmlns:a16="http://schemas.microsoft.com/office/drawing/2014/main" id="{2A867146-CBEA-4E33-8E7E-4D0DB6273574}"/>
              </a:ext>
            </a:extLst>
          </p:cNvPr>
          <p:cNvSpPr>
            <a:spLocks noGrp="1"/>
          </p:cNvSpPr>
          <p:nvPr>
            <p:ph sz="quarter" idx="13"/>
          </p:nvPr>
        </p:nvSpPr>
        <p:spPr>
          <a:xfrm>
            <a:off x="8952000" y="0"/>
            <a:ext cx="3240000" cy="6858000"/>
          </a:xfrm>
          <a:prstGeom prst="rect">
            <a:avLst/>
          </a:prstGeom>
          <a:solidFill>
            <a:schemeClr val="accent1"/>
          </a:solidFill>
        </p:spPr>
        <p:txBody>
          <a:bodyPr lIns="684000" tIns="540000" rIns="540000" bIns="540000"/>
          <a:lstStyle>
            <a:lvl1pPr marL="0" indent="0">
              <a:buNone/>
              <a:defRPr>
                <a:solidFill>
                  <a:schemeClr val="bg1"/>
                </a:solidFill>
              </a:defRPr>
            </a:lvl1pPr>
          </a:lstStyle>
          <a:p>
            <a:pPr lvl="0"/>
            <a:endParaRPr lang="de-DE" dirty="0"/>
          </a:p>
        </p:txBody>
      </p:sp>
      <p:sp>
        <p:nvSpPr>
          <p:cNvPr id="5" name="Text Placeholder 4">
            <a:extLst>
              <a:ext uri="{FF2B5EF4-FFF2-40B4-BE49-F238E27FC236}">
                <a16:creationId xmlns:a16="http://schemas.microsoft.com/office/drawing/2014/main" id="{2FE1B5BC-5710-4248-B2BF-4FBE84F5868B}"/>
              </a:ext>
            </a:extLst>
          </p:cNvPr>
          <p:cNvSpPr>
            <a:spLocks noGrp="1"/>
          </p:cNvSpPr>
          <p:nvPr>
            <p:ph type="body" sz="quarter" idx="14"/>
          </p:nvPr>
        </p:nvSpPr>
        <p:spPr>
          <a:xfrm>
            <a:off x="576000" y="1868400"/>
            <a:ext cx="378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8" name="Text Placeholder 4">
            <a:extLst>
              <a:ext uri="{FF2B5EF4-FFF2-40B4-BE49-F238E27FC236}">
                <a16:creationId xmlns:a16="http://schemas.microsoft.com/office/drawing/2014/main" id="{BDC2E17C-3C43-448A-81E4-FD6D4F6A9F3E}"/>
              </a:ext>
            </a:extLst>
          </p:cNvPr>
          <p:cNvSpPr>
            <a:spLocks noGrp="1"/>
          </p:cNvSpPr>
          <p:nvPr>
            <p:ph type="body" sz="quarter" idx="15"/>
          </p:nvPr>
        </p:nvSpPr>
        <p:spPr>
          <a:xfrm>
            <a:off x="4773000" y="1868400"/>
            <a:ext cx="3780000" cy="446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2" name="Slide Number Placeholder 5">
            <a:extLst>
              <a:ext uri="{FF2B5EF4-FFF2-40B4-BE49-F238E27FC236}">
                <a16:creationId xmlns:a16="http://schemas.microsoft.com/office/drawing/2014/main" id="{97B4EA2B-D5DF-4A2F-A6E8-0EEFDBCF3F53}"/>
              </a:ext>
            </a:extLst>
          </p:cNvPr>
          <p:cNvSpPr>
            <a:spLocks noGrp="1"/>
          </p:cNvSpPr>
          <p:nvPr>
            <p:ph type="sldNum" sz="quarter" idx="4"/>
          </p:nvPr>
        </p:nvSpPr>
        <p:spPr>
          <a:xfrm>
            <a:off x="594000" y="6264000"/>
            <a:ext cx="288000" cy="594000"/>
          </a:xfrm>
          <a:prstGeom prst="rect">
            <a:avLst/>
          </a:prstGeom>
        </p:spPr>
        <p:txBody>
          <a:bodyPr vert="horz" lIns="0" tIns="0" rIns="0" bIns="0" rtlCol="0" anchor="ctr"/>
          <a:lstStyle>
            <a:lvl1pPr algn="l">
              <a:defRPr sz="1000" b="0">
                <a:solidFill>
                  <a:schemeClr val="tx1"/>
                </a:solidFill>
                <a:latin typeface="+mj-lt"/>
                <a:ea typeface="Open Sans" panose="020B0606030504020204" pitchFamily="34" charset="0"/>
                <a:cs typeface="Open Sans" panose="020B0606030504020204" pitchFamily="34" charset="0"/>
              </a:defRPr>
            </a:lvl1pPr>
          </a:lstStyle>
          <a:p>
            <a:fld id="{586824BF-3B93-454D-8CFC-2835FAC2A0AB}" type="slidenum">
              <a:rPr lang="de-DE" smtClean="0"/>
              <a:pPr/>
              <a:t>‹#›</a:t>
            </a:fld>
            <a:endParaRPr lang="de-DE" dirty="0"/>
          </a:p>
        </p:txBody>
      </p:sp>
      <p:sp>
        <p:nvSpPr>
          <p:cNvPr id="9" name="TextBox 8" descr="CMSLegal_Footer_Firm">
            <a:extLst>
              <a:ext uri="{FF2B5EF4-FFF2-40B4-BE49-F238E27FC236}">
                <a16:creationId xmlns:a16="http://schemas.microsoft.com/office/drawing/2014/main" id="{69F2AB7F-8B4C-484F-9C38-2B98705B37C6}"/>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34280738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5E947-B104-4FE5-B694-C2CFDD266CA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 Placeholder 5">
            <a:extLst>
              <a:ext uri="{FF2B5EF4-FFF2-40B4-BE49-F238E27FC236}">
                <a16:creationId xmlns:a16="http://schemas.microsoft.com/office/drawing/2014/main" id="{5C0D6109-B180-4DF2-A71F-0831E1169E04}"/>
              </a:ext>
            </a:extLst>
          </p:cNvPr>
          <p:cNvSpPr>
            <a:spLocks noGrp="1"/>
          </p:cNvSpPr>
          <p:nvPr>
            <p:ph type="body" sz="quarter" idx="15" hasCustomPrompt="1"/>
          </p:nvPr>
        </p:nvSpPr>
        <p:spPr>
          <a:xfrm>
            <a:off x="6006720" y="4027655"/>
            <a:ext cx="5579999" cy="1003256"/>
          </a:xfrm>
        </p:spPr>
        <p:txBody>
          <a:bodyPr/>
          <a:lstStyle>
            <a:lvl1pPr marL="0" indent="0">
              <a:lnSpc>
                <a:spcPct val="100000"/>
              </a:lnSpc>
              <a:buNone/>
              <a:defRPr sz="3200">
                <a:solidFill>
                  <a:schemeClr val="bg1"/>
                </a:solidFill>
              </a:defRPr>
            </a:lvl1pPr>
            <a:lvl2pPr>
              <a:lnSpc>
                <a:spcPct val="100000"/>
              </a:lnSpc>
              <a:defRPr>
                <a:solidFill>
                  <a:schemeClr val="bg1"/>
                </a:solidFill>
              </a:defRPr>
            </a:lvl2pPr>
          </a:lstStyle>
          <a:p>
            <a:r>
              <a:rPr lang="en-US" dirty="0"/>
              <a:t>Citation lorem ipsum dolor sit </a:t>
            </a:r>
            <a:r>
              <a:rPr lang="en-US" dirty="0" err="1"/>
              <a:t>amet</a:t>
            </a:r>
            <a:r>
              <a:rPr lang="en-US" dirty="0"/>
              <a:t>, </a:t>
            </a:r>
            <a:r>
              <a:rPr lang="en-US" dirty="0" err="1"/>
              <a:t>adipiscing</a:t>
            </a:r>
            <a:r>
              <a:rPr lang="en-US" dirty="0"/>
              <a:t> </a:t>
            </a:r>
            <a:r>
              <a:rPr lang="en-US" dirty="0" err="1"/>
              <a:t>erat</a:t>
            </a:r>
            <a:r>
              <a:rPr lang="en-US" dirty="0"/>
              <a:t> </a:t>
            </a:r>
            <a:r>
              <a:rPr lang="en-US" dirty="0" err="1"/>
              <a:t>volutpat</a:t>
            </a:r>
            <a:r>
              <a:rPr lang="en-US" dirty="0"/>
              <a:t>.</a:t>
            </a:r>
            <a:endParaRPr lang="en-GB" dirty="0"/>
          </a:p>
        </p:txBody>
      </p:sp>
      <p:sp>
        <p:nvSpPr>
          <p:cNvPr id="4" name="Text Placeholder 3"/>
          <p:cNvSpPr>
            <a:spLocks noGrp="1"/>
          </p:cNvSpPr>
          <p:nvPr>
            <p:ph type="body" sz="half" idx="2" hasCustomPrompt="1"/>
          </p:nvPr>
        </p:nvSpPr>
        <p:spPr>
          <a:xfrm>
            <a:off x="1761224" y="2475443"/>
            <a:ext cx="5580000" cy="648000"/>
          </a:xfrm>
          <a:prstGeom prst="rect">
            <a:avLst/>
          </a:prstGeom>
        </p:spPr>
        <p:txBody>
          <a:bodyPr>
            <a:normAutofit/>
          </a:bodyPr>
          <a:lstStyle>
            <a:lvl1pPr marL="0" indent="0" algn="r">
              <a:buFont typeface="Symbol" panose="05050102010706020507" pitchFamily="18" charset="2"/>
              <a:buNone/>
              <a:defRPr sz="2000" i="1">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Author</a:t>
            </a:r>
          </a:p>
        </p:txBody>
      </p:sp>
      <p:sp>
        <p:nvSpPr>
          <p:cNvPr id="8" name="Freeform 5">
            <a:extLst>
              <a:ext uri="{FF2B5EF4-FFF2-40B4-BE49-F238E27FC236}">
                <a16:creationId xmlns:a16="http://schemas.microsoft.com/office/drawing/2014/main" id="{48536AF5-5B95-4520-980B-0FE4A61733A6}"/>
              </a:ext>
            </a:extLst>
          </p:cNvPr>
          <p:cNvSpPr>
            <a:spLocks noEditPoints="1"/>
          </p:cNvSpPr>
          <p:nvPr userDrawn="1"/>
        </p:nvSpPr>
        <p:spPr bwMode="auto">
          <a:xfrm>
            <a:off x="594000" y="1290847"/>
            <a:ext cx="950988" cy="887494"/>
          </a:xfrm>
          <a:custGeom>
            <a:avLst/>
            <a:gdLst>
              <a:gd name="T0" fmla="*/ 0 w 4628"/>
              <a:gd name="T1" fmla="*/ 0 h 4319"/>
              <a:gd name="T2" fmla="*/ 1389 w 4628"/>
              <a:gd name="T3" fmla="*/ 2159 h 4319"/>
              <a:gd name="T4" fmla="*/ 0 w 4628"/>
              <a:gd name="T5" fmla="*/ 4319 h 4319"/>
              <a:gd name="T6" fmla="*/ 940 w 4628"/>
              <a:gd name="T7" fmla="*/ 4319 h 4319"/>
              <a:gd name="T8" fmla="*/ 2469 w 4628"/>
              <a:gd name="T9" fmla="*/ 2159 h 4319"/>
              <a:gd name="T10" fmla="*/ 940 w 4628"/>
              <a:gd name="T11" fmla="*/ 0 h 4319"/>
              <a:gd name="T12" fmla="*/ 0 w 4628"/>
              <a:gd name="T13" fmla="*/ 0 h 4319"/>
              <a:gd name="T14" fmla="*/ 2159 w 4628"/>
              <a:gd name="T15" fmla="*/ 0 h 4319"/>
              <a:gd name="T16" fmla="*/ 3548 w 4628"/>
              <a:gd name="T17" fmla="*/ 2159 h 4319"/>
              <a:gd name="T18" fmla="*/ 2159 w 4628"/>
              <a:gd name="T19" fmla="*/ 4319 h 4319"/>
              <a:gd name="T20" fmla="*/ 3101 w 4628"/>
              <a:gd name="T21" fmla="*/ 4319 h 4319"/>
              <a:gd name="T22" fmla="*/ 4628 w 4628"/>
              <a:gd name="T23" fmla="*/ 2159 h 4319"/>
              <a:gd name="T24" fmla="*/ 3101 w 4628"/>
              <a:gd name="T25" fmla="*/ 0 h 4319"/>
              <a:gd name="T26" fmla="*/ 2159 w 4628"/>
              <a:gd name="T27" fmla="*/ 0 h 4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28" h="4319">
                <a:moveTo>
                  <a:pt x="0" y="0"/>
                </a:moveTo>
                <a:lnTo>
                  <a:pt x="1389" y="2159"/>
                </a:lnTo>
                <a:lnTo>
                  <a:pt x="0" y="4319"/>
                </a:lnTo>
                <a:lnTo>
                  <a:pt x="940" y="4319"/>
                </a:lnTo>
                <a:lnTo>
                  <a:pt x="2469" y="2159"/>
                </a:lnTo>
                <a:lnTo>
                  <a:pt x="940" y="0"/>
                </a:lnTo>
                <a:lnTo>
                  <a:pt x="0" y="0"/>
                </a:lnTo>
                <a:close/>
                <a:moveTo>
                  <a:pt x="2159" y="0"/>
                </a:moveTo>
                <a:lnTo>
                  <a:pt x="3548" y="2159"/>
                </a:lnTo>
                <a:lnTo>
                  <a:pt x="2159" y="4319"/>
                </a:lnTo>
                <a:lnTo>
                  <a:pt x="3101" y="4319"/>
                </a:lnTo>
                <a:lnTo>
                  <a:pt x="4628" y="2159"/>
                </a:lnTo>
                <a:lnTo>
                  <a:pt x="3101" y="0"/>
                </a:lnTo>
                <a:lnTo>
                  <a:pt x="215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 name="Title 1">
            <a:extLst>
              <a:ext uri="{FF2B5EF4-FFF2-40B4-BE49-F238E27FC236}">
                <a16:creationId xmlns:a16="http://schemas.microsoft.com/office/drawing/2014/main" id="{8206107B-8BF7-4260-8BFE-D21DB82D45FB}"/>
              </a:ext>
            </a:extLst>
          </p:cNvPr>
          <p:cNvSpPr>
            <a:spLocks noGrp="1"/>
          </p:cNvSpPr>
          <p:nvPr>
            <p:ph type="title" hasCustomPrompt="1"/>
          </p:nvPr>
        </p:nvSpPr>
        <p:spPr>
          <a:xfrm>
            <a:off x="1751922" y="1391620"/>
            <a:ext cx="5580000" cy="947717"/>
          </a:xfrm>
        </p:spPr>
        <p:txBody>
          <a:bodyPr/>
          <a:lstStyle>
            <a:lvl1pPr>
              <a:defRPr>
                <a:solidFill>
                  <a:schemeClr val="bg1"/>
                </a:solidFill>
              </a:defRPr>
            </a:lvl1pPr>
          </a:lstStyle>
          <a:p>
            <a:r>
              <a:rPr lang="en-US" dirty="0"/>
              <a:t>Citation lorem ipsum dolor sit </a:t>
            </a:r>
            <a:r>
              <a:rPr lang="en-US" dirty="0" err="1"/>
              <a:t>amet</a:t>
            </a:r>
            <a:r>
              <a:rPr lang="en-US" dirty="0"/>
              <a:t>, </a:t>
            </a:r>
            <a:r>
              <a:rPr lang="en-US" dirty="0" err="1"/>
              <a:t>adipiscing</a:t>
            </a:r>
            <a:r>
              <a:rPr lang="en-US" dirty="0"/>
              <a:t> </a:t>
            </a:r>
            <a:r>
              <a:rPr lang="en-US" dirty="0" err="1"/>
              <a:t>erat</a:t>
            </a:r>
            <a:r>
              <a:rPr lang="en-US" dirty="0"/>
              <a:t> </a:t>
            </a:r>
            <a:r>
              <a:rPr lang="en-US" dirty="0" err="1"/>
              <a:t>volutpat</a:t>
            </a:r>
            <a:r>
              <a:rPr lang="en-US" dirty="0"/>
              <a:t>.</a:t>
            </a:r>
            <a:endParaRPr lang="en-GB" dirty="0"/>
          </a:p>
        </p:txBody>
      </p:sp>
      <p:sp>
        <p:nvSpPr>
          <p:cNvPr id="10" name="Text Placeholder 3">
            <a:extLst>
              <a:ext uri="{FF2B5EF4-FFF2-40B4-BE49-F238E27FC236}">
                <a16:creationId xmlns:a16="http://schemas.microsoft.com/office/drawing/2014/main" id="{22538D80-93D9-4A8D-A56F-F9EFE4D1BA9B}"/>
              </a:ext>
            </a:extLst>
          </p:cNvPr>
          <p:cNvSpPr>
            <a:spLocks noGrp="1"/>
          </p:cNvSpPr>
          <p:nvPr>
            <p:ph type="body" sz="half" idx="13" hasCustomPrompt="1"/>
          </p:nvPr>
        </p:nvSpPr>
        <p:spPr>
          <a:xfrm>
            <a:off x="6016022" y="5167017"/>
            <a:ext cx="5580000" cy="648000"/>
          </a:xfrm>
          <a:prstGeom prst="rect">
            <a:avLst/>
          </a:prstGeom>
        </p:spPr>
        <p:txBody>
          <a:bodyPr>
            <a:normAutofit/>
          </a:bodyPr>
          <a:lstStyle>
            <a:lvl1pPr marL="0" indent="0" algn="r">
              <a:buFont typeface="Symbol" panose="05050102010706020507" pitchFamily="18" charset="2"/>
              <a:buNone/>
              <a:defRPr sz="2000" i="1">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Author</a:t>
            </a:r>
          </a:p>
        </p:txBody>
      </p:sp>
      <p:sp>
        <p:nvSpPr>
          <p:cNvPr id="14" name="Freeform 5">
            <a:extLst>
              <a:ext uri="{FF2B5EF4-FFF2-40B4-BE49-F238E27FC236}">
                <a16:creationId xmlns:a16="http://schemas.microsoft.com/office/drawing/2014/main" id="{AC3967A6-B166-48F7-90B1-FED9A7184CC7}"/>
              </a:ext>
            </a:extLst>
          </p:cNvPr>
          <p:cNvSpPr>
            <a:spLocks noEditPoints="1"/>
          </p:cNvSpPr>
          <p:nvPr userDrawn="1"/>
        </p:nvSpPr>
        <p:spPr bwMode="auto">
          <a:xfrm>
            <a:off x="4828423" y="4027655"/>
            <a:ext cx="950988" cy="887494"/>
          </a:xfrm>
          <a:custGeom>
            <a:avLst/>
            <a:gdLst>
              <a:gd name="T0" fmla="*/ 0 w 4628"/>
              <a:gd name="T1" fmla="*/ 0 h 4319"/>
              <a:gd name="T2" fmla="*/ 1389 w 4628"/>
              <a:gd name="T3" fmla="*/ 2159 h 4319"/>
              <a:gd name="T4" fmla="*/ 0 w 4628"/>
              <a:gd name="T5" fmla="*/ 4319 h 4319"/>
              <a:gd name="T6" fmla="*/ 940 w 4628"/>
              <a:gd name="T7" fmla="*/ 4319 h 4319"/>
              <a:gd name="T8" fmla="*/ 2469 w 4628"/>
              <a:gd name="T9" fmla="*/ 2159 h 4319"/>
              <a:gd name="T10" fmla="*/ 940 w 4628"/>
              <a:gd name="T11" fmla="*/ 0 h 4319"/>
              <a:gd name="T12" fmla="*/ 0 w 4628"/>
              <a:gd name="T13" fmla="*/ 0 h 4319"/>
              <a:gd name="T14" fmla="*/ 2159 w 4628"/>
              <a:gd name="T15" fmla="*/ 0 h 4319"/>
              <a:gd name="T16" fmla="*/ 3548 w 4628"/>
              <a:gd name="T17" fmla="*/ 2159 h 4319"/>
              <a:gd name="T18" fmla="*/ 2159 w 4628"/>
              <a:gd name="T19" fmla="*/ 4319 h 4319"/>
              <a:gd name="T20" fmla="*/ 3101 w 4628"/>
              <a:gd name="T21" fmla="*/ 4319 h 4319"/>
              <a:gd name="T22" fmla="*/ 4628 w 4628"/>
              <a:gd name="T23" fmla="*/ 2159 h 4319"/>
              <a:gd name="T24" fmla="*/ 3101 w 4628"/>
              <a:gd name="T25" fmla="*/ 0 h 4319"/>
              <a:gd name="T26" fmla="*/ 2159 w 4628"/>
              <a:gd name="T27" fmla="*/ 0 h 4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28" h="4319">
                <a:moveTo>
                  <a:pt x="0" y="0"/>
                </a:moveTo>
                <a:lnTo>
                  <a:pt x="1389" y="2159"/>
                </a:lnTo>
                <a:lnTo>
                  <a:pt x="0" y="4319"/>
                </a:lnTo>
                <a:lnTo>
                  <a:pt x="940" y="4319"/>
                </a:lnTo>
                <a:lnTo>
                  <a:pt x="2469" y="2159"/>
                </a:lnTo>
                <a:lnTo>
                  <a:pt x="940" y="0"/>
                </a:lnTo>
                <a:lnTo>
                  <a:pt x="0" y="0"/>
                </a:lnTo>
                <a:close/>
                <a:moveTo>
                  <a:pt x="2159" y="0"/>
                </a:moveTo>
                <a:lnTo>
                  <a:pt x="3548" y="2159"/>
                </a:lnTo>
                <a:lnTo>
                  <a:pt x="2159" y="4319"/>
                </a:lnTo>
                <a:lnTo>
                  <a:pt x="3101" y="4319"/>
                </a:lnTo>
                <a:lnTo>
                  <a:pt x="4628" y="2159"/>
                </a:lnTo>
                <a:lnTo>
                  <a:pt x="3101" y="0"/>
                </a:lnTo>
                <a:lnTo>
                  <a:pt x="215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TextBox 11" descr="CMSLegal_Footer_Firm">
            <a:extLst>
              <a:ext uri="{FF2B5EF4-FFF2-40B4-BE49-F238E27FC236}">
                <a16:creationId xmlns:a16="http://schemas.microsoft.com/office/drawing/2014/main" id="{5FC74165-AB92-4B8A-9CB5-BCD966758F9B}"/>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
        <p:nvSpPr>
          <p:cNvPr id="15" name="Foliennummernplatzhalter 5" descr="CMSLegal_Footer_SlideNumber">
            <a:extLst>
              <a:ext uri="{FF2B5EF4-FFF2-40B4-BE49-F238E27FC236}">
                <a16:creationId xmlns:a16="http://schemas.microsoft.com/office/drawing/2014/main" id="{8A21BD16-B35D-4103-9D53-A136B161EBF5}"/>
              </a:ext>
            </a:extLst>
          </p:cNvPr>
          <p:cNvSpPr>
            <a:spLocks noGrp="1"/>
          </p:cNvSpPr>
          <p:nvPr>
            <p:ph type="sldNum" sz="quarter" idx="4"/>
          </p:nvPr>
        </p:nvSpPr>
        <p:spPr>
          <a:xfrm>
            <a:off x="594000"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rgbClr val="FFFFFF"/>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11" name="TextBox 10" descr="CMSLegal_Cover_Footer_and_Date">
            <a:extLst>
              <a:ext uri="{FF2B5EF4-FFF2-40B4-BE49-F238E27FC236}">
                <a16:creationId xmlns:a16="http://schemas.microsoft.com/office/drawing/2014/main" id="{4BFE41D2-3088-4F55-A497-3B406C043DC1}"/>
              </a:ext>
            </a:extLst>
          </p:cNvPr>
          <p:cNvSpPr txBox="1"/>
          <p:nvPr userDrawn="1">
            <p:custDataLst>
              <p:tags r:id="rId2"/>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Tree>
    <p:extLst>
      <p:ext uri="{BB962C8B-B14F-4D97-AF65-F5344CB8AC3E}">
        <p14:creationId xmlns:p14="http://schemas.microsoft.com/office/powerpoint/2010/main" val="5907470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8_Quot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5E947-B104-4FE5-B694-C2CFDD266CA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 name="Group 4">
            <a:extLst>
              <a:ext uri="{FF2B5EF4-FFF2-40B4-BE49-F238E27FC236}">
                <a16:creationId xmlns:a16="http://schemas.microsoft.com/office/drawing/2014/main" id="{CDCC618A-DB04-4D4F-B722-9D348D8EA65D}"/>
              </a:ext>
            </a:extLst>
          </p:cNvPr>
          <p:cNvGrpSpPr>
            <a:grpSpLocks noChangeAspect="1"/>
          </p:cNvGrpSpPr>
          <p:nvPr userDrawn="1"/>
        </p:nvGrpSpPr>
        <p:grpSpPr bwMode="auto">
          <a:xfrm>
            <a:off x="8529638" y="3175"/>
            <a:ext cx="3662362" cy="6858000"/>
            <a:chOff x="5373" y="2"/>
            <a:chExt cx="2307" cy="4320"/>
          </a:xfrm>
          <a:solidFill>
            <a:schemeClr val="bg1">
              <a:alpha val="20000"/>
            </a:schemeClr>
          </a:solidFill>
        </p:grpSpPr>
        <p:sp>
          <p:nvSpPr>
            <p:cNvPr id="7" name="Freeform 5">
              <a:extLst>
                <a:ext uri="{FF2B5EF4-FFF2-40B4-BE49-F238E27FC236}">
                  <a16:creationId xmlns:a16="http://schemas.microsoft.com/office/drawing/2014/main" id="{E6632E79-8266-4C8D-B45D-BCA93DBBED60}"/>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12BB432C-E7C2-4D73-8C39-573CB6249790}"/>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 name="Foliennummernplatzhalter 5" descr="CMSLegal_Footer_SlideNumber">
            <a:extLst>
              <a:ext uri="{FF2B5EF4-FFF2-40B4-BE49-F238E27FC236}">
                <a16:creationId xmlns:a16="http://schemas.microsoft.com/office/drawing/2014/main" id="{FE05E1D1-3779-435D-B8D4-ADFB8FD85C4E}"/>
              </a:ext>
            </a:extLst>
          </p:cNvPr>
          <p:cNvSpPr>
            <a:spLocks noGrp="1"/>
          </p:cNvSpPr>
          <p:nvPr>
            <p:ph type="sldNum" sz="quarter" idx="4"/>
          </p:nvPr>
        </p:nvSpPr>
        <p:spPr>
          <a:xfrm>
            <a:off x="594000"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rgbClr val="FFFFFF"/>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10" name="TextBox 9" descr="CMSLegal_Cover_Footer_and_Date">
            <a:extLst>
              <a:ext uri="{FF2B5EF4-FFF2-40B4-BE49-F238E27FC236}">
                <a16:creationId xmlns:a16="http://schemas.microsoft.com/office/drawing/2014/main" id="{7EA8733D-FC9C-4E83-8C65-9BB29B09E17E}"/>
              </a:ext>
            </a:extLst>
          </p:cNvPr>
          <p:cNvSpPr txBox="1"/>
          <p:nvPr userDrawn="1">
            <p:custDataLst>
              <p:tags r:id="rId1"/>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1" name="TextBox 10" descr="CMSLegal_Footer_Firm">
            <a:extLst>
              <a:ext uri="{FF2B5EF4-FFF2-40B4-BE49-F238E27FC236}">
                <a16:creationId xmlns:a16="http://schemas.microsoft.com/office/drawing/2014/main" id="{2EBB0CD5-355A-42DF-A1AB-0C2EAC3E2BED}"/>
              </a:ext>
            </a:extLst>
          </p:cNvPr>
          <p:cNvSpPr txBox="1"/>
          <p:nvPr userDrawn="1">
            <p:custDataLst>
              <p:tags r:id="rId2"/>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Tree>
    <p:extLst>
      <p:ext uri="{BB962C8B-B14F-4D97-AF65-F5344CB8AC3E}">
        <p14:creationId xmlns:p14="http://schemas.microsoft.com/office/powerpoint/2010/main" val="1123864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_and_content _supergraphic_colou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5E947-B104-4FE5-B694-C2CFDD266CA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 Placeholder 3"/>
          <p:cNvSpPr>
            <a:spLocks noGrp="1"/>
          </p:cNvSpPr>
          <p:nvPr>
            <p:ph type="body" sz="half" idx="2"/>
          </p:nvPr>
        </p:nvSpPr>
        <p:spPr>
          <a:xfrm>
            <a:off x="576000" y="576000"/>
            <a:ext cx="6840000" cy="900000"/>
          </a:xfrm>
          <a:prstGeom prst="rect">
            <a:avLst/>
          </a:prstGeom>
        </p:spPr>
        <p:txBody>
          <a:bodyPr anchor="t" anchorCtr="0">
            <a:normAutofit/>
          </a:bodyPr>
          <a:lstStyle>
            <a:lvl1pPr marL="0" indent="0">
              <a:buFont typeface="Symbol" panose="05050102010706020507" pitchFamily="18" charset="2"/>
              <a:buNone/>
              <a:defRPr sz="2500" b="1">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0" name="Text Placeholder 3">
            <a:extLst>
              <a:ext uri="{FF2B5EF4-FFF2-40B4-BE49-F238E27FC236}">
                <a16:creationId xmlns:a16="http://schemas.microsoft.com/office/drawing/2014/main" id="{E4C6CE39-C799-4591-82C7-4B92B856B367}"/>
              </a:ext>
            </a:extLst>
          </p:cNvPr>
          <p:cNvSpPr>
            <a:spLocks noGrp="1"/>
          </p:cNvSpPr>
          <p:nvPr>
            <p:ph type="body" sz="half" idx="13"/>
          </p:nvPr>
        </p:nvSpPr>
        <p:spPr>
          <a:xfrm>
            <a:off x="576000" y="1868400"/>
            <a:ext cx="6840000" cy="4320000"/>
          </a:xfrm>
          <a:prstGeom prst="rect">
            <a:avLst/>
          </a:prstGeom>
        </p:spPr>
        <p:txBody>
          <a:bodyPr>
            <a:normAutofit/>
          </a:bodyPr>
          <a:lstStyle>
            <a:lvl1pPr marL="0" indent="0">
              <a:buFont typeface="Symbol" panose="05050102010706020507" pitchFamily="18" charset="2"/>
              <a:buNone/>
              <a:defRPr sz="2000" b="0">
                <a:solidFill>
                  <a:schemeClr val="bg1"/>
                </a:solidFill>
              </a:defRPr>
            </a:lvl1pPr>
            <a:lvl2pPr marL="266700" indent="0">
              <a:buFont typeface="Arial" panose="020B0604020202020204" pitchFamily="34" charse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grpSp>
        <p:nvGrpSpPr>
          <p:cNvPr id="8" name="Group 4">
            <a:extLst>
              <a:ext uri="{FF2B5EF4-FFF2-40B4-BE49-F238E27FC236}">
                <a16:creationId xmlns:a16="http://schemas.microsoft.com/office/drawing/2014/main" id="{0A7C4239-7FB1-48E4-9F17-DDBF2CE0CE07}"/>
              </a:ext>
            </a:extLst>
          </p:cNvPr>
          <p:cNvGrpSpPr>
            <a:grpSpLocks noChangeAspect="1"/>
          </p:cNvGrpSpPr>
          <p:nvPr userDrawn="1"/>
        </p:nvGrpSpPr>
        <p:grpSpPr bwMode="auto">
          <a:xfrm>
            <a:off x="8529638" y="3175"/>
            <a:ext cx="3662362" cy="6858000"/>
            <a:chOff x="5373" y="2"/>
            <a:chExt cx="2307" cy="4320"/>
          </a:xfrm>
          <a:solidFill>
            <a:schemeClr val="bg1">
              <a:alpha val="20000"/>
            </a:schemeClr>
          </a:solidFill>
        </p:grpSpPr>
        <p:sp>
          <p:nvSpPr>
            <p:cNvPr id="9" name="Freeform 5">
              <a:extLst>
                <a:ext uri="{FF2B5EF4-FFF2-40B4-BE49-F238E27FC236}">
                  <a16:creationId xmlns:a16="http://schemas.microsoft.com/office/drawing/2014/main" id="{F107A3FF-3D13-4945-B0B8-46DBE8F1614B}"/>
                </a:ext>
              </a:extLst>
            </p:cNvPr>
            <p:cNvSpPr>
              <a:spLocks/>
            </p:cNvSpPr>
            <p:nvPr userDrawn="1"/>
          </p:nvSpPr>
          <p:spPr bwMode="auto">
            <a:xfrm>
              <a:off x="6907" y="2"/>
              <a:ext cx="773" cy="4320"/>
            </a:xfrm>
            <a:custGeom>
              <a:avLst/>
              <a:gdLst>
                <a:gd name="T0" fmla="*/ 10 w 386"/>
                <a:gd name="T1" fmla="*/ 1212 h 2160"/>
                <a:gd name="T2" fmla="*/ 11 w 386"/>
                <a:gd name="T3" fmla="*/ 1223 h 2160"/>
                <a:gd name="T4" fmla="*/ 294 w 386"/>
                <a:gd name="T5" fmla="*/ 2160 h 2160"/>
                <a:gd name="T6" fmla="*/ 386 w 386"/>
                <a:gd name="T7" fmla="*/ 2160 h 2160"/>
                <a:gd name="T8" fmla="*/ 386 w 386"/>
                <a:gd name="T9" fmla="*/ 0 h 2160"/>
                <a:gd name="T10" fmla="*/ 305 w 386"/>
                <a:gd name="T11" fmla="*/ 0 h 2160"/>
                <a:gd name="T12" fmla="*/ 35 w 386"/>
                <a:gd name="T13" fmla="*/ 717 h 2160"/>
                <a:gd name="T14" fmla="*/ 10 w 386"/>
                <a:gd name="T15" fmla="*/ 1212 h 2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6" h="2160">
                  <a:moveTo>
                    <a:pt x="10" y="1212"/>
                  </a:moveTo>
                  <a:cubicBezTo>
                    <a:pt x="11" y="1223"/>
                    <a:pt x="11" y="1223"/>
                    <a:pt x="11" y="1223"/>
                  </a:cubicBezTo>
                  <a:cubicBezTo>
                    <a:pt x="33" y="1572"/>
                    <a:pt x="133" y="1889"/>
                    <a:pt x="294" y="2160"/>
                  </a:cubicBezTo>
                  <a:cubicBezTo>
                    <a:pt x="386" y="2160"/>
                    <a:pt x="386" y="2160"/>
                    <a:pt x="386" y="2160"/>
                  </a:cubicBezTo>
                  <a:cubicBezTo>
                    <a:pt x="386" y="0"/>
                    <a:pt x="386" y="0"/>
                    <a:pt x="386" y="0"/>
                  </a:cubicBezTo>
                  <a:cubicBezTo>
                    <a:pt x="305" y="0"/>
                    <a:pt x="305" y="0"/>
                    <a:pt x="305" y="0"/>
                  </a:cubicBezTo>
                  <a:cubicBezTo>
                    <a:pt x="172" y="214"/>
                    <a:pt x="79" y="456"/>
                    <a:pt x="35" y="717"/>
                  </a:cubicBezTo>
                  <a:cubicBezTo>
                    <a:pt x="9" y="876"/>
                    <a:pt x="0" y="1041"/>
                    <a:pt x="10" y="1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CAC3B76D-B496-405B-A13D-8EB0C3F89DBE}"/>
                </a:ext>
              </a:extLst>
            </p:cNvPr>
            <p:cNvSpPr>
              <a:spLocks/>
            </p:cNvSpPr>
            <p:nvPr userDrawn="1"/>
          </p:nvSpPr>
          <p:spPr bwMode="auto">
            <a:xfrm>
              <a:off x="5373" y="2"/>
              <a:ext cx="1532" cy="4320"/>
            </a:xfrm>
            <a:custGeom>
              <a:avLst/>
              <a:gdLst>
                <a:gd name="T0" fmla="*/ 483 w 765"/>
                <a:gd name="T1" fmla="*/ 1138 h 2160"/>
                <a:gd name="T2" fmla="*/ 523 w 765"/>
                <a:gd name="T3" fmla="*/ 717 h 2160"/>
                <a:gd name="T4" fmla="*/ 585 w 765"/>
                <a:gd name="T5" fmla="*/ 474 h 2160"/>
                <a:gd name="T6" fmla="*/ 765 w 765"/>
                <a:gd name="T7" fmla="*/ 0 h 2160"/>
                <a:gd name="T8" fmla="*/ 637 w 765"/>
                <a:gd name="T9" fmla="*/ 0 h 2160"/>
                <a:gd name="T10" fmla="*/ 159 w 765"/>
                <a:gd name="T11" fmla="*/ 717 h 2160"/>
                <a:gd name="T12" fmla="*/ 0 w 765"/>
                <a:gd name="T13" fmla="*/ 1548 h 2160"/>
                <a:gd name="T14" fmla="*/ 0 w 765"/>
                <a:gd name="T15" fmla="*/ 1560 h 2160"/>
                <a:gd name="T16" fmla="*/ 79 w 765"/>
                <a:gd name="T17" fmla="*/ 2160 h 2160"/>
                <a:gd name="T18" fmla="*/ 733 w 765"/>
                <a:gd name="T19" fmla="*/ 2160 h 2160"/>
                <a:gd name="T20" fmla="*/ 483 w 765"/>
                <a:gd name="T21" fmla="*/ 1138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5" h="2160">
                  <a:moveTo>
                    <a:pt x="483" y="1138"/>
                  </a:moveTo>
                  <a:cubicBezTo>
                    <a:pt x="483" y="994"/>
                    <a:pt x="497" y="853"/>
                    <a:pt x="523" y="717"/>
                  </a:cubicBezTo>
                  <a:cubicBezTo>
                    <a:pt x="539" y="634"/>
                    <a:pt x="560" y="553"/>
                    <a:pt x="585" y="474"/>
                  </a:cubicBezTo>
                  <a:cubicBezTo>
                    <a:pt x="628" y="307"/>
                    <a:pt x="688" y="149"/>
                    <a:pt x="765" y="0"/>
                  </a:cubicBezTo>
                  <a:cubicBezTo>
                    <a:pt x="637" y="0"/>
                    <a:pt x="637" y="0"/>
                    <a:pt x="637" y="0"/>
                  </a:cubicBezTo>
                  <a:cubicBezTo>
                    <a:pt x="431" y="202"/>
                    <a:pt x="268" y="445"/>
                    <a:pt x="159" y="717"/>
                  </a:cubicBezTo>
                  <a:cubicBezTo>
                    <a:pt x="56" y="972"/>
                    <a:pt x="0" y="1252"/>
                    <a:pt x="0" y="1548"/>
                  </a:cubicBezTo>
                  <a:cubicBezTo>
                    <a:pt x="0" y="1560"/>
                    <a:pt x="0" y="1560"/>
                    <a:pt x="0" y="1560"/>
                  </a:cubicBezTo>
                  <a:cubicBezTo>
                    <a:pt x="0" y="1771"/>
                    <a:pt x="28" y="1972"/>
                    <a:pt x="79" y="2160"/>
                  </a:cubicBezTo>
                  <a:cubicBezTo>
                    <a:pt x="733" y="2160"/>
                    <a:pt x="733" y="2160"/>
                    <a:pt x="733" y="2160"/>
                  </a:cubicBezTo>
                  <a:cubicBezTo>
                    <a:pt x="573" y="1854"/>
                    <a:pt x="483" y="1506"/>
                    <a:pt x="483" y="1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Slide Number Placeholder 5">
            <a:extLst>
              <a:ext uri="{FF2B5EF4-FFF2-40B4-BE49-F238E27FC236}">
                <a16:creationId xmlns:a16="http://schemas.microsoft.com/office/drawing/2014/main" id="{A05A7208-4173-4166-B03D-7B7F4800D3E6}"/>
              </a:ext>
            </a:extLst>
          </p:cNvPr>
          <p:cNvSpPr>
            <a:spLocks noGrp="1"/>
          </p:cNvSpPr>
          <p:nvPr>
            <p:ph type="sldNum" sz="quarter" idx="4"/>
          </p:nvPr>
        </p:nvSpPr>
        <p:spPr>
          <a:xfrm>
            <a:off x="594000" y="6264000"/>
            <a:ext cx="288000" cy="594000"/>
          </a:xfrm>
          <a:prstGeom prst="rect">
            <a:avLst/>
          </a:prstGeom>
        </p:spPr>
        <p:txBody>
          <a:bodyPr vert="horz" lIns="0" tIns="0" rIns="0" bIns="0" rtlCol="0" anchor="ctr"/>
          <a:lstStyle>
            <a:lvl1pPr algn="l">
              <a:defRPr sz="1000" b="0">
                <a:solidFill>
                  <a:schemeClr val="bg1"/>
                </a:solidFill>
                <a:latin typeface="+mj-lt"/>
                <a:ea typeface="Open Sans" panose="020B0606030504020204" pitchFamily="34" charset="0"/>
                <a:cs typeface="Open Sans" panose="020B0606030504020204" pitchFamily="34" charset="0"/>
              </a:defRPr>
            </a:lvl1pPr>
          </a:lstStyle>
          <a:p>
            <a:fld id="{586824BF-3B93-454D-8CFC-2835FAC2A0AB}" type="slidenum">
              <a:rPr lang="de-DE" smtClean="0"/>
              <a:pPr/>
              <a:t>‹#›</a:t>
            </a:fld>
            <a:endParaRPr lang="de-DE" dirty="0"/>
          </a:p>
        </p:txBody>
      </p:sp>
      <p:sp>
        <p:nvSpPr>
          <p:cNvPr id="15" name="TextBox 14" descr="CMSLegal_Footer_Firm">
            <a:extLst>
              <a:ext uri="{FF2B5EF4-FFF2-40B4-BE49-F238E27FC236}">
                <a16:creationId xmlns:a16="http://schemas.microsoft.com/office/drawing/2014/main" id="{6E1D190B-F579-4C0E-87F0-18AA15D7C3E1}"/>
              </a:ext>
            </a:extLst>
          </p:cNvPr>
          <p:cNvSpPr txBox="1"/>
          <p:nvPr userDrawn="1">
            <p:custDataLst>
              <p:tags r:id="rId1"/>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bg1"/>
              </a:solidFill>
              <a:latin typeface="Arial"/>
              <a:cs typeface="Arial" pitchFamily="34" charset="0"/>
            </a:endParaRPr>
          </a:p>
        </p:txBody>
      </p:sp>
      <p:sp>
        <p:nvSpPr>
          <p:cNvPr id="12" name="TextBox 11" descr="CMSLegal_Cover_Footer_and_Date">
            <a:extLst>
              <a:ext uri="{FF2B5EF4-FFF2-40B4-BE49-F238E27FC236}">
                <a16:creationId xmlns:a16="http://schemas.microsoft.com/office/drawing/2014/main" id="{5D0E4B01-9384-405C-9C66-A9E4B75AB15B}"/>
              </a:ext>
            </a:extLst>
          </p:cNvPr>
          <p:cNvSpPr txBox="1"/>
          <p:nvPr userDrawn="1">
            <p:custDataLst>
              <p:tags r:id="rId2"/>
            </p:custDataLst>
          </p:nvPr>
        </p:nvSpPr>
        <p:spPr>
          <a:xfrm>
            <a:off x="916219" y="6264000"/>
            <a:ext cx="396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Tree>
    <p:extLst>
      <p:ext uri="{BB962C8B-B14F-4D97-AF65-F5344CB8AC3E}">
        <p14:creationId xmlns:p14="http://schemas.microsoft.com/office/powerpoint/2010/main" val="17035449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_slide_with_one_text_block">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chemeClr val="tx1"/>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5" name="Foliennummernplatzhalter 5" descr="CMSLegal_Footer_SlideNumber"/>
          <p:cNvSpPr>
            <a:spLocks noGrp="1"/>
          </p:cNvSpPr>
          <p:nvPr>
            <p:ph type="sldNum" sz="quarter" idx="13"/>
          </p:nvPr>
        </p:nvSpPr>
        <p:spPr>
          <a:xfrm>
            <a:off x="11508854" y="6206586"/>
            <a:ext cx="288000" cy="576000"/>
          </a:xfrm>
          <a:prstGeom prst="rect">
            <a:avLst/>
          </a:prstGeom>
        </p:spPr>
        <p:txBody>
          <a:bodyPr/>
          <a:lstStyle>
            <a:lvl1pPr>
              <a:defRPr>
                <a:latin typeface="Arial" pitchFamily="34" charset="0"/>
                <a:cs typeface="Arial" pitchFamily="34" charset="0"/>
              </a:defRPr>
            </a:lvl1pPr>
          </a:lstStyle>
          <a:p>
            <a:fld id="{4B39B52A-EAD5-4CA9-B46E-2F3B4224B365}" type="slidenum">
              <a:rPr lang="en-GB" noProof="0" smtClean="0"/>
              <a:pPr/>
              <a:t>‹#›</a:t>
            </a:fld>
            <a:endParaRPr lang="en-GB" noProof="0" dirty="0"/>
          </a:p>
        </p:txBody>
      </p:sp>
      <p:sp>
        <p:nvSpPr>
          <p:cNvPr id="6" name="Textplatzhalter 11"/>
          <p:cNvSpPr>
            <a:spLocks noGrp="1"/>
          </p:cNvSpPr>
          <p:nvPr>
            <p:ph type="body" sz="quarter" idx="11" hasCustomPrompt="1"/>
          </p:nvPr>
        </p:nvSpPr>
        <p:spPr>
          <a:xfrm>
            <a:off x="576000" y="1868400"/>
            <a:ext cx="11040000" cy="4224896"/>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2000" baseline="0">
                <a:solidFill>
                  <a:schemeClr val="tx1"/>
                </a:solidFill>
              </a:defRPr>
            </a:lvl3pPr>
            <a:lvl4pPr marL="1152000">
              <a:spcBef>
                <a:spcPts val="384"/>
              </a:spcBef>
              <a:buFont typeface="Arial" pitchFamily="34" charset="0"/>
              <a:buChar char="•"/>
              <a:defRPr sz="18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Rectangle 2">
            <a:extLst>
              <a:ext uri="{FF2B5EF4-FFF2-40B4-BE49-F238E27FC236}">
                <a16:creationId xmlns:a16="http://schemas.microsoft.com/office/drawing/2014/main" id="{D7412A02-89D8-8776-BFF8-AF308E4DCE23}"/>
              </a:ext>
            </a:extLst>
          </p:cNvPr>
          <p:cNvSpPr/>
          <p:nvPr userDrawn="1"/>
        </p:nvSpPr>
        <p:spPr>
          <a:xfrm>
            <a:off x="0" y="0"/>
            <a:ext cx="12192000" cy="166900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33672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_slide_with_two_text_blocks">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chemeClr val="tx1"/>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12" name="Textplatzhalter 11"/>
          <p:cNvSpPr>
            <a:spLocks noGrp="1"/>
          </p:cNvSpPr>
          <p:nvPr>
            <p:ph type="body" sz="quarter" idx="11" hasCustomPrompt="1"/>
          </p:nvPr>
        </p:nvSpPr>
        <p:spPr>
          <a:xfrm>
            <a:off x="576000" y="1868400"/>
            <a:ext cx="5280000" cy="4446000"/>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1800" baseline="0">
                <a:solidFill>
                  <a:schemeClr val="tx1"/>
                </a:solidFill>
              </a:defRPr>
            </a:lvl3pPr>
            <a:lvl4pPr marL="1152000">
              <a:spcBef>
                <a:spcPts val="384"/>
              </a:spcBef>
              <a:buFont typeface="Arial" pitchFamily="34" charset="0"/>
              <a:buChar char="•"/>
              <a:defRPr sz="16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9" name="Textplatzhalter 8"/>
          <p:cNvSpPr>
            <a:spLocks noGrp="1"/>
          </p:cNvSpPr>
          <p:nvPr>
            <p:ph type="body" sz="quarter" idx="12" hasCustomPrompt="1"/>
          </p:nvPr>
        </p:nvSpPr>
        <p:spPr>
          <a:xfrm>
            <a:off x="6340800" y="1868400"/>
            <a:ext cx="5280000" cy="4446000"/>
          </a:xfrm>
        </p:spPr>
        <p:txBody>
          <a:bodyPr/>
          <a:lstStyle>
            <a:lvl2pPr marL="648000">
              <a:defRPr/>
            </a:lvl2pPr>
            <a:lvl3pPr marL="900000">
              <a:defRPr/>
            </a:lvl3pPr>
            <a:lvl4pPr marL="1152000">
              <a:defRPr/>
            </a:lvl4pPr>
            <a:lvl5pPr marL="140400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6" name="Foliennummernplatzhalter 5" descr="CMSLegal_Footer_SlideNumber"/>
          <p:cNvSpPr>
            <a:spLocks noGrp="1"/>
          </p:cNvSpPr>
          <p:nvPr>
            <p:ph type="sldNum" sz="quarter" idx="14"/>
          </p:nvPr>
        </p:nvSpPr>
        <p:spPr>
          <a:xfrm>
            <a:off x="594000" y="6264000"/>
            <a:ext cx="288000" cy="594000"/>
          </a:xfrm>
          <a:prstGeom prst="rect">
            <a:avLst/>
          </a:prstGeom>
        </p:spPr>
        <p:txBody>
          <a:bodyPr/>
          <a:lstStyle>
            <a:lvl1pPr>
              <a:defRPr/>
            </a:lvl1pPr>
          </a:lstStyle>
          <a:p>
            <a:fld id="{BCA178D2-D38B-496A-BFAF-4FB157D36662}" type="slidenum">
              <a:rPr lang="en-GB" noProof="0" smtClean="0"/>
              <a:pPr/>
              <a:t>‹#›</a:t>
            </a:fld>
            <a:endParaRPr lang="en-GB" noProof="0" dirty="0"/>
          </a:p>
        </p:txBody>
      </p:sp>
    </p:spTree>
    <p:extLst>
      <p:ext uri="{BB962C8B-B14F-4D97-AF65-F5344CB8AC3E}">
        <p14:creationId xmlns:p14="http://schemas.microsoft.com/office/powerpoint/2010/main" val="30741682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_slide_with_small_object">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9" name="Textplatzhalter 8"/>
          <p:cNvSpPr>
            <a:spLocks noGrp="1"/>
          </p:cNvSpPr>
          <p:nvPr>
            <p:ph type="body" sz="quarter" idx="12" hasCustomPrompt="1"/>
          </p:nvPr>
        </p:nvSpPr>
        <p:spPr>
          <a:xfrm>
            <a:off x="6340800" y="3441600"/>
            <a:ext cx="3840000" cy="2880000"/>
          </a:xfrm>
        </p:spPr>
        <p:txBody>
          <a:bodyPr/>
          <a:lstStyle>
            <a:lvl1pPr marL="0" indent="0">
              <a:buNone/>
              <a:defRPr sz="1000">
                <a:solidFill>
                  <a:srgbClr val="000000"/>
                </a:solidFill>
              </a:defRPr>
            </a:lvl1pPr>
            <a:lvl2pPr marL="648000">
              <a:defRPr/>
            </a:lvl2pPr>
            <a:lvl3pPr marL="900000">
              <a:defRPr/>
            </a:lvl3pPr>
            <a:lvl4pPr marL="1152000">
              <a:defRPr/>
            </a:lvl4pPr>
            <a:lvl5pPr marL="1404000">
              <a:defRPr/>
            </a:lvl5pPr>
          </a:lstStyle>
          <a:p>
            <a:pPr lvl="0"/>
            <a:r>
              <a:rPr lang="en-GB" noProof="0" dirty="0"/>
              <a:t>Insert name, title and further information about you</a:t>
            </a:r>
          </a:p>
        </p:txBody>
      </p:sp>
      <p:sp>
        <p:nvSpPr>
          <p:cNvPr id="6" name="Foliennummernplatzhalter 5" descr="CMSLegal_Footer_SlideNumber"/>
          <p:cNvSpPr>
            <a:spLocks noGrp="1"/>
          </p:cNvSpPr>
          <p:nvPr>
            <p:ph type="sldNum" sz="quarter" idx="14"/>
          </p:nvPr>
        </p:nvSpPr>
        <p:spPr>
          <a:xfrm>
            <a:off x="594000" y="6264000"/>
            <a:ext cx="288000" cy="594000"/>
          </a:xfrm>
          <a:prstGeom prst="rect">
            <a:avLst/>
          </a:prstGeom>
        </p:spPr>
        <p:txBody>
          <a:bodyPr/>
          <a:lstStyle>
            <a:lvl1pPr>
              <a:defRPr/>
            </a:lvl1pPr>
          </a:lstStyle>
          <a:p>
            <a:fld id="{BCA178D2-D38B-496A-BFAF-4FB157D36662}" type="slidenum">
              <a:rPr lang="en-GB" noProof="0" smtClean="0"/>
              <a:pPr/>
              <a:t>‹#›</a:t>
            </a:fld>
            <a:endParaRPr lang="en-GB" noProof="0" dirty="0"/>
          </a:p>
        </p:txBody>
      </p:sp>
      <p:sp>
        <p:nvSpPr>
          <p:cNvPr id="10" name="Textplatzhalter 11"/>
          <p:cNvSpPr>
            <a:spLocks noGrp="1"/>
          </p:cNvSpPr>
          <p:nvPr>
            <p:ph type="body" sz="quarter" idx="11" hasCustomPrompt="1"/>
          </p:nvPr>
        </p:nvSpPr>
        <p:spPr>
          <a:xfrm>
            <a:off x="576000" y="1868400"/>
            <a:ext cx="5280000" cy="4446000"/>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2000" baseline="0">
                <a:solidFill>
                  <a:schemeClr val="tx1"/>
                </a:solidFill>
              </a:defRPr>
            </a:lvl3pPr>
            <a:lvl4pPr marL="1152000">
              <a:spcBef>
                <a:spcPts val="384"/>
              </a:spcBef>
              <a:buFont typeface="Arial" pitchFamily="34" charset="0"/>
              <a:buChar char="•"/>
              <a:defRPr sz="18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7" name="Inhaltsplatzhalter 6"/>
          <p:cNvSpPr>
            <a:spLocks noGrp="1"/>
          </p:cNvSpPr>
          <p:nvPr>
            <p:ph sz="quarter" idx="16" hasCustomPrompt="1"/>
          </p:nvPr>
        </p:nvSpPr>
        <p:spPr>
          <a:xfrm>
            <a:off x="6340800" y="1868400"/>
            <a:ext cx="1440000" cy="1440000"/>
          </a:xfrm>
        </p:spPr>
        <p:txBody>
          <a:bodyPr/>
          <a:lstStyle>
            <a:lvl1pPr marL="0" indent="0" algn="ctr">
              <a:buFontTx/>
              <a:buNone/>
              <a:defRPr sz="1400"/>
            </a:lvl1pPr>
          </a:lstStyle>
          <a:p>
            <a:pPr lvl="0"/>
            <a:r>
              <a:rPr lang="de-DE" dirty="0"/>
              <a:t>Insert </a:t>
            </a:r>
            <a:r>
              <a:rPr lang="de-DE" dirty="0" err="1"/>
              <a:t>Object</a:t>
            </a:r>
            <a:r>
              <a:rPr lang="de-DE" dirty="0"/>
              <a:t>: Cut </a:t>
            </a:r>
            <a:r>
              <a:rPr lang="de-DE" dirty="0" err="1"/>
              <a:t>images</a:t>
            </a:r>
            <a:r>
              <a:rPr lang="de-DE" dirty="0"/>
              <a:t> </a:t>
            </a:r>
            <a:r>
              <a:rPr lang="de-DE" dirty="0" err="1"/>
              <a:t>to</a:t>
            </a:r>
            <a:r>
              <a:rPr lang="de-DE" dirty="0"/>
              <a:t> 3 x 4 cm</a:t>
            </a:r>
          </a:p>
        </p:txBody>
      </p:sp>
    </p:spTree>
    <p:extLst>
      <p:ext uri="{BB962C8B-B14F-4D97-AF65-F5344CB8AC3E}">
        <p14:creationId xmlns:p14="http://schemas.microsoft.com/office/powerpoint/2010/main" val="2672378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1" name="Picture 10" descr="A picture containing clock&#10;&#10;Description automatically generated">
            <a:extLst>
              <a:ext uri="{FF2B5EF4-FFF2-40B4-BE49-F238E27FC236}">
                <a16:creationId xmlns:a16="http://schemas.microsoft.com/office/drawing/2014/main" id="{31A3334B-7E90-2845-9094-11D69D8B7C94}"/>
              </a:ext>
            </a:extLst>
          </p:cNvPr>
          <p:cNvPicPr>
            <a:picLocks noChangeAspect="1"/>
          </p:cNvPicPr>
          <p:nvPr userDrawn="1"/>
        </p:nvPicPr>
        <p:blipFill rotWithShape="1">
          <a:blip r:embed="rId2"/>
          <a:srcRect t="60689" r="31758"/>
          <a:stretch/>
        </p:blipFill>
        <p:spPr>
          <a:xfrm>
            <a:off x="6096001" y="0"/>
            <a:ext cx="6096000" cy="4264741"/>
          </a:xfrm>
          <a:prstGeom prst="rect">
            <a:avLst/>
          </a:prstGeom>
        </p:spPr>
      </p:pic>
      <p:sp>
        <p:nvSpPr>
          <p:cNvPr id="12" name="Title 1">
            <a:extLst>
              <a:ext uri="{FF2B5EF4-FFF2-40B4-BE49-F238E27FC236}">
                <a16:creationId xmlns:a16="http://schemas.microsoft.com/office/drawing/2014/main" id="{B2DA0970-0AEF-DE49-8195-F92FCDC24598}"/>
              </a:ext>
            </a:extLst>
          </p:cNvPr>
          <p:cNvSpPr>
            <a:spLocks noGrp="1"/>
          </p:cNvSpPr>
          <p:nvPr>
            <p:ph type="ctrTitle" hasCustomPrompt="1"/>
          </p:nvPr>
        </p:nvSpPr>
        <p:spPr>
          <a:xfrm>
            <a:off x="1311966" y="2703927"/>
            <a:ext cx="9144000" cy="582574"/>
          </a:xfrm>
          <a:prstGeom prst="rect">
            <a:avLst/>
          </a:prstGeo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13" name="Subtitle 2">
            <a:extLst>
              <a:ext uri="{FF2B5EF4-FFF2-40B4-BE49-F238E27FC236}">
                <a16:creationId xmlns:a16="http://schemas.microsoft.com/office/drawing/2014/main" id="{3258BBC6-D169-1E4C-AA1C-436BC3786EA4}"/>
              </a:ext>
            </a:extLst>
          </p:cNvPr>
          <p:cNvSpPr>
            <a:spLocks noGrp="1"/>
          </p:cNvSpPr>
          <p:nvPr>
            <p:ph type="subTitle" idx="1" hasCustomPrompt="1"/>
          </p:nvPr>
        </p:nvSpPr>
        <p:spPr>
          <a:xfrm>
            <a:off x="1311965" y="4539566"/>
            <a:ext cx="9144000" cy="1655762"/>
          </a:xfrm>
          <a:prstGeom prst="rect">
            <a:avLst/>
          </a:prstGeom>
        </p:spPr>
        <p:txBody>
          <a:bodyPr lIns="0" tIns="0" rIns="0" bIns="0">
            <a:noAutofit/>
          </a:bodyPr>
          <a:lstStyle>
            <a:lvl1pPr marL="0" indent="0" algn="l">
              <a:buNone/>
              <a:defRPr sz="1800">
                <a:solidFill>
                  <a:srgbClr val="FFFFFF"/>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14" name="Text Placeholder 13">
            <a:extLst>
              <a:ext uri="{FF2B5EF4-FFF2-40B4-BE49-F238E27FC236}">
                <a16:creationId xmlns:a16="http://schemas.microsoft.com/office/drawing/2014/main" id="{452DDB02-F986-1943-8D51-90D21EFEF32E}"/>
              </a:ext>
            </a:extLst>
          </p:cNvPr>
          <p:cNvSpPr>
            <a:spLocks noGrp="1"/>
          </p:cNvSpPr>
          <p:nvPr>
            <p:ph type="body" sz="quarter" idx="13" hasCustomPrompt="1"/>
          </p:nvPr>
        </p:nvSpPr>
        <p:spPr>
          <a:xfrm>
            <a:off x="1311965" y="3310250"/>
            <a:ext cx="9144000" cy="814388"/>
          </a:xfrm>
          <a:prstGeom prst="rect">
            <a:avLst/>
          </a:prstGeom>
        </p:spPr>
        <p:txBody>
          <a:bodyPr wrap="none" lIns="0" tIns="0" rIns="0" bIns="0">
            <a:noAutofit/>
          </a:bodyPr>
          <a:lstStyle>
            <a:lvl1pPr marL="0" indent="0">
              <a:buNone/>
              <a:defRPr sz="4500" b="0" i="0">
                <a:solidFill>
                  <a:srgbClr val="FFFFFF"/>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sp>
        <p:nvSpPr>
          <p:cNvPr id="15" name="Text Placeholder 58">
            <a:extLst>
              <a:ext uri="{FF2B5EF4-FFF2-40B4-BE49-F238E27FC236}">
                <a16:creationId xmlns:a16="http://schemas.microsoft.com/office/drawing/2014/main" id="{1C49AB30-E9F5-7846-BA76-5609AAF9C9C3}"/>
              </a:ext>
            </a:extLst>
          </p:cNvPr>
          <p:cNvSpPr>
            <a:spLocks noGrp="1"/>
          </p:cNvSpPr>
          <p:nvPr>
            <p:ph type="body" sz="quarter" idx="17" hasCustomPrompt="1"/>
          </p:nvPr>
        </p:nvSpPr>
        <p:spPr>
          <a:xfrm flipV="1">
            <a:off x="1311965" y="4232240"/>
            <a:ext cx="752132" cy="45719"/>
          </a:xfrm>
          <a:prstGeom prst="rect">
            <a:avLst/>
          </a:prstGeom>
          <a:blipFill>
            <a:blip r:embed="rId3">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7337441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lide_with_one_text_block_and_one_object">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7" name="Foliennummernplatzhalter 5" descr="CMSLegal_Footer_SlideNumber"/>
          <p:cNvSpPr>
            <a:spLocks noGrp="1"/>
          </p:cNvSpPr>
          <p:nvPr>
            <p:ph type="sldNum" sz="quarter" idx="16"/>
          </p:nvPr>
        </p:nvSpPr>
        <p:spPr>
          <a:xfrm>
            <a:off x="594000" y="6264000"/>
            <a:ext cx="288000" cy="594000"/>
          </a:xfrm>
          <a:prstGeom prst="rect">
            <a:avLst/>
          </a:prstGeom>
        </p:spPr>
        <p:txBody>
          <a:bodyPr/>
          <a:lstStyle>
            <a:lvl1pPr>
              <a:defRPr/>
            </a:lvl1pPr>
          </a:lstStyle>
          <a:p>
            <a:fld id="{DBADB286-8906-46F4-AFB0-BBD9285A98EB}" type="slidenum">
              <a:rPr lang="en-GB" noProof="0" smtClean="0"/>
              <a:pPr/>
              <a:t>‹#›</a:t>
            </a:fld>
            <a:endParaRPr lang="en-GB" noProof="0" dirty="0"/>
          </a:p>
        </p:txBody>
      </p:sp>
      <p:sp>
        <p:nvSpPr>
          <p:cNvPr id="9" name="Textplatzhalter 11"/>
          <p:cNvSpPr>
            <a:spLocks noGrp="1"/>
          </p:cNvSpPr>
          <p:nvPr>
            <p:ph type="body" sz="quarter" idx="11" hasCustomPrompt="1"/>
          </p:nvPr>
        </p:nvSpPr>
        <p:spPr>
          <a:xfrm>
            <a:off x="576000" y="1868400"/>
            <a:ext cx="5280000" cy="4446000"/>
          </a:xfrm>
        </p:spPr>
        <p:txBody>
          <a:bodyPr/>
          <a:lstStyle>
            <a:lvl1pPr>
              <a:spcBef>
                <a:spcPts val="480"/>
              </a:spcBef>
              <a:buFont typeface="Symbol" pitchFamily="18" charset="2"/>
              <a:buChar char="-"/>
              <a:defRPr sz="2400">
                <a:solidFill>
                  <a:schemeClr val="tx1"/>
                </a:solidFill>
              </a:defRPr>
            </a:lvl1pPr>
            <a:lvl2pPr marL="648000" indent="-284400">
              <a:spcBef>
                <a:spcPts val="432"/>
              </a:spcBef>
              <a:buFont typeface="Arial" pitchFamily="34" charset="0"/>
              <a:buChar char="•"/>
              <a:defRPr>
                <a:solidFill>
                  <a:schemeClr val="tx1"/>
                </a:solidFill>
              </a:defRPr>
            </a:lvl2pPr>
            <a:lvl3pPr marL="900000">
              <a:spcBef>
                <a:spcPts val="384"/>
              </a:spcBef>
              <a:buFont typeface="Symbol" pitchFamily="18" charset="2"/>
              <a:buChar char="-"/>
              <a:defRPr sz="2000" baseline="0">
                <a:solidFill>
                  <a:schemeClr val="tx1"/>
                </a:solidFill>
              </a:defRPr>
            </a:lvl3pPr>
            <a:lvl4pPr marL="1152000">
              <a:spcBef>
                <a:spcPts val="384"/>
              </a:spcBef>
              <a:buFont typeface="Arial" pitchFamily="34" charset="0"/>
              <a:buChar char="•"/>
              <a:defRPr sz="1800" baseline="0">
                <a:solidFill>
                  <a:schemeClr val="tx1"/>
                </a:solidFill>
              </a:defRPr>
            </a:lvl4pPr>
            <a:lvl5pPr marL="1404000">
              <a:spcBef>
                <a:spcPts val="384"/>
              </a:spcBef>
              <a:buFont typeface="Symbol" pitchFamily="18" charset="2"/>
              <a:buChar char="-"/>
              <a:defRPr sz="1600">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6" name="Inhaltsplatzhalter 6">
            <a:extLst>
              <a:ext uri="{FF2B5EF4-FFF2-40B4-BE49-F238E27FC236}">
                <a16:creationId xmlns:a16="http://schemas.microsoft.com/office/drawing/2014/main" id="{836423F2-573A-4782-8049-CD806ACDA4EF}"/>
              </a:ext>
            </a:extLst>
          </p:cNvPr>
          <p:cNvSpPr>
            <a:spLocks noGrp="1"/>
          </p:cNvSpPr>
          <p:nvPr>
            <p:ph sz="quarter" idx="17"/>
          </p:nvPr>
        </p:nvSpPr>
        <p:spPr>
          <a:xfrm>
            <a:off x="6342512" y="1879830"/>
            <a:ext cx="5281200" cy="4410000"/>
          </a:xfrm>
        </p:spPr>
        <p:txBody>
          <a:bodyPr/>
          <a:lstStyle>
            <a:lvl1pPr marL="0" indent="0" algn="ctr">
              <a:buFontTx/>
              <a:buNone/>
              <a:defRPr sz="1400"/>
            </a:lvl1pPr>
          </a:lstStyle>
          <a:p>
            <a:pPr lvl="0"/>
            <a:endParaRPr lang="de-DE" dirty="0"/>
          </a:p>
        </p:txBody>
      </p:sp>
    </p:spTree>
    <p:extLst>
      <p:ext uri="{BB962C8B-B14F-4D97-AF65-F5344CB8AC3E}">
        <p14:creationId xmlns:p14="http://schemas.microsoft.com/office/powerpoint/2010/main" val="34244973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lide_with_two_objects">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15" name="Textplatzhalter 14"/>
          <p:cNvSpPr>
            <a:spLocks noGrp="1"/>
          </p:cNvSpPr>
          <p:nvPr>
            <p:ph type="body" sz="quarter" idx="14"/>
          </p:nvPr>
        </p:nvSpPr>
        <p:spPr>
          <a:xfrm>
            <a:off x="576000" y="1868400"/>
            <a:ext cx="5280000" cy="637200"/>
          </a:xfrm>
        </p:spPr>
        <p:txBody>
          <a:bodyPr/>
          <a:lstStyle>
            <a:lvl1pPr marL="0" indent="0">
              <a:buFontTx/>
              <a:buNone/>
              <a:defRPr baseline="0">
                <a:solidFill>
                  <a:srgbClr val="000000"/>
                </a:solidFill>
              </a:defRPr>
            </a:lvl1pPr>
          </a:lstStyle>
          <a:p>
            <a:pPr lvl="0"/>
            <a:r>
              <a:rPr lang="en-GB" noProof="0" dirty="0"/>
              <a:t>Click to edit Master text styles</a:t>
            </a:r>
          </a:p>
        </p:txBody>
      </p:sp>
      <p:sp>
        <p:nvSpPr>
          <p:cNvPr id="7" name="Foliennummernplatzhalter 5" descr="CMSLegal_Footer_SlideNumber"/>
          <p:cNvSpPr>
            <a:spLocks noGrp="1"/>
          </p:cNvSpPr>
          <p:nvPr>
            <p:ph type="sldNum" sz="quarter" idx="16"/>
          </p:nvPr>
        </p:nvSpPr>
        <p:spPr>
          <a:xfrm>
            <a:off x="594000" y="6264000"/>
            <a:ext cx="288000" cy="594000"/>
          </a:xfrm>
          <a:prstGeom prst="rect">
            <a:avLst/>
          </a:prstGeom>
        </p:spPr>
        <p:txBody>
          <a:bodyPr/>
          <a:lstStyle>
            <a:lvl1pPr>
              <a:defRPr/>
            </a:lvl1pPr>
          </a:lstStyle>
          <a:p>
            <a:fld id="{DBADB286-8906-46F4-AFB0-BBD9285A98EB}" type="slidenum">
              <a:rPr lang="en-GB" noProof="0" smtClean="0"/>
              <a:pPr/>
              <a:t>‹#›</a:t>
            </a:fld>
            <a:endParaRPr lang="en-GB" noProof="0" dirty="0"/>
          </a:p>
        </p:txBody>
      </p:sp>
      <p:sp>
        <p:nvSpPr>
          <p:cNvPr id="10" name="Textplatzhalter 14"/>
          <p:cNvSpPr>
            <a:spLocks noGrp="1"/>
          </p:cNvSpPr>
          <p:nvPr>
            <p:ph type="body" sz="quarter" idx="18"/>
          </p:nvPr>
        </p:nvSpPr>
        <p:spPr>
          <a:xfrm>
            <a:off x="6340800" y="1868400"/>
            <a:ext cx="5280000" cy="637200"/>
          </a:xfrm>
        </p:spPr>
        <p:txBody>
          <a:bodyPr/>
          <a:lstStyle>
            <a:lvl1pPr marL="0" indent="0">
              <a:buFontTx/>
              <a:buNone/>
              <a:defRPr baseline="0">
                <a:solidFill>
                  <a:srgbClr val="000000"/>
                </a:solidFill>
              </a:defRPr>
            </a:lvl1pPr>
          </a:lstStyle>
          <a:p>
            <a:pPr lvl="0"/>
            <a:r>
              <a:rPr lang="en-GB" noProof="0" dirty="0"/>
              <a:t>Click to edit Master text styles</a:t>
            </a:r>
          </a:p>
        </p:txBody>
      </p:sp>
      <p:sp>
        <p:nvSpPr>
          <p:cNvPr id="9" name="Inhaltsplatzhalter 6">
            <a:extLst>
              <a:ext uri="{FF2B5EF4-FFF2-40B4-BE49-F238E27FC236}">
                <a16:creationId xmlns:a16="http://schemas.microsoft.com/office/drawing/2014/main" id="{A889310A-1059-4C97-95C1-5A586AA8C786}"/>
              </a:ext>
            </a:extLst>
          </p:cNvPr>
          <p:cNvSpPr>
            <a:spLocks noGrp="1"/>
          </p:cNvSpPr>
          <p:nvPr>
            <p:ph sz="quarter" idx="17"/>
          </p:nvPr>
        </p:nvSpPr>
        <p:spPr>
          <a:xfrm>
            <a:off x="584580" y="2497230"/>
            <a:ext cx="5281200" cy="3823200"/>
          </a:xfrm>
        </p:spPr>
        <p:txBody>
          <a:bodyPr/>
          <a:lstStyle>
            <a:lvl1pPr marL="0" indent="0" algn="ctr">
              <a:buFontTx/>
              <a:buNone/>
              <a:defRPr sz="1400"/>
            </a:lvl1pPr>
          </a:lstStyle>
          <a:p>
            <a:pPr lvl="0"/>
            <a:endParaRPr lang="de-DE" dirty="0"/>
          </a:p>
        </p:txBody>
      </p:sp>
      <p:sp>
        <p:nvSpPr>
          <p:cNvPr id="11" name="Inhaltsplatzhalter 6">
            <a:extLst>
              <a:ext uri="{FF2B5EF4-FFF2-40B4-BE49-F238E27FC236}">
                <a16:creationId xmlns:a16="http://schemas.microsoft.com/office/drawing/2014/main" id="{E73B1335-D5F1-4B14-A48B-BED21604E73F}"/>
              </a:ext>
            </a:extLst>
          </p:cNvPr>
          <p:cNvSpPr>
            <a:spLocks noGrp="1"/>
          </p:cNvSpPr>
          <p:nvPr>
            <p:ph sz="quarter" idx="19"/>
          </p:nvPr>
        </p:nvSpPr>
        <p:spPr>
          <a:xfrm>
            <a:off x="6337650" y="2546760"/>
            <a:ext cx="5281200" cy="3823200"/>
          </a:xfrm>
        </p:spPr>
        <p:txBody>
          <a:bodyPr/>
          <a:lstStyle>
            <a:lvl1pPr marL="0" indent="0" algn="ctr">
              <a:buFontTx/>
              <a:buNone/>
              <a:defRPr sz="1400"/>
            </a:lvl1pPr>
          </a:lstStyle>
          <a:p>
            <a:pPr lvl="0"/>
            <a:endParaRPr lang="de-DE" dirty="0"/>
          </a:p>
        </p:txBody>
      </p:sp>
    </p:spTree>
    <p:extLst>
      <p:ext uri="{BB962C8B-B14F-4D97-AF65-F5344CB8AC3E}">
        <p14:creationId xmlns:p14="http://schemas.microsoft.com/office/powerpoint/2010/main" val="25120258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lide_with_large_object">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a:xfrm>
            <a:off x="576000" y="576000"/>
            <a:ext cx="11040000" cy="900000"/>
          </a:xfrm>
        </p:spPr>
        <p:txBody>
          <a:bodyPr anchor="t" anchorCtr="0">
            <a:noAutofit/>
          </a:bodyPr>
          <a:lstStyle>
            <a:lvl1pPr marL="0" indent="0" algn="l">
              <a:lnSpc>
                <a:spcPct val="100000"/>
              </a:lnSpc>
              <a:spcBef>
                <a:spcPts val="0"/>
              </a:spcBef>
              <a:buFontTx/>
              <a:buNone/>
              <a:defRPr sz="3200">
                <a:solidFill>
                  <a:srgbClr val="000000"/>
                </a:solidFill>
              </a:defRPr>
            </a:lvl1pPr>
            <a:lvl2pPr marL="0" indent="0" algn="l">
              <a:buFontTx/>
              <a:buNone/>
              <a:defRPr sz="2400"/>
            </a:lvl2pPr>
            <a:lvl3pPr marL="0" indent="0" algn="l">
              <a:buFontTx/>
              <a:buNone/>
              <a:defRPr sz="2400"/>
            </a:lvl3pPr>
            <a:lvl4pPr marL="0" indent="0" algn="l">
              <a:buFontTx/>
              <a:buNone/>
              <a:defRPr sz="2400"/>
            </a:lvl4pPr>
            <a:lvl5pPr marL="0" indent="0" algn="l">
              <a:buFontTx/>
              <a:buNone/>
              <a:defRPr sz="2400"/>
            </a:lvl5pPr>
          </a:lstStyle>
          <a:p>
            <a:pPr lvl="0"/>
            <a:r>
              <a:rPr lang="en-GB" noProof="0" dirty="0"/>
              <a:t>Click to edit Master text styles</a:t>
            </a:r>
          </a:p>
        </p:txBody>
      </p:sp>
      <p:sp>
        <p:nvSpPr>
          <p:cNvPr id="7" name="Foliennummernplatzhalter 5" descr="CMSLegal_Footer_SlideNumber"/>
          <p:cNvSpPr>
            <a:spLocks noGrp="1"/>
          </p:cNvSpPr>
          <p:nvPr>
            <p:ph type="sldNum" sz="quarter" idx="16"/>
          </p:nvPr>
        </p:nvSpPr>
        <p:spPr>
          <a:xfrm>
            <a:off x="594000" y="6298178"/>
            <a:ext cx="288000" cy="594000"/>
          </a:xfrm>
          <a:prstGeom prst="rect">
            <a:avLst/>
          </a:prstGeom>
        </p:spPr>
        <p:txBody>
          <a:bodyPr/>
          <a:lstStyle>
            <a:lvl1pPr>
              <a:defRPr/>
            </a:lvl1pPr>
          </a:lstStyle>
          <a:p>
            <a:fld id="{DBADB286-8906-46F4-AFB0-BBD9285A98EB}" type="slidenum">
              <a:rPr lang="en-GB" noProof="0" smtClean="0"/>
              <a:pPr/>
              <a:t>‹#›</a:t>
            </a:fld>
            <a:endParaRPr lang="en-GB" noProof="0" dirty="0"/>
          </a:p>
        </p:txBody>
      </p:sp>
      <p:sp>
        <p:nvSpPr>
          <p:cNvPr id="12" name="Textplatzhalter 14"/>
          <p:cNvSpPr>
            <a:spLocks noGrp="1"/>
          </p:cNvSpPr>
          <p:nvPr>
            <p:ph type="body" sz="quarter" idx="14"/>
          </p:nvPr>
        </p:nvSpPr>
        <p:spPr>
          <a:xfrm>
            <a:off x="576000" y="1868400"/>
            <a:ext cx="11040000" cy="637200"/>
          </a:xfrm>
        </p:spPr>
        <p:txBody>
          <a:bodyPr/>
          <a:lstStyle>
            <a:lvl1pPr marL="0" indent="0">
              <a:buFontTx/>
              <a:buNone/>
              <a:defRPr baseline="0">
                <a:solidFill>
                  <a:srgbClr val="000000"/>
                </a:solidFill>
              </a:defRPr>
            </a:lvl1pPr>
          </a:lstStyle>
          <a:p>
            <a:pPr lvl="0"/>
            <a:r>
              <a:rPr lang="en-GB" noProof="0" dirty="0"/>
              <a:t>Click to edit Master text styles</a:t>
            </a:r>
          </a:p>
        </p:txBody>
      </p:sp>
      <p:sp>
        <p:nvSpPr>
          <p:cNvPr id="6" name="Inhaltsplatzhalter 6">
            <a:extLst>
              <a:ext uri="{FF2B5EF4-FFF2-40B4-BE49-F238E27FC236}">
                <a16:creationId xmlns:a16="http://schemas.microsoft.com/office/drawing/2014/main" id="{BD30036F-6C5A-4832-A5FA-2152223BA781}"/>
              </a:ext>
            </a:extLst>
          </p:cNvPr>
          <p:cNvSpPr>
            <a:spLocks noGrp="1"/>
          </p:cNvSpPr>
          <p:nvPr>
            <p:ph sz="quarter" idx="17"/>
          </p:nvPr>
        </p:nvSpPr>
        <p:spPr>
          <a:xfrm>
            <a:off x="584580" y="2497230"/>
            <a:ext cx="11041200" cy="3823200"/>
          </a:xfrm>
        </p:spPr>
        <p:txBody>
          <a:bodyPr/>
          <a:lstStyle>
            <a:lvl1pPr marL="0" indent="0" algn="ctr">
              <a:buFontTx/>
              <a:buNone/>
              <a:defRPr sz="1400"/>
            </a:lvl1pPr>
          </a:lstStyle>
          <a:p>
            <a:pPr lvl="0"/>
            <a:endParaRPr lang="de-DE" dirty="0"/>
          </a:p>
        </p:txBody>
      </p:sp>
    </p:spTree>
    <p:extLst>
      <p:ext uri="{BB962C8B-B14F-4D97-AF65-F5344CB8AC3E}">
        <p14:creationId xmlns:p14="http://schemas.microsoft.com/office/powerpoint/2010/main" val="30257886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mpty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5630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sclaimer_slide">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ED83C10C-0959-87F8-D22A-2B6C02799F3D}"/>
              </a:ext>
            </a:extLst>
          </p:cNvPr>
          <p:cNvSpPr txBox="1"/>
          <p:nvPr userDrawn="1">
            <p:custDataLst>
              <p:tags r:id="rId1"/>
            </p:custDataLst>
          </p:nvPr>
        </p:nvSpPr>
        <p:spPr>
          <a:xfrm>
            <a:off x="521589" y="6431538"/>
            <a:ext cx="1666957" cy="215444"/>
          </a:xfrm>
          <a:prstGeom prst="rect">
            <a:avLst/>
          </a:prstGeom>
          <a:noFill/>
          <a:ln>
            <a:noFill/>
          </a:ln>
        </p:spPr>
        <p:txBody>
          <a:bodyPr wrap="square" rtlCol="0">
            <a:spAutoFit/>
          </a:bodyPr>
          <a:lstStyle/>
          <a:p>
            <a:r>
              <a:rPr lang="en-GB" sz="800">
                <a:latin typeface="Arial" pitchFamily="34" charset="0"/>
                <a:cs typeface="Arial" pitchFamily="34" charset="0"/>
              </a:rPr>
              <a:t>Warsaw - 641581862.3</a:t>
            </a:r>
            <a:endParaRPr lang="en-GB" sz="800" dirty="0">
              <a:latin typeface="Arial" pitchFamily="34" charset="0"/>
              <a:cs typeface="Arial" pitchFamily="34" charset="0"/>
            </a:endParaRPr>
          </a:p>
        </p:txBody>
      </p:sp>
      <p:cxnSp>
        <p:nvCxnSpPr>
          <p:cNvPr id="15" name="Gerade Verbindung 7">
            <a:extLst>
              <a:ext uri="{FF2B5EF4-FFF2-40B4-BE49-F238E27FC236}">
                <a16:creationId xmlns:a16="http://schemas.microsoft.com/office/drawing/2014/main" id="{77964B33-157D-B4FC-681E-6CF57C825E68}"/>
              </a:ext>
            </a:extLst>
          </p:cNvPr>
          <p:cNvCxnSpPr>
            <a:cxnSpLocks/>
          </p:cNvCxnSpPr>
          <p:nvPr userDrawn="1"/>
        </p:nvCxnSpPr>
        <p:spPr>
          <a:xfrm>
            <a:off x="606942" y="6185612"/>
            <a:ext cx="4733906"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Textplatzhalter 1" descr="CMS_Legal_Disclaimer_Textbox_003">
            <a:extLst>
              <a:ext uri="{FF2B5EF4-FFF2-40B4-BE49-F238E27FC236}">
                <a16:creationId xmlns:a16="http://schemas.microsoft.com/office/drawing/2014/main" id="{7C7165B9-2EF0-55D0-35C0-E53E5D741873}"/>
              </a:ext>
            </a:extLst>
          </p:cNvPr>
          <p:cNvSpPr txBox="1">
            <a:spLocks/>
          </p:cNvSpPr>
          <p:nvPr userDrawn="1">
            <p:custDataLst>
              <p:tags r:id="rId2"/>
            </p:custDataLst>
          </p:nvPr>
        </p:nvSpPr>
        <p:spPr>
          <a:xfrm>
            <a:off x="624481" y="5187644"/>
            <a:ext cx="4795955" cy="13894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GB" sz="1000" b="1" i="0" u="none" strike="noStrike" kern="1200" cap="none" spc="0" normalizeH="0" baseline="30000" noProof="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prstClr val="black"/>
                </a:solidFill>
                <a:ea typeface="+mn-ea"/>
              </a:rPr>
              <a:t>CMS Locations</a:t>
            </a:r>
            <a:endParaRPr lang="en-US" dirty="0">
              <a:solidFill>
                <a:prstClr val="black"/>
              </a:solidFill>
            </a:endParaRPr>
          </a:p>
        </p:txBody>
      </p:sp>
      <p:sp>
        <p:nvSpPr>
          <p:cNvPr id="17" name="Textplatzhalter 1" descr="CMS_Legal_Disclaimer_Textbox_003">
            <a:extLst>
              <a:ext uri="{FF2B5EF4-FFF2-40B4-BE49-F238E27FC236}">
                <a16:creationId xmlns:a16="http://schemas.microsoft.com/office/drawing/2014/main" id="{7BC5D9C5-D4EC-8CFF-752C-6C99893A62B1}"/>
              </a:ext>
            </a:extLst>
          </p:cNvPr>
          <p:cNvSpPr txBox="1">
            <a:spLocks/>
          </p:cNvSpPr>
          <p:nvPr userDrawn="1">
            <p:custDataLst>
              <p:tags r:id="rId3"/>
            </p:custDataLst>
          </p:nvPr>
        </p:nvSpPr>
        <p:spPr>
          <a:xfrm>
            <a:off x="643808" y="4476828"/>
            <a:ext cx="4776629" cy="651905"/>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GB" sz="1000" b="1" i="0" u="none" strike="noStrike" kern="1200" cap="none" spc="0" normalizeH="0" baseline="30000" noProof="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b="0">
                <a:solidFill>
                  <a:prstClr val="black"/>
                </a:solidFill>
                <a:ea typeface="+mn-ea"/>
              </a:rPr>
              <a:t>CMS Legal Services EEIG (CMS EEIG) is a European Economic Interest Grouping that coordinates an organisation of independent law firms. CMS EEIG provides no client services. Such services are solely provided by CMS EEIG’s member firms in their respective jurisdictions. CMS EEIG and each of its member firms are separate and legally distinct entities, and no such entity has any authority to bind any other. CMS EEIG and each member firm are liable only for their own acts or omissions and not those of each other. The brand name “CMS” and the term “firm” are used to refer to some or all of the member firms or their offices; details can be found under “legal information” in the footer of cms.law.</a:t>
            </a:r>
            <a:endParaRPr lang="en-US" dirty="0">
              <a:solidFill>
                <a:prstClr val="black"/>
              </a:solidFill>
            </a:endParaRPr>
          </a:p>
        </p:txBody>
      </p:sp>
      <p:sp>
        <p:nvSpPr>
          <p:cNvPr id="26" name="Textplatzhalter 1" descr="CMS_Legal_Disclaimer_Textbox_003">
            <a:extLst>
              <a:ext uri="{FF2B5EF4-FFF2-40B4-BE49-F238E27FC236}">
                <a16:creationId xmlns:a16="http://schemas.microsoft.com/office/drawing/2014/main" id="{84AF9E86-733A-B391-E479-4D9554E531F3}"/>
              </a:ext>
            </a:extLst>
          </p:cNvPr>
          <p:cNvSpPr txBox="1">
            <a:spLocks/>
          </p:cNvSpPr>
          <p:nvPr userDrawn="1">
            <p:custDataLst>
              <p:tags r:id="rId4"/>
            </p:custDataLst>
          </p:nvPr>
        </p:nvSpPr>
        <p:spPr>
          <a:xfrm>
            <a:off x="624482" y="5326588"/>
            <a:ext cx="4795954" cy="754497"/>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GB" sz="1000" b="1" i="0" u="none" strike="noStrike" kern="1200" cap="none" spc="0" normalizeH="0" baseline="30000" noProof="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b="0">
                <a:solidFill>
                  <a:prstClr val="black"/>
                </a:solidFill>
                <a:ea typeface="+mn-ea"/>
              </a:rPr>
              <a:t>Aberdeen, Abu Dhabi, Amsterdam, Antwerp, Barcelona, Beijing, Belgrade, Bergen, Berlin, Bogotá, Bratislava, Brisbane, Bristol, Brussels, Bucharest, Budapest, Casablanca, Cologne, Cúcuta, Dubai, Dublin, Duesseldorf, Edinburgh, Frankfurt, Funchal, Geneva, Glasgow, Gothenburg, Hamburg, Hong Kong, Istanbul, Johannesburg, Kyiv, Leipzig, Lima, Lisbon, Liverpool, Ljubljana, London, Luanda, Luxembourg, Lyon, Madrid, Manchester, Maputo, Mexico City, Milan, Mombasa, Monaco, Munich, Muscat, Nairobi, Oslo, Paris, Podgorica, Poznan, Prague, Reading, Rio de Janeiro, Riyadh, Rome, Santiago de Chile, São Paulo, Sarajevo, Shanghai, Sheffield, Singapore, Skopje, Sofia, Stavanger, Stockholm, Strasbourg, Stuttgart, Tel Aviv, Tirana, Vienna, Warsaw, Zagreb and Zurich.</a:t>
            </a:r>
            <a:endParaRPr lang="en-US" dirty="0">
              <a:solidFill>
                <a:prstClr val="black"/>
              </a:solidFill>
            </a:endParaRPr>
          </a:p>
        </p:txBody>
      </p:sp>
      <p:sp>
        <p:nvSpPr>
          <p:cNvPr id="27" name="TextBox 26">
            <a:extLst>
              <a:ext uri="{FF2B5EF4-FFF2-40B4-BE49-F238E27FC236}">
                <a16:creationId xmlns:a16="http://schemas.microsoft.com/office/drawing/2014/main" id="{D4C01F2D-945F-9942-8F12-592B2C681DFB}"/>
              </a:ext>
            </a:extLst>
          </p:cNvPr>
          <p:cNvSpPr txBox="1"/>
          <p:nvPr userDrawn="1">
            <p:custDataLst>
              <p:tags r:id="rId5"/>
            </p:custDataLst>
          </p:nvPr>
        </p:nvSpPr>
        <p:spPr>
          <a:xfrm>
            <a:off x="521589" y="6329628"/>
            <a:ext cx="1656184" cy="19492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kern="1200" baseline="30000">
                <a:solidFill>
                  <a:prstClr val="black"/>
                </a:solidFill>
                <a:latin typeface="Arial" pitchFamily="34" charset="0"/>
                <a:ea typeface="+mn-ea"/>
                <a:cs typeface="Arial" pitchFamily="34" charset="0"/>
              </a:rPr>
              <a:t>cms.law</a:t>
            </a:r>
            <a:endParaRPr lang="en-GB" sz="1000" b="1" kern="1200" baseline="30000" dirty="0">
              <a:solidFill>
                <a:prstClr val="black"/>
              </a:solidFill>
              <a:latin typeface="Arial" pitchFamily="34" charset="0"/>
              <a:ea typeface="+mn-ea"/>
              <a:cs typeface="Arial" pitchFamily="34" charset="0"/>
            </a:endParaRPr>
          </a:p>
        </p:txBody>
      </p:sp>
      <p:sp>
        <p:nvSpPr>
          <p:cNvPr id="29" name="Textplatzhalter 2" descr="CMS_Legal_Disclaimer_Textbox_001">
            <a:extLst>
              <a:ext uri="{FF2B5EF4-FFF2-40B4-BE49-F238E27FC236}">
                <a16:creationId xmlns:a16="http://schemas.microsoft.com/office/drawing/2014/main" id="{4EFE3F15-4A0A-3E23-C760-26B33C95A90D}"/>
              </a:ext>
            </a:extLst>
          </p:cNvPr>
          <p:cNvSpPr txBox="1">
            <a:spLocks/>
          </p:cNvSpPr>
          <p:nvPr userDrawn="1">
            <p:custDataLst>
              <p:tags r:id="rId6"/>
            </p:custDataLst>
          </p:nvPr>
        </p:nvSpPr>
        <p:spPr>
          <a:xfrm>
            <a:off x="649167" y="3342604"/>
            <a:ext cx="4771269" cy="1062273"/>
          </a:xfrm>
          <a:prstGeom prst="rect">
            <a:avLst/>
          </a:prstGeom>
        </p:spPr>
        <p:txBody>
          <a:bodyPr wrap="square" lIns="0" tIns="36000" rIns="0" bIns="0" anchor="b" anchorCtr="0">
            <a:spAutoFit/>
          </a:bodyPr>
          <a:lstStyle>
            <a:lvl1pPr marL="0" marR="0" indent="0" algn="l" defTabSz="914400" rtl="0" eaLnBrk="1" fontAlgn="auto" latinLnBrk="0" hangingPunct="1">
              <a:lnSpc>
                <a:spcPct val="100000"/>
              </a:lnSpc>
              <a:spcBef>
                <a:spcPts val="0"/>
              </a:spcBef>
              <a:spcAft>
                <a:spcPts val="0"/>
              </a:spcAft>
              <a:buClrTx/>
              <a:buSzTx/>
              <a:buFontTx/>
              <a:buNone/>
              <a:tabLst/>
              <a:defRPr sz="1000" kern="120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b="1" baseline="30000">
                <a:solidFill>
                  <a:prstClr val="black"/>
                </a:solidFill>
                <a:ea typeface="+mn-ea"/>
              </a:rPr>
              <a:t>Your free online legal information service. </a:t>
            </a:r>
          </a:p>
          <a:p>
            <a:pPr>
              <a:defRPr/>
            </a:pPr>
            <a:endParaRPr lang="en-US" b="0" baseline="30000">
              <a:solidFill>
                <a:prstClr val="black"/>
              </a:solidFill>
              <a:ea typeface="+mn-ea"/>
            </a:endParaRPr>
          </a:p>
          <a:p>
            <a:pPr>
              <a:defRPr/>
            </a:pPr>
            <a:r>
              <a:rPr lang="en-US" b="0" baseline="30000">
                <a:solidFill>
                  <a:prstClr val="black"/>
                </a:solidFill>
                <a:ea typeface="+mn-ea"/>
              </a:rPr>
              <a:t>A subscription service for legal articles on a variety of topics delivered by email. </a:t>
            </a:r>
          </a:p>
          <a:p>
            <a:pPr>
              <a:defRPr/>
            </a:pPr>
            <a:r>
              <a:rPr lang="en-GB" b="1" baseline="30000">
                <a:solidFill>
                  <a:prstClr val="black"/>
                </a:solidFill>
                <a:ea typeface="+mn-ea"/>
              </a:rPr>
              <a:t>cms-lawnow.com</a:t>
            </a:r>
            <a:endParaRPr lang="en-US" b="1" baseline="30000">
              <a:solidFill>
                <a:prstClr val="black"/>
              </a:solidFill>
              <a:ea typeface="+mn-ea"/>
            </a:endParaRPr>
          </a:p>
          <a:p>
            <a:pPr>
              <a:defRPr/>
            </a:pPr>
            <a:endParaRPr lang="en-US" b="0" baseline="30000">
              <a:solidFill>
                <a:prstClr val="black"/>
              </a:solidFill>
              <a:ea typeface="+mn-ea"/>
            </a:endParaRPr>
          </a:p>
          <a:p>
            <a:pPr>
              <a:defRPr/>
            </a:pPr>
            <a:r>
              <a:rPr lang="en-US" b="0" baseline="30000">
                <a:solidFill>
                  <a:prstClr val="black"/>
                </a:solidFill>
                <a:ea typeface="+mn-ea"/>
              </a:rPr>
              <a:t>- - - - - - - - - - - - - - - - - - - - - - - - - - - - - - - - - - - - - - - - - - - - - - - - - - - - - - - - - - - - - - - - - - - - - - - - - - - - - - - - - - - - - - - - - - - 
</a:t>
            </a:r>
          </a:p>
          <a:p>
            <a:pPr>
              <a:defRPr/>
            </a:pPr>
            <a:r>
              <a:rPr lang="en-US" b="0" baseline="30000">
                <a:solidFill>
                  <a:prstClr val="black"/>
                </a:solidFill>
                <a:ea typeface="+mn-ea"/>
              </a:rPr>
              <a:t>The information held in this publication is for general purposes and guidance only and does not purport to constitute legal or professional advice. It was prepared in co-operation with local attorneys.</a:t>
            </a:r>
          </a:p>
          <a:p>
            <a:pPr>
              <a:defRPr/>
            </a:pPr>
            <a:endParaRPr lang="en-GB" b="0" baseline="30000" dirty="0">
              <a:solidFill>
                <a:prstClr val="black"/>
              </a:solidFill>
              <a:ea typeface="+mn-ea"/>
            </a:endParaRPr>
          </a:p>
        </p:txBody>
      </p:sp>
      <p:sp>
        <p:nvSpPr>
          <p:cNvPr id="30" name="TextBox 29">
            <a:extLst>
              <a:ext uri="{FF2B5EF4-FFF2-40B4-BE49-F238E27FC236}">
                <a16:creationId xmlns:a16="http://schemas.microsoft.com/office/drawing/2014/main" id="{6F54034E-A726-0A2D-C7C0-CF740B30B0B5}"/>
              </a:ext>
            </a:extLst>
          </p:cNvPr>
          <p:cNvSpPr txBox="1"/>
          <p:nvPr userDrawn="1">
            <p:custDataLst>
              <p:tags r:id="rId7"/>
            </p:custDataLst>
          </p:nvPr>
        </p:nvSpPr>
        <p:spPr>
          <a:xfrm>
            <a:off x="650142" y="2397804"/>
            <a:ext cx="2741612" cy="246221"/>
          </a:xfrm>
          <a:prstGeom prst="rect">
            <a:avLst/>
          </a:prstGeom>
          <a:noFill/>
          <a:ln>
            <a:noFill/>
          </a:ln>
        </p:spPr>
        <p:txBody>
          <a:bodyPr wrap="square" rtlCol="0">
            <a:spAutoFit/>
          </a:bodyPr>
          <a:lstStyle/>
          <a:p>
            <a:endParaRPr lang="en-GB" sz="1000" dirty="0">
              <a:solidFill>
                <a:srgbClr val="766A62"/>
              </a:solidFill>
              <a:latin typeface="Arial" pitchFamily="34" charset="0"/>
              <a:cs typeface="Arial" pitchFamily="34" charset="0"/>
            </a:endParaRPr>
          </a:p>
        </p:txBody>
      </p:sp>
      <p:sp>
        <p:nvSpPr>
          <p:cNvPr id="31" name="TextBox 30">
            <a:extLst>
              <a:ext uri="{FF2B5EF4-FFF2-40B4-BE49-F238E27FC236}">
                <a16:creationId xmlns:a16="http://schemas.microsoft.com/office/drawing/2014/main" id="{C07A8384-FEAD-1579-0C7F-2A7657075D7D}"/>
              </a:ext>
            </a:extLst>
          </p:cNvPr>
          <p:cNvSpPr txBox="1"/>
          <p:nvPr userDrawn="1">
            <p:custDataLst>
              <p:tags r:id="rId8"/>
            </p:custDataLst>
          </p:nvPr>
        </p:nvSpPr>
        <p:spPr>
          <a:xfrm>
            <a:off x="650142" y="2955396"/>
            <a:ext cx="2741612" cy="246221"/>
          </a:xfrm>
          <a:prstGeom prst="rect">
            <a:avLst/>
          </a:prstGeom>
          <a:noFill/>
          <a:ln>
            <a:noFill/>
          </a:ln>
        </p:spPr>
        <p:txBody>
          <a:bodyPr wrap="square" rtlCol="0">
            <a:spAutoFit/>
          </a:bodyPr>
          <a:lstStyle/>
          <a:p>
            <a:endParaRPr lang="en-GB" sz="1000" dirty="0">
              <a:solidFill>
                <a:srgbClr val="766A62"/>
              </a:solidFill>
              <a:latin typeface="Arial" pitchFamily="34" charset="0"/>
              <a:cs typeface="Arial" pitchFamily="34" charset="0"/>
            </a:endParaRPr>
          </a:p>
        </p:txBody>
      </p:sp>
    </p:spTree>
    <p:extLst>
      <p:ext uri="{BB962C8B-B14F-4D97-AF65-F5344CB8AC3E}">
        <p14:creationId xmlns:p14="http://schemas.microsoft.com/office/powerpoint/2010/main" val="3650367784"/>
      </p:ext>
    </p:extLst>
  </p:cSld>
  <p:clrMapOvr>
    <a:masterClrMapping/>
  </p:clrMapOvr>
  <p:extLst>
    <p:ext uri="{DCECCB84-F9BA-43D5-87BE-67443E8EF086}">
      <p15:sldGuideLst xmlns:p15="http://schemas.microsoft.com/office/powerpoint/2012/main">
        <p15:guide id="1" orient="horz" pos="3952">
          <p15:clr>
            <a:srgbClr val="FBAE40"/>
          </p15:clr>
        </p15:guide>
        <p15:guide id="2" pos="37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88CB-7F03-734F-9EA6-DB242DEA005A}"/>
              </a:ext>
            </a:extLst>
          </p:cNvPr>
          <p:cNvSpPr>
            <a:spLocks noGrp="1"/>
          </p:cNvSpPr>
          <p:nvPr>
            <p:ph type="title" hasCustomPrompt="1"/>
          </p:nvPr>
        </p:nvSpPr>
        <p:spPr>
          <a:xfrm>
            <a:off x="6188764" y="1054238"/>
            <a:ext cx="2819400" cy="416753"/>
          </a:xfr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pic>
        <p:nvPicPr>
          <p:cNvPr id="6" name="Picture 5">
            <a:extLst>
              <a:ext uri="{FF2B5EF4-FFF2-40B4-BE49-F238E27FC236}">
                <a16:creationId xmlns:a16="http://schemas.microsoft.com/office/drawing/2014/main" id="{F0703195-C5FA-B14E-83D3-F9E095FD5E4F}"/>
              </a:ext>
            </a:extLst>
          </p:cNvPr>
          <p:cNvPicPr>
            <a:picLocks noChangeAspect="1"/>
          </p:cNvPicPr>
          <p:nvPr userDrawn="1"/>
        </p:nvPicPr>
        <p:blipFill>
          <a:blip r:embed="rId2"/>
          <a:stretch>
            <a:fillRect/>
          </a:stretch>
        </p:blipFill>
        <p:spPr>
          <a:xfrm>
            <a:off x="947738" y="6242704"/>
            <a:ext cx="720459" cy="119067"/>
          </a:xfrm>
          <a:prstGeom prst="rect">
            <a:avLst/>
          </a:prstGeom>
        </p:spPr>
      </p:pic>
      <p:sp>
        <p:nvSpPr>
          <p:cNvPr id="7" name="TextBox 6">
            <a:extLst>
              <a:ext uri="{FF2B5EF4-FFF2-40B4-BE49-F238E27FC236}">
                <a16:creationId xmlns:a16="http://schemas.microsoft.com/office/drawing/2014/main" id="{612E8779-C0AC-984A-B8A7-2DDE785C8561}"/>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8" name="TextBox 7">
            <a:extLst>
              <a:ext uri="{FF2B5EF4-FFF2-40B4-BE49-F238E27FC236}">
                <a16:creationId xmlns:a16="http://schemas.microsoft.com/office/drawing/2014/main" id="{0412097C-D7FB-0B41-80F3-8D907CD16B0D}"/>
              </a:ext>
            </a:extLst>
          </p:cNvPr>
          <p:cNvSpPr txBox="1"/>
          <p:nvPr userDrawn="1"/>
        </p:nvSpPr>
        <p:spPr>
          <a:xfrm>
            <a:off x="8745467" y="6144930"/>
            <a:ext cx="2135893" cy="307841"/>
          </a:xfrm>
          <a:prstGeom prst="rect">
            <a:avLst/>
          </a:prstGeom>
          <a:noFill/>
        </p:spPr>
        <p:txBody>
          <a:bodyPr wrap="square" rtlCol="0">
            <a:spAutoFit/>
          </a:bodyPr>
          <a:lstStyle/>
          <a:p>
            <a:pPr>
              <a:lnSpc>
                <a:spcPts val="1900"/>
              </a:lnSpc>
            </a:pPr>
            <a:r>
              <a:rPr lang="en-GB" sz="1200">
                <a:solidFill>
                  <a:schemeClr val="bg1"/>
                </a:solidFill>
                <a:latin typeface="Lato Medium" panose="020F0502020204030203" pitchFamily="34" charset="77"/>
              </a:rPr>
              <a:t>Presentation title</a:t>
            </a:r>
          </a:p>
        </p:txBody>
      </p:sp>
      <p:cxnSp>
        <p:nvCxnSpPr>
          <p:cNvPr id="12" name="Straight Connector 11">
            <a:extLst>
              <a:ext uri="{FF2B5EF4-FFF2-40B4-BE49-F238E27FC236}">
                <a16:creationId xmlns:a16="http://schemas.microsoft.com/office/drawing/2014/main" id="{CECBECF5-6332-7149-8F6C-CE608F3F6A19}"/>
              </a:ext>
            </a:extLst>
          </p:cNvPr>
          <p:cNvCxnSpPr>
            <a:cxnSpLocks/>
          </p:cNvCxnSpPr>
          <p:nvPr userDrawn="1"/>
        </p:nvCxnSpPr>
        <p:spPr>
          <a:xfrm>
            <a:off x="6196079" y="2178986"/>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1C21BE24-3F3D-B944-A37A-608BC6EE28D4}"/>
              </a:ext>
            </a:extLst>
          </p:cNvPr>
          <p:cNvSpPr>
            <a:spLocks noGrp="1"/>
          </p:cNvSpPr>
          <p:nvPr>
            <p:ph type="body" sz="quarter" idx="10" hasCustomPrompt="1"/>
          </p:nvPr>
        </p:nvSpPr>
        <p:spPr>
          <a:xfrm>
            <a:off x="6188764" y="2663686"/>
            <a:ext cx="5008563" cy="3153465"/>
          </a:xfrm>
        </p:spPr>
        <p:txBody>
          <a:bodyPr wrap="square" lIns="0" tIns="0" rIns="0" bIns="0">
            <a:normAutofit/>
          </a:bodyPr>
          <a:lstStyle>
            <a:lvl1pPr marL="0" indent="0">
              <a:lnSpc>
                <a:spcPts val="2200"/>
              </a:lnSpc>
              <a:spcBef>
                <a:spcPts val="0"/>
              </a:spcBef>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Copy he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endParaRPr lang="en-GB"/>
          </a:p>
          <a:p>
            <a:pPr lvl="0"/>
            <a:endParaRPr lang="en-GB"/>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endParaRPr lang="en-GB"/>
          </a:p>
          <a:p>
            <a:pPr lvl="0"/>
            <a:r>
              <a:rPr lang="en-GB"/>
              <a:t>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aliquet</a:t>
            </a:r>
            <a:r>
              <a:rPr lang="en-GB"/>
              <a:t> </a:t>
            </a:r>
            <a:r>
              <a:rPr lang="en-GB" err="1"/>
              <a:t>enim</a:t>
            </a:r>
            <a:r>
              <a:rPr lang="en-GB"/>
              <a:t> </a:t>
            </a:r>
            <a:r>
              <a:rPr lang="en-GB" err="1"/>
              <a:t>torto</a:t>
            </a:r>
            <a:r>
              <a:rPr lang="en-GB"/>
              <a:t> </a:t>
            </a:r>
            <a:r>
              <a:rPr lang="en-GB" err="1"/>
              <a:t>nulla</a:t>
            </a:r>
            <a:r>
              <a:rPr lang="en-GB"/>
              <a:t> </a:t>
            </a:r>
            <a:r>
              <a:rPr lang="en-GB" err="1"/>
              <a:t>aliquet</a:t>
            </a:r>
            <a:r>
              <a:rPr lang="en-GB"/>
              <a:t> </a:t>
            </a:r>
            <a:r>
              <a:rPr lang="en-GB" err="1"/>
              <a:t>enimr</a:t>
            </a:r>
            <a:r>
              <a:rPr lang="en-GB"/>
              <a:t>. </a:t>
            </a:r>
          </a:p>
          <a:p>
            <a:pPr lvl="0"/>
            <a:endParaRPr lang="en-US"/>
          </a:p>
        </p:txBody>
      </p:sp>
      <p:pic>
        <p:nvPicPr>
          <p:cNvPr id="19" name="Picture 18" descr="A picture containing drawing&#10;&#10;Description automatically generated">
            <a:extLst>
              <a:ext uri="{FF2B5EF4-FFF2-40B4-BE49-F238E27FC236}">
                <a16:creationId xmlns:a16="http://schemas.microsoft.com/office/drawing/2014/main" id="{35A7E746-283C-5046-BAD0-7B67D3C09CEE}"/>
              </a:ext>
            </a:extLst>
          </p:cNvPr>
          <p:cNvPicPr>
            <a:picLocks noChangeAspect="1"/>
          </p:cNvPicPr>
          <p:nvPr userDrawn="1"/>
        </p:nvPicPr>
        <p:blipFill>
          <a:blip r:embed="rId3"/>
          <a:stretch>
            <a:fillRect/>
          </a:stretch>
        </p:blipFill>
        <p:spPr>
          <a:xfrm>
            <a:off x="947738" y="1120090"/>
            <a:ext cx="4328512" cy="4664345"/>
          </a:xfrm>
          <a:prstGeom prst="rect">
            <a:avLst/>
          </a:prstGeom>
        </p:spPr>
      </p:pic>
      <p:sp>
        <p:nvSpPr>
          <p:cNvPr id="21" name="Text Placeholder 13">
            <a:extLst>
              <a:ext uri="{FF2B5EF4-FFF2-40B4-BE49-F238E27FC236}">
                <a16:creationId xmlns:a16="http://schemas.microsoft.com/office/drawing/2014/main" id="{18037ACD-2206-0340-AF29-BE57ECF3D286}"/>
              </a:ext>
            </a:extLst>
          </p:cNvPr>
          <p:cNvSpPr>
            <a:spLocks noGrp="1"/>
          </p:cNvSpPr>
          <p:nvPr>
            <p:ph type="body" sz="quarter" idx="13" hasCustomPrompt="1"/>
          </p:nvPr>
        </p:nvSpPr>
        <p:spPr>
          <a:xfrm>
            <a:off x="6188764" y="1487508"/>
            <a:ext cx="4234070" cy="627582"/>
          </a:xfr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2923935118"/>
      </p:ext>
    </p:extLst>
  </p:cSld>
  <p:clrMapOvr>
    <a:masterClrMapping/>
  </p:clrMapOvr>
  <p:extLst>
    <p:ext uri="{DCECCB84-F9BA-43D5-87BE-67443E8EF086}">
      <p15:sldGuideLst xmlns:p15="http://schemas.microsoft.com/office/powerpoint/2012/main">
        <p15:guide id="1" orient="horz" pos="2160">
          <p15:clr>
            <a:srgbClr val="FBAE40"/>
          </p15:clr>
        </p15:guide>
        <p15:guide id="2" pos="390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105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9FF90-E2A6-F141-9152-BAD9BDC1F7A6}"/>
              </a:ext>
            </a:extLst>
          </p:cNvPr>
          <p:cNvSpPr>
            <a:spLocks noGrp="1"/>
          </p:cNvSpPr>
          <p:nvPr userDrawn="1">
            <p:ph type="ctrTitle" hasCustomPrompt="1"/>
          </p:nvPr>
        </p:nvSpPr>
        <p:spPr>
          <a:xfrm>
            <a:off x="1311965" y="2715801"/>
            <a:ext cx="10700495" cy="646043"/>
          </a:xfr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3" name="Subtitle 2">
            <a:extLst>
              <a:ext uri="{FF2B5EF4-FFF2-40B4-BE49-F238E27FC236}">
                <a16:creationId xmlns:a16="http://schemas.microsoft.com/office/drawing/2014/main" id="{D8A526FA-88E3-6142-8949-AAA75BF2F1C7}"/>
              </a:ext>
            </a:extLst>
          </p:cNvPr>
          <p:cNvSpPr>
            <a:spLocks noGrp="1"/>
          </p:cNvSpPr>
          <p:nvPr userDrawn="1">
            <p:ph type="subTitle" idx="1" hasCustomPrompt="1"/>
          </p:nvPr>
        </p:nvSpPr>
        <p:spPr>
          <a:xfrm>
            <a:off x="1311965" y="4539566"/>
            <a:ext cx="9144000" cy="1655762"/>
          </a:xfrm>
        </p:spPr>
        <p:txBody>
          <a:bodyPr lIns="0" tIns="0" rIns="0" bIns="0">
            <a:noAutofit/>
          </a:bodyPr>
          <a:lstStyle>
            <a:lvl1pPr marL="0" indent="0" algn="l">
              <a:buNone/>
              <a:defRPr sz="180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4" name="Date Placeholder 3">
            <a:extLst>
              <a:ext uri="{FF2B5EF4-FFF2-40B4-BE49-F238E27FC236}">
                <a16:creationId xmlns:a16="http://schemas.microsoft.com/office/drawing/2014/main" id="{35E02AA2-7254-1046-8739-78C840E9DAD0}"/>
              </a:ext>
            </a:extLst>
          </p:cNvPr>
          <p:cNvSpPr>
            <a:spLocks noGrp="1"/>
          </p:cNvSpPr>
          <p:nvPr userDrawn="1">
            <p:ph type="dt" sz="half" idx="10"/>
          </p:nvPr>
        </p:nvSpPr>
        <p:spPr/>
        <p:txBody>
          <a:bodyPr/>
          <a:lstStyle/>
          <a:p>
            <a:endParaRPr lang="en-US"/>
          </a:p>
        </p:txBody>
      </p:sp>
      <p:sp>
        <p:nvSpPr>
          <p:cNvPr id="5" name="Footer Placeholder 4">
            <a:extLst>
              <a:ext uri="{FF2B5EF4-FFF2-40B4-BE49-F238E27FC236}">
                <a16:creationId xmlns:a16="http://schemas.microsoft.com/office/drawing/2014/main" id="{4555A1A3-E25B-0A4C-813E-6F24028337E0}"/>
              </a:ext>
            </a:extLst>
          </p:cNvPr>
          <p:cNvSpPr>
            <a:spLocks noGrp="1"/>
          </p:cNvSpPr>
          <p:nvPr userDrawn="1">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D19D94-A8A7-974B-BB7E-8BF144BEF86F}"/>
              </a:ext>
            </a:extLst>
          </p:cNvPr>
          <p:cNvSpPr>
            <a:spLocks noGrp="1"/>
          </p:cNvSpPr>
          <p:nvPr userDrawn="1">
            <p:ph type="sldNum" sz="quarter" idx="12"/>
          </p:nvPr>
        </p:nvSpPr>
        <p:spPr/>
        <p:txBody>
          <a:bodyPr/>
          <a:lstStyle/>
          <a:p>
            <a:fld id="{DC28EBC0-9C41-A24B-A005-545145A895B9}" type="slidenum">
              <a:rPr lang="en-US" smtClean="0"/>
              <a:t>‹#›</a:t>
            </a:fld>
            <a:endParaRPr lang="en-US"/>
          </a:p>
        </p:txBody>
      </p:sp>
      <p:cxnSp>
        <p:nvCxnSpPr>
          <p:cNvPr id="10" name="Straight Connector 9">
            <a:extLst>
              <a:ext uri="{FF2B5EF4-FFF2-40B4-BE49-F238E27FC236}">
                <a16:creationId xmlns:a16="http://schemas.microsoft.com/office/drawing/2014/main" id="{9679024F-12B2-FD40-868E-BDCAD1FA1B94}"/>
              </a:ext>
            </a:extLst>
          </p:cNvPr>
          <p:cNvCxnSpPr/>
          <p:nvPr userDrawn="1"/>
        </p:nvCxnSpPr>
        <p:spPr>
          <a:xfrm>
            <a:off x="1311965" y="4255100"/>
            <a:ext cx="71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5A38E66-F2FC-CB4D-902B-978D684DC930}"/>
              </a:ext>
            </a:extLst>
          </p:cNvPr>
          <p:cNvPicPr>
            <a:picLocks noChangeAspect="1"/>
          </p:cNvPicPr>
          <p:nvPr userDrawn="1"/>
        </p:nvPicPr>
        <p:blipFill>
          <a:blip r:embed="rId2"/>
          <a:stretch>
            <a:fillRect/>
          </a:stretch>
        </p:blipFill>
        <p:spPr>
          <a:xfrm>
            <a:off x="496040" y="662471"/>
            <a:ext cx="2529590" cy="690773"/>
          </a:xfrm>
          <a:prstGeom prst="rect">
            <a:avLst/>
          </a:prstGeom>
        </p:spPr>
      </p:pic>
      <p:sp>
        <p:nvSpPr>
          <p:cNvPr id="14" name="Text Placeholder 13">
            <a:extLst>
              <a:ext uri="{FF2B5EF4-FFF2-40B4-BE49-F238E27FC236}">
                <a16:creationId xmlns:a16="http://schemas.microsoft.com/office/drawing/2014/main" id="{EFE6F6AC-544A-1A4A-B4EB-E7242A8216AA}"/>
              </a:ext>
            </a:extLst>
          </p:cNvPr>
          <p:cNvSpPr>
            <a:spLocks noGrp="1"/>
          </p:cNvSpPr>
          <p:nvPr userDrawn="1">
            <p:ph type="body" sz="quarter" idx="13" hasCustomPrompt="1"/>
          </p:nvPr>
        </p:nvSpPr>
        <p:spPr>
          <a:xfrm>
            <a:off x="1311965" y="3298375"/>
            <a:ext cx="8650288" cy="814388"/>
          </a:xfrm>
        </p:spPr>
        <p:txBody>
          <a:bodyPr wrap="none" lIns="0" tIns="0" rIns="0" bIns="0">
            <a:noAutofit/>
          </a:bodyPr>
          <a:lstStyle>
            <a:lvl1pPr marL="0" indent="0">
              <a:buNone/>
              <a:defRPr sz="4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pic>
        <p:nvPicPr>
          <p:cNvPr id="13" name="Picture 12" descr="A picture containing clock&#10;&#10;Description automatically generated">
            <a:extLst>
              <a:ext uri="{FF2B5EF4-FFF2-40B4-BE49-F238E27FC236}">
                <a16:creationId xmlns:a16="http://schemas.microsoft.com/office/drawing/2014/main" id="{88BC7C1F-1661-4949-BB07-CB6813570A1F}"/>
              </a:ext>
            </a:extLst>
          </p:cNvPr>
          <p:cNvPicPr>
            <a:picLocks noChangeAspect="1"/>
          </p:cNvPicPr>
          <p:nvPr userDrawn="1"/>
        </p:nvPicPr>
        <p:blipFill rotWithShape="1">
          <a:blip r:embed="rId3"/>
          <a:srcRect t="60689" r="31758"/>
          <a:stretch/>
        </p:blipFill>
        <p:spPr>
          <a:xfrm>
            <a:off x="6096001" y="0"/>
            <a:ext cx="6096000" cy="4264741"/>
          </a:xfrm>
          <a:prstGeom prst="rect">
            <a:avLst/>
          </a:prstGeom>
        </p:spPr>
      </p:pic>
      <p:pic>
        <p:nvPicPr>
          <p:cNvPr id="15" name="Picture 14" descr="A close up of a sign&#10;&#10;Description automatically generated">
            <a:extLst>
              <a:ext uri="{FF2B5EF4-FFF2-40B4-BE49-F238E27FC236}">
                <a16:creationId xmlns:a16="http://schemas.microsoft.com/office/drawing/2014/main" id="{2A2719CC-484E-9545-88DF-707E965AE132}"/>
              </a:ext>
            </a:extLst>
          </p:cNvPr>
          <p:cNvPicPr>
            <a:picLocks noChangeAspect="1"/>
          </p:cNvPicPr>
          <p:nvPr userDrawn="1"/>
        </p:nvPicPr>
        <p:blipFill rotWithShape="1">
          <a:blip r:embed="rId4"/>
          <a:srcRect b="77284"/>
          <a:stretch/>
        </p:blipFill>
        <p:spPr>
          <a:xfrm>
            <a:off x="3769136" y="4000488"/>
            <a:ext cx="9218444" cy="2857512"/>
          </a:xfrm>
          <a:prstGeom prst="rect">
            <a:avLst/>
          </a:prstGeom>
        </p:spPr>
      </p:pic>
    </p:spTree>
    <p:extLst>
      <p:ext uri="{BB962C8B-B14F-4D97-AF65-F5344CB8AC3E}">
        <p14:creationId xmlns:p14="http://schemas.microsoft.com/office/powerpoint/2010/main" val="33646337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ayout 2">
    <p:bg>
      <p:bgPr>
        <a:gradFill>
          <a:gsLst>
            <a:gs pos="0">
              <a:schemeClr val="accent1">
                <a:lumMod val="30000"/>
                <a:lumOff val="70000"/>
              </a:schemeClr>
            </a:gs>
            <a:gs pos="0">
              <a:srgbClr val="000942"/>
            </a:gs>
            <a:gs pos="99000">
              <a:srgbClr val="1B626F"/>
            </a:gs>
          </a:gsLst>
          <a:lin ang="10800000" scaled="0"/>
        </a:gra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9AFF826-CED8-FF4F-B681-4DA9A056501D}"/>
              </a:ext>
            </a:extLst>
          </p:cNvPr>
          <p:cNvSpPr>
            <a:spLocks noGrp="1"/>
          </p:cNvSpPr>
          <p:nvPr>
            <p:ph type="ctrTitle" hasCustomPrompt="1"/>
          </p:nvPr>
        </p:nvSpPr>
        <p:spPr>
          <a:xfrm>
            <a:off x="959850" y="1039798"/>
            <a:ext cx="10700495" cy="646043"/>
          </a:xfr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7" name="Text Placeholder 13">
            <a:extLst>
              <a:ext uri="{FF2B5EF4-FFF2-40B4-BE49-F238E27FC236}">
                <a16:creationId xmlns:a16="http://schemas.microsoft.com/office/drawing/2014/main" id="{EAC52C99-EB21-EE4D-9C96-D2D51155280B}"/>
              </a:ext>
            </a:extLst>
          </p:cNvPr>
          <p:cNvSpPr>
            <a:spLocks noGrp="1"/>
          </p:cNvSpPr>
          <p:nvPr>
            <p:ph type="body" sz="quarter" idx="13" hasCustomPrompt="1"/>
          </p:nvPr>
        </p:nvSpPr>
        <p:spPr>
          <a:xfrm>
            <a:off x="959850" y="1484566"/>
            <a:ext cx="5369477" cy="646043"/>
          </a:xfr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cxnSp>
        <p:nvCxnSpPr>
          <p:cNvPr id="10" name="Straight Connector 9">
            <a:extLst>
              <a:ext uri="{FF2B5EF4-FFF2-40B4-BE49-F238E27FC236}">
                <a16:creationId xmlns:a16="http://schemas.microsoft.com/office/drawing/2014/main" id="{02A8E1A7-3FF3-A54E-96F5-FAD5C11BDE27}"/>
              </a:ext>
            </a:extLst>
          </p:cNvPr>
          <p:cNvCxnSpPr>
            <a:cxnSpLocks/>
          </p:cNvCxnSpPr>
          <p:nvPr userDrawn="1"/>
        </p:nvCxnSpPr>
        <p:spPr>
          <a:xfrm>
            <a:off x="959850" y="2178986"/>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C1B858B8-2338-A74A-85B8-4429F251CB95}"/>
              </a:ext>
            </a:extLst>
          </p:cNvPr>
          <p:cNvSpPr>
            <a:spLocks noGrp="1"/>
          </p:cNvSpPr>
          <p:nvPr>
            <p:ph type="body" sz="quarter" idx="14" hasCustomPrompt="1"/>
          </p:nvPr>
        </p:nvSpPr>
        <p:spPr>
          <a:xfrm>
            <a:off x="959850" y="2474629"/>
            <a:ext cx="4436530" cy="3597275"/>
          </a:xfrm>
        </p:spPr>
        <p:txBody>
          <a:bodyPr lIns="0" tIns="0" rIns="0" bIns="0">
            <a:noAutofit/>
          </a:bodyPr>
          <a:lstStyle>
            <a:lvl1pPr marL="285750" indent="-285750">
              <a:lnSpc>
                <a:spcPts val="2200"/>
              </a:lnSpc>
              <a:spcBef>
                <a:spcPts val="0"/>
              </a:spcBef>
              <a:spcAft>
                <a:spcPts val="2200"/>
              </a:spcAft>
              <a:buFontTx/>
              <a:buBlip>
                <a:blip r:embed="rId2"/>
              </a:buBlip>
              <a:defRPr sz="1600">
                <a:solidFill>
                  <a:schemeClr val="bg1"/>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br>
              <a:rPr lang="en-GB"/>
            </a:b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br>
              <a:rPr lang="en-GB"/>
            </a:b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br>
              <a:rPr lang="en-GB"/>
            </a:br>
            <a:r>
              <a:rPr lang="en-GB" err="1"/>
              <a:t>viverra</a:t>
            </a:r>
            <a:r>
              <a:rPr lang="en-GB"/>
              <a:t> </a:t>
            </a:r>
            <a:r>
              <a:rPr lang="en-GB" err="1"/>
              <a:t>aliquet</a:t>
            </a:r>
            <a:r>
              <a:rPr lang="en-GB"/>
              <a:t> </a:t>
            </a:r>
            <a:r>
              <a:rPr lang="en-GB" err="1"/>
              <a:t>eget</a:t>
            </a:r>
            <a:r>
              <a:rPr lang="en-GB"/>
              <a:t>.</a:t>
            </a:r>
          </a:p>
        </p:txBody>
      </p:sp>
      <p:pic>
        <p:nvPicPr>
          <p:cNvPr id="13" name="Picture 12">
            <a:extLst>
              <a:ext uri="{FF2B5EF4-FFF2-40B4-BE49-F238E27FC236}">
                <a16:creationId xmlns:a16="http://schemas.microsoft.com/office/drawing/2014/main" id="{D584E181-B840-1347-8311-98DF9211AB05}"/>
              </a:ext>
            </a:extLst>
          </p:cNvPr>
          <p:cNvPicPr>
            <a:picLocks noChangeAspect="1"/>
          </p:cNvPicPr>
          <p:nvPr userDrawn="1"/>
        </p:nvPicPr>
        <p:blipFill>
          <a:blip r:embed="rId3"/>
          <a:stretch>
            <a:fillRect/>
          </a:stretch>
        </p:blipFill>
        <p:spPr>
          <a:xfrm>
            <a:off x="947738" y="6242704"/>
            <a:ext cx="720459" cy="119067"/>
          </a:xfrm>
          <a:prstGeom prst="rect">
            <a:avLst/>
          </a:prstGeom>
        </p:spPr>
      </p:pic>
      <p:sp>
        <p:nvSpPr>
          <p:cNvPr id="14" name="TextBox 13">
            <a:extLst>
              <a:ext uri="{FF2B5EF4-FFF2-40B4-BE49-F238E27FC236}">
                <a16:creationId xmlns:a16="http://schemas.microsoft.com/office/drawing/2014/main" id="{9F2C601F-4A99-2F40-9775-00124222BB19}"/>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15" name="TextBox 14">
            <a:extLst>
              <a:ext uri="{FF2B5EF4-FFF2-40B4-BE49-F238E27FC236}">
                <a16:creationId xmlns:a16="http://schemas.microsoft.com/office/drawing/2014/main" id="{D0C225C9-5076-C447-9C7F-826044A5AFAA}"/>
              </a:ext>
            </a:extLst>
          </p:cNvPr>
          <p:cNvSpPr txBox="1"/>
          <p:nvPr userDrawn="1"/>
        </p:nvSpPr>
        <p:spPr>
          <a:xfrm>
            <a:off x="8745467" y="6144930"/>
            <a:ext cx="2135893" cy="307841"/>
          </a:xfrm>
          <a:prstGeom prst="rect">
            <a:avLst/>
          </a:prstGeom>
          <a:noFill/>
        </p:spPr>
        <p:txBody>
          <a:bodyPr wrap="square" rtlCol="0">
            <a:spAutoFit/>
          </a:bodyPr>
          <a:lstStyle/>
          <a:p>
            <a:pPr>
              <a:lnSpc>
                <a:spcPts val="1900"/>
              </a:lnSpc>
            </a:pPr>
            <a:r>
              <a:rPr lang="en-GB" sz="1200">
                <a:solidFill>
                  <a:schemeClr val="bg1"/>
                </a:solidFill>
                <a:latin typeface="Lato Medium" panose="020F0502020204030203" pitchFamily="34" charset="77"/>
              </a:rPr>
              <a:t>Presentation title</a:t>
            </a:r>
          </a:p>
        </p:txBody>
      </p:sp>
      <p:pic>
        <p:nvPicPr>
          <p:cNvPr id="16" name="Picture 15" descr="A picture containing building&#10;&#10;Description automatically generated">
            <a:extLst>
              <a:ext uri="{FF2B5EF4-FFF2-40B4-BE49-F238E27FC236}">
                <a16:creationId xmlns:a16="http://schemas.microsoft.com/office/drawing/2014/main" id="{AE98E189-73A7-4046-BF62-5EA382D1D2A3}"/>
              </a:ext>
            </a:extLst>
          </p:cNvPr>
          <p:cNvPicPr>
            <a:picLocks noChangeAspect="1"/>
          </p:cNvPicPr>
          <p:nvPr userDrawn="1"/>
        </p:nvPicPr>
        <p:blipFill>
          <a:blip r:embed="rId4"/>
          <a:stretch>
            <a:fillRect/>
          </a:stretch>
        </p:blipFill>
        <p:spPr>
          <a:xfrm>
            <a:off x="6368553" y="1941948"/>
            <a:ext cx="4870294" cy="3694072"/>
          </a:xfrm>
          <a:prstGeom prst="rect">
            <a:avLst/>
          </a:prstGeom>
        </p:spPr>
      </p:pic>
    </p:spTree>
    <p:extLst>
      <p:ext uri="{BB962C8B-B14F-4D97-AF65-F5344CB8AC3E}">
        <p14:creationId xmlns:p14="http://schemas.microsoft.com/office/powerpoint/2010/main" val="1366143813"/>
      </p:ext>
    </p:extLst>
  </p:cSld>
  <p:clrMapOvr>
    <a:masterClrMapping/>
  </p:clrMapOvr>
  <p:extLst>
    <p:ext uri="{DCECCB84-F9BA-43D5-87BE-67443E8EF086}">
      <p15:sldGuideLst xmlns:p15="http://schemas.microsoft.com/office/powerpoint/2012/main">
        <p15:guide id="1" orient="horz" pos="2160">
          <p15:clr>
            <a:srgbClr val="FBAE40"/>
          </p15:clr>
        </p15:guide>
        <p15:guide id="2" pos="5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termediary pattern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806B69-8806-C645-9541-7A9B52042D10}"/>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 name="Title 1">
            <a:extLst>
              <a:ext uri="{FF2B5EF4-FFF2-40B4-BE49-F238E27FC236}">
                <a16:creationId xmlns:a16="http://schemas.microsoft.com/office/drawing/2014/main" id="{539A4624-3BD1-4B08-B4B7-E81E75246994}"/>
              </a:ext>
            </a:extLst>
          </p:cNvPr>
          <p:cNvSpPr>
            <a:spLocks noGrp="1"/>
          </p:cNvSpPr>
          <p:nvPr>
            <p:ph type="title"/>
          </p:nvPr>
        </p:nvSpPr>
        <p:spPr>
          <a:xfrm>
            <a:off x="594000" y="2412000"/>
            <a:ext cx="3960000" cy="1440000"/>
          </a:xfrm>
        </p:spPr>
        <p:txBody>
          <a:body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291DB89-BFC9-4D18-B2AB-A101A7B60A0C}"/>
              </a:ext>
            </a:extLst>
          </p:cNvPr>
          <p:cNvSpPr>
            <a:spLocks noGrp="1"/>
          </p:cNvSpPr>
          <p:nvPr>
            <p:ph type="ftr" sz="quarter" idx="10"/>
          </p:nvPr>
        </p:nvSpPr>
        <p:spPr>
          <a:xfrm>
            <a:off x="594000" y="6264000"/>
            <a:ext cx="3960000" cy="594000"/>
          </a:xfrm>
        </p:spPr>
        <p:txBody>
          <a:bodyPr/>
          <a:lstStyle>
            <a:lvl1pPr>
              <a:defRPr>
                <a:solidFill>
                  <a:schemeClr val="bg1"/>
                </a:solidFill>
              </a:defRPr>
            </a:lvl1pPr>
          </a:lstStyle>
          <a:p>
            <a:r>
              <a:rPr lang="en-GB" dirty="0"/>
              <a:t>CMS example slides | February 2024</a:t>
            </a:r>
            <a:endParaRPr lang="de-DE" dirty="0"/>
          </a:p>
        </p:txBody>
      </p:sp>
      <p:sp>
        <p:nvSpPr>
          <p:cNvPr id="6" name="Text Placeholder 5">
            <a:extLst>
              <a:ext uri="{FF2B5EF4-FFF2-40B4-BE49-F238E27FC236}">
                <a16:creationId xmlns:a16="http://schemas.microsoft.com/office/drawing/2014/main" id="{DA2BE35B-C994-4209-BBA2-1DB725528453}"/>
              </a:ext>
            </a:extLst>
          </p:cNvPr>
          <p:cNvSpPr>
            <a:spLocks noGrp="1"/>
          </p:cNvSpPr>
          <p:nvPr>
            <p:ph type="body" sz="quarter" idx="12"/>
          </p:nvPr>
        </p:nvSpPr>
        <p:spPr>
          <a:xfrm>
            <a:off x="594000" y="4212000"/>
            <a:ext cx="3960000" cy="900000"/>
          </a:xfrm>
        </p:spPr>
        <p:txBody>
          <a:bodyPr/>
          <a:lstStyle/>
          <a:p>
            <a:pPr lvl="0"/>
            <a:r>
              <a:rPr lang="en-US" dirty="0"/>
              <a:t>Click to edit Master text styles</a:t>
            </a:r>
          </a:p>
        </p:txBody>
      </p:sp>
      <p:sp>
        <p:nvSpPr>
          <p:cNvPr id="5" name="Date Placeholder 2">
            <a:extLst>
              <a:ext uri="{FF2B5EF4-FFF2-40B4-BE49-F238E27FC236}">
                <a16:creationId xmlns:a16="http://schemas.microsoft.com/office/drawing/2014/main" id="{BDCECBF8-E264-4D30-AB20-A4EF420686FF}"/>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pic>
        <p:nvPicPr>
          <p:cNvPr id="18" name="Picture 17">
            <a:extLst>
              <a:ext uri="{FF2B5EF4-FFF2-40B4-BE49-F238E27FC236}">
                <a16:creationId xmlns:a16="http://schemas.microsoft.com/office/drawing/2014/main" id="{421B0FF4-BE91-6B46-908A-1EB7707F3E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77490" y="584787"/>
            <a:ext cx="1526339" cy="774910"/>
          </a:xfrm>
          <a:prstGeom prst="rect">
            <a:avLst/>
          </a:prstGeom>
        </p:spPr>
      </p:pic>
    </p:spTree>
    <p:extLst>
      <p:ext uri="{BB962C8B-B14F-4D97-AF65-F5344CB8AC3E}">
        <p14:creationId xmlns:p14="http://schemas.microsoft.com/office/powerpoint/2010/main" val="37840990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slide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Pentagon 8">
            <a:extLst>
              <a:ext uri="{FF2B5EF4-FFF2-40B4-BE49-F238E27FC236}">
                <a16:creationId xmlns:a16="http://schemas.microsoft.com/office/drawing/2014/main" id="{BD2A5EA0-0011-3349-A308-4FED6E2E22E0}"/>
              </a:ext>
            </a:extLst>
          </p:cNvPr>
          <p:cNvSpPr/>
          <p:nvPr userDrawn="1"/>
        </p:nvSpPr>
        <p:spPr>
          <a:xfrm>
            <a:off x="6595966" y="2532819"/>
            <a:ext cx="5060702" cy="2675973"/>
          </a:xfrm>
          <a:prstGeom prst="homePlate">
            <a:avLst/>
          </a:prstGeom>
          <a:solidFill>
            <a:srgbClr val="1ED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entagon 9">
            <a:extLst>
              <a:ext uri="{FF2B5EF4-FFF2-40B4-BE49-F238E27FC236}">
                <a16:creationId xmlns:a16="http://schemas.microsoft.com/office/drawing/2014/main" id="{3F678318-0237-704A-A49F-CC14CA53B234}"/>
              </a:ext>
            </a:extLst>
          </p:cNvPr>
          <p:cNvSpPr/>
          <p:nvPr userDrawn="1"/>
        </p:nvSpPr>
        <p:spPr>
          <a:xfrm>
            <a:off x="3138391" y="2532819"/>
            <a:ext cx="5066180" cy="2675973"/>
          </a:xfrm>
          <a:prstGeom prst="homePlate">
            <a:avLst/>
          </a:prstGeom>
          <a:solidFill>
            <a:srgbClr val="5A6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entagon 10">
            <a:extLst>
              <a:ext uri="{FF2B5EF4-FFF2-40B4-BE49-F238E27FC236}">
                <a16:creationId xmlns:a16="http://schemas.microsoft.com/office/drawing/2014/main" id="{32F540AB-C0E1-F64B-98D1-F49E43307712}"/>
              </a:ext>
            </a:extLst>
          </p:cNvPr>
          <p:cNvSpPr/>
          <p:nvPr userDrawn="1"/>
        </p:nvSpPr>
        <p:spPr>
          <a:xfrm>
            <a:off x="947738" y="2532819"/>
            <a:ext cx="3903315" cy="2675973"/>
          </a:xfrm>
          <a:prstGeom prst="homePlat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80B1528-A241-CB4D-AE2B-880870189DEB}"/>
              </a:ext>
            </a:extLst>
          </p:cNvPr>
          <p:cNvSpPr txBox="1"/>
          <p:nvPr userDrawn="1"/>
        </p:nvSpPr>
        <p:spPr>
          <a:xfrm>
            <a:off x="1179618"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1.</a:t>
            </a:r>
          </a:p>
        </p:txBody>
      </p:sp>
      <p:sp>
        <p:nvSpPr>
          <p:cNvPr id="13" name="TextBox 12">
            <a:extLst>
              <a:ext uri="{FF2B5EF4-FFF2-40B4-BE49-F238E27FC236}">
                <a16:creationId xmlns:a16="http://schemas.microsoft.com/office/drawing/2014/main" id="{6CAE8636-D48B-0647-BB7C-11BD34D48B26}"/>
              </a:ext>
            </a:extLst>
          </p:cNvPr>
          <p:cNvSpPr txBox="1"/>
          <p:nvPr userDrawn="1"/>
        </p:nvSpPr>
        <p:spPr>
          <a:xfrm>
            <a:off x="5012063" y="3017414"/>
            <a:ext cx="681650" cy="541174"/>
          </a:xfrm>
          <a:prstGeom prst="rect">
            <a:avLst/>
          </a:prstGeom>
          <a:noFill/>
        </p:spPr>
        <p:txBody>
          <a:bodyPr wrap="square" rtlCol="0">
            <a:spAutoFit/>
          </a:bodyPr>
          <a:lstStyle/>
          <a:p>
            <a:pPr>
              <a:lnSpc>
                <a:spcPts val="3500"/>
              </a:lnSpc>
            </a:pPr>
            <a:r>
              <a:rPr lang="en-GB" sz="3500" b="1">
                <a:solidFill>
                  <a:srgbClr val="FFFFFF"/>
                </a:solidFill>
                <a:latin typeface="Lato Black" panose="020F0502020204030203" pitchFamily="34" charset="77"/>
              </a:rPr>
              <a:t>2.</a:t>
            </a:r>
          </a:p>
        </p:txBody>
      </p:sp>
      <p:sp>
        <p:nvSpPr>
          <p:cNvPr id="14" name="TextBox 13">
            <a:extLst>
              <a:ext uri="{FF2B5EF4-FFF2-40B4-BE49-F238E27FC236}">
                <a16:creationId xmlns:a16="http://schemas.microsoft.com/office/drawing/2014/main" id="{D12FD69E-AD0B-F547-9D50-6EF3F8C18066}"/>
              </a:ext>
            </a:extLst>
          </p:cNvPr>
          <p:cNvSpPr txBox="1"/>
          <p:nvPr userDrawn="1"/>
        </p:nvSpPr>
        <p:spPr>
          <a:xfrm>
            <a:off x="8353442" y="3017414"/>
            <a:ext cx="681650" cy="541174"/>
          </a:xfrm>
          <a:prstGeom prst="rect">
            <a:avLst/>
          </a:prstGeom>
          <a:noFill/>
        </p:spPr>
        <p:txBody>
          <a:bodyPr wrap="square" rtlCol="0">
            <a:spAutoFit/>
          </a:bodyPr>
          <a:lstStyle/>
          <a:p>
            <a:pPr>
              <a:lnSpc>
                <a:spcPts val="3500"/>
              </a:lnSpc>
            </a:pPr>
            <a:r>
              <a:rPr lang="en-GB" sz="3500" b="1">
                <a:solidFill>
                  <a:srgbClr val="000942"/>
                </a:solidFill>
                <a:latin typeface="Lato Black" panose="020F0502020204030203" pitchFamily="34" charset="77"/>
              </a:rPr>
              <a:t>3.</a:t>
            </a:r>
          </a:p>
        </p:txBody>
      </p:sp>
      <p:sp>
        <p:nvSpPr>
          <p:cNvPr id="15" name="Text Placeholder 20">
            <a:extLst>
              <a:ext uri="{FF2B5EF4-FFF2-40B4-BE49-F238E27FC236}">
                <a16:creationId xmlns:a16="http://schemas.microsoft.com/office/drawing/2014/main" id="{EBDBA271-2CE3-984A-BAA9-1F097AF1EE12}"/>
              </a:ext>
            </a:extLst>
          </p:cNvPr>
          <p:cNvSpPr>
            <a:spLocks noGrp="1"/>
          </p:cNvSpPr>
          <p:nvPr>
            <p:ph type="body" sz="quarter" idx="10" hasCustomPrompt="1"/>
          </p:nvPr>
        </p:nvSpPr>
        <p:spPr>
          <a:xfrm>
            <a:off x="1310861" y="3558588"/>
            <a:ext cx="2754312" cy="1356313"/>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6" name="Text Placeholder 20">
            <a:extLst>
              <a:ext uri="{FF2B5EF4-FFF2-40B4-BE49-F238E27FC236}">
                <a16:creationId xmlns:a16="http://schemas.microsoft.com/office/drawing/2014/main" id="{D0A3A6BD-8857-F94A-9BA3-AA660D5C94EF}"/>
              </a:ext>
            </a:extLst>
          </p:cNvPr>
          <p:cNvSpPr>
            <a:spLocks noGrp="1"/>
          </p:cNvSpPr>
          <p:nvPr>
            <p:ph type="body" sz="quarter" idx="11" hasCustomPrompt="1"/>
          </p:nvPr>
        </p:nvSpPr>
        <p:spPr>
          <a:xfrm>
            <a:off x="5108161" y="3558589"/>
            <a:ext cx="2566920" cy="1356312"/>
          </a:xfrm>
          <a:prstGeom prst="rect">
            <a:avLst/>
          </a:prstGeom>
        </p:spPr>
        <p:txBody>
          <a:bodyPr lIns="0" tIns="0" rIns="0" bIns="0"/>
          <a:lstStyle>
            <a:lvl1pPr marL="0" indent="0">
              <a:lnSpc>
                <a:spcPts val="2000"/>
              </a:lnSpc>
              <a:spcBef>
                <a:spcPts val="0"/>
              </a:spcBef>
              <a:buNone/>
              <a:defRPr sz="16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7" name="Text Placeholder 20">
            <a:extLst>
              <a:ext uri="{FF2B5EF4-FFF2-40B4-BE49-F238E27FC236}">
                <a16:creationId xmlns:a16="http://schemas.microsoft.com/office/drawing/2014/main" id="{379250CF-F8E6-4348-9E9C-C193499BF302}"/>
              </a:ext>
            </a:extLst>
          </p:cNvPr>
          <p:cNvSpPr>
            <a:spLocks noGrp="1"/>
          </p:cNvSpPr>
          <p:nvPr>
            <p:ph type="body" sz="quarter" idx="12" hasCustomPrompt="1"/>
          </p:nvPr>
        </p:nvSpPr>
        <p:spPr>
          <a:xfrm>
            <a:off x="8460961" y="3558589"/>
            <a:ext cx="2551421" cy="1356312"/>
          </a:xfrm>
          <a:prstGeom prst="rect">
            <a:avLst/>
          </a:prstGeom>
        </p:spPr>
        <p:txBody>
          <a:bodyPr lIns="0" tIns="0" rIns="0" bIns="0"/>
          <a:lstStyle>
            <a:lvl1pPr marL="0" indent="0">
              <a:lnSpc>
                <a:spcPts val="2000"/>
              </a:lnSpc>
              <a:spcBef>
                <a:spcPts val="0"/>
              </a:spcBef>
              <a:buNone/>
              <a:defRPr sz="16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2pPr>
            <a:lvl3pPr marL="9144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3pPr>
            <a:lvl4pPr marL="1371600" indent="0">
              <a:lnSpc>
                <a:spcPts val="2000"/>
              </a:lnSpc>
              <a:buNone/>
              <a:defRPr b="0" i="0">
                <a:latin typeface="Lato Light" panose="020F0502020204030203" pitchFamily="34" charset="0"/>
                <a:ea typeface="Lato Light" panose="020F0502020204030203" pitchFamily="34" charset="0"/>
                <a:cs typeface="Lato Light" panose="020F0502020204030203" pitchFamily="34" charset="0"/>
              </a:defRPr>
            </a:lvl4pPr>
            <a:lvl5pPr marL="1828800" indent="0">
              <a:lnSpc>
                <a:spcPts val="2000"/>
              </a:lnSpc>
              <a:spcBef>
                <a:spcPts val="0"/>
              </a:spcBef>
              <a:buNone/>
              <a:defRPr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endParaRPr lang="en-GB"/>
          </a:p>
          <a:p>
            <a:pPr lvl="4"/>
            <a:endParaRPr lang="en-US"/>
          </a:p>
        </p:txBody>
      </p: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1681884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slide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E7C6A5D-4814-1E4B-AD89-AF4A52DEE017}"/>
              </a:ext>
            </a:extLst>
          </p:cNvPr>
          <p:cNvSpPr>
            <a:spLocks noGrp="1"/>
          </p:cNvSpPr>
          <p:nvPr>
            <p:ph type="ctrTitle" hasCustomPrompt="1"/>
          </p:nvPr>
        </p:nvSpPr>
        <p:spPr>
          <a:xfrm>
            <a:off x="967191" y="1039798"/>
            <a:ext cx="10700495" cy="646043"/>
          </a:xfrm>
          <a:prstGeom prst="rect">
            <a:avLst/>
          </a:prstGeom>
        </p:spPr>
        <p:txBody>
          <a:bodyPr lIns="0" tIns="0" rIns="0" bIns="0" anchor="t" anchorCtr="0">
            <a:noAutofit/>
          </a:bodyPr>
          <a:lstStyle>
            <a:lvl1pPr algn="l">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cxnSp>
        <p:nvCxnSpPr>
          <p:cNvPr id="8" name="Straight Connector 7">
            <a:extLst>
              <a:ext uri="{FF2B5EF4-FFF2-40B4-BE49-F238E27FC236}">
                <a16:creationId xmlns:a16="http://schemas.microsoft.com/office/drawing/2014/main" id="{9FCABFBA-E4EB-7046-BE27-47C0DA3D3CF5}"/>
              </a:ext>
            </a:extLst>
          </p:cNvPr>
          <p:cNvCxnSpPr>
            <a:cxnSpLocks/>
          </p:cNvCxnSpPr>
          <p:nvPr userDrawn="1"/>
        </p:nvCxnSpPr>
        <p:spPr>
          <a:xfrm>
            <a:off x="953153" y="1737047"/>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BFD389E4-B31D-9D4E-A271-D5A8ADEB4B4A}"/>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
        <p:nvSpPr>
          <p:cNvPr id="20" name="Chart Placeholder 19">
            <a:extLst>
              <a:ext uri="{FF2B5EF4-FFF2-40B4-BE49-F238E27FC236}">
                <a16:creationId xmlns:a16="http://schemas.microsoft.com/office/drawing/2014/main" id="{9B8F74DA-47C0-AF4D-A1FD-74DF017C7807}"/>
              </a:ext>
            </a:extLst>
          </p:cNvPr>
          <p:cNvSpPr>
            <a:spLocks noGrp="1"/>
          </p:cNvSpPr>
          <p:nvPr>
            <p:ph type="chart" sz="quarter" idx="19"/>
          </p:nvPr>
        </p:nvSpPr>
        <p:spPr>
          <a:xfrm>
            <a:off x="967192" y="1962150"/>
            <a:ext cx="10700494" cy="4019550"/>
          </a:xfrm>
          <a:prstGeom prst="rect">
            <a:avLst/>
          </a:prstGeom>
        </p:spPr>
        <p:txBody>
          <a:bodyPr/>
          <a:lstStyle/>
          <a:p>
            <a:endParaRPr lang="en-GB"/>
          </a:p>
        </p:txBody>
      </p:sp>
    </p:spTree>
    <p:extLst>
      <p:ext uri="{BB962C8B-B14F-4D97-AF65-F5344CB8AC3E}">
        <p14:creationId xmlns:p14="http://schemas.microsoft.com/office/powerpoint/2010/main" val="36990031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ront Cover Opt 2b GRADI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DEF0934-B0C9-D376-6B59-A8B4C08B1800}"/>
              </a:ext>
            </a:extLst>
          </p:cNvPr>
          <p:cNvSpPr>
            <a:spLocks noGrp="1"/>
          </p:cNvSpPr>
          <p:nvPr>
            <p:ph type="title" hasCustomPrompt="1"/>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14" name="Text Placeholder 13">
            <a:extLst>
              <a:ext uri="{FF2B5EF4-FFF2-40B4-BE49-F238E27FC236}">
                <a16:creationId xmlns:a16="http://schemas.microsoft.com/office/drawing/2014/main" id="{2A273BA3-A415-DAF1-5CF7-821E410DBB3F}"/>
              </a:ext>
            </a:extLst>
          </p:cNvPr>
          <p:cNvSpPr>
            <a:spLocks noGrp="1"/>
          </p:cNvSpPr>
          <p:nvPr>
            <p:ph type="body" sz="quarter" idx="22" hasCustomPrompt="1"/>
          </p:nvPr>
        </p:nvSpPr>
        <p:spPr>
          <a:xfrm>
            <a:off x="5580063" y="4140000"/>
            <a:ext cx="6120000" cy="504000"/>
          </a:xfrm>
        </p:spPr>
        <p:txBody>
          <a:bodyPr/>
          <a:lstStyle/>
          <a:p>
            <a:pPr lvl="0"/>
            <a:r>
              <a:rPr lang="en-US"/>
              <a:t>Click to edit text</a:t>
            </a:r>
          </a:p>
        </p:txBody>
      </p:sp>
      <p:sp>
        <p:nvSpPr>
          <p:cNvPr id="10" name="Picture Placeholder 26">
            <a:extLst>
              <a:ext uri="{FF2B5EF4-FFF2-40B4-BE49-F238E27FC236}">
                <a16:creationId xmlns:a16="http://schemas.microsoft.com/office/drawing/2014/main" id="{59CC49C2-6706-70B9-10D6-89ABD020D6A4}"/>
              </a:ext>
            </a:extLst>
          </p:cNvPr>
          <p:cNvSpPr>
            <a:spLocks noGrp="1"/>
          </p:cNvSpPr>
          <p:nvPr>
            <p:ph type="pic" sz="quarter" idx="30"/>
          </p:nvPr>
        </p:nvSpPr>
        <p:spPr>
          <a:xfrm rot="21442413">
            <a:off x="939240" y="1966146"/>
            <a:ext cx="2180364" cy="17943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37 w 2013698"/>
              <a:gd name="connsiteY0" fmla="*/ 74480 h 1873165"/>
              <a:gd name="connsiteX1" fmla="*/ 1996598 w 2013698"/>
              <a:gd name="connsiteY1" fmla="*/ 208 h 1873165"/>
              <a:gd name="connsiteX2" fmla="*/ 2013698 w 2013698"/>
              <a:gd name="connsiteY2" fmla="*/ 1873165 h 1873165"/>
              <a:gd name="connsiteX3" fmla="*/ 77393 w 2013698"/>
              <a:gd name="connsiteY3" fmla="*/ 1855682 h 1873165"/>
              <a:gd name="connsiteX4" fmla="*/ 137 w 2013698"/>
              <a:gd name="connsiteY4" fmla="*/ 74480 h 1873165"/>
              <a:gd name="connsiteX0" fmla="*/ 137 w 2013698"/>
              <a:gd name="connsiteY0" fmla="*/ 159510 h 1958195"/>
              <a:gd name="connsiteX1" fmla="*/ 1893003 w 2013698"/>
              <a:gd name="connsiteY1" fmla="*/ 104 h 1958195"/>
              <a:gd name="connsiteX2" fmla="*/ 2013698 w 2013698"/>
              <a:gd name="connsiteY2" fmla="*/ 1958195 h 1958195"/>
              <a:gd name="connsiteX3" fmla="*/ 77393 w 2013698"/>
              <a:gd name="connsiteY3" fmla="*/ 1940712 h 1958195"/>
              <a:gd name="connsiteX4" fmla="*/ 137 w 2013698"/>
              <a:gd name="connsiteY4" fmla="*/ 159510 h 1958195"/>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1909053"/>
              <a:gd name="connsiteY0" fmla="*/ 159406 h 1994235"/>
              <a:gd name="connsiteX1" fmla="*/ 1892866 w 1909053"/>
              <a:gd name="connsiteY1" fmla="*/ 0 h 1994235"/>
              <a:gd name="connsiteX2" fmla="*/ 1862308 w 1909053"/>
              <a:gd name="connsiteY2" fmla="*/ 1838564 h 1994235"/>
              <a:gd name="connsiteX3" fmla="*/ 137534 w 1909053"/>
              <a:gd name="connsiteY3" fmla="*/ 1994235 h 1994235"/>
              <a:gd name="connsiteX4" fmla="*/ 0 w 1909053"/>
              <a:gd name="connsiteY4" fmla="*/ 159406 h 1994235"/>
              <a:gd name="connsiteX0" fmla="*/ 0 w 1914172"/>
              <a:gd name="connsiteY0" fmla="*/ 159406 h 1994235"/>
              <a:gd name="connsiteX1" fmla="*/ 1892866 w 1914172"/>
              <a:gd name="connsiteY1" fmla="*/ 0 h 1994235"/>
              <a:gd name="connsiteX2" fmla="*/ 1891296 w 1914172"/>
              <a:gd name="connsiteY2" fmla="*/ 1837497 h 1994235"/>
              <a:gd name="connsiteX3" fmla="*/ 137534 w 1914172"/>
              <a:gd name="connsiteY3" fmla="*/ 1994235 h 1994235"/>
              <a:gd name="connsiteX4" fmla="*/ 0 w 1914172"/>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640" h="1994235">
                <a:moveTo>
                  <a:pt x="0" y="159406"/>
                </a:moveTo>
                <a:cubicBezTo>
                  <a:pt x="711924" y="104508"/>
                  <a:pt x="1256181" y="66953"/>
                  <a:pt x="1892866" y="0"/>
                </a:cubicBezTo>
                <a:cubicBezTo>
                  <a:pt x="1929401" y="535703"/>
                  <a:pt x="1979577" y="1067518"/>
                  <a:pt x="2036640" y="1821585"/>
                </a:cubicBezTo>
                <a:lnTo>
                  <a:pt x="137534" y="1994235"/>
                </a:lnTo>
                <a:cubicBezTo>
                  <a:pt x="84182" y="1353742"/>
                  <a:pt x="42653" y="788718"/>
                  <a:pt x="0" y="159406"/>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9" name="Picture Placeholder 26">
            <a:extLst>
              <a:ext uri="{FF2B5EF4-FFF2-40B4-BE49-F238E27FC236}">
                <a16:creationId xmlns:a16="http://schemas.microsoft.com/office/drawing/2014/main" id="{F95D0315-89B5-0A92-5B11-59D5CBA1BE70}"/>
              </a:ext>
            </a:extLst>
          </p:cNvPr>
          <p:cNvSpPr>
            <a:spLocks noGrp="1"/>
          </p:cNvSpPr>
          <p:nvPr>
            <p:ph type="pic" sz="quarter" idx="31"/>
          </p:nvPr>
        </p:nvSpPr>
        <p:spPr>
          <a:xfrm>
            <a:off x="406007" y="236497"/>
            <a:ext cx="1967986" cy="193057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 name="connsiteX0" fmla="*/ 494263 w 2262566"/>
              <a:gd name="connsiteY0" fmla="*/ 0 h 2456018"/>
              <a:gd name="connsiteX1" fmla="*/ 2262566 w 2262566"/>
              <a:gd name="connsiteY1" fmla="*/ 563358 h 2456018"/>
              <a:gd name="connsiteX2" fmla="*/ 1772632 w 2262566"/>
              <a:gd name="connsiteY2" fmla="*/ 2456018 h 2456018"/>
              <a:gd name="connsiteX3" fmla="*/ 0 w 2262566"/>
              <a:gd name="connsiteY3" fmla="*/ 1886735 h 2456018"/>
              <a:gd name="connsiteX4" fmla="*/ 494263 w 2262566"/>
              <a:gd name="connsiteY4" fmla="*/ 0 h 2456018"/>
              <a:gd name="connsiteX0" fmla="*/ 494263 w 2262566"/>
              <a:gd name="connsiteY0" fmla="*/ 0 h 2437975"/>
              <a:gd name="connsiteX1" fmla="*/ 2262566 w 2262566"/>
              <a:gd name="connsiteY1" fmla="*/ 563358 h 2437975"/>
              <a:gd name="connsiteX2" fmla="*/ 1772632 w 2262566"/>
              <a:gd name="connsiteY2" fmla="*/ 2437975 h 2437975"/>
              <a:gd name="connsiteX3" fmla="*/ 0 w 2262566"/>
              <a:gd name="connsiteY3" fmla="*/ 1886735 h 2437975"/>
              <a:gd name="connsiteX4" fmla="*/ 494263 w 2262566"/>
              <a:gd name="connsiteY4" fmla="*/ 0 h 243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566" h="2437975">
                <a:moveTo>
                  <a:pt x="494263" y="0"/>
                </a:moveTo>
                <a:lnTo>
                  <a:pt x="2262566" y="563358"/>
                </a:lnTo>
                <a:cubicBezTo>
                  <a:pt x="2091844" y="1233567"/>
                  <a:pt x="1965255" y="1731679"/>
                  <a:pt x="1772632" y="2437975"/>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0" name="Picture Placeholder 26">
            <a:extLst>
              <a:ext uri="{FF2B5EF4-FFF2-40B4-BE49-F238E27FC236}">
                <a16:creationId xmlns:a16="http://schemas.microsoft.com/office/drawing/2014/main" id="{9834AEE4-7816-E1B9-30C5-3295AED3AC50}"/>
              </a:ext>
            </a:extLst>
          </p:cNvPr>
          <p:cNvSpPr>
            <a:spLocks noGrp="1"/>
          </p:cNvSpPr>
          <p:nvPr>
            <p:ph type="pic" sz="quarter" idx="32"/>
          </p:nvPr>
        </p:nvSpPr>
        <p:spPr>
          <a:xfrm>
            <a:off x="974752" y="1670817"/>
            <a:ext cx="4350913" cy="397249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192802 w 4392336"/>
              <a:gd name="connsiteY0" fmla="*/ 3224763 h 3224763"/>
              <a:gd name="connsiteX1" fmla="*/ 0 w 4392336"/>
              <a:gd name="connsiteY1" fmla="*/ 2614 h 3224763"/>
              <a:gd name="connsiteX2" fmla="*/ 4392336 w 4392336"/>
              <a:gd name="connsiteY2" fmla="*/ 81304 h 3224763"/>
              <a:gd name="connsiteX3" fmla="*/ 4025810 w 4392336"/>
              <a:gd name="connsiteY3" fmla="*/ 3155802 h 3224763"/>
              <a:gd name="connsiteX4" fmla="*/ 192802 w 4392336"/>
              <a:gd name="connsiteY4" fmla="*/ 3224763 h 3224763"/>
              <a:gd name="connsiteX0" fmla="*/ 192802 w 6810448"/>
              <a:gd name="connsiteY0" fmla="*/ 3920193 h 3920193"/>
              <a:gd name="connsiteX1" fmla="*/ 0 w 6810448"/>
              <a:gd name="connsiteY1" fmla="*/ 698044 h 3920193"/>
              <a:gd name="connsiteX2" fmla="*/ 4392336 w 6810448"/>
              <a:gd name="connsiteY2" fmla="*/ 776734 h 3920193"/>
              <a:gd name="connsiteX3" fmla="*/ 6810448 w 6810448"/>
              <a:gd name="connsiteY3" fmla="*/ 1713299 h 3920193"/>
              <a:gd name="connsiteX4" fmla="*/ 192802 w 6810448"/>
              <a:gd name="connsiteY4" fmla="*/ 3920193 h 3920193"/>
              <a:gd name="connsiteX0" fmla="*/ 192802 w 6810448"/>
              <a:gd name="connsiteY0" fmla="*/ 3224763 h 3224763"/>
              <a:gd name="connsiteX1" fmla="*/ 0 w 6810448"/>
              <a:gd name="connsiteY1" fmla="*/ 2614 h 3224763"/>
              <a:gd name="connsiteX2" fmla="*/ 4392336 w 6810448"/>
              <a:gd name="connsiteY2" fmla="*/ 81304 h 3224763"/>
              <a:gd name="connsiteX3" fmla="*/ 6810448 w 6810448"/>
              <a:gd name="connsiteY3" fmla="*/ 1017869 h 3224763"/>
              <a:gd name="connsiteX4" fmla="*/ 192802 w 6810448"/>
              <a:gd name="connsiteY4" fmla="*/ 3224763 h 3224763"/>
              <a:gd name="connsiteX0" fmla="*/ 3028690 w 9646336"/>
              <a:gd name="connsiteY0" fmla="*/ 3143459 h 3143459"/>
              <a:gd name="connsiteX1" fmla="*/ 0 w 9646336"/>
              <a:gd name="connsiteY1" fmla="*/ 2013142 h 3143459"/>
              <a:gd name="connsiteX2" fmla="*/ 7228224 w 9646336"/>
              <a:gd name="connsiteY2" fmla="*/ 0 h 3143459"/>
              <a:gd name="connsiteX3" fmla="*/ 9646336 w 9646336"/>
              <a:gd name="connsiteY3" fmla="*/ 936565 h 3143459"/>
              <a:gd name="connsiteX4" fmla="*/ 3028690 w 9646336"/>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783005"/>
              <a:gd name="connsiteY0" fmla="*/ 3143459 h 3143459"/>
              <a:gd name="connsiteX1" fmla="*/ 0 w 9783005"/>
              <a:gd name="connsiteY1" fmla="*/ 2047718 h 3143459"/>
              <a:gd name="connsiteX2" fmla="*/ 7279475 w 9783005"/>
              <a:gd name="connsiteY2" fmla="*/ 0 h 3143459"/>
              <a:gd name="connsiteX3" fmla="*/ 9783005 w 9783005"/>
              <a:gd name="connsiteY3" fmla="*/ 948091 h 3143459"/>
              <a:gd name="connsiteX4" fmla="*/ 3079941 w 9783005"/>
              <a:gd name="connsiteY4" fmla="*/ 3143459 h 3143459"/>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90123"/>
              <a:gd name="connsiteY0" fmla="*/ 2984987 h 2984987"/>
              <a:gd name="connsiteX1" fmla="*/ 0 w 9790123"/>
              <a:gd name="connsiteY1" fmla="*/ 2004498 h 2984987"/>
              <a:gd name="connsiteX2" fmla="*/ 7300829 w 9790123"/>
              <a:gd name="connsiteY2" fmla="*/ 0 h 2984987"/>
              <a:gd name="connsiteX3" fmla="*/ 9790123 w 9790123"/>
              <a:gd name="connsiteY3" fmla="*/ 950492 h 2984987"/>
              <a:gd name="connsiteX4" fmla="*/ 2413677 w 9790123"/>
              <a:gd name="connsiteY4" fmla="*/ 2984987 h 2984987"/>
              <a:gd name="connsiteX0" fmla="*/ 2534687 w 9790123"/>
              <a:gd name="connsiteY0" fmla="*/ 2996992 h 2996992"/>
              <a:gd name="connsiteX1" fmla="*/ 0 w 9790123"/>
              <a:gd name="connsiteY1" fmla="*/ 2004498 h 2996992"/>
              <a:gd name="connsiteX2" fmla="*/ 7300829 w 9790123"/>
              <a:gd name="connsiteY2" fmla="*/ 0 h 2996992"/>
              <a:gd name="connsiteX3" fmla="*/ 9790123 w 9790123"/>
              <a:gd name="connsiteY3" fmla="*/ 950492 h 2996992"/>
              <a:gd name="connsiteX4" fmla="*/ 2534687 w 9790123"/>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36086 h 2996992"/>
              <a:gd name="connsiteX4" fmla="*/ 2499096 w 9754532"/>
              <a:gd name="connsiteY4" fmla="*/ 2996992 h 2996992"/>
              <a:gd name="connsiteX0" fmla="*/ 2499096 w 9754532"/>
              <a:gd name="connsiteY0" fmla="*/ 3004195 h 3004195"/>
              <a:gd name="connsiteX1" fmla="*/ 0 w 9754532"/>
              <a:gd name="connsiteY1" fmla="*/ 2040515 h 3004195"/>
              <a:gd name="connsiteX2" fmla="*/ 7243884 w 9754532"/>
              <a:gd name="connsiteY2" fmla="*/ 0 h 3004195"/>
              <a:gd name="connsiteX3" fmla="*/ 9754532 w 9754532"/>
              <a:gd name="connsiteY3" fmla="*/ 943289 h 3004195"/>
              <a:gd name="connsiteX4" fmla="*/ 2499096 w 9754532"/>
              <a:gd name="connsiteY4" fmla="*/ 3004195 h 3004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32" h="3004195">
                <a:moveTo>
                  <a:pt x="2499096" y="3004195"/>
                </a:moveTo>
                <a:cubicBezTo>
                  <a:pt x="1586600" y="2649543"/>
                  <a:pt x="1079349" y="2478994"/>
                  <a:pt x="0" y="2040515"/>
                </a:cubicBezTo>
                <a:lnTo>
                  <a:pt x="7243884" y="0"/>
                </a:lnTo>
                <a:lnTo>
                  <a:pt x="9754532" y="943289"/>
                </a:lnTo>
                <a:lnTo>
                  <a:pt x="2499096" y="3004195"/>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1" name="Picture Placeholder 26">
            <a:extLst>
              <a:ext uri="{FF2B5EF4-FFF2-40B4-BE49-F238E27FC236}">
                <a16:creationId xmlns:a16="http://schemas.microsoft.com/office/drawing/2014/main" id="{C3190785-1FD5-2563-59CA-CF2F437986E0}"/>
              </a:ext>
            </a:extLst>
          </p:cNvPr>
          <p:cNvSpPr>
            <a:spLocks noGrp="1"/>
          </p:cNvSpPr>
          <p:nvPr>
            <p:ph type="pic" sz="quarter" idx="33"/>
          </p:nvPr>
        </p:nvSpPr>
        <p:spPr>
          <a:xfrm>
            <a:off x="1732938" y="748244"/>
            <a:ext cx="2112357" cy="2029221"/>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97105"/>
              <a:gd name="connsiteY0" fmla="*/ 69056 h 1861001"/>
              <a:gd name="connsiteX1" fmla="*/ 1974172 w 1997105"/>
              <a:gd name="connsiteY1" fmla="*/ 492 h 1861001"/>
              <a:gd name="connsiteX2" fmla="*/ 1997105 w 1997105"/>
              <a:gd name="connsiteY2" fmla="*/ 1861001 h 1861001"/>
              <a:gd name="connsiteX3" fmla="*/ 104052 w 1997105"/>
              <a:gd name="connsiteY3" fmla="*/ 1845881 h 1861001"/>
              <a:gd name="connsiteX4" fmla="*/ 0 w 1997105"/>
              <a:gd name="connsiteY4" fmla="*/ 69056 h 1861001"/>
              <a:gd name="connsiteX0" fmla="*/ 0 w 1997105"/>
              <a:gd name="connsiteY0" fmla="*/ 198303 h 1990248"/>
              <a:gd name="connsiteX1" fmla="*/ 1859872 w 1997105"/>
              <a:gd name="connsiteY1" fmla="*/ 199 h 1990248"/>
              <a:gd name="connsiteX2" fmla="*/ 1997105 w 1997105"/>
              <a:gd name="connsiteY2" fmla="*/ 1990248 h 1990248"/>
              <a:gd name="connsiteX3" fmla="*/ 104052 w 1997105"/>
              <a:gd name="connsiteY3" fmla="*/ 1975128 h 1990248"/>
              <a:gd name="connsiteX4" fmla="*/ 0 w 1997105"/>
              <a:gd name="connsiteY4" fmla="*/ 198303 h 1990248"/>
              <a:gd name="connsiteX0" fmla="*/ 0 w 1997105"/>
              <a:gd name="connsiteY0" fmla="*/ 198104 h 1990049"/>
              <a:gd name="connsiteX1" fmla="*/ 1859872 w 1997105"/>
              <a:gd name="connsiteY1" fmla="*/ 0 h 1990049"/>
              <a:gd name="connsiteX2" fmla="*/ 1997105 w 1997105"/>
              <a:gd name="connsiteY2" fmla="*/ 1990049 h 1990049"/>
              <a:gd name="connsiteX3" fmla="*/ 104052 w 1997105"/>
              <a:gd name="connsiteY3" fmla="*/ 1974929 h 1990049"/>
              <a:gd name="connsiteX4" fmla="*/ 0 w 1997105"/>
              <a:gd name="connsiteY4" fmla="*/ 198104 h 1990049"/>
              <a:gd name="connsiteX0" fmla="*/ 0 w 2126645"/>
              <a:gd name="connsiteY0" fmla="*/ 198104 h 1974929"/>
              <a:gd name="connsiteX1" fmla="*/ 1859872 w 2126645"/>
              <a:gd name="connsiteY1" fmla="*/ 0 h 1974929"/>
              <a:gd name="connsiteX2" fmla="*/ 2126645 w 2126645"/>
              <a:gd name="connsiteY2" fmla="*/ 1791929 h 1974929"/>
              <a:gd name="connsiteX3" fmla="*/ 104052 w 2126645"/>
              <a:gd name="connsiteY3" fmla="*/ 1974929 h 1974929"/>
              <a:gd name="connsiteX4" fmla="*/ 0 w 2126645"/>
              <a:gd name="connsiteY4" fmla="*/ 198104 h 197492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38746"/>
              <a:gd name="connsiteX1" fmla="*/ 1838441 w 2112357"/>
              <a:gd name="connsiteY1" fmla="*/ 0 h 2038746"/>
              <a:gd name="connsiteX2" fmla="*/ 2112357 w 2112357"/>
              <a:gd name="connsiteY2" fmla="*/ 1801454 h 2038746"/>
              <a:gd name="connsiteX3" fmla="*/ 251689 w 2112357"/>
              <a:gd name="connsiteY3" fmla="*/ 2038746 h 2038746"/>
              <a:gd name="connsiteX4" fmla="*/ 0 w 2112357"/>
              <a:gd name="connsiteY4" fmla="*/ 207629 h 2038746"/>
              <a:gd name="connsiteX0" fmla="*/ 0 w 2112357"/>
              <a:gd name="connsiteY0" fmla="*/ 207629 h 2029221"/>
              <a:gd name="connsiteX1" fmla="*/ 1838441 w 2112357"/>
              <a:gd name="connsiteY1" fmla="*/ 0 h 2029221"/>
              <a:gd name="connsiteX2" fmla="*/ 2112357 w 2112357"/>
              <a:gd name="connsiteY2" fmla="*/ 1801454 h 2029221"/>
              <a:gd name="connsiteX3" fmla="*/ 265977 w 2112357"/>
              <a:gd name="connsiteY3" fmla="*/ 2029221 h 2029221"/>
              <a:gd name="connsiteX4" fmla="*/ 0 w 2112357"/>
              <a:gd name="connsiteY4" fmla="*/ 207629 h 2029221"/>
              <a:gd name="connsiteX0" fmla="*/ 0 w 2112357"/>
              <a:gd name="connsiteY0" fmla="*/ 207629 h 2029221"/>
              <a:gd name="connsiteX1" fmla="*/ 1838441 w 2112357"/>
              <a:gd name="connsiteY1" fmla="*/ 0 h 2029221"/>
              <a:gd name="connsiteX2" fmla="*/ 2112357 w 2112357"/>
              <a:gd name="connsiteY2" fmla="*/ 1801454 h 2029221"/>
              <a:gd name="connsiteX3" fmla="*/ 265977 w 2112357"/>
              <a:gd name="connsiteY3" fmla="*/ 2029221 h 2029221"/>
              <a:gd name="connsiteX4" fmla="*/ 0 w 2112357"/>
              <a:gd name="connsiteY4" fmla="*/ 207629 h 2029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2357" h="2029221">
                <a:moveTo>
                  <a:pt x="0" y="207629"/>
                </a:moveTo>
                <a:cubicBezTo>
                  <a:pt x="793153" y="115718"/>
                  <a:pt x="55640" y="201925"/>
                  <a:pt x="1838441" y="0"/>
                </a:cubicBezTo>
                <a:cubicBezTo>
                  <a:pt x="1926751" y="616082"/>
                  <a:pt x="2024047" y="1192992"/>
                  <a:pt x="2112357" y="1801454"/>
                </a:cubicBezTo>
                <a:lnTo>
                  <a:pt x="265977" y="2029221"/>
                </a:lnTo>
                <a:cubicBezTo>
                  <a:pt x="185256" y="1414086"/>
                  <a:pt x="75959" y="827526"/>
                  <a:pt x="0" y="207629"/>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2" name="Picture Placeholder 26">
            <a:extLst>
              <a:ext uri="{FF2B5EF4-FFF2-40B4-BE49-F238E27FC236}">
                <a16:creationId xmlns:a16="http://schemas.microsoft.com/office/drawing/2014/main" id="{93DCA072-2AB2-BC5F-0908-F164DC55E83A}"/>
              </a:ext>
            </a:extLst>
          </p:cNvPr>
          <p:cNvSpPr>
            <a:spLocks noGrp="1"/>
          </p:cNvSpPr>
          <p:nvPr>
            <p:ph type="pic" sz="quarter" idx="34"/>
          </p:nvPr>
        </p:nvSpPr>
        <p:spPr>
          <a:xfrm rot="165514">
            <a:off x="2439811" y="3308447"/>
            <a:ext cx="3097915" cy="301879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445830 h 1445830"/>
              <a:gd name="connsiteX1" fmla="*/ 0 w 6259590"/>
              <a:gd name="connsiteY1" fmla="*/ 137607 h 1445830"/>
              <a:gd name="connsiteX2" fmla="*/ 5795709 w 6259590"/>
              <a:gd name="connsiteY2" fmla="*/ 0 h 1445830"/>
              <a:gd name="connsiteX3" fmla="*/ 6259591 w 6259590"/>
              <a:gd name="connsiteY3" fmla="*/ 1256561 h 1445830"/>
              <a:gd name="connsiteX4" fmla="*/ 280921 w 6259590"/>
              <a:gd name="connsiteY4" fmla="*/ 1445830 h 1445830"/>
              <a:gd name="connsiteX0" fmla="*/ 280921 w 6259590"/>
              <a:gd name="connsiteY0" fmla="*/ 1308223 h 1308223"/>
              <a:gd name="connsiteX1" fmla="*/ 0 w 6259590"/>
              <a:gd name="connsiteY1" fmla="*/ 0 h 1308223"/>
              <a:gd name="connsiteX2" fmla="*/ 5848815 w 6259590"/>
              <a:gd name="connsiteY2" fmla="*/ 34609 h 1308223"/>
              <a:gd name="connsiteX3" fmla="*/ 6259591 w 6259590"/>
              <a:gd name="connsiteY3" fmla="*/ 1118954 h 1308223"/>
              <a:gd name="connsiteX4" fmla="*/ 280921 w 6259590"/>
              <a:gd name="connsiteY4" fmla="*/ 1308223 h 1308223"/>
              <a:gd name="connsiteX0" fmla="*/ 280921 w 6259590"/>
              <a:gd name="connsiteY0" fmla="*/ 1409625 h 1409625"/>
              <a:gd name="connsiteX1" fmla="*/ 0 w 6259590"/>
              <a:gd name="connsiteY1" fmla="*/ 101402 h 1409625"/>
              <a:gd name="connsiteX2" fmla="*/ 5786627 w 6259590"/>
              <a:gd name="connsiteY2" fmla="*/ 0 h 1409625"/>
              <a:gd name="connsiteX3" fmla="*/ 6259591 w 6259590"/>
              <a:gd name="connsiteY3" fmla="*/ 1220356 h 1409625"/>
              <a:gd name="connsiteX4" fmla="*/ 280921 w 6259590"/>
              <a:gd name="connsiteY4" fmla="*/ 1409625 h 1409625"/>
              <a:gd name="connsiteX0" fmla="*/ 280921 w 6259590"/>
              <a:gd name="connsiteY0" fmla="*/ 1308223 h 1308223"/>
              <a:gd name="connsiteX1" fmla="*/ 0 w 6259590"/>
              <a:gd name="connsiteY1" fmla="*/ 0 h 1308223"/>
              <a:gd name="connsiteX2" fmla="*/ 5851640 w 6259590"/>
              <a:gd name="connsiteY2" fmla="*/ 104274 h 1308223"/>
              <a:gd name="connsiteX3" fmla="*/ 6259591 w 6259590"/>
              <a:gd name="connsiteY3" fmla="*/ 1118954 h 1308223"/>
              <a:gd name="connsiteX4" fmla="*/ 280921 w 6259590"/>
              <a:gd name="connsiteY4" fmla="*/ 1308223 h 1308223"/>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622397 w 6601066"/>
              <a:gd name="connsiteY0" fmla="*/ 1516769 h 1516769"/>
              <a:gd name="connsiteX1" fmla="*/ -1 w 6601066"/>
              <a:gd name="connsiteY1" fmla="*/ 549437 h 1516769"/>
              <a:gd name="connsiteX2" fmla="*/ 6212569 w 6601066"/>
              <a:gd name="connsiteY2" fmla="*/ 0 h 1516769"/>
              <a:gd name="connsiteX3" fmla="*/ 6601067 w 6601066"/>
              <a:gd name="connsiteY3" fmla="*/ 1327500 h 1516769"/>
              <a:gd name="connsiteX4" fmla="*/ 622397 w 6601066"/>
              <a:gd name="connsiteY4" fmla="*/ 1516769 h 1516769"/>
              <a:gd name="connsiteX0" fmla="*/ 622397 w 6601066"/>
              <a:gd name="connsiteY0" fmla="*/ 1883049 h 1883049"/>
              <a:gd name="connsiteX1" fmla="*/ -1 w 6601066"/>
              <a:gd name="connsiteY1" fmla="*/ 915717 h 1883049"/>
              <a:gd name="connsiteX2" fmla="*/ 2680760 w 6601066"/>
              <a:gd name="connsiteY2" fmla="*/ 0 h 1883049"/>
              <a:gd name="connsiteX3" fmla="*/ 6601067 w 6601066"/>
              <a:gd name="connsiteY3" fmla="*/ 1693780 h 1883049"/>
              <a:gd name="connsiteX4" fmla="*/ 622397 w 6601066"/>
              <a:gd name="connsiteY4" fmla="*/ 1883049 h 1883049"/>
              <a:gd name="connsiteX0" fmla="*/ 622397 w 6945374"/>
              <a:gd name="connsiteY0" fmla="*/ 1883049 h 1883049"/>
              <a:gd name="connsiteX1" fmla="*/ -1 w 6945374"/>
              <a:gd name="connsiteY1" fmla="*/ 915717 h 1883049"/>
              <a:gd name="connsiteX2" fmla="*/ 2680760 w 6945374"/>
              <a:gd name="connsiteY2" fmla="*/ 0 h 1883049"/>
              <a:gd name="connsiteX3" fmla="*/ 6945374 w 6945374"/>
              <a:gd name="connsiteY3" fmla="*/ 1372674 h 1883049"/>
              <a:gd name="connsiteX4" fmla="*/ 622397 w 6945374"/>
              <a:gd name="connsiteY4" fmla="*/ 1883049 h 1883049"/>
              <a:gd name="connsiteX0" fmla="*/ 4362625 w 6945374"/>
              <a:gd name="connsiteY0" fmla="*/ 2211687 h 2211687"/>
              <a:gd name="connsiteX1" fmla="*/ -1 w 6945374"/>
              <a:gd name="connsiteY1" fmla="*/ 915717 h 2211687"/>
              <a:gd name="connsiteX2" fmla="*/ 2680760 w 6945374"/>
              <a:gd name="connsiteY2" fmla="*/ 0 h 2211687"/>
              <a:gd name="connsiteX3" fmla="*/ 6945374 w 6945374"/>
              <a:gd name="connsiteY3" fmla="*/ 1372674 h 2211687"/>
              <a:gd name="connsiteX4" fmla="*/ 4362625 w 6945374"/>
              <a:gd name="connsiteY4" fmla="*/ 2211687 h 2211687"/>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5374" h="2282964">
                <a:moveTo>
                  <a:pt x="4303322" y="2282964"/>
                </a:moveTo>
                <a:cubicBezTo>
                  <a:pt x="3324334" y="1987275"/>
                  <a:pt x="1518989" y="1405351"/>
                  <a:pt x="-1" y="915717"/>
                </a:cubicBezTo>
                <a:lnTo>
                  <a:pt x="2680760" y="0"/>
                </a:lnTo>
                <a:cubicBezTo>
                  <a:pt x="4946882" y="743094"/>
                  <a:pt x="5823429" y="1048137"/>
                  <a:pt x="6945374" y="1372674"/>
                </a:cubicBezTo>
                <a:lnTo>
                  <a:pt x="4303322" y="2282964"/>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3" name="Picture Placeholder 26">
            <a:extLst>
              <a:ext uri="{FF2B5EF4-FFF2-40B4-BE49-F238E27FC236}">
                <a16:creationId xmlns:a16="http://schemas.microsoft.com/office/drawing/2014/main" id="{120268D0-661B-0C9E-1561-09304624C1D6}"/>
              </a:ext>
            </a:extLst>
          </p:cNvPr>
          <p:cNvSpPr>
            <a:spLocks noGrp="1"/>
          </p:cNvSpPr>
          <p:nvPr>
            <p:ph type="pic" sz="quarter" idx="35"/>
          </p:nvPr>
        </p:nvSpPr>
        <p:spPr>
          <a:xfrm rot="21434994">
            <a:off x="2953" y="2442101"/>
            <a:ext cx="1616195" cy="120721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955 h 1911824"/>
              <a:gd name="connsiteX1" fmla="*/ 1884273 w 1900139"/>
              <a:gd name="connsiteY1" fmla="*/ 672 h 1911824"/>
              <a:gd name="connsiteX2" fmla="*/ 1900139 w 1900139"/>
              <a:gd name="connsiteY2" fmla="*/ 1911824 h 1911824"/>
              <a:gd name="connsiteX3" fmla="*/ 62532 w 1900139"/>
              <a:gd name="connsiteY3" fmla="*/ 1875274 h 1911824"/>
              <a:gd name="connsiteX4" fmla="*/ 185 w 1900139"/>
              <a:gd name="connsiteY4" fmla="*/ 123955 h 1911824"/>
              <a:gd name="connsiteX0" fmla="*/ 185 w 1900139"/>
              <a:gd name="connsiteY0" fmla="*/ 168483 h 1956352"/>
              <a:gd name="connsiteX1" fmla="*/ 1785578 w 1900139"/>
              <a:gd name="connsiteY1" fmla="*/ 445 h 1956352"/>
              <a:gd name="connsiteX2" fmla="*/ 1900139 w 1900139"/>
              <a:gd name="connsiteY2" fmla="*/ 1956352 h 1956352"/>
              <a:gd name="connsiteX3" fmla="*/ 62532 w 1900139"/>
              <a:gd name="connsiteY3" fmla="*/ 1919802 h 1956352"/>
              <a:gd name="connsiteX4" fmla="*/ 185 w 1900139"/>
              <a:gd name="connsiteY4" fmla="*/ 168483 h 1956352"/>
              <a:gd name="connsiteX0" fmla="*/ 185 w 1900139"/>
              <a:gd name="connsiteY0" fmla="*/ 168038 h 1955907"/>
              <a:gd name="connsiteX1" fmla="*/ 1785578 w 1900139"/>
              <a:gd name="connsiteY1" fmla="*/ 0 h 1955907"/>
              <a:gd name="connsiteX2" fmla="*/ 1900139 w 1900139"/>
              <a:gd name="connsiteY2" fmla="*/ 1955907 h 1955907"/>
              <a:gd name="connsiteX3" fmla="*/ 62532 w 1900139"/>
              <a:gd name="connsiteY3" fmla="*/ 1919357 h 1955907"/>
              <a:gd name="connsiteX4" fmla="*/ 185 w 1900139"/>
              <a:gd name="connsiteY4" fmla="*/ 168038 h 1955907"/>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66816 h 1954685"/>
              <a:gd name="connsiteX1" fmla="*/ 1803760 w 1900139"/>
              <a:gd name="connsiteY1" fmla="*/ -1 h 1954685"/>
              <a:gd name="connsiteX2" fmla="*/ 1900139 w 1900139"/>
              <a:gd name="connsiteY2" fmla="*/ 1954685 h 1954685"/>
              <a:gd name="connsiteX3" fmla="*/ 62532 w 1900139"/>
              <a:gd name="connsiteY3" fmla="*/ 1918135 h 1954685"/>
              <a:gd name="connsiteX4" fmla="*/ 185 w 1900139"/>
              <a:gd name="connsiteY4" fmla="*/ 166816 h 1954685"/>
              <a:gd name="connsiteX0" fmla="*/ 185 w 1900139"/>
              <a:gd name="connsiteY0" fmla="*/ 166818 h 1954687"/>
              <a:gd name="connsiteX1" fmla="*/ 1803760 w 1900139"/>
              <a:gd name="connsiteY1" fmla="*/ 1 h 1954687"/>
              <a:gd name="connsiteX2" fmla="*/ 1900139 w 1900139"/>
              <a:gd name="connsiteY2" fmla="*/ 1954687 h 1954687"/>
              <a:gd name="connsiteX3" fmla="*/ 62532 w 1900139"/>
              <a:gd name="connsiteY3" fmla="*/ 1918137 h 1954687"/>
              <a:gd name="connsiteX4" fmla="*/ 185 w 1900139"/>
              <a:gd name="connsiteY4" fmla="*/ 166818 h 1954687"/>
              <a:gd name="connsiteX0" fmla="*/ 185 w 1922689"/>
              <a:gd name="connsiteY0" fmla="*/ 166816 h 1918135"/>
              <a:gd name="connsiteX1" fmla="*/ 1803760 w 1922689"/>
              <a:gd name="connsiteY1" fmla="*/ -1 h 1918135"/>
              <a:gd name="connsiteX2" fmla="*/ 1922689 w 1922689"/>
              <a:gd name="connsiteY2" fmla="*/ 1829065 h 1918135"/>
              <a:gd name="connsiteX3" fmla="*/ 62532 w 1922689"/>
              <a:gd name="connsiteY3" fmla="*/ 1918135 h 1918135"/>
              <a:gd name="connsiteX4" fmla="*/ 185 w 1922689"/>
              <a:gd name="connsiteY4" fmla="*/ 166816 h 1918135"/>
              <a:gd name="connsiteX0" fmla="*/ 185 w 1922689"/>
              <a:gd name="connsiteY0" fmla="*/ 166818 h 1918137"/>
              <a:gd name="connsiteX1" fmla="*/ 1803760 w 1922689"/>
              <a:gd name="connsiteY1" fmla="*/ 1 h 1918137"/>
              <a:gd name="connsiteX2" fmla="*/ 1922689 w 1922689"/>
              <a:gd name="connsiteY2" fmla="*/ 1829067 h 1918137"/>
              <a:gd name="connsiteX3" fmla="*/ 62532 w 1922689"/>
              <a:gd name="connsiteY3" fmla="*/ 1918137 h 1918137"/>
              <a:gd name="connsiteX4" fmla="*/ 185 w 1922689"/>
              <a:gd name="connsiteY4" fmla="*/ 166818 h 1918137"/>
              <a:gd name="connsiteX0" fmla="*/ 89 w 1922593"/>
              <a:gd name="connsiteY0" fmla="*/ 166816 h 2011796"/>
              <a:gd name="connsiteX1" fmla="*/ 1803664 w 1922593"/>
              <a:gd name="connsiteY1" fmla="*/ -1 h 2011796"/>
              <a:gd name="connsiteX2" fmla="*/ 1922593 w 1922593"/>
              <a:gd name="connsiteY2" fmla="*/ 1829065 h 2011796"/>
              <a:gd name="connsiteX3" fmla="*/ 132110 w 1922593"/>
              <a:gd name="connsiteY3" fmla="*/ 2011796 h 2011796"/>
              <a:gd name="connsiteX4" fmla="*/ 89 w 1922593"/>
              <a:gd name="connsiteY4" fmla="*/ 166816 h 2011796"/>
              <a:gd name="connsiteX0" fmla="*/ -1 w 1922503"/>
              <a:gd name="connsiteY0" fmla="*/ 166818 h 2011798"/>
              <a:gd name="connsiteX1" fmla="*/ 1803574 w 1922503"/>
              <a:gd name="connsiteY1" fmla="*/ 1 h 2011798"/>
              <a:gd name="connsiteX2" fmla="*/ 1922503 w 1922503"/>
              <a:gd name="connsiteY2" fmla="*/ 1829067 h 2011798"/>
              <a:gd name="connsiteX3" fmla="*/ 132020 w 1922503"/>
              <a:gd name="connsiteY3" fmla="*/ 2011798 h 2011798"/>
              <a:gd name="connsiteX4" fmla="*/ -1 w 1922503"/>
              <a:gd name="connsiteY4" fmla="*/ 166818 h 2011798"/>
              <a:gd name="connsiteX0" fmla="*/ 0 w 1922504"/>
              <a:gd name="connsiteY0" fmla="*/ 166816 h 2011796"/>
              <a:gd name="connsiteX1" fmla="*/ 1803575 w 1922504"/>
              <a:gd name="connsiteY1" fmla="*/ -1 h 2011796"/>
              <a:gd name="connsiteX2" fmla="*/ 1922504 w 1922504"/>
              <a:gd name="connsiteY2" fmla="*/ 1829065 h 2011796"/>
              <a:gd name="connsiteX3" fmla="*/ 132021 w 1922504"/>
              <a:gd name="connsiteY3" fmla="*/ 2011796 h 2011796"/>
              <a:gd name="connsiteX4" fmla="*/ 0 w 1922504"/>
              <a:gd name="connsiteY4" fmla="*/ 166816 h 2011796"/>
              <a:gd name="connsiteX0" fmla="*/ 0 w 1922504"/>
              <a:gd name="connsiteY0" fmla="*/ 166818 h 2011798"/>
              <a:gd name="connsiteX1" fmla="*/ 1803575 w 1922504"/>
              <a:gd name="connsiteY1" fmla="*/ 1 h 2011798"/>
              <a:gd name="connsiteX2" fmla="*/ 1922504 w 1922504"/>
              <a:gd name="connsiteY2" fmla="*/ 1829067 h 2011798"/>
              <a:gd name="connsiteX3" fmla="*/ 132021 w 1922504"/>
              <a:gd name="connsiteY3" fmla="*/ 2011798 h 2011798"/>
              <a:gd name="connsiteX4" fmla="*/ 0 w 1922504"/>
              <a:gd name="connsiteY4" fmla="*/ 166818 h 2011798"/>
              <a:gd name="connsiteX0" fmla="*/ 0 w 1888139"/>
              <a:gd name="connsiteY0" fmla="*/ 161175 h 2011796"/>
              <a:gd name="connsiteX1" fmla="*/ 1769210 w 1888139"/>
              <a:gd name="connsiteY1" fmla="*/ -1 h 2011796"/>
              <a:gd name="connsiteX2" fmla="*/ 1888139 w 1888139"/>
              <a:gd name="connsiteY2" fmla="*/ 1829065 h 2011796"/>
              <a:gd name="connsiteX3" fmla="*/ 97656 w 1888139"/>
              <a:gd name="connsiteY3" fmla="*/ 2011796 h 2011796"/>
              <a:gd name="connsiteX4" fmla="*/ 0 w 1888139"/>
              <a:gd name="connsiteY4" fmla="*/ 161175 h 2011796"/>
              <a:gd name="connsiteX0" fmla="*/ 0 w 1930483"/>
              <a:gd name="connsiteY0" fmla="*/ 150391 h 2011798"/>
              <a:gd name="connsiteX1" fmla="*/ 1811554 w 1930483"/>
              <a:gd name="connsiteY1" fmla="*/ 1 h 2011798"/>
              <a:gd name="connsiteX2" fmla="*/ 1930483 w 1930483"/>
              <a:gd name="connsiteY2" fmla="*/ 1829067 h 2011798"/>
              <a:gd name="connsiteX3" fmla="*/ 140000 w 1930483"/>
              <a:gd name="connsiteY3" fmla="*/ 2011798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483" h="2011798">
                <a:moveTo>
                  <a:pt x="0" y="150391"/>
                </a:moveTo>
                <a:lnTo>
                  <a:pt x="1811554" y="1"/>
                </a:lnTo>
                <a:cubicBezTo>
                  <a:pt x="1861500" y="619129"/>
                  <a:pt x="1812494" y="-6349"/>
                  <a:pt x="1930483" y="1829067"/>
                </a:cubicBezTo>
                <a:lnTo>
                  <a:pt x="140001" y="2011799"/>
                </a:lnTo>
                <a:cubicBezTo>
                  <a:pt x="107996" y="1627997"/>
                  <a:pt x="137784" y="2018247"/>
                  <a:pt x="0" y="150391"/>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24" name="Picture Placeholder 26">
            <a:extLst>
              <a:ext uri="{FF2B5EF4-FFF2-40B4-BE49-F238E27FC236}">
                <a16:creationId xmlns:a16="http://schemas.microsoft.com/office/drawing/2014/main" id="{C60CDEC9-CDA7-C0C0-39F2-7BCB3FB15C82}"/>
              </a:ext>
            </a:extLst>
          </p:cNvPr>
          <p:cNvSpPr>
            <a:spLocks noGrp="1"/>
          </p:cNvSpPr>
          <p:nvPr>
            <p:ph type="pic" sz="quarter" idx="36"/>
          </p:nvPr>
        </p:nvSpPr>
        <p:spPr>
          <a:xfrm>
            <a:off x="4884382" y="4749457"/>
            <a:ext cx="2718069" cy="209425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837246"/>
              <a:gd name="connsiteY0" fmla="*/ 1223168 h 1223168"/>
              <a:gd name="connsiteX1" fmla="*/ 0 w 5837246"/>
              <a:gd name="connsiteY1" fmla="*/ 2167 h 1223168"/>
              <a:gd name="connsiteX2" fmla="*/ 5837246 w 5837246"/>
              <a:gd name="connsiteY2" fmla="*/ 184635 h 1223168"/>
              <a:gd name="connsiteX3" fmla="*/ 5710691 w 5837246"/>
              <a:gd name="connsiteY3" fmla="*/ 1149199 h 1223168"/>
              <a:gd name="connsiteX4" fmla="*/ 180172 w 5837246"/>
              <a:gd name="connsiteY4" fmla="*/ 1223168 h 1223168"/>
              <a:gd name="connsiteX0" fmla="*/ 7782 w 5664856"/>
              <a:gd name="connsiteY0" fmla="*/ 1436049 h 1436049"/>
              <a:gd name="connsiteX1" fmla="*/ 419375 w 5664856"/>
              <a:gd name="connsiteY1" fmla="*/ 1176 h 1436049"/>
              <a:gd name="connsiteX2" fmla="*/ 5664856 w 5664856"/>
              <a:gd name="connsiteY2" fmla="*/ 397516 h 1436049"/>
              <a:gd name="connsiteX3" fmla="*/ 5538301 w 5664856"/>
              <a:gd name="connsiteY3" fmla="*/ 1362080 h 1436049"/>
              <a:gd name="connsiteX4" fmla="*/ 7782 w 5664856"/>
              <a:gd name="connsiteY4" fmla="*/ 1436049 h 1436049"/>
              <a:gd name="connsiteX0" fmla="*/ 5018 w 6021376"/>
              <a:gd name="connsiteY0" fmla="*/ 1150888 h 1362080"/>
              <a:gd name="connsiteX1" fmla="*/ 775895 w 6021376"/>
              <a:gd name="connsiteY1" fmla="*/ 1176 h 1362080"/>
              <a:gd name="connsiteX2" fmla="*/ 6021376 w 6021376"/>
              <a:gd name="connsiteY2" fmla="*/ 397516 h 1362080"/>
              <a:gd name="connsiteX3" fmla="*/ 5894821 w 6021376"/>
              <a:gd name="connsiteY3" fmla="*/ 1362080 h 1362080"/>
              <a:gd name="connsiteX4" fmla="*/ 5018 w 6021376"/>
              <a:gd name="connsiteY4" fmla="*/ 1150888 h 1362080"/>
              <a:gd name="connsiteX0" fmla="*/ 5018 w 6021376"/>
              <a:gd name="connsiteY0" fmla="*/ 1150888 h 1575951"/>
              <a:gd name="connsiteX1" fmla="*/ 775895 w 6021376"/>
              <a:gd name="connsiteY1" fmla="*/ 1176 h 1575951"/>
              <a:gd name="connsiteX2" fmla="*/ 6021376 w 6021376"/>
              <a:gd name="connsiteY2" fmla="*/ 397516 h 1575951"/>
              <a:gd name="connsiteX3" fmla="*/ 5303059 w 6021376"/>
              <a:gd name="connsiteY3" fmla="*/ 1575951 h 1575951"/>
              <a:gd name="connsiteX4" fmla="*/ 5018 w 6021376"/>
              <a:gd name="connsiteY4" fmla="*/ 1150888 h 1575951"/>
              <a:gd name="connsiteX0" fmla="*/ 5018 w 6105916"/>
              <a:gd name="connsiteY0" fmla="*/ 1150821 h 1575884"/>
              <a:gd name="connsiteX1" fmla="*/ 775895 w 6105916"/>
              <a:gd name="connsiteY1" fmla="*/ 1109 h 1575884"/>
              <a:gd name="connsiteX2" fmla="*/ 6105916 w 6105916"/>
              <a:gd name="connsiteY2" fmla="*/ 425965 h 1575884"/>
              <a:gd name="connsiteX3" fmla="*/ 5303059 w 6105916"/>
              <a:gd name="connsiteY3" fmla="*/ 1575884 h 1575884"/>
              <a:gd name="connsiteX4" fmla="*/ 5018 w 6105916"/>
              <a:gd name="connsiteY4" fmla="*/ 1150821 h 1575884"/>
              <a:gd name="connsiteX0" fmla="*/ 5018 w 6105916"/>
              <a:gd name="connsiteY0" fmla="*/ 1151465 h 1576528"/>
              <a:gd name="connsiteX1" fmla="*/ 775895 w 6105916"/>
              <a:gd name="connsiteY1" fmla="*/ 1753 h 1576528"/>
              <a:gd name="connsiteX2" fmla="*/ 6105916 w 6105916"/>
              <a:gd name="connsiteY2" fmla="*/ 426609 h 1576528"/>
              <a:gd name="connsiteX3" fmla="*/ 5303059 w 6105916"/>
              <a:gd name="connsiteY3" fmla="*/ 1576528 h 1576528"/>
              <a:gd name="connsiteX4" fmla="*/ 5018 w 6105916"/>
              <a:gd name="connsiteY4" fmla="*/ 1151465 h 1576528"/>
              <a:gd name="connsiteX0" fmla="*/ 5018 w 6105916"/>
              <a:gd name="connsiteY0" fmla="*/ 1149712 h 1574775"/>
              <a:gd name="connsiteX1" fmla="*/ 775895 w 6105916"/>
              <a:gd name="connsiteY1" fmla="*/ 0 h 1574775"/>
              <a:gd name="connsiteX2" fmla="*/ 6105916 w 6105916"/>
              <a:gd name="connsiteY2" fmla="*/ 424856 h 1574775"/>
              <a:gd name="connsiteX3" fmla="*/ 5303059 w 6105916"/>
              <a:gd name="connsiteY3" fmla="*/ 1574775 h 1574775"/>
              <a:gd name="connsiteX4" fmla="*/ 5018 w 6105916"/>
              <a:gd name="connsiteY4" fmla="*/ 1149712 h 1574775"/>
              <a:gd name="connsiteX0" fmla="*/ 9789 w 6110687"/>
              <a:gd name="connsiteY0" fmla="*/ 1149712 h 1574775"/>
              <a:gd name="connsiteX1" fmla="*/ 780666 w 6110687"/>
              <a:gd name="connsiteY1" fmla="*/ 0 h 1574775"/>
              <a:gd name="connsiteX2" fmla="*/ 6110687 w 6110687"/>
              <a:gd name="connsiteY2" fmla="*/ 424856 h 1574775"/>
              <a:gd name="connsiteX3" fmla="*/ 5307830 w 6110687"/>
              <a:gd name="connsiteY3" fmla="*/ 1574775 h 1574775"/>
              <a:gd name="connsiteX4" fmla="*/ 9789 w 6110687"/>
              <a:gd name="connsiteY4" fmla="*/ 1149712 h 1574775"/>
              <a:gd name="connsiteX0" fmla="*/ 1 w 6100899"/>
              <a:gd name="connsiteY0" fmla="*/ 1149712 h 1574775"/>
              <a:gd name="connsiteX1" fmla="*/ 770878 w 6100899"/>
              <a:gd name="connsiteY1" fmla="*/ 0 h 1574775"/>
              <a:gd name="connsiteX2" fmla="*/ 6100899 w 6100899"/>
              <a:gd name="connsiteY2" fmla="*/ 424856 h 1574775"/>
              <a:gd name="connsiteX3" fmla="*/ 5298042 w 6100899"/>
              <a:gd name="connsiteY3" fmla="*/ 1574775 h 1574775"/>
              <a:gd name="connsiteX4" fmla="*/ 1 w 6100899"/>
              <a:gd name="connsiteY4" fmla="*/ 1149712 h 1574775"/>
              <a:gd name="connsiteX0" fmla="*/ 1 w 6100899"/>
              <a:gd name="connsiteY0" fmla="*/ 1158717 h 1583780"/>
              <a:gd name="connsiteX1" fmla="*/ 765537 w 6100899"/>
              <a:gd name="connsiteY1" fmla="*/ 0 h 1583780"/>
              <a:gd name="connsiteX2" fmla="*/ 6100899 w 6100899"/>
              <a:gd name="connsiteY2" fmla="*/ 433861 h 1583780"/>
              <a:gd name="connsiteX3" fmla="*/ 5298042 w 6100899"/>
              <a:gd name="connsiteY3" fmla="*/ 1583780 h 1583780"/>
              <a:gd name="connsiteX4" fmla="*/ 1 w 6100899"/>
              <a:gd name="connsiteY4" fmla="*/ 1158717 h 1583780"/>
              <a:gd name="connsiteX0" fmla="*/ 1 w 6108017"/>
              <a:gd name="connsiteY0" fmla="*/ 1158717 h 1583780"/>
              <a:gd name="connsiteX1" fmla="*/ 765537 w 6108017"/>
              <a:gd name="connsiteY1" fmla="*/ 0 h 1583780"/>
              <a:gd name="connsiteX2" fmla="*/ 6108017 w 6108017"/>
              <a:gd name="connsiteY2" fmla="*/ 426658 h 1583780"/>
              <a:gd name="connsiteX3" fmla="*/ 5298042 w 6108017"/>
              <a:gd name="connsiteY3" fmla="*/ 1583780 h 1583780"/>
              <a:gd name="connsiteX4" fmla="*/ 1 w 6108017"/>
              <a:gd name="connsiteY4" fmla="*/ 1158717 h 1583780"/>
              <a:gd name="connsiteX0" fmla="*/ 1 w 6022599"/>
              <a:gd name="connsiteY0" fmla="*/ 1158717 h 1583780"/>
              <a:gd name="connsiteX1" fmla="*/ 765537 w 6022599"/>
              <a:gd name="connsiteY1" fmla="*/ 0 h 1583780"/>
              <a:gd name="connsiteX2" fmla="*/ 6022599 w 6022599"/>
              <a:gd name="connsiteY2" fmla="*/ 496289 h 1583780"/>
              <a:gd name="connsiteX3" fmla="*/ 5298042 w 6022599"/>
              <a:gd name="connsiteY3" fmla="*/ 1583780 h 1583780"/>
              <a:gd name="connsiteX4" fmla="*/ 1 w 6022599"/>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781" h="1583780">
                <a:moveTo>
                  <a:pt x="1" y="1158717"/>
                </a:moveTo>
                <a:cubicBezTo>
                  <a:pt x="766539" y="4365"/>
                  <a:pt x="365353" y="624033"/>
                  <a:pt x="765537" y="0"/>
                </a:cubicBezTo>
                <a:lnTo>
                  <a:pt x="6093781" y="419454"/>
                </a:lnTo>
                <a:cubicBezTo>
                  <a:pt x="5285674" y="1578517"/>
                  <a:pt x="5284019" y="1569366"/>
                  <a:pt x="5298042" y="1583780"/>
                </a:cubicBezTo>
                <a:lnTo>
                  <a:pt x="1" y="1158717"/>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27972266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ront Cover opt 1b GRADI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960114-CE5B-021E-9172-3446DB1F2FA9}"/>
              </a:ext>
            </a:extLst>
          </p:cNvPr>
          <p:cNvSpPr>
            <a:spLocks noGrp="1"/>
          </p:cNvSpPr>
          <p:nvPr>
            <p:ph type="title" hasCustomPrompt="1"/>
          </p:nvPr>
        </p:nvSpPr>
        <p:spPr>
          <a:xfrm>
            <a:off x="5580000" y="2159999"/>
            <a:ext cx="6120000" cy="1800000"/>
          </a:xfrm>
          <a:prstGeom prst="rect">
            <a:avLst/>
          </a:prstGeom>
        </p:spPr>
        <p:txBody>
          <a:bodyPr/>
          <a:lstStyle>
            <a:lvl1pPr>
              <a:defRPr/>
            </a:lvl1pPr>
          </a:lstStyle>
          <a:p>
            <a:r>
              <a:rPr lang="en-US"/>
              <a:t>CLICK TO EDIT MASTER TITLE STYLE HERE</a:t>
            </a:r>
            <a:endParaRPr lang="en-GB"/>
          </a:p>
        </p:txBody>
      </p:sp>
      <p:sp>
        <p:nvSpPr>
          <p:cNvPr id="2" name="Text Placeholder 3">
            <a:extLst>
              <a:ext uri="{FF2B5EF4-FFF2-40B4-BE49-F238E27FC236}">
                <a16:creationId xmlns:a16="http://schemas.microsoft.com/office/drawing/2014/main" id="{FF785CA7-E51C-C2EE-DA8E-3F58697DDABB}"/>
              </a:ext>
            </a:extLst>
          </p:cNvPr>
          <p:cNvSpPr>
            <a:spLocks noGrp="1"/>
          </p:cNvSpPr>
          <p:nvPr>
            <p:ph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sp>
        <p:nvSpPr>
          <p:cNvPr id="8" name="Picture Placeholder 26">
            <a:extLst>
              <a:ext uri="{FF2B5EF4-FFF2-40B4-BE49-F238E27FC236}">
                <a16:creationId xmlns:a16="http://schemas.microsoft.com/office/drawing/2014/main" id="{5CFBE51E-D3F5-2083-8140-F66F30EB5A07}"/>
              </a:ext>
            </a:extLst>
          </p:cNvPr>
          <p:cNvSpPr>
            <a:spLocks noGrp="1"/>
          </p:cNvSpPr>
          <p:nvPr>
            <p:ph type="pic" sz="quarter" idx="31"/>
          </p:nvPr>
        </p:nvSpPr>
        <p:spPr>
          <a:xfrm>
            <a:off x="401245" y="231735"/>
            <a:ext cx="1982274" cy="19448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8993" h="2456018">
                <a:moveTo>
                  <a:pt x="494263" y="0"/>
                </a:moveTo>
                <a:lnTo>
                  <a:pt x="2278993" y="563358"/>
                </a:lnTo>
                <a:cubicBezTo>
                  <a:pt x="2108271" y="1233567"/>
                  <a:pt x="1965255" y="1749722"/>
                  <a:pt x="1772632" y="2456018"/>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0" name="Picture Placeholder 26">
            <a:extLst>
              <a:ext uri="{FF2B5EF4-FFF2-40B4-BE49-F238E27FC236}">
                <a16:creationId xmlns:a16="http://schemas.microsoft.com/office/drawing/2014/main" id="{32681751-5D47-CBFB-573C-34D0E69706A9}"/>
              </a:ext>
            </a:extLst>
          </p:cNvPr>
          <p:cNvSpPr>
            <a:spLocks noGrp="1"/>
          </p:cNvSpPr>
          <p:nvPr>
            <p:ph type="pic" sz="quarter" idx="32"/>
          </p:nvPr>
        </p:nvSpPr>
        <p:spPr>
          <a:xfrm>
            <a:off x="981240" y="1658285"/>
            <a:ext cx="4341388" cy="39915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192802 w 4392336"/>
              <a:gd name="connsiteY0" fmla="*/ 3224763 h 3224763"/>
              <a:gd name="connsiteX1" fmla="*/ 0 w 4392336"/>
              <a:gd name="connsiteY1" fmla="*/ 2614 h 3224763"/>
              <a:gd name="connsiteX2" fmla="*/ 4392336 w 4392336"/>
              <a:gd name="connsiteY2" fmla="*/ 81304 h 3224763"/>
              <a:gd name="connsiteX3" fmla="*/ 4025810 w 4392336"/>
              <a:gd name="connsiteY3" fmla="*/ 3155802 h 3224763"/>
              <a:gd name="connsiteX4" fmla="*/ 192802 w 4392336"/>
              <a:gd name="connsiteY4" fmla="*/ 3224763 h 3224763"/>
              <a:gd name="connsiteX0" fmla="*/ 192802 w 6810448"/>
              <a:gd name="connsiteY0" fmla="*/ 3920193 h 3920193"/>
              <a:gd name="connsiteX1" fmla="*/ 0 w 6810448"/>
              <a:gd name="connsiteY1" fmla="*/ 698044 h 3920193"/>
              <a:gd name="connsiteX2" fmla="*/ 4392336 w 6810448"/>
              <a:gd name="connsiteY2" fmla="*/ 776734 h 3920193"/>
              <a:gd name="connsiteX3" fmla="*/ 6810448 w 6810448"/>
              <a:gd name="connsiteY3" fmla="*/ 1713299 h 3920193"/>
              <a:gd name="connsiteX4" fmla="*/ 192802 w 6810448"/>
              <a:gd name="connsiteY4" fmla="*/ 3920193 h 3920193"/>
              <a:gd name="connsiteX0" fmla="*/ 192802 w 6810448"/>
              <a:gd name="connsiteY0" fmla="*/ 3224763 h 3224763"/>
              <a:gd name="connsiteX1" fmla="*/ 0 w 6810448"/>
              <a:gd name="connsiteY1" fmla="*/ 2614 h 3224763"/>
              <a:gd name="connsiteX2" fmla="*/ 4392336 w 6810448"/>
              <a:gd name="connsiteY2" fmla="*/ 81304 h 3224763"/>
              <a:gd name="connsiteX3" fmla="*/ 6810448 w 6810448"/>
              <a:gd name="connsiteY3" fmla="*/ 1017869 h 3224763"/>
              <a:gd name="connsiteX4" fmla="*/ 192802 w 6810448"/>
              <a:gd name="connsiteY4" fmla="*/ 3224763 h 3224763"/>
              <a:gd name="connsiteX0" fmla="*/ 3028690 w 9646336"/>
              <a:gd name="connsiteY0" fmla="*/ 3143459 h 3143459"/>
              <a:gd name="connsiteX1" fmla="*/ 0 w 9646336"/>
              <a:gd name="connsiteY1" fmla="*/ 2013142 h 3143459"/>
              <a:gd name="connsiteX2" fmla="*/ 7228224 w 9646336"/>
              <a:gd name="connsiteY2" fmla="*/ 0 h 3143459"/>
              <a:gd name="connsiteX3" fmla="*/ 9646336 w 9646336"/>
              <a:gd name="connsiteY3" fmla="*/ 936565 h 3143459"/>
              <a:gd name="connsiteX4" fmla="*/ 3028690 w 9646336"/>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783005"/>
              <a:gd name="connsiteY0" fmla="*/ 3143459 h 3143459"/>
              <a:gd name="connsiteX1" fmla="*/ 0 w 9783005"/>
              <a:gd name="connsiteY1" fmla="*/ 2047718 h 3143459"/>
              <a:gd name="connsiteX2" fmla="*/ 7279475 w 9783005"/>
              <a:gd name="connsiteY2" fmla="*/ 0 h 3143459"/>
              <a:gd name="connsiteX3" fmla="*/ 9783005 w 9783005"/>
              <a:gd name="connsiteY3" fmla="*/ 948091 h 3143459"/>
              <a:gd name="connsiteX4" fmla="*/ 3079941 w 9783005"/>
              <a:gd name="connsiteY4" fmla="*/ 3143459 h 3143459"/>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90123"/>
              <a:gd name="connsiteY0" fmla="*/ 2984987 h 2984987"/>
              <a:gd name="connsiteX1" fmla="*/ 0 w 9790123"/>
              <a:gd name="connsiteY1" fmla="*/ 2004498 h 2984987"/>
              <a:gd name="connsiteX2" fmla="*/ 7300829 w 9790123"/>
              <a:gd name="connsiteY2" fmla="*/ 0 h 2984987"/>
              <a:gd name="connsiteX3" fmla="*/ 9790123 w 9790123"/>
              <a:gd name="connsiteY3" fmla="*/ 950492 h 2984987"/>
              <a:gd name="connsiteX4" fmla="*/ 2413677 w 9790123"/>
              <a:gd name="connsiteY4" fmla="*/ 2984987 h 2984987"/>
              <a:gd name="connsiteX0" fmla="*/ 2534687 w 9790123"/>
              <a:gd name="connsiteY0" fmla="*/ 2996992 h 2996992"/>
              <a:gd name="connsiteX1" fmla="*/ 0 w 9790123"/>
              <a:gd name="connsiteY1" fmla="*/ 2004498 h 2996992"/>
              <a:gd name="connsiteX2" fmla="*/ 7300829 w 9790123"/>
              <a:gd name="connsiteY2" fmla="*/ 0 h 2996992"/>
              <a:gd name="connsiteX3" fmla="*/ 9790123 w 9790123"/>
              <a:gd name="connsiteY3" fmla="*/ 950492 h 2996992"/>
              <a:gd name="connsiteX4" fmla="*/ 2534687 w 9790123"/>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3018602 h 3018602"/>
              <a:gd name="connsiteX1" fmla="*/ 0 w 9754532"/>
              <a:gd name="connsiteY1" fmla="*/ 2054922 h 3018602"/>
              <a:gd name="connsiteX2" fmla="*/ 7201174 w 9754532"/>
              <a:gd name="connsiteY2" fmla="*/ 0 h 3018602"/>
              <a:gd name="connsiteX3" fmla="*/ 9754532 w 9754532"/>
              <a:gd name="connsiteY3" fmla="*/ 972102 h 3018602"/>
              <a:gd name="connsiteX4" fmla="*/ 2499096 w 9754532"/>
              <a:gd name="connsiteY4" fmla="*/ 3018602 h 3018602"/>
              <a:gd name="connsiteX0" fmla="*/ 2499096 w 9733177"/>
              <a:gd name="connsiteY0" fmla="*/ 3018602 h 3018602"/>
              <a:gd name="connsiteX1" fmla="*/ 0 w 9733177"/>
              <a:gd name="connsiteY1" fmla="*/ 2054922 h 3018602"/>
              <a:gd name="connsiteX2" fmla="*/ 7201174 w 9733177"/>
              <a:gd name="connsiteY2" fmla="*/ 0 h 3018602"/>
              <a:gd name="connsiteX3" fmla="*/ 9733177 w 9733177"/>
              <a:gd name="connsiteY3" fmla="*/ 957696 h 3018602"/>
              <a:gd name="connsiteX4" fmla="*/ 2499096 w 9733177"/>
              <a:gd name="connsiteY4" fmla="*/ 3018602 h 3018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33177" h="3018602">
                <a:moveTo>
                  <a:pt x="2499096" y="3018602"/>
                </a:moveTo>
                <a:cubicBezTo>
                  <a:pt x="1586600" y="2663950"/>
                  <a:pt x="1079349" y="2493401"/>
                  <a:pt x="0" y="2054922"/>
                </a:cubicBezTo>
                <a:lnTo>
                  <a:pt x="7201174" y="0"/>
                </a:lnTo>
                <a:lnTo>
                  <a:pt x="9733177" y="957696"/>
                </a:lnTo>
                <a:lnTo>
                  <a:pt x="2499096" y="3018602"/>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1" name="Picture Placeholder 26">
            <a:extLst>
              <a:ext uri="{FF2B5EF4-FFF2-40B4-BE49-F238E27FC236}">
                <a16:creationId xmlns:a16="http://schemas.microsoft.com/office/drawing/2014/main" id="{ED079B79-BD28-E4E7-CA73-7D23F407485F}"/>
              </a:ext>
            </a:extLst>
          </p:cNvPr>
          <p:cNvSpPr>
            <a:spLocks noGrp="1"/>
          </p:cNvSpPr>
          <p:nvPr>
            <p:ph type="pic" sz="quarter" idx="33"/>
          </p:nvPr>
        </p:nvSpPr>
        <p:spPr>
          <a:xfrm>
            <a:off x="1742463" y="743484"/>
            <a:ext cx="2112357" cy="202922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97105"/>
              <a:gd name="connsiteY0" fmla="*/ 69056 h 1861001"/>
              <a:gd name="connsiteX1" fmla="*/ 1974172 w 1997105"/>
              <a:gd name="connsiteY1" fmla="*/ 492 h 1861001"/>
              <a:gd name="connsiteX2" fmla="*/ 1997105 w 1997105"/>
              <a:gd name="connsiteY2" fmla="*/ 1861001 h 1861001"/>
              <a:gd name="connsiteX3" fmla="*/ 104052 w 1997105"/>
              <a:gd name="connsiteY3" fmla="*/ 1845881 h 1861001"/>
              <a:gd name="connsiteX4" fmla="*/ 0 w 1997105"/>
              <a:gd name="connsiteY4" fmla="*/ 69056 h 1861001"/>
              <a:gd name="connsiteX0" fmla="*/ 0 w 1997105"/>
              <a:gd name="connsiteY0" fmla="*/ 198303 h 1990248"/>
              <a:gd name="connsiteX1" fmla="*/ 1859872 w 1997105"/>
              <a:gd name="connsiteY1" fmla="*/ 199 h 1990248"/>
              <a:gd name="connsiteX2" fmla="*/ 1997105 w 1997105"/>
              <a:gd name="connsiteY2" fmla="*/ 1990248 h 1990248"/>
              <a:gd name="connsiteX3" fmla="*/ 104052 w 1997105"/>
              <a:gd name="connsiteY3" fmla="*/ 1975128 h 1990248"/>
              <a:gd name="connsiteX4" fmla="*/ 0 w 1997105"/>
              <a:gd name="connsiteY4" fmla="*/ 198303 h 1990248"/>
              <a:gd name="connsiteX0" fmla="*/ 0 w 1997105"/>
              <a:gd name="connsiteY0" fmla="*/ 198104 h 1990049"/>
              <a:gd name="connsiteX1" fmla="*/ 1859872 w 1997105"/>
              <a:gd name="connsiteY1" fmla="*/ 0 h 1990049"/>
              <a:gd name="connsiteX2" fmla="*/ 1997105 w 1997105"/>
              <a:gd name="connsiteY2" fmla="*/ 1990049 h 1990049"/>
              <a:gd name="connsiteX3" fmla="*/ 104052 w 1997105"/>
              <a:gd name="connsiteY3" fmla="*/ 1974929 h 1990049"/>
              <a:gd name="connsiteX4" fmla="*/ 0 w 1997105"/>
              <a:gd name="connsiteY4" fmla="*/ 198104 h 1990049"/>
              <a:gd name="connsiteX0" fmla="*/ 0 w 2126645"/>
              <a:gd name="connsiteY0" fmla="*/ 198104 h 1974929"/>
              <a:gd name="connsiteX1" fmla="*/ 1859872 w 2126645"/>
              <a:gd name="connsiteY1" fmla="*/ 0 h 1974929"/>
              <a:gd name="connsiteX2" fmla="*/ 2126645 w 2126645"/>
              <a:gd name="connsiteY2" fmla="*/ 1791929 h 1974929"/>
              <a:gd name="connsiteX3" fmla="*/ 104052 w 2126645"/>
              <a:gd name="connsiteY3" fmla="*/ 1974929 h 1974929"/>
              <a:gd name="connsiteX4" fmla="*/ 0 w 2126645"/>
              <a:gd name="connsiteY4" fmla="*/ 198104 h 197492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26645"/>
              <a:gd name="connsiteY0" fmla="*/ 198104 h 2043509"/>
              <a:gd name="connsiteX1" fmla="*/ 1859872 w 2126645"/>
              <a:gd name="connsiteY1" fmla="*/ 0 h 2043509"/>
              <a:gd name="connsiteX2" fmla="*/ 2126645 w 2126645"/>
              <a:gd name="connsiteY2" fmla="*/ 1791929 h 2043509"/>
              <a:gd name="connsiteX3" fmla="*/ 256452 w 2126645"/>
              <a:gd name="connsiteY3" fmla="*/ 2043509 h 2043509"/>
              <a:gd name="connsiteX4" fmla="*/ 0 w 2126645"/>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198104 h 2043509"/>
              <a:gd name="connsiteX1" fmla="*/ 1845584 w 2112357"/>
              <a:gd name="connsiteY1" fmla="*/ 0 h 2043509"/>
              <a:gd name="connsiteX2" fmla="*/ 2112357 w 2112357"/>
              <a:gd name="connsiteY2" fmla="*/ 1791929 h 2043509"/>
              <a:gd name="connsiteX3" fmla="*/ 242164 w 2112357"/>
              <a:gd name="connsiteY3" fmla="*/ 2043509 h 2043509"/>
              <a:gd name="connsiteX4" fmla="*/ 0 w 2112357"/>
              <a:gd name="connsiteY4" fmla="*/ 198104 h 2043509"/>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53034"/>
              <a:gd name="connsiteX1" fmla="*/ 1838441 w 2112357"/>
              <a:gd name="connsiteY1" fmla="*/ 0 h 2053034"/>
              <a:gd name="connsiteX2" fmla="*/ 2112357 w 2112357"/>
              <a:gd name="connsiteY2" fmla="*/ 1801454 h 2053034"/>
              <a:gd name="connsiteX3" fmla="*/ 242164 w 2112357"/>
              <a:gd name="connsiteY3" fmla="*/ 2053034 h 2053034"/>
              <a:gd name="connsiteX4" fmla="*/ 0 w 2112357"/>
              <a:gd name="connsiteY4" fmla="*/ 207629 h 2053034"/>
              <a:gd name="connsiteX0" fmla="*/ 0 w 2112357"/>
              <a:gd name="connsiteY0" fmla="*/ 207629 h 2029222"/>
              <a:gd name="connsiteX1" fmla="*/ 1838441 w 2112357"/>
              <a:gd name="connsiteY1" fmla="*/ 0 h 2029222"/>
              <a:gd name="connsiteX2" fmla="*/ 2112357 w 2112357"/>
              <a:gd name="connsiteY2" fmla="*/ 1801454 h 2029222"/>
              <a:gd name="connsiteX3" fmla="*/ 265977 w 2112357"/>
              <a:gd name="connsiteY3" fmla="*/ 2029222 h 2029222"/>
              <a:gd name="connsiteX4" fmla="*/ 0 w 2112357"/>
              <a:gd name="connsiteY4" fmla="*/ 207629 h 2029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2357" h="2029222">
                <a:moveTo>
                  <a:pt x="0" y="207629"/>
                </a:moveTo>
                <a:cubicBezTo>
                  <a:pt x="793153" y="115718"/>
                  <a:pt x="55640" y="201925"/>
                  <a:pt x="1838441" y="0"/>
                </a:cubicBezTo>
                <a:cubicBezTo>
                  <a:pt x="1926751" y="616082"/>
                  <a:pt x="2024047" y="1192992"/>
                  <a:pt x="2112357" y="1801454"/>
                </a:cubicBezTo>
                <a:lnTo>
                  <a:pt x="265977" y="2029222"/>
                </a:lnTo>
                <a:cubicBezTo>
                  <a:pt x="185256" y="1414087"/>
                  <a:pt x="75959" y="827526"/>
                  <a:pt x="0" y="207629"/>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2" name="Picture Placeholder 26">
            <a:extLst>
              <a:ext uri="{FF2B5EF4-FFF2-40B4-BE49-F238E27FC236}">
                <a16:creationId xmlns:a16="http://schemas.microsoft.com/office/drawing/2014/main" id="{06910608-A3CB-1FD9-7C67-75C416907633}"/>
              </a:ext>
            </a:extLst>
          </p:cNvPr>
          <p:cNvSpPr>
            <a:spLocks noGrp="1"/>
          </p:cNvSpPr>
          <p:nvPr>
            <p:ph type="pic" sz="quarter" idx="35"/>
          </p:nvPr>
        </p:nvSpPr>
        <p:spPr>
          <a:xfrm rot="21434994">
            <a:off x="2954" y="2437338"/>
            <a:ext cx="1616195" cy="120721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955 h 1911824"/>
              <a:gd name="connsiteX1" fmla="*/ 1884273 w 1900139"/>
              <a:gd name="connsiteY1" fmla="*/ 672 h 1911824"/>
              <a:gd name="connsiteX2" fmla="*/ 1900139 w 1900139"/>
              <a:gd name="connsiteY2" fmla="*/ 1911824 h 1911824"/>
              <a:gd name="connsiteX3" fmla="*/ 62532 w 1900139"/>
              <a:gd name="connsiteY3" fmla="*/ 1875274 h 1911824"/>
              <a:gd name="connsiteX4" fmla="*/ 185 w 1900139"/>
              <a:gd name="connsiteY4" fmla="*/ 123955 h 1911824"/>
              <a:gd name="connsiteX0" fmla="*/ 185 w 1900139"/>
              <a:gd name="connsiteY0" fmla="*/ 168483 h 1956352"/>
              <a:gd name="connsiteX1" fmla="*/ 1785578 w 1900139"/>
              <a:gd name="connsiteY1" fmla="*/ 445 h 1956352"/>
              <a:gd name="connsiteX2" fmla="*/ 1900139 w 1900139"/>
              <a:gd name="connsiteY2" fmla="*/ 1956352 h 1956352"/>
              <a:gd name="connsiteX3" fmla="*/ 62532 w 1900139"/>
              <a:gd name="connsiteY3" fmla="*/ 1919802 h 1956352"/>
              <a:gd name="connsiteX4" fmla="*/ 185 w 1900139"/>
              <a:gd name="connsiteY4" fmla="*/ 168483 h 1956352"/>
              <a:gd name="connsiteX0" fmla="*/ 185 w 1900139"/>
              <a:gd name="connsiteY0" fmla="*/ 168038 h 1955907"/>
              <a:gd name="connsiteX1" fmla="*/ 1785578 w 1900139"/>
              <a:gd name="connsiteY1" fmla="*/ 0 h 1955907"/>
              <a:gd name="connsiteX2" fmla="*/ 1900139 w 1900139"/>
              <a:gd name="connsiteY2" fmla="*/ 1955907 h 1955907"/>
              <a:gd name="connsiteX3" fmla="*/ 62532 w 1900139"/>
              <a:gd name="connsiteY3" fmla="*/ 1919357 h 1955907"/>
              <a:gd name="connsiteX4" fmla="*/ 185 w 1900139"/>
              <a:gd name="connsiteY4" fmla="*/ 168038 h 1955907"/>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66816 h 1954685"/>
              <a:gd name="connsiteX1" fmla="*/ 1803760 w 1900139"/>
              <a:gd name="connsiteY1" fmla="*/ -1 h 1954685"/>
              <a:gd name="connsiteX2" fmla="*/ 1900139 w 1900139"/>
              <a:gd name="connsiteY2" fmla="*/ 1954685 h 1954685"/>
              <a:gd name="connsiteX3" fmla="*/ 62532 w 1900139"/>
              <a:gd name="connsiteY3" fmla="*/ 1918135 h 1954685"/>
              <a:gd name="connsiteX4" fmla="*/ 185 w 1900139"/>
              <a:gd name="connsiteY4" fmla="*/ 166816 h 1954685"/>
              <a:gd name="connsiteX0" fmla="*/ 185 w 1900139"/>
              <a:gd name="connsiteY0" fmla="*/ 166818 h 1954687"/>
              <a:gd name="connsiteX1" fmla="*/ 1803760 w 1900139"/>
              <a:gd name="connsiteY1" fmla="*/ 1 h 1954687"/>
              <a:gd name="connsiteX2" fmla="*/ 1900139 w 1900139"/>
              <a:gd name="connsiteY2" fmla="*/ 1954687 h 1954687"/>
              <a:gd name="connsiteX3" fmla="*/ 62532 w 1900139"/>
              <a:gd name="connsiteY3" fmla="*/ 1918137 h 1954687"/>
              <a:gd name="connsiteX4" fmla="*/ 185 w 1900139"/>
              <a:gd name="connsiteY4" fmla="*/ 166818 h 1954687"/>
              <a:gd name="connsiteX0" fmla="*/ 185 w 1922689"/>
              <a:gd name="connsiteY0" fmla="*/ 166816 h 1918135"/>
              <a:gd name="connsiteX1" fmla="*/ 1803760 w 1922689"/>
              <a:gd name="connsiteY1" fmla="*/ -1 h 1918135"/>
              <a:gd name="connsiteX2" fmla="*/ 1922689 w 1922689"/>
              <a:gd name="connsiteY2" fmla="*/ 1829065 h 1918135"/>
              <a:gd name="connsiteX3" fmla="*/ 62532 w 1922689"/>
              <a:gd name="connsiteY3" fmla="*/ 1918135 h 1918135"/>
              <a:gd name="connsiteX4" fmla="*/ 185 w 1922689"/>
              <a:gd name="connsiteY4" fmla="*/ 166816 h 1918135"/>
              <a:gd name="connsiteX0" fmla="*/ 185 w 1922689"/>
              <a:gd name="connsiteY0" fmla="*/ 166818 h 1918137"/>
              <a:gd name="connsiteX1" fmla="*/ 1803760 w 1922689"/>
              <a:gd name="connsiteY1" fmla="*/ 1 h 1918137"/>
              <a:gd name="connsiteX2" fmla="*/ 1922689 w 1922689"/>
              <a:gd name="connsiteY2" fmla="*/ 1829067 h 1918137"/>
              <a:gd name="connsiteX3" fmla="*/ 62532 w 1922689"/>
              <a:gd name="connsiteY3" fmla="*/ 1918137 h 1918137"/>
              <a:gd name="connsiteX4" fmla="*/ 185 w 1922689"/>
              <a:gd name="connsiteY4" fmla="*/ 166818 h 1918137"/>
              <a:gd name="connsiteX0" fmla="*/ 89 w 1922593"/>
              <a:gd name="connsiteY0" fmla="*/ 166816 h 2011796"/>
              <a:gd name="connsiteX1" fmla="*/ 1803664 w 1922593"/>
              <a:gd name="connsiteY1" fmla="*/ -1 h 2011796"/>
              <a:gd name="connsiteX2" fmla="*/ 1922593 w 1922593"/>
              <a:gd name="connsiteY2" fmla="*/ 1829065 h 2011796"/>
              <a:gd name="connsiteX3" fmla="*/ 132110 w 1922593"/>
              <a:gd name="connsiteY3" fmla="*/ 2011796 h 2011796"/>
              <a:gd name="connsiteX4" fmla="*/ 89 w 1922593"/>
              <a:gd name="connsiteY4" fmla="*/ 166816 h 2011796"/>
              <a:gd name="connsiteX0" fmla="*/ -1 w 1922503"/>
              <a:gd name="connsiteY0" fmla="*/ 166818 h 2011798"/>
              <a:gd name="connsiteX1" fmla="*/ 1803574 w 1922503"/>
              <a:gd name="connsiteY1" fmla="*/ 1 h 2011798"/>
              <a:gd name="connsiteX2" fmla="*/ 1922503 w 1922503"/>
              <a:gd name="connsiteY2" fmla="*/ 1829067 h 2011798"/>
              <a:gd name="connsiteX3" fmla="*/ 132020 w 1922503"/>
              <a:gd name="connsiteY3" fmla="*/ 2011798 h 2011798"/>
              <a:gd name="connsiteX4" fmla="*/ -1 w 1922503"/>
              <a:gd name="connsiteY4" fmla="*/ 166818 h 2011798"/>
              <a:gd name="connsiteX0" fmla="*/ 0 w 1922504"/>
              <a:gd name="connsiteY0" fmla="*/ 166816 h 2011796"/>
              <a:gd name="connsiteX1" fmla="*/ 1803575 w 1922504"/>
              <a:gd name="connsiteY1" fmla="*/ -1 h 2011796"/>
              <a:gd name="connsiteX2" fmla="*/ 1922504 w 1922504"/>
              <a:gd name="connsiteY2" fmla="*/ 1829065 h 2011796"/>
              <a:gd name="connsiteX3" fmla="*/ 132021 w 1922504"/>
              <a:gd name="connsiteY3" fmla="*/ 2011796 h 2011796"/>
              <a:gd name="connsiteX4" fmla="*/ 0 w 1922504"/>
              <a:gd name="connsiteY4" fmla="*/ 166816 h 2011796"/>
              <a:gd name="connsiteX0" fmla="*/ 0 w 1922504"/>
              <a:gd name="connsiteY0" fmla="*/ 166818 h 2011798"/>
              <a:gd name="connsiteX1" fmla="*/ 1803575 w 1922504"/>
              <a:gd name="connsiteY1" fmla="*/ 1 h 2011798"/>
              <a:gd name="connsiteX2" fmla="*/ 1922504 w 1922504"/>
              <a:gd name="connsiteY2" fmla="*/ 1829067 h 2011798"/>
              <a:gd name="connsiteX3" fmla="*/ 132021 w 1922504"/>
              <a:gd name="connsiteY3" fmla="*/ 2011798 h 2011798"/>
              <a:gd name="connsiteX4" fmla="*/ 0 w 1922504"/>
              <a:gd name="connsiteY4" fmla="*/ 166818 h 2011798"/>
              <a:gd name="connsiteX0" fmla="*/ 0 w 1888139"/>
              <a:gd name="connsiteY0" fmla="*/ 161175 h 2011796"/>
              <a:gd name="connsiteX1" fmla="*/ 1769210 w 1888139"/>
              <a:gd name="connsiteY1" fmla="*/ -1 h 2011796"/>
              <a:gd name="connsiteX2" fmla="*/ 1888139 w 1888139"/>
              <a:gd name="connsiteY2" fmla="*/ 1829065 h 2011796"/>
              <a:gd name="connsiteX3" fmla="*/ 97656 w 1888139"/>
              <a:gd name="connsiteY3" fmla="*/ 2011796 h 2011796"/>
              <a:gd name="connsiteX4" fmla="*/ 0 w 1888139"/>
              <a:gd name="connsiteY4" fmla="*/ 161175 h 2011796"/>
              <a:gd name="connsiteX0" fmla="*/ 0 w 1930483"/>
              <a:gd name="connsiteY0" fmla="*/ 150391 h 2011798"/>
              <a:gd name="connsiteX1" fmla="*/ 1811554 w 1930483"/>
              <a:gd name="connsiteY1" fmla="*/ 1 h 2011798"/>
              <a:gd name="connsiteX2" fmla="*/ 1930483 w 1930483"/>
              <a:gd name="connsiteY2" fmla="*/ 1829067 h 2011798"/>
              <a:gd name="connsiteX3" fmla="*/ 140000 w 1930483"/>
              <a:gd name="connsiteY3" fmla="*/ 2011798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483" h="2011798">
                <a:moveTo>
                  <a:pt x="0" y="150391"/>
                </a:moveTo>
                <a:lnTo>
                  <a:pt x="1811554" y="1"/>
                </a:lnTo>
                <a:cubicBezTo>
                  <a:pt x="1861500" y="619129"/>
                  <a:pt x="1812494" y="-6349"/>
                  <a:pt x="1930483" y="1829067"/>
                </a:cubicBezTo>
                <a:lnTo>
                  <a:pt x="140001" y="2011799"/>
                </a:lnTo>
                <a:cubicBezTo>
                  <a:pt x="107996" y="1627997"/>
                  <a:pt x="137784" y="2018247"/>
                  <a:pt x="0" y="150391"/>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3" name="Picture Placeholder 26">
            <a:extLst>
              <a:ext uri="{FF2B5EF4-FFF2-40B4-BE49-F238E27FC236}">
                <a16:creationId xmlns:a16="http://schemas.microsoft.com/office/drawing/2014/main" id="{492F30E8-3EB9-D3A5-B2E7-1AA3A9F0E8B4}"/>
              </a:ext>
            </a:extLst>
          </p:cNvPr>
          <p:cNvSpPr>
            <a:spLocks noGrp="1"/>
          </p:cNvSpPr>
          <p:nvPr>
            <p:ph type="pic" sz="quarter" idx="36"/>
          </p:nvPr>
        </p:nvSpPr>
        <p:spPr>
          <a:xfrm>
            <a:off x="4884382" y="4744694"/>
            <a:ext cx="2718069" cy="209425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837246"/>
              <a:gd name="connsiteY0" fmla="*/ 1223168 h 1223168"/>
              <a:gd name="connsiteX1" fmla="*/ 0 w 5837246"/>
              <a:gd name="connsiteY1" fmla="*/ 2167 h 1223168"/>
              <a:gd name="connsiteX2" fmla="*/ 5837246 w 5837246"/>
              <a:gd name="connsiteY2" fmla="*/ 184635 h 1223168"/>
              <a:gd name="connsiteX3" fmla="*/ 5710691 w 5837246"/>
              <a:gd name="connsiteY3" fmla="*/ 1149199 h 1223168"/>
              <a:gd name="connsiteX4" fmla="*/ 180172 w 5837246"/>
              <a:gd name="connsiteY4" fmla="*/ 1223168 h 1223168"/>
              <a:gd name="connsiteX0" fmla="*/ 7782 w 5664856"/>
              <a:gd name="connsiteY0" fmla="*/ 1436049 h 1436049"/>
              <a:gd name="connsiteX1" fmla="*/ 419375 w 5664856"/>
              <a:gd name="connsiteY1" fmla="*/ 1176 h 1436049"/>
              <a:gd name="connsiteX2" fmla="*/ 5664856 w 5664856"/>
              <a:gd name="connsiteY2" fmla="*/ 397516 h 1436049"/>
              <a:gd name="connsiteX3" fmla="*/ 5538301 w 5664856"/>
              <a:gd name="connsiteY3" fmla="*/ 1362080 h 1436049"/>
              <a:gd name="connsiteX4" fmla="*/ 7782 w 5664856"/>
              <a:gd name="connsiteY4" fmla="*/ 1436049 h 1436049"/>
              <a:gd name="connsiteX0" fmla="*/ 5018 w 6021376"/>
              <a:gd name="connsiteY0" fmla="*/ 1150888 h 1362080"/>
              <a:gd name="connsiteX1" fmla="*/ 775895 w 6021376"/>
              <a:gd name="connsiteY1" fmla="*/ 1176 h 1362080"/>
              <a:gd name="connsiteX2" fmla="*/ 6021376 w 6021376"/>
              <a:gd name="connsiteY2" fmla="*/ 397516 h 1362080"/>
              <a:gd name="connsiteX3" fmla="*/ 5894821 w 6021376"/>
              <a:gd name="connsiteY3" fmla="*/ 1362080 h 1362080"/>
              <a:gd name="connsiteX4" fmla="*/ 5018 w 6021376"/>
              <a:gd name="connsiteY4" fmla="*/ 1150888 h 1362080"/>
              <a:gd name="connsiteX0" fmla="*/ 5018 w 6021376"/>
              <a:gd name="connsiteY0" fmla="*/ 1150888 h 1575951"/>
              <a:gd name="connsiteX1" fmla="*/ 775895 w 6021376"/>
              <a:gd name="connsiteY1" fmla="*/ 1176 h 1575951"/>
              <a:gd name="connsiteX2" fmla="*/ 6021376 w 6021376"/>
              <a:gd name="connsiteY2" fmla="*/ 397516 h 1575951"/>
              <a:gd name="connsiteX3" fmla="*/ 5303059 w 6021376"/>
              <a:gd name="connsiteY3" fmla="*/ 1575951 h 1575951"/>
              <a:gd name="connsiteX4" fmla="*/ 5018 w 6021376"/>
              <a:gd name="connsiteY4" fmla="*/ 1150888 h 1575951"/>
              <a:gd name="connsiteX0" fmla="*/ 5018 w 6105916"/>
              <a:gd name="connsiteY0" fmla="*/ 1150821 h 1575884"/>
              <a:gd name="connsiteX1" fmla="*/ 775895 w 6105916"/>
              <a:gd name="connsiteY1" fmla="*/ 1109 h 1575884"/>
              <a:gd name="connsiteX2" fmla="*/ 6105916 w 6105916"/>
              <a:gd name="connsiteY2" fmla="*/ 425965 h 1575884"/>
              <a:gd name="connsiteX3" fmla="*/ 5303059 w 6105916"/>
              <a:gd name="connsiteY3" fmla="*/ 1575884 h 1575884"/>
              <a:gd name="connsiteX4" fmla="*/ 5018 w 6105916"/>
              <a:gd name="connsiteY4" fmla="*/ 1150821 h 1575884"/>
              <a:gd name="connsiteX0" fmla="*/ 5018 w 6105916"/>
              <a:gd name="connsiteY0" fmla="*/ 1151465 h 1576528"/>
              <a:gd name="connsiteX1" fmla="*/ 775895 w 6105916"/>
              <a:gd name="connsiteY1" fmla="*/ 1753 h 1576528"/>
              <a:gd name="connsiteX2" fmla="*/ 6105916 w 6105916"/>
              <a:gd name="connsiteY2" fmla="*/ 426609 h 1576528"/>
              <a:gd name="connsiteX3" fmla="*/ 5303059 w 6105916"/>
              <a:gd name="connsiteY3" fmla="*/ 1576528 h 1576528"/>
              <a:gd name="connsiteX4" fmla="*/ 5018 w 6105916"/>
              <a:gd name="connsiteY4" fmla="*/ 1151465 h 1576528"/>
              <a:gd name="connsiteX0" fmla="*/ 5018 w 6105916"/>
              <a:gd name="connsiteY0" fmla="*/ 1149712 h 1574775"/>
              <a:gd name="connsiteX1" fmla="*/ 775895 w 6105916"/>
              <a:gd name="connsiteY1" fmla="*/ 0 h 1574775"/>
              <a:gd name="connsiteX2" fmla="*/ 6105916 w 6105916"/>
              <a:gd name="connsiteY2" fmla="*/ 424856 h 1574775"/>
              <a:gd name="connsiteX3" fmla="*/ 5303059 w 6105916"/>
              <a:gd name="connsiteY3" fmla="*/ 1574775 h 1574775"/>
              <a:gd name="connsiteX4" fmla="*/ 5018 w 6105916"/>
              <a:gd name="connsiteY4" fmla="*/ 1149712 h 1574775"/>
              <a:gd name="connsiteX0" fmla="*/ 9789 w 6110687"/>
              <a:gd name="connsiteY0" fmla="*/ 1149712 h 1574775"/>
              <a:gd name="connsiteX1" fmla="*/ 780666 w 6110687"/>
              <a:gd name="connsiteY1" fmla="*/ 0 h 1574775"/>
              <a:gd name="connsiteX2" fmla="*/ 6110687 w 6110687"/>
              <a:gd name="connsiteY2" fmla="*/ 424856 h 1574775"/>
              <a:gd name="connsiteX3" fmla="*/ 5307830 w 6110687"/>
              <a:gd name="connsiteY3" fmla="*/ 1574775 h 1574775"/>
              <a:gd name="connsiteX4" fmla="*/ 9789 w 6110687"/>
              <a:gd name="connsiteY4" fmla="*/ 1149712 h 1574775"/>
              <a:gd name="connsiteX0" fmla="*/ 1 w 6100899"/>
              <a:gd name="connsiteY0" fmla="*/ 1149712 h 1574775"/>
              <a:gd name="connsiteX1" fmla="*/ 770878 w 6100899"/>
              <a:gd name="connsiteY1" fmla="*/ 0 h 1574775"/>
              <a:gd name="connsiteX2" fmla="*/ 6100899 w 6100899"/>
              <a:gd name="connsiteY2" fmla="*/ 424856 h 1574775"/>
              <a:gd name="connsiteX3" fmla="*/ 5298042 w 6100899"/>
              <a:gd name="connsiteY3" fmla="*/ 1574775 h 1574775"/>
              <a:gd name="connsiteX4" fmla="*/ 1 w 6100899"/>
              <a:gd name="connsiteY4" fmla="*/ 1149712 h 1574775"/>
              <a:gd name="connsiteX0" fmla="*/ 1 w 6100899"/>
              <a:gd name="connsiteY0" fmla="*/ 1158717 h 1583780"/>
              <a:gd name="connsiteX1" fmla="*/ 765537 w 6100899"/>
              <a:gd name="connsiteY1" fmla="*/ 0 h 1583780"/>
              <a:gd name="connsiteX2" fmla="*/ 6100899 w 6100899"/>
              <a:gd name="connsiteY2" fmla="*/ 433861 h 1583780"/>
              <a:gd name="connsiteX3" fmla="*/ 5298042 w 6100899"/>
              <a:gd name="connsiteY3" fmla="*/ 1583780 h 1583780"/>
              <a:gd name="connsiteX4" fmla="*/ 1 w 6100899"/>
              <a:gd name="connsiteY4" fmla="*/ 1158717 h 1583780"/>
              <a:gd name="connsiteX0" fmla="*/ 1 w 6108017"/>
              <a:gd name="connsiteY0" fmla="*/ 1158717 h 1583780"/>
              <a:gd name="connsiteX1" fmla="*/ 765537 w 6108017"/>
              <a:gd name="connsiteY1" fmla="*/ 0 h 1583780"/>
              <a:gd name="connsiteX2" fmla="*/ 6108017 w 6108017"/>
              <a:gd name="connsiteY2" fmla="*/ 426658 h 1583780"/>
              <a:gd name="connsiteX3" fmla="*/ 5298042 w 6108017"/>
              <a:gd name="connsiteY3" fmla="*/ 1583780 h 1583780"/>
              <a:gd name="connsiteX4" fmla="*/ 1 w 6108017"/>
              <a:gd name="connsiteY4" fmla="*/ 1158717 h 1583780"/>
              <a:gd name="connsiteX0" fmla="*/ 1 w 6022599"/>
              <a:gd name="connsiteY0" fmla="*/ 1158717 h 1583780"/>
              <a:gd name="connsiteX1" fmla="*/ 765537 w 6022599"/>
              <a:gd name="connsiteY1" fmla="*/ 0 h 1583780"/>
              <a:gd name="connsiteX2" fmla="*/ 6022599 w 6022599"/>
              <a:gd name="connsiteY2" fmla="*/ 496289 h 1583780"/>
              <a:gd name="connsiteX3" fmla="*/ 5298042 w 6022599"/>
              <a:gd name="connsiteY3" fmla="*/ 1583780 h 1583780"/>
              <a:gd name="connsiteX4" fmla="*/ 1 w 6022599"/>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781" h="1583780">
                <a:moveTo>
                  <a:pt x="1" y="1158717"/>
                </a:moveTo>
                <a:cubicBezTo>
                  <a:pt x="766539" y="4365"/>
                  <a:pt x="365353" y="624033"/>
                  <a:pt x="765537" y="0"/>
                </a:cubicBezTo>
                <a:lnTo>
                  <a:pt x="6093781" y="419454"/>
                </a:lnTo>
                <a:cubicBezTo>
                  <a:pt x="5285674" y="1578517"/>
                  <a:pt x="5284019" y="1569366"/>
                  <a:pt x="5298042" y="1583780"/>
                </a:cubicBezTo>
                <a:lnTo>
                  <a:pt x="1" y="1158717"/>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20906054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ont Cover opt 1c GRADI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2" name="Text Placeholder 3">
            <a:extLst>
              <a:ext uri="{FF2B5EF4-FFF2-40B4-BE49-F238E27FC236}">
                <a16:creationId xmlns:a16="http://schemas.microsoft.com/office/drawing/2014/main" id="{95EC4B96-D9FC-177E-C2EB-0FEFCB138F14}"/>
              </a:ext>
            </a:extLst>
          </p:cNvPr>
          <p:cNvSpPr>
            <a:spLocks noGrp="1"/>
          </p:cNvSpPr>
          <p:nvPr>
            <p:ph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sp>
        <p:nvSpPr>
          <p:cNvPr id="8" name="Picture Placeholder 26">
            <a:extLst>
              <a:ext uri="{FF2B5EF4-FFF2-40B4-BE49-F238E27FC236}">
                <a16:creationId xmlns:a16="http://schemas.microsoft.com/office/drawing/2014/main" id="{6EA817D3-02BE-E332-4E11-66EA00CAD1C9}"/>
              </a:ext>
            </a:extLst>
          </p:cNvPr>
          <p:cNvSpPr>
            <a:spLocks noGrp="1"/>
          </p:cNvSpPr>
          <p:nvPr>
            <p:ph type="pic" sz="quarter" idx="30"/>
          </p:nvPr>
        </p:nvSpPr>
        <p:spPr>
          <a:xfrm rot="21442413">
            <a:off x="948765" y="1956622"/>
            <a:ext cx="2180364" cy="17943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37 w 2013698"/>
              <a:gd name="connsiteY0" fmla="*/ 74480 h 1873165"/>
              <a:gd name="connsiteX1" fmla="*/ 1996598 w 2013698"/>
              <a:gd name="connsiteY1" fmla="*/ 208 h 1873165"/>
              <a:gd name="connsiteX2" fmla="*/ 2013698 w 2013698"/>
              <a:gd name="connsiteY2" fmla="*/ 1873165 h 1873165"/>
              <a:gd name="connsiteX3" fmla="*/ 77393 w 2013698"/>
              <a:gd name="connsiteY3" fmla="*/ 1855682 h 1873165"/>
              <a:gd name="connsiteX4" fmla="*/ 137 w 2013698"/>
              <a:gd name="connsiteY4" fmla="*/ 74480 h 1873165"/>
              <a:gd name="connsiteX0" fmla="*/ 137 w 2013698"/>
              <a:gd name="connsiteY0" fmla="*/ 159510 h 1958195"/>
              <a:gd name="connsiteX1" fmla="*/ 1893003 w 2013698"/>
              <a:gd name="connsiteY1" fmla="*/ 104 h 1958195"/>
              <a:gd name="connsiteX2" fmla="*/ 2013698 w 2013698"/>
              <a:gd name="connsiteY2" fmla="*/ 1958195 h 1958195"/>
              <a:gd name="connsiteX3" fmla="*/ 77393 w 2013698"/>
              <a:gd name="connsiteY3" fmla="*/ 1940712 h 1958195"/>
              <a:gd name="connsiteX4" fmla="*/ 137 w 2013698"/>
              <a:gd name="connsiteY4" fmla="*/ 159510 h 1958195"/>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1909053"/>
              <a:gd name="connsiteY0" fmla="*/ 159406 h 1994235"/>
              <a:gd name="connsiteX1" fmla="*/ 1892866 w 1909053"/>
              <a:gd name="connsiteY1" fmla="*/ 0 h 1994235"/>
              <a:gd name="connsiteX2" fmla="*/ 1862308 w 1909053"/>
              <a:gd name="connsiteY2" fmla="*/ 1838564 h 1994235"/>
              <a:gd name="connsiteX3" fmla="*/ 137534 w 1909053"/>
              <a:gd name="connsiteY3" fmla="*/ 1994235 h 1994235"/>
              <a:gd name="connsiteX4" fmla="*/ 0 w 1909053"/>
              <a:gd name="connsiteY4" fmla="*/ 159406 h 1994235"/>
              <a:gd name="connsiteX0" fmla="*/ 0 w 1914172"/>
              <a:gd name="connsiteY0" fmla="*/ 159406 h 1994235"/>
              <a:gd name="connsiteX1" fmla="*/ 1892866 w 1914172"/>
              <a:gd name="connsiteY1" fmla="*/ 0 h 1994235"/>
              <a:gd name="connsiteX2" fmla="*/ 1891296 w 1914172"/>
              <a:gd name="connsiteY2" fmla="*/ 1837497 h 1994235"/>
              <a:gd name="connsiteX3" fmla="*/ 137534 w 1914172"/>
              <a:gd name="connsiteY3" fmla="*/ 1994235 h 1994235"/>
              <a:gd name="connsiteX4" fmla="*/ 0 w 1914172"/>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640" h="1994235">
                <a:moveTo>
                  <a:pt x="0" y="159406"/>
                </a:moveTo>
                <a:cubicBezTo>
                  <a:pt x="711924" y="104508"/>
                  <a:pt x="1256181" y="66953"/>
                  <a:pt x="1892866" y="0"/>
                </a:cubicBezTo>
                <a:cubicBezTo>
                  <a:pt x="1929401" y="535703"/>
                  <a:pt x="1979577" y="1067518"/>
                  <a:pt x="2036640" y="1821585"/>
                </a:cubicBezTo>
                <a:lnTo>
                  <a:pt x="137534" y="1994235"/>
                </a:lnTo>
                <a:cubicBezTo>
                  <a:pt x="84182" y="1353742"/>
                  <a:pt x="42653" y="788718"/>
                  <a:pt x="0" y="159406"/>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9" name="Picture Placeholder 26">
            <a:extLst>
              <a:ext uri="{FF2B5EF4-FFF2-40B4-BE49-F238E27FC236}">
                <a16:creationId xmlns:a16="http://schemas.microsoft.com/office/drawing/2014/main" id="{47750D07-B536-A7F8-92FC-3DF67394D9EE}"/>
              </a:ext>
            </a:extLst>
          </p:cNvPr>
          <p:cNvSpPr>
            <a:spLocks noGrp="1"/>
          </p:cNvSpPr>
          <p:nvPr>
            <p:ph type="pic" sz="quarter" idx="31"/>
          </p:nvPr>
        </p:nvSpPr>
        <p:spPr>
          <a:xfrm>
            <a:off x="391720" y="222210"/>
            <a:ext cx="1982274" cy="19448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8993" h="2456018">
                <a:moveTo>
                  <a:pt x="494263" y="0"/>
                </a:moveTo>
                <a:lnTo>
                  <a:pt x="2278993" y="563358"/>
                </a:lnTo>
                <a:cubicBezTo>
                  <a:pt x="2108271" y="1233567"/>
                  <a:pt x="1965255" y="1749722"/>
                  <a:pt x="1772632" y="2456018"/>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0" name="Picture Placeholder 26">
            <a:extLst>
              <a:ext uri="{FF2B5EF4-FFF2-40B4-BE49-F238E27FC236}">
                <a16:creationId xmlns:a16="http://schemas.microsoft.com/office/drawing/2014/main" id="{93A711F3-A2A7-4CAA-FF1D-769A17D32221}"/>
              </a:ext>
            </a:extLst>
          </p:cNvPr>
          <p:cNvSpPr>
            <a:spLocks noGrp="1"/>
          </p:cNvSpPr>
          <p:nvPr>
            <p:ph type="pic" sz="quarter" idx="32"/>
          </p:nvPr>
        </p:nvSpPr>
        <p:spPr>
          <a:xfrm>
            <a:off x="966952" y="1668340"/>
            <a:ext cx="4350913" cy="396296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192802 w 4392336"/>
              <a:gd name="connsiteY0" fmla="*/ 3224763 h 3224763"/>
              <a:gd name="connsiteX1" fmla="*/ 0 w 4392336"/>
              <a:gd name="connsiteY1" fmla="*/ 2614 h 3224763"/>
              <a:gd name="connsiteX2" fmla="*/ 4392336 w 4392336"/>
              <a:gd name="connsiteY2" fmla="*/ 81304 h 3224763"/>
              <a:gd name="connsiteX3" fmla="*/ 4025810 w 4392336"/>
              <a:gd name="connsiteY3" fmla="*/ 3155802 h 3224763"/>
              <a:gd name="connsiteX4" fmla="*/ 192802 w 4392336"/>
              <a:gd name="connsiteY4" fmla="*/ 3224763 h 3224763"/>
              <a:gd name="connsiteX0" fmla="*/ 192802 w 6810448"/>
              <a:gd name="connsiteY0" fmla="*/ 3920193 h 3920193"/>
              <a:gd name="connsiteX1" fmla="*/ 0 w 6810448"/>
              <a:gd name="connsiteY1" fmla="*/ 698044 h 3920193"/>
              <a:gd name="connsiteX2" fmla="*/ 4392336 w 6810448"/>
              <a:gd name="connsiteY2" fmla="*/ 776734 h 3920193"/>
              <a:gd name="connsiteX3" fmla="*/ 6810448 w 6810448"/>
              <a:gd name="connsiteY3" fmla="*/ 1713299 h 3920193"/>
              <a:gd name="connsiteX4" fmla="*/ 192802 w 6810448"/>
              <a:gd name="connsiteY4" fmla="*/ 3920193 h 3920193"/>
              <a:gd name="connsiteX0" fmla="*/ 192802 w 6810448"/>
              <a:gd name="connsiteY0" fmla="*/ 3224763 h 3224763"/>
              <a:gd name="connsiteX1" fmla="*/ 0 w 6810448"/>
              <a:gd name="connsiteY1" fmla="*/ 2614 h 3224763"/>
              <a:gd name="connsiteX2" fmla="*/ 4392336 w 6810448"/>
              <a:gd name="connsiteY2" fmla="*/ 81304 h 3224763"/>
              <a:gd name="connsiteX3" fmla="*/ 6810448 w 6810448"/>
              <a:gd name="connsiteY3" fmla="*/ 1017869 h 3224763"/>
              <a:gd name="connsiteX4" fmla="*/ 192802 w 6810448"/>
              <a:gd name="connsiteY4" fmla="*/ 3224763 h 3224763"/>
              <a:gd name="connsiteX0" fmla="*/ 3028690 w 9646336"/>
              <a:gd name="connsiteY0" fmla="*/ 3143459 h 3143459"/>
              <a:gd name="connsiteX1" fmla="*/ 0 w 9646336"/>
              <a:gd name="connsiteY1" fmla="*/ 2013142 h 3143459"/>
              <a:gd name="connsiteX2" fmla="*/ 7228224 w 9646336"/>
              <a:gd name="connsiteY2" fmla="*/ 0 h 3143459"/>
              <a:gd name="connsiteX3" fmla="*/ 9646336 w 9646336"/>
              <a:gd name="connsiteY3" fmla="*/ 936565 h 3143459"/>
              <a:gd name="connsiteX4" fmla="*/ 3028690 w 9646336"/>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697587"/>
              <a:gd name="connsiteY0" fmla="*/ 3143459 h 3143459"/>
              <a:gd name="connsiteX1" fmla="*/ 0 w 9697587"/>
              <a:gd name="connsiteY1" fmla="*/ 2047718 h 3143459"/>
              <a:gd name="connsiteX2" fmla="*/ 7279475 w 9697587"/>
              <a:gd name="connsiteY2" fmla="*/ 0 h 3143459"/>
              <a:gd name="connsiteX3" fmla="*/ 9697587 w 9697587"/>
              <a:gd name="connsiteY3" fmla="*/ 936565 h 3143459"/>
              <a:gd name="connsiteX4" fmla="*/ 3079941 w 9697587"/>
              <a:gd name="connsiteY4" fmla="*/ 3143459 h 3143459"/>
              <a:gd name="connsiteX0" fmla="*/ 3079941 w 9783005"/>
              <a:gd name="connsiteY0" fmla="*/ 3143459 h 3143459"/>
              <a:gd name="connsiteX1" fmla="*/ 0 w 9783005"/>
              <a:gd name="connsiteY1" fmla="*/ 2047718 h 3143459"/>
              <a:gd name="connsiteX2" fmla="*/ 7279475 w 9783005"/>
              <a:gd name="connsiteY2" fmla="*/ 0 h 3143459"/>
              <a:gd name="connsiteX3" fmla="*/ 9783005 w 9783005"/>
              <a:gd name="connsiteY3" fmla="*/ 948091 h 3143459"/>
              <a:gd name="connsiteX4" fmla="*/ 3079941 w 9783005"/>
              <a:gd name="connsiteY4" fmla="*/ 3143459 h 3143459"/>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3028207 h 3028207"/>
              <a:gd name="connsiteX1" fmla="*/ 0 w 9783005"/>
              <a:gd name="connsiteY1" fmla="*/ 2047718 h 3028207"/>
              <a:gd name="connsiteX2" fmla="*/ 7279475 w 9783005"/>
              <a:gd name="connsiteY2" fmla="*/ 0 h 3028207"/>
              <a:gd name="connsiteX3" fmla="*/ 9783005 w 9783005"/>
              <a:gd name="connsiteY3" fmla="*/ 948091 h 3028207"/>
              <a:gd name="connsiteX4" fmla="*/ 2413677 w 9783005"/>
              <a:gd name="connsiteY4" fmla="*/ 3028207 h 302820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83005"/>
              <a:gd name="connsiteY0" fmla="*/ 2984987 h 2984987"/>
              <a:gd name="connsiteX1" fmla="*/ 0 w 9783005"/>
              <a:gd name="connsiteY1" fmla="*/ 2004498 h 2984987"/>
              <a:gd name="connsiteX2" fmla="*/ 7300829 w 9783005"/>
              <a:gd name="connsiteY2" fmla="*/ 0 h 2984987"/>
              <a:gd name="connsiteX3" fmla="*/ 9783005 w 9783005"/>
              <a:gd name="connsiteY3" fmla="*/ 904871 h 2984987"/>
              <a:gd name="connsiteX4" fmla="*/ 2413677 w 9783005"/>
              <a:gd name="connsiteY4" fmla="*/ 2984987 h 2984987"/>
              <a:gd name="connsiteX0" fmla="*/ 2413677 w 9790123"/>
              <a:gd name="connsiteY0" fmla="*/ 2984987 h 2984987"/>
              <a:gd name="connsiteX1" fmla="*/ 0 w 9790123"/>
              <a:gd name="connsiteY1" fmla="*/ 2004498 h 2984987"/>
              <a:gd name="connsiteX2" fmla="*/ 7300829 w 9790123"/>
              <a:gd name="connsiteY2" fmla="*/ 0 h 2984987"/>
              <a:gd name="connsiteX3" fmla="*/ 9790123 w 9790123"/>
              <a:gd name="connsiteY3" fmla="*/ 950492 h 2984987"/>
              <a:gd name="connsiteX4" fmla="*/ 2413677 w 9790123"/>
              <a:gd name="connsiteY4" fmla="*/ 2984987 h 2984987"/>
              <a:gd name="connsiteX0" fmla="*/ 2534687 w 9790123"/>
              <a:gd name="connsiteY0" fmla="*/ 2996992 h 2996992"/>
              <a:gd name="connsiteX1" fmla="*/ 0 w 9790123"/>
              <a:gd name="connsiteY1" fmla="*/ 2004498 h 2996992"/>
              <a:gd name="connsiteX2" fmla="*/ 7300829 w 9790123"/>
              <a:gd name="connsiteY2" fmla="*/ 0 h 2996992"/>
              <a:gd name="connsiteX3" fmla="*/ 9790123 w 9790123"/>
              <a:gd name="connsiteY3" fmla="*/ 950492 h 2996992"/>
              <a:gd name="connsiteX4" fmla="*/ 2534687 w 9790123"/>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 name="connsiteX0" fmla="*/ 2499096 w 9754532"/>
              <a:gd name="connsiteY0" fmla="*/ 2996992 h 2996992"/>
              <a:gd name="connsiteX1" fmla="*/ 0 w 9754532"/>
              <a:gd name="connsiteY1" fmla="*/ 2033312 h 2996992"/>
              <a:gd name="connsiteX2" fmla="*/ 7265238 w 9754532"/>
              <a:gd name="connsiteY2" fmla="*/ 0 h 2996992"/>
              <a:gd name="connsiteX3" fmla="*/ 9754532 w 9754532"/>
              <a:gd name="connsiteY3" fmla="*/ 950492 h 2996992"/>
              <a:gd name="connsiteX4" fmla="*/ 2499096 w 9754532"/>
              <a:gd name="connsiteY4" fmla="*/ 2996992 h 299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32" h="2996992">
                <a:moveTo>
                  <a:pt x="2499096" y="2996992"/>
                </a:moveTo>
                <a:cubicBezTo>
                  <a:pt x="1586600" y="2642340"/>
                  <a:pt x="1079349" y="2471791"/>
                  <a:pt x="0" y="2033312"/>
                </a:cubicBezTo>
                <a:lnTo>
                  <a:pt x="7265238" y="0"/>
                </a:lnTo>
                <a:lnTo>
                  <a:pt x="9754532" y="950492"/>
                </a:lnTo>
                <a:lnTo>
                  <a:pt x="2499096" y="2996992"/>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11" name="Picture Placeholder 26">
            <a:extLst>
              <a:ext uri="{FF2B5EF4-FFF2-40B4-BE49-F238E27FC236}">
                <a16:creationId xmlns:a16="http://schemas.microsoft.com/office/drawing/2014/main" id="{070F7C38-4418-A81F-B17A-70C27E7CDF8B}"/>
              </a:ext>
            </a:extLst>
          </p:cNvPr>
          <p:cNvSpPr>
            <a:spLocks noGrp="1"/>
          </p:cNvSpPr>
          <p:nvPr>
            <p:ph type="pic" sz="quarter" idx="34"/>
          </p:nvPr>
        </p:nvSpPr>
        <p:spPr>
          <a:xfrm rot="165514">
            <a:off x="2434558" y="3333575"/>
            <a:ext cx="3096769" cy="2998391"/>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445830 h 1445830"/>
              <a:gd name="connsiteX1" fmla="*/ 0 w 6259590"/>
              <a:gd name="connsiteY1" fmla="*/ 137607 h 1445830"/>
              <a:gd name="connsiteX2" fmla="*/ 5795709 w 6259590"/>
              <a:gd name="connsiteY2" fmla="*/ 0 h 1445830"/>
              <a:gd name="connsiteX3" fmla="*/ 6259591 w 6259590"/>
              <a:gd name="connsiteY3" fmla="*/ 1256561 h 1445830"/>
              <a:gd name="connsiteX4" fmla="*/ 280921 w 6259590"/>
              <a:gd name="connsiteY4" fmla="*/ 1445830 h 1445830"/>
              <a:gd name="connsiteX0" fmla="*/ 280921 w 6259590"/>
              <a:gd name="connsiteY0" fmla="*/ 1308223 h 1308223"/>
              <a:gd name="connsiteX1" fmla="*/ 0 w 6259590"/>
              <a:gd name="connsiteY1" fmla="*/ 0 h 1308223"/>
              <a:gd name="connsiteX2" fmla="*/ 5848815 w 6259590"/>
              <a:gd name="connsiteY2" fmla="*/ 34609 h 1308223"/>
              <a:gd name="connsiteX3" fmla="*/ 6259591 w 6259590"/>
              <a:gd name="connsiteY3" fmla="*/ 1118954 h 1308223"/>
              <a:gd name="connsiteX4" fmla="*/ 280921 w 6259590"/>
              <a:gd name="connsiteY4" fmla="*/ 1308223 h 1308223"/>
              <a:gd name="connsiteX0" fmla="*/ 280921 w 6259590"/>
              <a:gd name="connsiteY0" fmla="*/ 1409625 h 1409625"/>
              <a:gd name="connsiteX1" fmla="*/ 0 w 6259590"/>
              <a:gd name="connsiteY1" fmla="*/ 101402 h 1409625"/>
              <a:gd name="connsiteX2" fmla="*/ 5786627 w 6259590"/>
              <a:gd name="connsiteY2" fmla="*/ 0 h 1409625"/>
              <a:gd name="connsiteX3" fmla="*/ 6259591 w 6259590"/>
              <a:gd name="connsiteY3" fmla="*/ 1220356 h 1409625"/>
              <a:gd name="connsiteX4" fmla="*/ 280921 w 6259590"/>
              <a:gd name="connsiteY4" fmla="*/ 1409625 h 1409625"/>
              <a:gd name="connsiteX0" fmla="*/ 280921 w 6259590"/>
              <a:gd name="connsiteY0" fmla="*/ 1308223 h 1308223"/>
              <a:gd name="connsiteX1" fmla="*/ 0 w 6259590"/>
              <a:gd name="connsiteY1" fmla="*/ 0 h 1308223"/>
              <a:gd name="connsiteX2" fmla="*/ 5851640 w 6259590"/>
              <a:gd name="connsiteY2" fmla="*/ 104274 h 1308223"/>
              <a:gd name="connsiteX3" fmla="*/ 6259591 w 6259590"/>
              <a:gd name="connsiteY3" fmla="*/ 1118954 h 1308223"/>
              <a:gd name="connsiteX4" fmla="*/ 280921 w 6259590"/>
              <a:gd name="connsiteY4" fmla="*/ 1308223 h 1308223"/>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622397 w 6601066"/>
              <a:gd name="connsiteY0" fmla="*/ 1516769 h 1516769"/>
              <a:gd name="connsiteX1" fmla="*/ -1 w 6601066"/>
              <a:gd name="connsiteY1" fmla="*/ 549437 h 1516769"/>
              <a:gd name="connsiteX2" fmla="*/ 6212569 w 6601066"/>
              <a:gd name="connsiteY2" fmla="*/ 0 h 1516769"/>
              <a:gd name="connsiteX3" fmla="*/ 6601067 w 6601066"/>
              <a:gd name="connsiteY3" fmla="*/ 1327500 h 1516769"/>
              <a:gd name="connsiteX4" fmla="*/ 622397 w 6601066"/>
              <a:gd name="connsiteY4" fmla="*/ 1516769 h 1516769"/>
              <a:gd name="connsiteX0" fmla="*/ 622397 w 6601066"/>
              <a:gd name="connsiteY0" fmla="*/ 1883049 h 1883049"/>
              <a:gd name="connsiteX1" fmla="*/ -1 w 6601066"/>
              <a:gd name="connsiteY1" fmla="*/ 915717 h 1883049"/>
              <a:gd name="connsiteX2" fmla="*/ 2680760 w 6601066"/>
              <a:gd name="connsiteY2" fmla="*/ 0 h 1883049"/>
              <a:gd name="connsiteX3" fmla="*/ 6601067 w 6601066"/>
              <a:gd name="connsiteY3" fmla="*/ 1693780 h 1883049"/>
              <a:gd name="connsiteX4" fmla="*/ 622397 w 6601066"/>
              <a:gd name="connsiteY4" fmla="*/ 1883049 h 1883049"/>
              <a:gd name="connsiteX0" fmla="*/ 622397 w 6945374"/>
              <a:gd name="connsiteY0" fmla="*/ 1883049 h 1883049"/>
              <a:gd name="connsiteX1" fmla="*/ -1 w 6945374"/>
              <a:gd name="connsiteY1" fmla="*/ 915717 h 1883049"/>
              <a:gd name="connsiteX2" fmla="*/ 2680760 w 6945374"/>
              <a:gd name="connsiteY2" fmla="*/ 0 h 1883049"/>
              <a:gd name="connsiteX3" fmla="*/ 6945374 w 6945374"/>
              <a:gd name="connsiteY3" fmla="*/ 1372674 h 1883049"/>
              <a:gd name="connsiteX4" fmla="*/ 622397 w 6945374"/>
              <a:gd name="connsiteY4" fmla="*/ 1883049 h 1883049"/>
              <a:gd name="connsiteX0" fmla="*/ 4362625 w 6945374"/>
              <a:gd name="connsiteY0" fmla="*/ 2211687 h 2211687"/>
              <a:gd name="connsiteX1" fmla="*/ -1 w 6945374"/>
              <a:gd name="connsiteY1" fmla="*/ 915717 h 2211687"/>
              <a:gd name="connsiteX2" fmla="*/ 2680760 w 6945374"/>
              <a:gd name="connsiteY2" fmla="*/ 0 h 2211687"/>
              <a:gd name="connsiteX3" fmla="*/ 6945374 w 6945374"/>
              <a:gd name="connsiteY3" fmla="*/ 1372674 h 2211687"/>
              <a:gd name="connsiteX4" fmla="*/ 4362625 w 6945374"/>
              <a:gd name="connsiteY4" fmla="*/ 2211687 h 2211687"/>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55224 h 2255224"/>
              <a:gd name="connsiteX1" fmla="*/ -1 w 6945374"/>
              <a:gd name="connsiteY1" fmla="*/ 887977 h 2255224"/>
              <a:gd name="connsiteX2" fmla="*/ 2748858 w 6945374"/>
              <a:gd name="connsiteY2" fmla="*/ 0 h 2255224"/>
              <a:gd name="connsiteX3" fmla="*/ 6945374 w 6945374"/>
              <a:gd name="connsiteY3" fmla="*/ 1344934 h 2255224"/>
              <a:gd name="connsiteX4" fmla="*/ 4303322 w 6945374"/>
              <a:gd name="connsiteY4" fmla="*/ 2255224 h 2255224"/>
              <a:gd name="connsiteX0" fmla="*/ 4303322 w 6945374"/>
              <a:gd name="connsiteY0" fmla="*/ 2267533 h 2267533"/>
              <a:gd name="connsiteX1" fmla="*/ -1 w 6945374"/>
              <a:gd name="connsiteY1" fmla="*/ 900286 h 2267533"/>
              <a:gd name="connsiteX2" fmla="*/ 2618824 w 6945374"/>
              <a:gd name="connsiteY2" fmla="*/ 0 h 2267533"/>
              <a:gd name="connsiteX3" fmla="*/ 6945374 w 6945374"/>
              <a:gd name="connsiteY3" fmla="*/ 1357243 h 2267533"/>
              <a:gd name="connsiteX4" fmla="*/ 4303322 w 6945374"/>
              <a:gd name="connsiteY4" fmla="*/ 2267533 h 2267533"/>
              <a:gd name="connsiteX0" fmla="*/ 4303322 w 6942805"/>
              <a:gd name="connsiteY0" fmla="*/ 2267533 h 2267533"/>
              <a:gd name="connsiteX1" fmla="*/ -1 w 6942805"/>
              <a:gd name="connsiteY1" fmla="*/ 900286 h 2267533"/>
              <a:gd name="connsiteX2" fmla="*/ 2618824 w 6942805"/>
              <a:gd name="connsiteY2" fmla="*/ 0 h 2267533"/>
              <a:gd name="connsiteX3" fmla="*/ 6942804 w 6942805"/>
              <a:gd name="connsiteY3" fmla="*/ 1339256 h 2267533"/>
              <a:gd name="connsiteX4" fmla="*/ 4303322 w 6942805"/>
              <a:gd name="connsiteY4" fmla="*/ 2267533 h 2267533"/>
              <a:gd name="connsiteX0" fmla="*/ 4303322 w 6942805"/>
              <a:gd name="connsiteY0" fmla="*/ 2267533 h 2267533"/>
              <a:gd name="connsiteX1" fmla="*/ -1 w 6942805"/>
              <a:gd name="connsiteY1" fmla="*/ 900286 h 2267533"/>
              <a:gd name="connsiteX2" fmla="*/ 2618824 w 6942805"/>
              <a:gd name="connsiteY2" fmla="*/ 0 h 2267533"/>
              <a:gd name="connsiteX3" fmla="*/ 6942804 w 6942805"/>
              <a:gd name="connsiteY3" fmla="*/ 1339256 h 2267533"/>
              <a:gd name="connsiteX4" fmla="*/ 4303322 w 6942805"/>
              <a:gd name="connsiteY4" fmla="*/ 2267533 h 2267533"/>
              <a:gd name="connsiteX0" fmla="*/ 4303322 w 6942805"/>
              <a:gd name="connsiteY0" fmla="*/ 2267533 h 2267533"/>
              <a:gd name="connsiteX1" fmla="*/ -1 w 6942805"/>
              <a:gd name="connsiteY1" fmla="*/ 900286 h 2267533"/>
              <a:gd name="connsiteX2" fmla="*/ 2618823 w 6942805"/>
              <a:gd name="connsiteY2" fmla="*/ 0 h 2267533"/>
              <a:gd name="connsiteX3" fmla="*/ 6942804 w 6942805"/>
              <a:gd name="connsiteY3" fmla="*/ 1339256 h 2267533"/>
              <a:gd name="connsiteX4" fmla="*/ 4303322 w 6942805"/>
              <a:gd name="connsiteY4" fmla="*/ 2267533 h 2267533"/>
              <a:gd name="connsiteX0" fmla="*/ 4303322 w 6942805"/>
              <a:gd name="connsiteY0" fmla="*/ 2267533 h 2267533"/>
              <a:gd name="connsiteX1" fmla="*/ -1 w 6942805"/>
              <a:gd name="connsiteY1" fmla="*/ 900286 h 2267533"/>
              <a:gd name="connsiteX2" fmla="*/ 2618823 w 6942805"/>
              <a:gd name="connsiteY2" fmla="*/ 0 h 2267533"/>
              <a:gd name="connsiteX3" fmla="*/ 6942804 w 6942805"/>
              <a:gd name="connsiteY3" fmla="*/ 1339256 h 2267533"/>
              <a:gd name="connsiteX4" fmla="*/ 4303322 w 6942805"/>
              <a:gd name="connsiteY4" fmla="*/ 2267533 h 2267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2805" h="2267533">
                <a:moveTo>
                  <a:pt x="4303322" y="2267533"/>
                </a:moveTo>
                <a:cubicBezTo>
                  <a:pt x="3324334" y="1971844"/>
                  <a:pt x="1518989" y="1389920"/>
                  <a:pt x="-1" y="900286"/>
                </a:cubicBezTo>
                <a:lnTo>
                  <a:pt x="2618823" y="0"/>
                </a:lnTo>
                <a:lnTo>
                  <a:pt x="6942804" y="1339256"/>
                </a:lnTo>
                <a:lnTo>
                  <a:pt x="4303322" y="2267533"/>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7892728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ront Cover opt 1a GRADI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2" name="Text Placeholder 3">
            <a:extLst>
              <a:ext uri="{FF2B5EF4-FFF2-40B4-BE49-F238E27FC236}">
                <a16:creationId xmlns:a16="http://schemas.microsoft.com/office/drawing/2014/main" id="{99446207-0238-711E-94A5-EE0F609762F5}"/>
              </a:ext>
            </a:extLst>
          </p:cNvPr>
          <p:cNvSpPr>
            <a:spLocks noGrp="1"/>
          </p:cNvSpPr>
          <p:nvPr>
            <p:ph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sp>
        <p:nvSpPr>
          <p:cNvPr id="3" name="Picture Placeholder 26">
            <a:extLst>
              <a:ext uri="{FF2B5EF4-FFF2-40B4-BE49-F238E27FC236}">
                <a16:creationId xmlns:a16="http://schemas.microsoft.com/office/drawing/2014/main" id="{B4BA42C0-CE4D-A959-48BE-234197509902}"/>
              </a:ext>
            </a:extLst>
          </p:cNvPr>
          <p:cNvSpPr>
            <a:spLocks noGrp="1"/>
          </p:cNvSpPr>
          <p:nvPr>
            <p:ph type="pic" sz="quarter" idx="30"/>
          </p:nvPr>
        </p:nvSpPr>
        <p:spPr>
          <a:xfrm rot="21442413">
            <a:off x="939240" y="1966146"/>
            <a:ext cx="2180364" cy="179434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37 w 2013698"/>
              <a:gd name="connsiteY0" fmla="*/ 74480 h 1873165"/>
              <a:gd name="connsiteX1" fmla="*/ 1996598 w 2013698"/>
              <a:gd name="connsiteY1" fmla="*/ 208 h 1873165"/>
              <a:gd name="connsiteX2" fmla="*/ 2013698 w 2013698"/>
              <a:gd name="connsiteY2" fmla="*/ 1873165 h 1873165"/>
              <a:gd name="connsiteX3" fmla="*/ 77393 w 2013698"/>
              <a:gd name="connsiteY3" fmla="*/ 1855682 h 1873165"/>
              <a:gd name="connsiteX4" fmla="*/ 137 w 2013698"/>
              <a:gd name="connsiteY4" fmla="*/ 74480 h 1873165"/>
              <a:gd name="connsiteX0" fmla="*/ 137 w 2013698"/>
              <a:gd name="connsiteY0" fmla="*/ 159510 h 1958195"/>
              <a:gd name="connsiteX1" fmla="*/ 1893003 w 2013698"/>
              <a:gd name="connsiteY1" fmla="*/ 104 h 1958195"/>
              <a:gd name="connsiteX2" fmla="*/ 2013698 w 2013698"/>
              <a:gd name="connsiteY2" fmla="*/ 1958195 h 1958195"/>
              <a:gd name="connsiteX3" fmla="*/ 77393 w 2013698"/>
              <a:gd name="connsiteY3" fmla="*/ 1940712 h 1958195"/>
              <a:gd name="connsiteX4" fmla="*/ 137 w 2013698"/>
              <a:gd name="connsiteY4" fmla="*/ 159510 h 1958195"/>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137 w 2013698"/>
              <a:gd name="connsiteY0" fmla="*/ 159406 h 1958091"/>
              <a:gd name="connsiteX1" fmla="*/ 1893003 w 2013698"/>
              <a:gd name="connsiteY1" fmla="*/ 0 h 1958091"/>
              <a:gd name="connsiteX2" fmla="*/ 2013698 w 2013698"/>
              <a:gd name="connsiteY2" fmla="*/ 1958091 h 1958091"/>
              <a:gd name="connsiteX3" fmla="*/ 77393 w 2013698"/>
              <a:gd name="connsiteY3" fmla="*/ 1940608 h 1958091"/>
              <a:gd name="connsiteX4" fmla="*/ 137 w 2013698"/>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58091"/>
              <a:gd name="connsiteX1" fmla="*/ 1892866 w 2013561"/>
              <a:gd name="connsiteY1" fmla="*/ 0 h 1958091"/>
              <a:gd name="connsiteX2" fmla="*/ 2013561 w 2013561"/>
              <a:gd name="connsiteY2" fmla="*/ 1958091 h 1958091"/>
              <a:gd name="connsiteX3" fmla="*/ 77256 w 2013561"/>
              <a:gd name="connsiteY3" fmla="*/ 1940608 h 1958091"/>
              <a:gd name="connsiteX4" fmla="*/ 0 w 2013561"/>
              <a:gd name="connsiteY4" fmla="*/ 159406 h 1958091"/>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2013561"/>
              <a:gd name="connsiteY0" fmla="*/ 159406 h 1994235"/>
              <a:gd name="connsiteX1" fmla="*/ 1892866 w 2013561"/>
              <a:gd name="connsiteY1" fmla="*/ 0 h 1994235"/>
              <a:gd name="connsiteX2" fmla="*/ 2013561 w 2013561"/>
              <a:gd name="connsiteY2" fmla="*/ 1958091 h 1994235"/>
              <a:gd name="connsiteX3" fmla="*/ 137534 w 2013561"/>
              <a:gd name="connsiteY3" fmla="*/ 1994235 h 1994235"/>
              <a:gd name="connsiteX4" fmla="*/ 0 w 2013561"/>
              <a:gd name="connsiteY4" fmla="*/ 159406 h 1994235"/>
              <a:gd name="connsiteX0" fmla="*/ 0 w 1909053"/>
              <a:gd name="connsiteY0" fmla="*/ 159406 h 1994235"/>
              <a:gd name="connsiteX1" fmla="*/ 1892866 w 1909053"/>
              <a:gd name="connsiteY1" fmla="*/ 0 h 1994235"/>
              <a:gd name="connsiteX2" fmla="*/ 1862308 w 1909053"/>
              <a:gd name="connsiteY2" fmla="*/ 1838564 h 1994235"/>
              <a:gd name="connsiteX3" fmla="*/ 137534 w 1909053"/>
              <a:gd name="connsiteY3" fmla="*/ 1994235 h 1994235"/>
              <a:gd name="connsiteX4" fmla="*/ 0 w 1909053"/>
              <a:gd name="connsiteY4" fmla="*/ 159406 h 1994235"/>
              <a:gd name="connsiteX0" fmla="*/ 0 w 1914172"/>
              <a:gd name="connsiteY0" fmla="*/ 159406 h 1994235"/>
              <a:gd name="connsiteX1" fmla="*/ 1892866 w 1914172"/>
              <a:gd name="connsiteY1" fmla="*/ 0 h 1994235"/>
              <a:gd name="connsiteX2" fmla="*/ 1891296 w 1914172"/>
              <a:gd name="connsiteY2" fmla="*/ 1837497 h 1994235"/>
              <a:gd name="connsiteX3" fmla="*/ 137534 w 1914172"/>
              <a:gd name="connsiteY3" fmla="*/ 1994235 h 1994235"/>
              <a:gd name="connsiteX4" fmla="*/ 0 w 1914172"/>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27753"/>
              <a:gd name="connsiteY0" fmla="*/ 159406 h 1994235"/>
              <a:gd name="connsiteX1" fmla="*/ 1892866 w 2027753"/>
              <a:gd name="connsiteY1" fmla="*/ 0 h 1994235"/>
              <a:gd name="connsiteX2" fmla="*/ 2027753 w 2027753"/>
              <a:gd name="connsiteY2" fmla="*/ 1821101 h 1994235"/>
              <a:gd name="connsiteX3" fmla="*/ 137534 w 2027753"/>
              <a:gd name="connsiteY3" fmla="*/ 1994235 h 1994235"/>
              <a:gd name="connsiteX4" fmla="*/ 0 w 2027753"/>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 name="connsiteX0" fmla="*/ 0 w 2036640"/>
              <a:gd name="connsiteY0" fmla="*/ 159406 h 1994235"/>
              <a:gd name="connsiteX1" fmla="*/ 1892866 w 2036640"/>
              <a:gd name="connsiteY1" fmla="*/ 0 h 1994235"/>
              <a:gd name="connsiteX2" fmla="*/ 2036640 w 2036640"/>
              <a:gd name="connsiteY2" fmla="*/ 1821585 h 1994235"/>
              <a:gd name="connsiteX3" fmla="*/ 137534 w 2036640"/>
              <a:gd name="connsiteY3" fmla="*/ 1994235 h 1994235"/>
              <a:gd name="connsiteX4" fmla="*/ 0 w 2036640"/>
              <a:gd name="connsiteY4" fmla="*/ 159406 h 199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640" h="1994235">
                <a:moveTo>
                  <a:pt x="0" y="159406"/>
                </a:moveTo>
                <a:cubicBezTo>
                  <a:pt x="711924" y="104508"/>
                  <a:pt x="1256181" y="66953"/>
                  <a:pt x="1892866" y="0"/>
                </a:cubicBezTo>
                <a:cubicBezTo>
                  <a:pt x="1929401" y="535703"/>
                  <a:pt x="1979577" y="1067518"/>
                  <a:pt x="2036640" y="1821585"/>
                </a:cubicBezTo>
                <a:lnTo>
                  <a:pt x="137534" y="1994235"/>
                </a:lnTo>
                <a:cubicBezTo>
                  <a:pt x="84182" y="1353742"/>
                  <a:pt x="42653" y="788718"/>
                  <a:pt x="0" y="159406"/>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5" name="Picture Placeholder 26">
            <a:extLst>
              <a:ext uri="{FF2B5EF4-FFF2-40B4-BE49-F238E27FC236}">
                <a16:creationId xmlns:a16="http://schemas.microsoft.com/office/drawing/2014/main" id="{3C8A5592-CFCD-DF0B-DF0B-9EBA6135423E}"/>
              </a:ext>
            </a:extLst>
          </p:cNvPr>
          <p:cNvSpPr>
            <a:spLocks noGrp="1"/>
          </p:cNvSpPr>
          <p:nvPr>
            <p:ph type="pic" sz="quarter" idx="31"/>
          </p:nvPr>
        </p:nvSpPr>
        <p:spPr>
          <a:xfrm>
            <a:off x="406007" y="236497"/>
            <a:ext cx="1967986" cy="193057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319051 w 1918066"/>
              <a:gd name="connsiteY0" fmla="*/ 0 h 2257550"/>
              <a:gd name="connsiteX1" fmla="*/ 1917617 w 1918066"/>
              <a:gd name="connsiteY1" fmla="*/ 244606 h 2257550"/>
              <a:gd name="connsiteX2" fmla="*/ 1895828 w 1918066"/>
              <a:gd name="connsiteY2" fmla="*/ 2257550 h 2257550"/>
              <a:gd name="connsiteX3" fmla="*/ 0 w 1918066"/>
              <a:gd name="connsiteY3" fmla="*/ 2193459 h 2257550"/>
              <a:gd name="connsiteX4" fmla="*/ 319051 w 1918066"/>
              <a:gd name="connsiteY4" fmla="*/ 0 h 2257550"/>
              <a:gd name="connsiteX0" fmla="*/ 319051 w 2103848"/>
              <a:gd name="connsiteY0" fmla="*/ 0 h 2257550"/>
              <a:gd name="connsiteX1" fmla="*/ 2103781 w 2103848"/>
              <a:gd name="connsiteY1" fmla="*/ 563358 h 2257550"/>
              <a:gd name="connsiteX2" fmla="*/ 1895828 w 2103848"/>
              <a:gd name="connsiteY2" fmla="*/ 2257550 h 2257550"/>
              <a:gd name="connsiteX3" fmla="*/ 0 w 2103848"/>
              <a:gd name="connsiteY3" fmla="*/ 2193459 h 2257550"/>
              <a:gd name="connsiteX4" fmla="*/ 319051 w 2103848"/>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49"/>
              <a:gd name="connsiteY0" fmla="*/ 0 h 2257550"/>
              <a:gd name="connsiteX1" fmla="*/ 2103781 w 2103849"/>
              <a:gd name="connsiteY1" fmla="*/ 563358 h 2257550"/>
              <a:gd name="connsiteX2" fmla="*/ 1895828 w 2103849"/>
              <a:gd name="connsiteY2" fmla="*/ 2257550 h 2257550"/>
              <a:gd name="connsiteX3" fmla="*/ 0 w 2103849"/>
              <a:gd name="connsiteY3" fmla="*/ 2193459 h 2257550"/>
              <a:gd name="connsiteX4" fmla="*/ 319051 w 2103849"/>
              <a:gd name="connsiteY4" fmla="*/ 0 h 2257550"/>
              <a:gd name="connsiteX0" fmla="*/ 319051 w 2103810"/>
              <a:gd name="connsiteY0" fmla="*/ 0 h 2425948"/>
              <a:gd name="connsiteX1" fmla="*/ 2103781 w 2103810"/>
              <a:gd name="connsiteY1" fmla="*/ 563358 h 2425948"/>
              <a:gd name="connsiteX2" fmla="*/ 1611108 w 2103810"/>
              <a:gd name="connsiteY2" fmla="*/ 2425948 h 2425948"/>
              <a:gd name="connsiteX3" fmla="*/ 0 w 2103810"/>
              <a:gd name="connsiteY3" fmla="*/ 2193459 h 2425948"/>
              <a:gd name="connsiteX4" fmla="*/ 319051 w 2103810"/>
              <a:gd name="connsiteY4" fmla="*/ 0 h 2425948"/>
              <a:gd name="connsiteX0" fmla="*/ 319051 w 2103810"/>
              <a:gd name="connsiteY0" fmla="*/ 0 h 2456018"/>
              <a:gd name="connsiteX1" fmla="*/ 2103781 w 2103810"/>
              <a:gd name="connsiteY1" fmla="*/ 563358 h 2456018"/>
              <a:gd name="connsiteX2" fmla="*/ 1597420 w 2103810"/>
              <a:gd name="connsiteY2" fmla="*/ 2456018 h 2456018"/>
              <a:gd name="connsiteX3" fmla="*/ 0 w 2103810"/>
              <a:gd name="connsiteY3" fmla="*/ 2193459 h 2456018"/>
              <a:gd name="connsiteX4" fmla="*/ 319051 w 2103810"/>
              <a:gd name="connsiteY4" fmla="*/ 0 h 2456018"/>
              <a:gd name="connsiteX0" fmla="*/ 319051 w 2103828"/>
              <a:gd name="connsiteY0" fmla="*/ 0 h 2456018"/>
              <a:gd name="connsiteX1" fmla="*/ 2103781 w 2103828"/>
              <a:gd name="connsiteY1" fmla="*/ 563358 h 2456018"/>
              <a:gd name="connsiteX2" fmla="*/ 1597420 w 2103828"/>
              <a:gd name="connsiteY2" fmla="*/ 2456018 h 2456018"/>
              <a:gd name="connsiteX3" fmla="*/ 0 w 2103828"/>
              <a:gd name="connsiteY3" fmla="*/ 2193459 h 2456018"/>
              <a:gd name="connsiteX4" fmla="*/ 319051 w 2103828"/>
              <a:gd name="connsiteY4" fmla="*/ 0 h 2456018"/>
              <a:gd name="connsiteX0" fmla="*/ 319051 w 2103781"/>
              <a:gd name="connsiteY0" fmla="*/ 0 h 2456018"/>
              <a:gd name="connsiteX1" fmla="*/ 2103781 w 2103781"/>
              <a:gd name="connsiteY1" fmla="*/ 563358 h 2456018"/>
              <a:gd name="connsiteX2" fmla="*/ 1597420 w 2103781"/>
              <a:gd name="connsiteY2" fmla="*/ 2456018 h 2456018"/>
              <a:gd name="connsiteX3" fmla="*/ 0 w 2103781"/>
              <a:gd name="connsiteY3" fmla="*/ 2193459 h 2456018"/>
              <a:gd name="connsiteX4" fmla="*/ 319051 w 2103781"/>
              <a:gd name="connsiteY4" fmla="*/ 0 h 2456018"/>
              <a:gd name="connsiteX0" fmla="*/ 494263 w 2278993"/>
              <a:gd name="connsiteY0" fmla="*/ 0 h 2456018"/>
              <a:gd name="connsiteX1" fmla="*/ 2278993 w 2278993"/>
              <a:gd name="connsiteY1" fmla="*/ 563358 h 2456018"/>
              <a:gd name="connsiteX2" fmla="*/ 1772632 w 2278993"/>
              <a:gd name="connsiteY2" fmla="*/ 2456018 h 2456018"/>
              <a:gd name="connsiteX3" fmla="*/ 0 w 2278993"/>
              <a:gd name="connsiteY3" fmla="*/ 1886735 h 2456018"/>
              <a:gd name="connsiteX4" fmla="*/ 494263 w 2278993"/>
              <a:gd name="connsiteY4" fmla="*/ 0 h 2456018"/>
              <a:gd name="connsiteX0" fmla="*/ 494263 w 2262566"/>
              <a:gd name="connsiteY0" fmla="*/ 0 h 2456018"/>
              <a:gd name="connsiteX1" fmla="*/ 2262566 w 2262566"/>
              <a:gd name="connsiteY1" fmla="*/ 563358 h 2456018"/>
              <a:gd name="connsiteX2" fmla="*/ 1772632 w 2262566"/>
              <a:gd name="connsiteY2" fmla="*/ 2456018 h 2456018"/>
              <a:gd name="connsiteX3" fmla="*/ 0 w 2262566"/>
              <a:gd name="connsiteY3" fmla="*/ 1886735 h 2456018"/>
              <a:gd name="connsiteX4" fmla="*/ 494263 w 2262566"/>
              <a:gd name="connsiteY4" fmla="*/ 0 h 2456018"/>
              <a:gd name="connsiteX0" fmla="*/ 494263 w 2262566"/>
              <a:gd name="connsiteY0" fmla="*/ 0 h 2437975"/>
              <a:gd name="connsiteX1" fmla="*/ 2262566 w 2262566"/>
              <a:gd name="connsiteY1" fmla="*/ 563358 h 2437975"/>
              <a:gd name="connsiteX2" fmla="*/ 1772632 w 2262566"/>
              <a:gd name="connsiteY2" fmla="*/ 2437975 h 2437975"/>
              <a:gd name="connsiteX3" fmla="*/ 0 w 2262566"/>
              <a:gd name="connsiteY3" fmla="*/ 1886735 h 2437975"/>
              <a:gd name="connsiteX4" fmla="*/ 494263 w 2262566"/>
              <a:gd name="connsiteY4" fmla="*/ 0 h 243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566" h="2437975">
                <a:moveTo>
                  <a:pt x="494263" y="0"/>
                </a:moveTo>
                <a:lnTo>
                  <a:pt x="2262566" y="563358"/>
                </a:lnTo>
                <a:cubicBezTo>
                  <a:pt x="2091844" y="1233567"/>
                  <a:pt x="1965255" y="1731679"/>
                  <a:pt x="1772632" y="2437975"/>
                </a:cubicBezTo>
                <a:lnTo>
                  <a:pt x="0" y="1886735"/>
                </a:lnTo>
                <a:lnTo>
                  <a:pt x="494263" y="0"/>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6" name="Picture Placeholder 26">
            <a:extLst>
              <a:ext uri="{FF2B5EF4-FFF2-40B4-BE49-F238E27FC236}">
                <a16:creationId xmlns:a16="http://schemas.microsoft.com/office/drawing/2014/main" id="{1B3AF606-A6E9-49AC-9FB9-EA25AFF711EC}"/>
              </a:ext>
            </a:extLst>
          </p:cNvPr>
          <p:cNvSpPr>
            <a:spLocks noGrp="1"/>
          </p:cNvSpPr>
          <p:nvPr>
            <p:ph type="pic" sz="quarter" idx="34"/>
          </p:nvPr>
        </p:nvSpPr>
        <p:spPr>
          <a:xfrm rot="165514">
            <a:off x="2446783" y="3314266"/>
            <a:ext cx="3074672" cy="3013123"/>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445830 h 1445830"/>
              <a:gd name="connsiteX1" fmla="*/ 0 w 6259590"/>
              <a:gd name="connsiteY1" fmla="*/ 137607 h 1445830"/>
              <a:gd name="connsiteX2" fmla="*/ 5795709 w 6259590"/>
              <a:gd name="connsiteY2" fmla="*/ 0 h 1445830"/>
              <a:gd name="connsiteX3" fmla="*/ 6259591 w 6259590"/>
              <a:gd name="connsiteY3" fmla="*/ 1256561 h 1445830"/>
              <a:gd name="connsiteX4" fmla="*/ 280921 w 6259590"/>
              <a:gd name="connsiteY4" fmla="*/ 1445830 h 1445830"/>
              <a:gd name="connsiteX0" fmla="*/ 280921 w 6259590"/>
              <a:gd name="connsiteY0" fmla="*/ 1308223 h 1308223"/>
              <a:gd name="connsiteX1" fmla="*/ 0 w 6259590"/>
              <a:gd name="connsiteY1" fmla="*/ 0 h 1308223"/>
              <a:gd name="connsiteX2" fmla="*/ 5848815 w 6259590"/>
              <a:gd name="connsiteY2" fmla="*/ 34609 h 1308223"/>
              <a:gd name="connsiteX3" fmla="*/ 6259591 w 6259590"/>
              <a:gd name="connsiteY3" fmla="*/ 1118954 h 1308223"/>
              <a:gd name="connsiteX4" fmla="*/ 280921 w 6259590"/>
              <a:gd name="connsiteY4" fmla="*/ 1308223 h 1308223"/>
              <a:gd name="connsiteX0" fmla="*/ 280921 w 6259590"/>
              <a:gd name="connsiteY0" fmla="*/ 1409625 h 1409625"/>
              <a:gd name="connsiteX1" fmla="*/ 0 w 6259590"/>
              <a:gd name="connsiteY1" fmla="*/ 101402 h 1409625"/>
              <a:gd name="connsiteX2" fmla="*/ 5786627 w 6259590"/>
              <a:gd name="connsiteY2" fmla="*/ 0 h 1409625"/>
              <a:gd name="connsiteX3" fmla="*/ 6259591 w 6259590"/>
              <a:gd name="connsiteY3" fmla="*/ 1220356 h 1409625"/>
              <a:gd name="connsiteX4" fmla="*/ 280921 w 6259590"/>
              <a:gd name="connsiteY4" fmla="*/ 1409625 h 1409625"/>
              <a:gd name="connsiteX0" fmla="*/ 280921 w 6259590"/>
              <a:gd name="connsiteY0" fmla="*/ 1308223 h 1308223"/>
              <a:gd name="connsiteX1" fmla="*/ 0 w 6259590"/>
              <a:gd name="connsiteY1" fmla="*/ 0 h 1308223"/>
              <a:gd name="connsiteX2" fmla="*/ 5851640 w 6259590"/>
              <a:gd name="connsiteY2" fmla="*/ 104274 h 1308223"/>
              <a:gd name="connsiteX3" fmla="*/ 6259591 w 6259590"/>
              <a:gd name="connsiteY3" fmla="*/ 1118954 h 1308223"/>
              <a:gd name="connsiteX4" fmla="*/ 280921 w 6259590"/>
              <a:gd name="connsiteY4" fmla="*/ 1308223 h 1308223"/>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280921 w 6259590"/>
              <a:gd name="connsiteY0" fmla="*/ 1516769 h 1516769"/>
              <a:gd name="connsiteX1" fmla="*/ 0 w 6259590"/>
              <a:gd name="connsiteY1" fmla="*/ 208546 h 1516769"/>
              <a:gd name="connsiteX2" fmla="*/ 5871093 w 6259590"/>
              <a:gd name="connsiteY2" fmla="*/ 0 h 1516769"/>
              <a:gd name="connsiteX3" fmla="*/ 6259591 w 6259590"/>
              <a:gd name="connsiteY3" fmla="*/ 1327500 h 1516769"/>
              <a:gd name="connsiteX4" fmla="*/ 280921 w 6259590"/>
              <a:gd name="connsiteY4" fmla="*/ 1516769 h 1516769"/>
              <a:gd name="connsiteX0" fmla="*/ 622397 w 6601066"/>
              <a:gd name="connsiteY0" fmla="*/ 1516769 h 1516769"/>
              <a:gd name="connsiteX1" fmla="*/ -1 w 6601066"/>
              <a:gd name="connsiteY1" fmla="*/ 549437 h 1516769"/>
              <a:gd name="connsiteX2" fmla="*/ 6212569 w 6601066"/>
              <a:gd name="connsiteY2" fmla="*/ 0 h 1516769"/>
              <a:gd name="connsiteX3" fmla="*/ 6601067 w 6601066"/>
              <a:gd name="connsiteY3" fmla="*/ 1327500 h 1516769"/>
              <a:gd name="connsiteX4" fmla="*/ 622397 w 6601066"/>
              <a:gd name="connsiteY4" fmla="*/ 1516769 h 1516769"/>
              <a:gd name="connsiteX0" fmla="*/ 622397 w 6601066"/>
              <a:gd name="connsiteY0" fmla="*/ 1883049 h 1883049"/>
              <a:gd name="connsiteX1" fmla="*/ -1 w 6601066"/>
              <a:gd name="connsiteY1" fmla="*/ 915717 h 1883049"/>
              <a:gd name="connsiteX2" fmla="*/ 2680760 w 6601066"/>
              <a:gd name="connsiteY2" fmla="*/ 0 h 1883049"/>
              <a:gd name="connsiteX3" fmla="*/ 6601067 w 6601066"/>
              <a:gd name="connsiteY3" fmla="*/ 1693780 h 1883049"/>
              <a:gd name="connsiteX4" fmla="*/ 622397 w 6601066"/>
              <a:gd name="connsiteY4" fmla="*/ 1883049 h 1883049"/>
              <a:gd name="connsiteX0" fmla="*/ 622397 w 6945374"/>
              <a:gd name="connsiteY0" fmla="*/ 1883049 h 1883049"/>
              <a:gd name="connsiteX1" fmla="*/ -1 w 6945374"/>
              <a:gd name="connsiteY1" fmla="*/ 915717 h 1883049"/>
              <a:gd name="connsiteX2" fmla="*/ 2680760 w 6945374"/>
              <a:gd name="connsiteY2" fmla="*/ 0 h 1883049"/>
              <a:gd name="connsiteX3" fmla="*/ 6945374 w 6945374"/>
              <a:gd name="connsiteY3" fmla="*/ 1372674 h 1883049"/>
              <a:gd name="connsiteX4" fmla="*/ 622397 w 6945374"/>
              <a:gd name="connsiteY4" fmla="*/ 1883049 h 1883049"/>
              <a:gd name="connsiteX0" fmla="*/ 4362625 w 6945374"/>
              <a:gd name="connsiteY0" fmla="*/ 2211687 h 2211687"/>
              <a:gd name="connsiteX1" fmla="*/ -1 w 6945374"/>
              <a:gd name="connsiteY1" fmla="*/ 915717 h 2211687"/>
              <a:gd name="connsiteX2" fmla="*/ 2680760 w 6945374"/>
              <a:gd name="connsiteY2" fmla="*/ 0 h 2211687"/>
              <a:gd name="connsiteX3" fmla="*/ 6945374 w 6945374"/>
              <a:gd name="connsiteY3" fmla="*/ 1372674 h 2211687"/>
              <a:gd name="connsiteX4" fmla="*/ 4362625 w 6945374"/>
              <a:gd name="connsiteY4" fmla="*/ 2211687 h 2211687"/>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45374"/>
              <a:gd name="connsiteY0" fmla="*/ 2282964 h 2282964"/>
              <a:gd name="connsiteX1" fmla="*/ -1 w 6945374"/>
              <a:gd name="connsiteY1" fmla="*/ 915717 h 2282964"/>
              <a:gd name="connsiteX2" fmla="*/ 2680760 w 6945374"/>
              <a:gd name="connsiteY2" fmla="*/ 0 h 2282964"/>
              <a:gd name="connsiteX3" fmla="*/ 6945374 w 6945374"/>
              <a:gd name="connsiteY3" fmla="*/ 1372674 h 2282964"/>
              <a:gd name="connsiteX4" fmla="*/ 4303322 w 6945374"/>
              <a:gd name="connsiteY4" fmla="*/ 2282964 h 2282964"/>
              <a:gd name="connsiteX0" fmla="*/ 4303322 w 6904963"/>
              <a:gd name="connsiteY0" fmla="*/ 2282964 h 2282964"/>
              <a:gd name="connsiteX1" fmla="*/ -1 w 6904963"/>
              <a:gd name="connsiteY1" fmla="*/ 915717 h 2282964"/>
              <a:gd name="connsiteX2" fmla="*/ 2680760 w 6904963"/>
              <a:gd name="connsiteY2" fmla="*/ 0 h 2282964"/>
              <a:gd name="connsiteX3" fmla="*/ 6904963 w 6904963"/>
              <a:gd name="connsiteY3" fmla="*/ 1351696 h 2282964"/>
              <a:gd name="connsiteX4" fmla="*/ 4303322 w 6904963"/>
              <a:gd name="connsiteY4" fmla="*/ 2282964 h 2282964"/>
              <a:gd name="connsiteX0" fmla="*/ 4303322 w 6904963"/>
              <a:gd name="connsiteY0" fmla="*/ 2282964 h 2282964"/>
              <a:gd name="connsiteX1" fmla="*/ -1 w 6904963"/>
              <a:gd name="connsiteY1" fmla="*/ 915717 h 2282964"/>
              <a:gd name="connsiteX2" fmla="*/ 2680760 w 6904963"/>
              <a:gd name="connsiteY2" fmla="*/ 0 h 2282964"/>
              <a:gd name="connsiteX3" fmla="*/ 6904963 w 6904963"/>
              <a:gd name="connsiteY3" fmla="*/ 1351696 h 2282964"/>
              <a:gd name="connsiteX4" fmla="*/ 4303322 w 6904963"/>
              <a:gd name="connsiteY4" fmla="*/ 2282964 h 2282964"/>
              <a:gd name="connsiteX0" fmla="*/ 4303322 w 6917682"/>
              <a:gd name="connsiteY0" fmla="*/ 2282964 h 2282964"/>
              <a:gd name="connsiteX1" fmla="*/ -1 w 6917682"/>
              <a:gd name="connsiteY1" fmla="*/ 915717 h 2282964"/>
              <a:gd name="connsiteX2" fmla="*/ 2680760 w 6917682"/>
              <a:gd name="connsiteY2" fmla="*/ 0 h 2282964"/>
              <a:gd name="connsiteX3" fmla="*/ 6917681 w 6917682"/>
              <a:gd name="connsiteY3" fmla="*/ 1365913 h 2282964"/>
              <a:gd name="connsiteX4" fmla="*/ 4303322 w 6917682"/>
              <a:gd name="connsiteY4" fmla="*/ 2282964 h 2282964"/>
              <a:gd name="connsiteX0" fmla="*/ 4303322 w 6926291"/>
              <a:gd name="connsiteY0" fmla="*/ 2282964 h 2282964"/>
              <a:gd name="connsiteX1" fmla="*/ -1 w 6926291"/>
              <a:gd name="connsiteY1" fmla="*/ 915717 h 2282964"/>
              <a:gd name="connsiteX2" fmla="*/ 2680760 w 6926291"/>
              <a:gd name="connsiteY2" fmla="*/ 0 h 2282964"/>
              <a:gd name="connsiteX3" fmla="*/ 6926291 w 6926291"/>
              <a:gd name="connsiteY3" fmla="*/ 1351349 h 2282964"/>
              <a:gd name="connsiteX4" fmla="*/ 4303322 w 6926291"/>
              <a:gd name="connsiteY4" fmla="*/ 2282964 h 2282964"/>
              <a:gd name="connsiteX0" fmla="*/ 4303322 w 6926291"/>
              <a:gd name="connsiteY0" fmla="*/ 2211015 h 2211015"/>
              <a:gd name="connsiteX1" fmla="*/ -1 w 6926291"/>
              <a:gd name="connsiteY1" fmla="*/ 843768 h 2211015"/>
              <a:gd name="connsiteX2" fmla="*/ 2691037 w 6926291"/>
              <a:gd name="connsiteY2" fmla="*/ 0 h 2211015"/>
              <a:gd name="connsiteX3" fmla="*/ 6926291 w 6926291"/>
              <a:gd name="connsiteY3" fmla="*/ 1279400 h 2211015"/>
              <a:gd name="connsiteX4" fmla="*/ 4303322 w 6926291"/>
              <a:gd name="connsiteY4" fmla="*/ 2211015 h 2211015"/>
              <a:gd name="connsiteX0" fmla="*/ 4303322 w 6926291"/>
              <a:gd name="connsiteY0" fmla="*/ 2278674 h 2278674"/>
              <a:gd name="connsiteX1" fmla="*/ -1 w 6926291"/>
              <a:gd name="connsiteY1" fmla="*/ 911427 h 2278674"/>
              <a:gd name="connsiteX2" fmla="*/ 2638615 w 6926291"/>
              <a:gd name="connsiteY2" fmla="*/ 0 h 2278674"/>
              <a:gd name="connsiteX3" fmla="*/ 6926291 w 6926291"/>
              <a:gd name="connsiteY3" fmla="*/ 1347059 h 2278674"/>
              <a:gd name="connsiteX4" fmla="*/ 4303322 w 6926291"/>
              <a:gd name="connsiteY4" fmla="*/ 2278674 h 2278674"/>
              <a:gd name="connsiteX0" fmla="*/ 4100688 w 6723657"/>
              <a:gd name="connsiteY0" fmla="*/ 2278674 h 2278674"/>
              <a:gd name="connsiteX1" fmla="*/ 0 w 6723657"/>
              <a:gd name="connsiteY1" fmla="*/ 908134 h 2278674"/>
              <a:gd name="connsiteX2" fmla="*/ 2435981 w 6723657"/>
              <a:gd name="connsiteY2" fmla="*/ 0 h 2278674"/>
              <a:gd name="connsiteX3" fmla="*/ 6723657 w 6723657"/>
              <a:gd name="connsiteY3" fmla="*/ 1347059 h 2278674"/>
              <a:gd name="connsiteX4" fmla="*/ 4100688 w 6723657"/>
              <a:gd name="connsiteY4" fmla="*/ 2278674 h 2278674"/>
              <a:gd name="connsiteX0" fmla="*/ 4270296 w 6893265"/>
              <a:gd name="connsiteY0" fmla="*/ 2278674 h 2278674"/>
              <a:gd name="connsiteX1" fmla="*/ -1 w 6893265"/>
              <a:gd name="connsiteY1" fmla="*/ 918103 h 2278674"/>
              <a:gd name="connsiteX2" fmla="*/ 2605589 w 6893265"/>
              <a:gd name="connsiteY2" fmla="*/ 0 h 2278674"/>
              <a:gd name="connsiteX3" fmla="*/ 6893265 w 6893265"/>
              <a:gd name="connsiteY3" fmla="*/ 1347059 h 2278674"/>
              <a:gd name="connsiteX4" fmla="*/ 4270296 w 6893265"/>
              <a:gd name="connsiteY4" fmla="*/ 2278674 h 2278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265" h="2278674">
                <a:moveTo>
                  <a:pt x="4270296" y="2278674"/>
                </a:moveTo>
                <a:cubicBezTo>
                  <a:pt x="3291308" y="1982985"/>
                  <a:pt x="1518989" y="1407737"/>
                  <a:pt x="-1" y="918103"/>
                </a:cubicBezTo>
                <a:lnTo>
                  <a:pt x="2605589" y="0"/>
                </a:lnTo>
                <a:lnTo>
                  <a:pt x="6893265" y="1347059"/>
                </a:lnTo>
                <a:lnTo>
                  <a:pt x="4270296" y="2278674"/>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7" name="Picture Placeholder 26">
            <a:extLst>
              <a:ext uri="{FF2B5EF4-FFF2-40B4-BE49-F238E27FC236}">
                <a16:creationId xmlns:a16="http://schemas.microsoft.com/office/drawing/2014/main" id="{25C60079-5BC0-71F8-8FEC-6190A2B457D5}"/>
              </a:ext>
            </a:extLst>
          </p:cNvPr>
          <p:cNvSpPr>
            <a:spLocks noGrp="1"/>
          </p:cNvSpPr>
          <p:nvPr>
            <p:ph type="pic" sz="quarter" idx="35"/>
          </p:nvPr>
        </p:nvSpPr>
        <p:spPr>
          <a:xfrm rot="21434994">
            <a:off x="2953" y="2442101"/>
            <a:ext cx="1616195" cy="1207217"/>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682 h 1911551"/>
              <a:gd name="connsiteX1" fmla="*/ 1884273 w 1900139"/>
              <a:gd name="connsiteY1" fmla="*/ 399 h 1911551"/>
              <a:gd name="connsiteX2" fmla="*/ 1900139 w 1900139"/>
              <a:gd name="connsiteY2" fmla="*/ 1911551 h 1911551"/>
              <a:gd name="connsiteX3" fmla="*/ 62532 w 1900139"/>
              <a:gd name="connsiteY3" fmla="*/ 1875001 h 1911551"/>
              <a:gd name="connsiteX4" fmla="*/ 185 w 1900139"/>
              <a:gd name="connsiteY4" fmla="*/ 123682 h 1911551"/>
              <a:gd name="connsiteX0" fmla="*/ 185 w 1900139"/>
              <a:gd name="connsiteY0" fmla="*/ 123955 h 1911824"/>
              <a:gd name="connsiteX1" fmla="*/ 1884273 w 1900139"/>
              <a:gd name="connsiteY1" fmla="*/ 672 h 1911824"/>
              <a:gd name="connsiteX2" fmla="*/ 1900139 w 1900139"/>
              <a:gd name="connsiteY2" fmla="*/ 1911824 h 1911824"/>
              <a:gd name="connsiteX3" fmla="*/ 62532 w 1900139"/>
              <a:gd name="connsiteY3" fmla="*/ 1875274 h 1911824"/>
              <a:gd name="connsiteX4" fmla="*/ 185 w 1900139"/>
              <a:gd name="connsiteY4" fmla="*/ 123955 h 1911824"/>
              <a:gd name="connsiteX0" fmla="*/ 185 w 1900139"/>
              <a:gd name="connsiteY0" fmla="*/ 168483 h 1956352"/>
              <a:gd name="connsiteX1" fmla="*/ 1785578 w 1900139"/>
              <a:gd name="connsiteY1" fmla="*/ 445 h 1956352"/>
              <a:gd name="connsiteX2" fmla="*/ 1900139 w 1900139"/>
              <a:gd name="connsiteY2" fmla="*/ 1956352 h 1956352"/>
              <a:gd name="connsiteX3" fmla="*/ 62532 w 1900139"/>
              <a:gd name="connsiteY3" fmla="*/ 1919802 h 1956352"/>
              <a:gd name="connsiteX4" fmla="*/ 185 w 1900139"/>
              <a:gd name="connsiteY4" fmla="*/ 168483 h 1956352"/>
              <a:gd name="connsiteX0" fmla="*/ 185 w 1900139"/>
              <a:gd name="connsiteY0" fmla="*/ 168038 h 1955907"/>
              <a:gd name="connsiteX1" fmla="*/ 1785578 w 1900139"/>
              <a:gd name="connsiteY1" fmla="*/ 0 h 1955907"/>
              <a:gd name="connsiteX2" fmla="*/ 1900139 w 1900139"/>
              <a:gd name="connsiteY2" fmla="*/ 1955907 h 1955907"/>
              <a:gd name="connsiteX3" fmla="*/ 62532 w 1900139"/>
              <a:gd name="connsiteY3" fmla="*/ 1919357 h 1955907"/>
              <a:gd name="connsiteX4" fmla="*/ 185 w 1900139"/>
              <a:gd name="connsiteY4" fmla="*/ 168038 h 1955907"/>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41451 h 1929320"/>
              <a:gd name="connsiteX1" fmla="*/ 1802887 w 1900139"/>
              <a:gd name="connsiteY1" fmla="*/ 0 h 1929320"/>
              <a:gd name="connsiteX2" fmla="*/ 1900139 w 1900139"/>
              <a:gd name="connsiteY2" fmla="*/ 1929320 h 1929320"/>
              <a:gd name="connsiteX3" fmla="*/ 62532 w 1900139"/>
              <a:gd name="connsiteY3" fmla="*/ 1892770 h 1929320"/>
              <a:gd name="connsiteX4" fmla="*/ 185 w 1900139"/>
              <a:gd name="connsiteY4" fmla="*/ 141451 h 1929320"/>
              <a:gd name="connsiteX0" fmla="*/ 185 w 1900139"/>
              <a:gd name="connsiteY0" fmla="*/ 166816 h 1954685"/>
              <a:gd name="connsiteX1" fmla="*/ 1803760 w 1900139"/>
              <a:gd name="connsiteY1" fmla="*/ -1 h 1954685"/>
              <a:gd name="connsiteX2" fmla="*/ 1900139 w 1900139"/>
              <a:gd name="connsiteY2" fmla="*/ 1954685 h 1954685"/>
              <a:gd name="connsiteX3" fmla="*/ 62532 w 1900139"/>
              <a:gd name="connsiteY3" fmla="*/ 1918135 h 1954685"/>
              <a:gd name="connsiteX4" fmla="*/ 185 w 1900139"/>
              <a:gd name="connsiteY4" fmla="*/ 166816 h 1954685"/>
              <a:gd name="connsiteX0" fmla="*/ 185 w 1900139"/>
              <a:gd name="connsiteY0" fmla="*/ 166818 h 1954687"/>
              <a:gd name="connsiteX1" fmla="*/ 1803760 w 1900139"/>
              <a:gd name="connsiteY1" fmla="*/ 1 h 1954687"/>
              <a:gd name="connsiteX2" fmla="*/ 1900139 w 1900139"/>
              <a:gd name="connsiteY2" fmla="*/ 1954687 h 1954687"/>
              <a:gd name="connsiteX3" fmla="*/ 62532 w 1900139"/>
              <a:gd name="connsiteY3" fmla="*/ 1918137 h 1954687"/>
              <a:gd name="connsiteX4" fmla="*/ 185 w 1900139"/>
              <a:gd name="connsiteY4" fmla="*/ 166818 h 1954687"/>
              <a:gd name="connsiteX0" fmla="*/ 185 w 1922689"/>
              <a:gd name="connsiteY0" fmla="*/ 166816 h 1918135"/>
              <a:gd name="connsiteX1" fmla="*/ 1803760 w 1922689"/>
              <a:gd name="connsiteY1" fmla="*/ -1 h 1918135"/>
              <a:gd name="connsiteX2" fmla="*/ 1922689 w 1922689"/>
              <a:gd name="connsiteY2" fmla="*/ 1829065 h 1918135"/>
              <a:gd name="connsiteX3" fmla="*/ 62532 w 1922689"/>
              <a:gd name="connsiteY3" fmla="*/ 1918135 h 1918135"/>
              <a:gd name="connsiteX4" fmla="*/ 185 w 1922689"/>
              <a:gd name="connsiteY4" fmla="*/ 166816 h 1918135"/>
              <a:gd name="connsiteX0" fmla="*/ 185 w 1922689"/>
              <a:gd name="connsiteY0" fmla="*/ 166818 h 1918137"/>
              <a:gd name="connsiteX1" fmla="*/ 1803760 w 1922689"/>
              <a:gd name="connsiteY1" fmla="*/ 1 h 1918137"/>
              <a:gd name="connsiteX2" fmla="*/ 1922689 w 1922689"/>
              <a:gd name="connsiteY2" fmla="*/ 1829067 h 1918137"/>
              <a:gd name="connsiteX3" fmla="*/ 62532 w 1922689"/>
              <a:gd name="connsiteY3" fmla="*/ 1918137 h 1918137"/>
              <a:gd name="connsiteX4" fmla="*/ 185 w 1922689"/>
              <a:gd name="connsiteY4" fmla="*/ 166818 h 1918137"/>
              <a:gd name="connsiteX0" fmla="*/ 89 w 1922593"/>
              <a:gd name="connsiteY0" fmla="*/ 166816 h 2011796"/>
              <a:gd name="connsiteX1" fmla="*/ 1803664 w 1922593"/>
              <a:gd name="connsiteY1" fmla="*/ -1 h 2011796"/>
              <a:gd name="connsiteX2" fmla="*/ 1922593 w 1922593"/>
              <a:gd name="connsiteY2" fmla="*/ 1829065 h 2011796"/>
              <a:gd name="connsiteX3" fmla="*/ 132110 w 1922593"/>
              <a:gd name="connsiteY3" fmla="*/ 2011796 h 2011796"/>
              <a:gd name="connsiteX4" fmla="*/ 89 w 1922593"/>
              <a:gd name="connsiteY4" fmla="*/ 166816 h 2011796"/>
              <a:gd name="connsiteX0" fmla="*/ -1 w 1922503"/>
              <a:gd name="connsiteY0" fmla="*/ 166818 h 2011798"/>
              <a:gd name="connsiteX1" fmla="*/ 1803574 w 1922503"/>
              <a:gd name="connsiteY1" fmla="*/ 1 h 2011798"/>
              <a:gd name="connsiteX2" fmla="*/ 1922503 w 1922503"/>
              <a:gd name="connsiteY2" fmla="*/ 1829067 h 2011798"/>
              <a:gd name="connsiteX3" fmla="*/ 132020 w 1922503"/>
              <a:gd name="connsiteY3" fmla="*/ 2011798 h 2011798"/>
              <a:gd name="connsiteX4" fmla="*/ -1 w 1922503"/>
              <a:gd name="connsiteY4" fmla="*/ 166818 h 2011798"/>
              <a:gd name="connsiteX0" fmla="*/ 0 w 1922504"/>
              <a:gd name="connsiteY0" fmla="*/ 166816 h 2011796"/>
              <a:gd name="connsiteX1" fmla="*/ 1803575 w 1922504"/>
              <a:gd name="connsiteY1" fmla="*/ -1 h 2011796"/>
              <a:gd name="connsiteX2" fmla="*/ 1922504 w 1922504"/>
              <a:gd name="connsiteY2" fmla="*/ 1829065 h 2011796"/>
              <a:gd name="connsiteX3" fmla="*/ 132021 w 1922504"/>
              <a:gd name="connsiteY3" fmla="*/ 2011796 h 2011796"/>
              <a:gd name="connsiteX4" fmla="*/ 0 w 1922504"/>
              <a:gd name="connsiteY4" fmla="*/ 166816 h 2011796"/>
              <a:gd name="connsiteX0" fmla="*/ 0 w 1922504"/>
              <a:gd name="connsiteY0" fmla="*/ 166818 h 2011798"/>
              <a:gd name="connsiteX1" fmla="*/ 1803575 w 1922504"/>
              <a:gd name="connsiteY1" fmla="*/ 1 h 2011798"/>
              <a:gd name="connsiteX2" fmla="*/ 1922504 w 1922504"/>
              <a:gd name="connsiteY2" fmla="*/ 1829067 h 2011798"/>
              <a:gd name="connsiteX3" fmla="*/ 132021 w 1922504"/>
              <a:gd name="connsiteY3" fmla="*/ 2011798 h 2011798"/>
              <a:gd name="connsiteX4" fmla="*/ 0 w 1922504"/>
              <a:gd name="connsiteY4" fmla="*/ 166818 h 2011798"/>
              <a:gd name="connsiteX0" fmla="*/ 0 w 1888139"/>
              <a:gd name="connsiteY0" fmla="*/ 161175 h 2011796"/>
              <a:gd name="connsiteX1" fmla="*/ 1769210 w 1888139"/>
              <a:gd name="connsiteY1" fmla="*/ -1 h 2011796"/>
              <a:gd name="connsiteX2" fmla="*/ 1888139 w 1888139"/>
              <a:gd name="connsiteY2" fmla="*/ 1829065 h 2011796"/>
              <a:gd name="connsiteX3" fmla="*/ 97656 w 1888139"/>
              <a:gd name="connsiteY3" fmla="*/ 2011796 h 2011796"/>
              <a:gd name="connsiteX4" fmla="*/ 0 w 1888139"/>
              <a:gd name="connsiteY4" fmla="*/ 161175 h 2011796"/>
              <a:gd name="connsiteX0" fmla="*/ 0 w 1930483"/>
              <a:gd name="connsiteY0" fmla="*/ 150391 h 2011798"/>
              <a:gd name="connsiteX1" fmla="*/ 1811554 w 1930483"/>
              <a:gd name="connsiteY1" fmla="*/ 1 h 2011798"/>
              <a:gd name="connsiteX2" fmla="*/ 1930483 w 1930483"/>
              <a:gd name="connsiteY2" fmla="*/ 1829067 h 2011798"/>
              <a:gd name="connsiteX3" fmla="*/ 140000 w 1930483"/>
              <a:gd name="connsiteY3" fmla="*/ 2011798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 name="connsiteX0" fmla="*/ 0 w 1930483"/>
              <a:gd name="connsiteY0" fmla="*/ 150389 h 2011798"/>
              <a:gd name="connsiteX1" fmla="*/ 1811554 w 1930483"/>
              <a:gd name="connsiteY1" fmla="*/ -1 h 2011798"/>
              <a:gd name="connsiteX2" fmla="*/ 1930483 w 1930483"/>
              <a:gd name="connsiteY2" fmla="*/ 1829065 h 2011798"/>
              <a:gd name="connsiteX3" fmla="*/ 140001 w 1930483"/>
              <a:gd name="connsiteY3" fmla="*/ 2011797 h 2011798"/>
              <a:gd name="connsiteX4" fmla="*/ 0 w 1930483"/>
              <a:gd name="connsiteY4" fmla="*/ 150389 h 2011798"/>
              <a:gd name="connsiteX0" fmla="*/ 0 w 1930483"/>
              <a:gd name="connsiteY0" fmla="*/ 150391 h 2011798"/>
              <a:gd name="connsiteX1" fmla="*/ 1811554 w 1930483"/>
              <a:gd name="connsiteY1" fmla="*/ 1 h 2011798"/>
              <a:gd name="connsiteX2" fmla="*/ 1930483 w 1930483"/>
              <a:gd name="connsiteY2" fmla="*/ 1829067 h 2011798"/>
              <a:gd name="connsiteX3" fmla="*/ 140001 w 1930483"/>
              <a:gd name="connsiteY3" fmla="*/ 2011799 h 2011798"/>
              <a:gd name="connsiteX4" fmla="*/ 0 w 1930483"/>
              <a:gd name="connsiteY4" fmla="*/ 150391 h 201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483" h="2011798">
                <a:moveTo>
                  <a:pt x="0" y="150391"/>
                </a:moveTo>
                <a:lnTo>
                  <a:pt x="1811554" y="1"/>
                </a:lnTo>
                <a:cubicBezTo>
                  <a:pt x="1861500" y="619129"/>
                  <a:pt x="1812494" y="-6349"/>
                  <a:pt x="1930483" y="1829067"/>
                </a:cubicBezTo>
                <a:lnTo>
                  <a:pt x="140001" y="2011799"/>
                </a:lnTo>
                <a:cubicBezTo>
                  <a:pt x="107996" y="1627997"/>
                  <a:pt x="137784" y="2018247"/>
                  <a:pt x="0" y="150391"/>
                </a:cubicBez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
        <p:nvSpPr>
          <p:cNvPr id="8" name="Picture Placeholder 26">
            <a:extLst>
              <a:ext uri="{FF2B5EF4-FFF2-40B4-BE49-F238E27FC236}">
                <a16:creationId xmlns:a16="http://schemas.microsoft.com/office/drawing/2014/main" id="{2F829BA1-7307-FB8C-3A48-09F388254071}"/>
              </a:ext>
            </a:extLst>
          </p:cNvPr>
          <p:cNvSpPr>
            <a:spLocks noGrp="1"/>
          </p:cNvSpPr>
          <p:nvPr>
            <p:ph type="pic" sz="quarter" idx="36"/>
          </p:nvPr>
        </p:nvSpPr>
        <p:spPr>
          <a:xfrm>
            <a:off x="4869142" y="4741837"/>
            <a:ext cx="2718069" cy="209425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837246"/>
              <a:gd name="connsiteY0" fmla="*/ 1223168 h 1223168"/>
              <a:gd name="connsiteX1" fmla="*/ 0 w 5837246"/>
              <a:gd name="connsiteY1" fmla="*/ 2167 h 1223168"/>
              <a:gd name="connsiteX2" fmla="*/ 5837246 w 5837246"/>
              <a:gd name="connsiteY2" fmla="*/ 184635 h 1223168"/>
              <a:gd name="connsiteX3" fmla="*/ 5710691 w 5837246"/>
              <a:gd name="connsiteY3" fmla="*/ 1149199 h 1223168"/>
              <a:gd name="connsiteX4" fmla="*/ 180172 w 5837246"/>
              <a:gd name="connsiteY4" fmla="*/ 1223168 h 1223168"/>
              <a:gd name="connsiteX0" fmla="*/ 7782 w 5664856"/>
              <a:gd name="connsiteY0" fmla="*/ 1436049 h 1436049"/>
              <a:gd name="connsiteX1" fmla="*/ 419375 w 5664856"/>
              <a:gd name="connsiteY1" fmla="*/ 1176 h 1436049"/>
              <a:gd name="connsiteX2" fmla="*/ 5664856 w 5664856"/>
              <a:gd name="connsiteY2" fmla="*/ 397516 h 1436049"/>
              <a:gd name="connsiteX3" fmla="*/ 5538301 w 5664856"/>
              <a:gd name="connsiteY3" fmla="*/ 1362080 h 1436049"/>
              <a:gd name="connsiteX4" fmla="*/ 7782 w 5664856"/>
              <a:gd name="connsiteY4" fmla="*/ 1436049 h 1436049"/>
              <a:gd name="connsiteX0" fmla="*/ 5018 w 6021376"/>
              <a:gd name="connsiteY0" fmla="*/ 1150888 h 1362080"/>
              <a:gd name="connsiteX1" fmla="*/ 775895 w 6021376"/>
              <a:gd name="connsiteY1" fmla="*/ 1176 h 1362080"/>
              <a:gd name="connsiteX2" fmla="*/ 6021376 w 6021376"/>
              <a:gd name="connsiteY2" fmla="*/ 397516 h 1362080"/>
              <a:gd name="connsiteX3" fmla="*/ 5894821 w 6021376"/>
              <a:gd name="connsiteY3" fmla="*/ 1362080 h 1362080"/>
              <a:gd name="connsiteX4" fmla="*/ 5018 w 6021376"/>
              <a:gd name="connsiteY4" fmla="*/ 1150888 h 1362080"/>
              <a:gd name="connsiteX0" fmla="*/ 5018 w 6021376"/>
              <a:gd name="connsiteY0" fmla="*/ 1150888 h 1575951"/>
              <a:gd name="connsiteX1" fmla="*/ 775895 w 6021376"/>
              <a:gd name="connsiteY1" fmla="*/ 1176 h 1575951"/>
              <a:gd name="connsiteX2" fmla="*/ 6021376 w 6021376"/>
              <a:gd name="connsiteY2" fmla="*/ 397516 h 1575951"/>
              <a:gd name="connsiteX3" fmla="*/ 5303059 w 6021376"/>
              <a:gd name="connsiteY3" fmla="*/ 1575951 h 1575951"/>
              <a:gd name="connsiteX4" fmla="*/ 5018 w 6021376"/>
              <a:gd name="connsiteY4" fmla="*/ 1150888 h 1575951"/>
              <a:gd name="connsiteX0" fmla="*/ 5018 w 6105916"/>
              <a:gd name="connsiteY0" fmla="*/ 1150821 h 1575884"/>
              <a:gd name="connsiteX1" fmla="*/ 775895 w 6105916"/>
              <a:gd name="connsiteY1" fmla="*/ 1109 h 1575884"/>
              <a:gd name="connsiteX2" fmla="*/ 6105916 w 6105916"/>
              <a:gd name="connsiteY2" fmla="*/ 425965 h 1575884"/>
              <a:gd name="connsiteX3" fmla="*/ 5303059 w 6105916"/>
              <a:gd name="connsiteY3" fmla="*/ 1575884 h 1575884"/>
              <a:gd name="connsiteX4" fmla="*/ 5018 w 6105916"/>
              <a:gd name="connsiteY4" fmla="*/ 1150821 h 1575884"/>
              <a:gd name="connsiteX0" fmla="*/ 5018 w 6105916"/>
              <a:gd name="connsiteY0" fmla="*/ 1151465 h 1576528"/>
              <a:gd name="connsiteX1" fmla="*/ 775895 w 6105916"/>
              <a:gd name="connsiteY1" fmla="*/ 1753 h 1576528"/>
              <a:gd name="connsiteX2" fmla="*/ 6105916 w 6105916"/>
              <a:gd name="connsiteY2" fmla="*/ 426609 h 1576528"/>
              <a:gd name="connsiteX3" fmla="*/ 5303059 w 6105916"/>
              <a:gd name="connsiteY3" fmla="*/ 1576528 h 1576528"/>
              <a:gd name="connsiteX4" fmla="*/ 5018 w 6105916"/>
              <a:gd name="connsiteY4" fmla="*/ 1151465 h 1576528"/>
              <a:gd name="connsiteX0" fmla="*/ 5018 w 6105916"/>
              <a:gd name="connsiteY0" fmla="*/ 1149712 h 1574775"/>
              <a:gd name="connsiteX1" fmla="*/ 775895 w 6105916"/>
              <a:gd name="connsiteY1" fmla="*/ 0 h 1574775"/>
              <a:gd name="connsiteX2" fmla="*/ 6105916 w 6105916"/>
              <a:gd name="connsiteY2" fmla="*/ 424856 h 1574775"/>
              <a:gd name="connsiteX3" fmla="*/ 5303059 w 6105916"/>
              <a:gd name="connsiteY3" fmla="*/ 1574775 h 1574775"/>
              <a:gd name="connsiteX4" fmla="*/ 5018 w 6105916"/>
              <a:gd name="connsiteY4" fmla="*/ 1149712 h 1574775"/>
              <a:gd name="connsiteX0" fmla="*/ 9789 w 6110687"/>
              <a:gd name="connsiteY0" fmla="*/ 1149712 h 1574775"/>
              <a:gd name="connsiteX1" fmla="*/ 780666 w 6110687"/>
              <a:gd name="connsiteY1" fmla="*/ 0 h 1574775"/>
              <a:gd name="connsiteX2" fmla="*/ 6110687 w 6110687"/>
              <a:gd name="connsiteY2" fmla="*/ 424856 h 1574775"/>
              <a:gd name="connsiteX3" fmla="*/ 5307830 w 6110687"/>
              <a:gd name="connsiteY3" fmla="*/ 1574775 h 1574775"/>
              <a:gd name="connsiteX4" fmla="*/ 9789 w 6110687"/>
              <a:gd name="connsiteY4" fmla="*/ 1149712 h 1574775"/>
              <a:gd name="connsiteX0" fmla="*/ 1 w 6100899"/>
              <a:gd name="connsiteY0" fmla="*/ 1149712 h 1574775"/>
              <a:gd name="connsiteX1" fmla="*/ 770878 w 6100899"/>
              <a:gd name="connsiteY1" fmla="*/ 0 h 1574775"/>
              <a:gd name="connsiteX2" fmla="*/ 6100899 w 6100899"/>
              <a:gd name="connsiteY2" fmla="*/ 424856 h 1574775"/>
              <a:gd name="connsiteX3" fmla="*/ 5298042 w 6100899"/>
              <a:gd name="connsiteY3" fmla="*/ 1574775 h 1574775"/>
              <a:gd name="connsiteX4" fmla="*/ 1 w 6100899"/>
              <a:gd name="connsiteY4" fmla="*/ 1149712 h 1574775"/>
              <a:gd name="connsiteX0" fmla="*/ 1 w 6100899"/>
              <a:gd name="connsiteY0" fmla="*/ 1158717 h 1583780"/>
              <a:gd name="connsiteX1" fmla="*/ 765537 w 6100899"/>
              <a:gd name="connsiteY1" fmla="*/ 0 h 1583780"/>
              <a:gd name="connsiteX2" fmla="*/ 6100899 w 6100899"/>
              <a:gd name="connsiteY2" fmla="*/ 433861 h 1583780"/>
              <a:gd name="connsiteX3" fmla="*/ 5298042 w 6100899"/>
              <a:gd name="connsiteY3" fmla="*/ 1583780 h 1583780"/>
              <a:gd name="connsiteX4" fmla="*/ 1 w 6100899"/>
              <a:gd name="connsiteY4" fmla="*/ 1158717 h 1583780"/>
              <a:gd name="connsiteX0" fmla="*/ 1 w 6108017"/>
              <a:gd name="connsiteY0" fmla="*/ 1158717 h 1583780"/>
              <a:gd name="connsiteX1" fmla="*/ 765537 w 6108017"/>
              <a:gd name="connsiteY1" fmla="*/ 0 h 1583780"/>
              <a:gd name="connsiteX2" fmla="*/ 6108017 w 6108017"/>
              <a:gd name="connsiteY2" fmla="*/ 426658 h 1583780"/>
              <a:gd name="connsiteX3" fmla="*/ 5298042 w 6108017"/>
              <a:gd name="connsiteY3" fmla="*/ 1583780 h 1583780"/>
              <a:gd name="connsiteX4" fmla="*/ 1 w 6108017"/>
              <a:gd name="connsiteY4" fmla="*/ 1158717 h 1583780"/>
              <a:gd name="connsiteX0" fmla="*/ 1 w 6022599"/>
              <a:gd name="connsiteY0" fmla="*/ 1158717 h 1583780"/>
              <a:gd name="connsiteX1" fmla="*/ 765537 w 6022599"/>
              <a:gd name="connsiteY1" fmla="*/ 0 h 1583780"/>
              <a:gd name="connsiteX2" fmla="*/ 6022599 w 6022599"/>
              <a:gd name="connsiteY2" fmla="*/ 496289 h 1583780"/>
              <a:gd name="connsiteX3" fmla="*/ 5298042 w 6022599"/>
              <a:gd name="connsiteY3" fmla="*/ 1583780 h 1583780"/>
              <a:gd name="connsiteX4" fmla="*/ 1 w 6022599"/>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 name="connsiteX0" fmla="*/ 1 w 6093781"/>
              <a:gd name="connsiteY0" fmla="*/ 1158717 h 1583780"/>
              <a:gd name="connsiteX1" fmla="*/ 765537 w 6093781"/>
              <a:gd name="connsiteY1" fmla="*/ 0 h 1583780"/>
              <a:gd name="connsiteX2" fmla="*/ 6093781 w 6093781"/>
              <a:gd name="connsiteY2" fmla="*/ 419454 h 1583780"/>
              <a:gd name="connsiteX3" fmla="*/ 5298042 w 6093781"/>
              <a:gd name="connsiteY3" fmla="*/ 1583780 h 1583780"/>
              <a:gd name="connsiteX4" fmla="*/ 1 w 6093781"/>
              <a:gd name="connsiteY4" fmla="*/ 1158717 h 15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781" h="1583780">
                <a:moveTo>
                  <a:pt x="1" y="1158717"/>
                </a:moveTo>
                <a:cubicBezTo>
                  <a:pt x="766539" y="4365"/>
                  <a:pt x="365353" y="624033"/>
                  <a:pt x="765537" y="0"/>
                </a:cubicBezTo>
                <a:lnTo>
                  <a:pt x="6093781" y="419454"/>
                </a:lnTo>
                <a:cubicBezTo>
                  <a:pt x="5285674" y="1578517"/>
                  <a:pt x="5284019" y="1569366"/>
                  <a:pt x="5298042" y="1583780"/>
                </a:cubicBezTo>
                <a:lnTo>
                  <a:pt x="1" y="1158717"/>
                </a:lnTo>
                <a:close/>
              </a:path>
            </a:pathLst>
          </a:custGeom>
          <a:noFill/>
          <a:ln w="38100">
            <a:solidFill>
              <a:schemeClr val="bg1"/>
            </a:solidFill>
            <a:miter lim="800000"/>
          </a:ln>
        </p:spPr>
        <p:txBody>
          <a:bodyPr wrap="square" anchor="ctr">
            <a:noAutofit/>
          </a:bodyPr>
          <a:lstStyle>
            <a:lvl1pPr algn="ctr">
              <a:defRPr sz="900" b="1"/>
            </a:lvl1pPr>
          </a:lstStyle>
          <a:p>
            <a:endParaRPr lang="en-US"/>
          </a:p>
        </p:txBody>
      </p:sp>
    </p:spTree>
    <p:extLst>
      <p:ext uri="{BB962C8B-B14F-4D97-AF65-F5344CB8AC3E}">
        <p14:creationId xmlns:p14="http://schemas.microsoft.com/office/powerpoint/2010/main" val="23526920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105057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marL="1144800" indent="-230400">
              <a:spcBef>
                <a:spcPts val="900"/>
              </a:spcBef>
              <a:spcAft>
                <a:spcPts val="1200"/>
              </a:spcAft>
              <a:buFont typeface="Arial" panose="020B0604020202020204" pitchFamily="34" charset="0"/>
              <a:buChar char="•"/>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46698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 1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68000"/>
          </a:xfrm>
          <a:prstGeom prst="rect">
            <a:avLst/>
          </a:prstGeom>
        </p:spPr>
        <p:txBody>
          <a:bodyPr anchor="t"/>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4FDEEED3-3BF4-CAA9-E5E5-F0D1236C8D87}"/>
              </a:ext>
            </a:extLst>
          </p:cNvPr>
          <p:cNvSpPr>
            <a:spLocks noGrp="1"/>
          </p:cNvSpPr>
          <p:nvPr>
            <p:ph sz="half" idx="1"/>
          </p:nvPr>
        </p:nvSpPr>
        <p:spPr>
          <a:xfrm>
            <a:off x="72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1997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B9A79B8B-5758-42F8-FFCB-A65DE72DD68E}"/>
              </a:ext>
            </a:extLst>
          </p:cNvPr>
          <p:cNvSpPr>
            <a:spLocks noGrp="1"/>
          </p:cNvSpPr>
          <p:nvPr>
            <p:ph sz="half" idx="2"/>
          </p:nvPr>
        </p:nvSpPr>
        <p:spPr>
          <a:xfrm>
            <a:off x="6300000" y="1800000"/>
            <a:ext cx="5181600" cy="399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59533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Intermediary pattern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806B69-8806-C645-9541-7A9B52042D10}"/>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 name="Title 1">
            <a:extLst>
              <a:ext uri="{FF2B5EF4-FFF2-40B4-BE49-F238E27FC236}">
                <a16:creationId xmlns:a16="http://schemas.microsoft.com/office/drawing/2014/main" id="{539A4624-3BD1-4B08-B4B7-E81E75246994}"/>
              </a:ext>
            </a:extLst>
          </p:cNvPr>
          <p:cNvSpPr>
            <a:spLocks noGrp="1"/>
          </p:cNvSpPr>
          <p:nvPr>
            <p:ph type="title"/>
          </p:nvPr>
        </p:nvSpPr>
        <p:spPr>
          <a:xfrm>
            <a:off x="594000" y="2412000"/>
            <a:ext cx="3960000" cy="1440000"/>
          </a:xfrm>
        </p:spPr>
        <p:txBody>
          <a:body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291DB89-BFC9-4D18-B2AB-A101A7B60A0C}"/>
              </a:ext>
            </a:extLst>
          </p:cNvPr>
          <p:cNvSpPr>
            <a:spLocks noGrp="1"/>
          </p:cNvSpPr>
          <p:nvPr>
            <p:ph type="ftr" sz="quarter" idx="10"/>
          </p:nvPr>
        </p:nvSpPr>
        <p:spPr>
          <a:xfrm>
            <a:off x="594000" y="6264000"/>
            <a:ext cx="3960000" cy="594000"/>
          </a:xfrm>
        </p:spPr>
        <p:txBody>
          <a:bodyPr/>
          <a:lstStyle>
            <a:lvl1pPr>
              <a:defRPr>
                <a:solidFill>
                  <a:schemeClr val="bg1"/>
                </a:solidFill>
              </a:defRPr>
            </a:lvl1pPr>
          </a:lstStyle>
          <a:p>
            <a:r>
              <a:rPr lang="en-GB" dirty="0"/>
              <a:t>CMS example slides | February 2024</a:t>
            </a:r>
            <a:endParaRPr lang="de-DE" dirty="0"/>
          </a:p>
        </p:txBody>
      </p:sp>
      <p:sp>
        <p:nvSpPr>
          <p:cNvPr id="6" name="Text Placeholder 5">
            <a:extLst>
              <a:ext uri="{FF2B5EF4-FFF2-40B4-BE49-F238E27FC236}">
                <a16:creationId xmlns:a16="http://schemas.microsoft.com/office/drawing/2014/main" id="{DA2BE35B-C994-4209-BBA2-1DB725528453}"/>
              </a:ext>
            </a:extLst>
          </p:cNvPr>
          <p:cNvSpPr>
            <a:spLocks noGrp="1"/>
          </p:cNvSpPr>
          <p:nvPr>
            <p:ph type="body" sz="quarter" idx="12"/>
          </p:nvPr>
        </p:nvSpPr>
        <p:spPr>
          <a:xfrm>
            <a:off x="594000" y="4212000"/>
            <a:ext cx="3960000" cy="900000"/>
          </a:xfrm>
        </p:spPr>
        <p:txBody>
          <a:bodyPr/>
          <a:lstStyle/>
          <a:p>
            <a:pPr lvl="0"/>
            <a:r>
              <a:rPr lang="en-US" dirty="0"/>
              <a:t>Click to edit Master text styles</a:t>
            </a:r>
          </a:p>
        </p:txBody>
      </p:sp>
      <p:sp>
        <p:nvSpPr>
          <p:cNvPr id="5" name="Date Placeholder 2">
            <a:extLst>
              <a:ext uri="{FF2B5EF4-FFF2-40B4-BE49-F238E27FC236}">
                <a16:creationId xmlns:a16="http://schemas.microsoft.com/office/drawing/2014/main" id="{BDCECBF8-E264-4D30-AB20-A4EF420686FF}"/>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pic>
        <p:nvPicPr>
          <p:cNvPr id="18" name="Picture 17">
            <a:extLst>
              <a:ext uri="{FF2B5EF4-FFF2-40B4-BE49-F238E27FC236}">
                <a16:creationId xmlns:a16="http://schemas.microsoft.com/office/drawing/2014/main" id="{3ECFAF0C-772F-444F-9308-692CD67ADDD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77490" y="584787"/>
            <a:ext cx="1526339" cy="774910"/>
          </a:xfrm>
          <a:prstGeom prst="rect">
            <a:avLst/>
          </a:prstGeom>
        </p:spPr>
      </p:pic>
    </p:spTree>
    <p:extLst>
      <p:ext uri="{BB962C8B-B14F-4D97-AF65-F5344CB8AC3E}">
        <p14:creationId xmlns:p14="http://schemas.microsoft.com/office/powerpoint/2010/main" val="26365106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0"/>
            <a:ext cx="8280000" cy="1296000"/>
          </a:xfrm>
          <a:prstGeom prst="rect">
            <a:avLst/>
          </a:prstGeom>
        </p:spPr>
        <p:txBody>
          <a:bodyPr anchor="t" anchorCtr="0"/>
          <a:lstStyle>
            <a:lvl1pPr>
              <a:defRPr sz="3000"/>
            </a:lvl1pPr>
          </a:lstStyle>
          <a:p>
            <a:r>
              <a:rPr lang="en-US"/>
              <a:t>CLICK TO </a:t>
            </a:r>
            <a:br>
              <a:rPr lang="en-US"/>
            </a:br>
            <a:r>
              <a:rPr lang="en-US"/>
              <a:t>EDIT THIS</a:t>
            </a:r>
            <a:br>
              <a:rPr lang="en-US"/>
            </a:br>
            <a:r>
              <a:rPr lang="en-US"/>
              <a:t>MASTER TITLE</a:t>
            </a:r>
            <a:endParaRPr lang="en-GB"/>
          </a:p>
        </p:txBody>
      </p:sp>
      <p:sp>
        <p:nvSpPr>
          <p:cNvPr id="4" name="Content Placeholder 2">
            <a:extLst>
              <a:ext uri="{FF2B5EF4-FFF2-40B4-BE49-F238E27FC236}">
                <a16:creationId xmlns:a16="http://schemas.microsoft.com/office/drawing/2014/main" id="{33FBB507-A501-4ED9-83B6-0039A64AC5ED}"/>
              </a:ext>
            </a:extLst>
          </p:cNvPr>
          <p:cNvSpPr>
            <a:spLocks noGrp="1"/>
          </p:cNvSpPr>
          <p:nvPr>
            <p:ph sz="half" idx="1"/>
          </p:nvPr>
        </p:nvSpPr>
        <p:spPr>
          <a:xfrm>
            <a:off x="720000" y="2206393"/>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8EC61674-478C-0094-F982-6283BE728209}"/>
              </a:ext>
            </a:extLst>
          </p:cNvPr>
          <p:cNvSpPr>
            <a:spLocks noGrp="1"/>
          </p:cNvSpPr>
          <p:nvPr>
            <p:ph sz="half" idx="2"/>
          </p:nvPr>
        </p:nvSpPr>
        <p:spPr>
          <a:xfrm>
            <a:off x="6300000" y="2206392"/>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25531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layout +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39999"/>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00000"/>
            <a:ext cx="2340000" cy="1800000"/>
          </a:xfrm>
          <a:prstGeom prst="rect">
            <a:avLst/>
          </a:prstGeom>
        </p:spPr>
        <p:txBody>
          <a:body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00000"/>
            <a:ext cx="2340000" cy="1800000"/>
          </a:xfrm>
          <a:prstGeom prst="rect">
            <a:avLst/>
          </a:prstGeom>
        </p:spPr>
        <p:txBody>
          <a:body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p>
            <a:endParaRPr lang="en-GB"/>
          </a:p>
        </p:txBody>
      </p:sp>
    </p:spTree>
    <p:extLst>
      <p:ext uri="{BB962C8B-B14F-4D97-AF65-F5344CB8AC3E}">
        <p14:creationId xmlns:p14="http://schemas.microsoft.com/office/powerpoint/2010/main" val="30992646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 2 sub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5157787"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620000"/>
            <a:ext cx="5183188" cy="376237"/>
          </a:xfrm>
          <a:prstGeom prst="rect">
            <a:avLst/>
          </a:prstGeom>
        </p:spPr>
        <p:txBody>
          <a:bodyPr anchor="t" anchorCtr="0"/>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0"/>
            <a:ext cx="5181600" cy="367875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3">
            <a:extLst>
              <a:ext uri="{FF2B5EF4-FFF2-40B4-BE49-F238E27FC236}">
                <a16:creationId xmlns:a16="http://schemas.microsoft.com/office/drawing/2014/main" id="{FCB90BA0-A853-4B5A-CC9E-CBA579C8E775}"/>
              </a:ext>
            </a:extLst>
          </p:cNvPr>
          <p:cNvSpPr>
            <a:spLocks noGrp="1"/>
          </p:cNvSpPr>
          <p:nvPr>
            <p:ph sz="half" idx="2"/>
          </p:nvPr>
        </p:nvSpPr>
        <p:spPr>
          <a:xfrm>
            <a:off x="6300000" y="2340000"/>
            <a:ext cx="5181600" cy="367875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167574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line header + sub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1"/>
            <a:ext cx="10800000" cy="3306420"/>
          </a:xfrm>
          <a:prstGeom prst="rect">
            <a:avLst/>
          </a:prstGeom>
        </p:spPr>
        <p:txBody>
          <a:bodyPr numCol="2" spcCol="180000"/>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24000769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1612900" y="2810268"/>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720000" y="2745590"/>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720000" y="3530226"/>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20000" y="4314863"/>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720000" y="5099499"/>
            <a:ext cx="677900" cy="677900"/>
          </a:xfrm>
          <a:prstGeom prst="rect">
            <a:avLst/>
          </a:prstGeom>
        </p:spPr>
        <p:txBody>
          <a:bodyPr/>
          <a:lstStyle/>
          <a:p>
            <a:endParaRPr lang="en-GB"/>
          </a:p>
        </p:txBody>
      </p:sp>
      <p:sp>
        <p:nvSpPr>
          <p:cNvPr id="15" name="Content Placeholder 2">
            <a:extLst>
              <a:ext uri="{FF2B5EF4-FFF2-40B4-BE49-F238E27FC236}">
                <a16:creationId xmlns:a16="http://schemas.microsoft.com/office/drawing/2014/main" id="{62E4263E-5BA8-1A6E-CDA7-C264C6F7CB64}"/>
              </a:ext>
            </a:extLst>
          </p:cNvPr>
          <p:cNvSpPr>
            <a:spLocks noGrp="1"/>
          </p:cNvSpPr>
          <p:nvPr>
            <p:ph sz="half" idx="17"/>
          </p:nvPr>
        </p:nvSpPr>
        <p:spPr>
          <a:xfrm>
            <a:off x="7200000" y="2826169"/>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6">
            <a:extLst>
              <a:ext uri="{FF2B5EF4-FFF2-40B4-BE49-F238E27FC236}">
                <a16:creationId xmlns:a16="http://schemas.microsoft.com/office/drawing/2014/main" id="{3BB4230E-6BD8-1134-F3EE-6CC9F8AFD273}"/>
              </a:ext>
            </a:extLst>
          </p:cNvPr>
          <p:cNvSpPr>
            <a:spLocks noGrp="1"/>
          </p:cNvSpPr>
          <p:nvPr>
            <p:ph type="pic" sz="quarter" idx="18"/>
          </p:nvPr>
        </p:nvSpPr>
        <p:spPr>
          <a:xfrm>
            <a:off x="6307100" y="2761491"/>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AB215E57-6E7E-7B2F-31E3-88F89F5198C0}"/>
              </a:ext>
            </a:extLst>
          </p:cNvPr>
          <p:cNvSpPr>
            <a:spLocks noGrp="1"/>
          </p:cNvSpPr>
          <p:nvPr>
            <p:ph type="pic" sz="quarter" idx="19"/>
          </p:nvPr>
        </p:nvSpPr>
        <p:spPr>
          <a:xfrm>
            <a:off x="6307100" y="3546127"/>
            <a:ext cx="677900" cy="677900"/>
          </a:xfrm>
          <a:prstGeom prst="rect">
            <a:avLst/>
          </a:prstGeom>
        </p:spPr>
        <p:txBody>
          <a:bodyPr/>
          <a:lstStyle/>
          <a:p>
            <a:endParaRPr lang="en-GB"/>
          </a:p>
        </p:txBody>
      </p:sp>
      <p:sp>
        <p:nvSpPr>
          <p:cNvPr id="18" name="Picture Placeholder 6">
            <a:extLst>
              <a:ext uri="{FF2B5EF4-FFF2-40B4-BE49-F238E27FC236}">
                <a16:creationId xmlns:a16="http://schemas.microsoft.com/office/drawing/2014/main" id="{4875DE25-35C1-1208-15CC-EC96423CC121}"/>
              </a:ext>
            </a:extLst>
          </p:cNvPr>
          <p:cNvSpPr>
            <a:spLocks noGrp="1"/>
          </p:cNvSpPr>
          <p:nvPr>
            <p:ph type="pic" sz="quarter" idx="20"/>
          </p:nvPr>
        </p:nvSpPr>
        <p:spPr>
          <a:xfrm>
            <a:off x="6307100" y="4330763"/>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688AEA07-FAE7-4B21-DC24-28CC535AA4EC}"/>
              </a:ext>
            </a:extLst>
          </p:cNvPr>
          <p:cNvSpPr>
            <a:spLocks noGrp="1"/>
          </p:cNvSpPr>
          <p:nvPr>
            <p:ph type="pic" sz="quarter" idx="21"/>
          </p:nvPr>
        </p:nvSpPr>
        <p:spPr>
          <a:xfrm>
            <a:off x="6307100" y="5115400"/>
            <a:ext cx="677900" cy="677900"/>
          </a:xfrm>
          <a:prstGeom prst="rect">
            <a:avLst/>
          </a:prstGeom>
        </p:spPr>
        <p:txBody>
          <a:bodyPr/>
          <a:lstStyle/>
          <a:p>
            <a:endParaRPr lang="en-GB"/>
          </a:p>
        </p:txBody>
      </p:sp>
      <p:sp>
        <p:nvSpPr>
          <p:cNvPr id="20" name="Text Placeholder 2">
            <a:extLst>
              <a:ext uri="{FF2B5EF4-FFF2-40B4-BE49-F238E27FC236}">
                <a16:creationId xmlns:a16="http://schemas.microsoft.com/office/drawing/2014/main" id="{5A19A783-99E9-4431-6236-15AC925DEA45}"/>
              </a:ext>
            </a:extLst>
          </p:cNvPr>
          <p:cNvSpPr>
            <a:spLocks noGrp="1"/>
          </p:cNvSpPr>
          <p:nvPr>
            <p:ph type="body" idx="22"/>
          </p:nvPr>
        </p:nvSpPr>
        <p:spPr>
          <a:xfrm>
            <a:off x="719998" y="2212938"/>
            <a:ext cx="10776002" cy="376237"/>
          </a:xfrm>
          <a:prstGeom prst="rect">
            <a:avLst/>
          </a:prstGeom>
        </p:spPr>
        <p:txBody>
          <a:bodyPr anchor="ctr" anchorCtr="0"/>
          <a:lstStyle>
            <a:lvl1pPr marL="0" indent="0">
              <a:buNone/>
              <a:defRPr sz="1200" b="0">
                <a:solidFill>
                  <a:srgbClr val="64656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411986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icons + 4 text boxe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19999" y="3404152"/>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1524517" y="2377842"/>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4273290" y="2406371"/>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022063" y="2377842"/>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9770835" y="2406827"/>
            <a:ext cx="677900" cy="677900"/>
          </a:xfrm>
          <a:prstGeom prst="rect">
            <a:avLst/>
          </a:prstGeom>
        </p:spPr>
        <p:txBody>
          <a:bodyPr/>
          <a:lstStyle/>
          <a:p>
            <a:endParaRPr lang="en-GB"/>
          </a:p>
        </p:txBody>
      </p:sp>
      <p:sp>
        <p:nvSpPr>
          <p:cNvPr id="2" name="Content Placeholder 2">
            <a:extLst>
              <a:ext uri="{FF2B5EF4-FFF2-40B4-BE49-F238E27FC236}">
                <a16:creationId xmlns:a16="http://schemas.microsoft.com/office/drawing/2014/main" id="{3562E760-B03A-9265-C829-44807226CE5B}"/>
              </a:ext>
            </a:extLst>
          </p:cNvPr>
          <p:cNvSpPr>
            <a:spLocks noGrp="1"/>
          </p:cNvSpPr>
          <p:nvPr>
            <p:ph sz="half" idx="17"/>
          </p:nvPr>
        </p:nvSpPr>
        <p:spPr>
          <a:xfrm>
            <a:off x="3676202"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D83D28E5-933F-61DF-C312-331912ED9223}"/>
              </a:ext>
            </a:extLst>
          </p:cNvPr>
          <p:cNvSpPr>
            <a:spLocks noGrp="1"/>
          </p:cNvSpPr>
          <p:nvPr>
            <p:ph sz="half" idx="18"/>
          </p:nvPr>
        </p:nvSpPr>
        <p:spPr>
          <a:xfrm>
            <a:off x="6629500"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a:extLst>
              <a:ext uri="{FF2B5EF4-FFF2-40B4-BE49-F238E27FC236}">
                <a16:creationId xmlns:a16="http://schemas.microsoft.com/office/drawing/2014/main" id="{D9655EB7-8A60-A8EB-83A8-2CD40273CCD6}"/>
              </a:ext>
            </a:extLst>
          </p:cNvPr>
          <p:cNvSpPr>
            <a:spLocks noGrp="1"/>
          </p:cNvSpPr>
          <p:nvPr>
            <p:ph sz="half" idx="19"/>
          </p:nvPr>
        </p:nvSpPr>
        <p:spPr>
          <a:xfrm>
            <a:off x="9585703" y="3453848"/>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53663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icons + 6 text boxes">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5970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357FB1EB-E6F8-8D4D-8DFD-459D53184100}"/>
              </a:ext>
            </a:extLst>
          </p:cNvPr>
          <p:cNvSpPr>
            <a:spLocks noGrp="1"/>
          </p:cNvSpPr>
          <p:nvPr>
            <p:ph sz="half" idx="17" hasCustomPrompt="1"/>
          </p:nvPr>
        </p:nvSpPr>
        <p:spPr>
          <a:xfrm>
            <a:off x="444687" y="47319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Content Placeholder 2">
            <a:extLst>
              <a:ext uri="{FF2B5EF4-FFF2-40B4-BE49-F238E27FC236}">
                <a16:creationId xmlns:a16="http://schemas.microsoft.com/office/drawing/2014/main" id="{9A73DEF8-94CD-8778-060A-F22352F948B0}"/>
              </a:ext>
            </a:extLst>
          </p:cNvPr>
          <p:cNvSpPr>
            <a:spLocks noGrp="1"/>
          </p:cNvSpPr>
          <p:nvPr>
            <p:ph sz="half" idx="19"/>
          </p:nvPr>
        </p:nvSpPr>
        <p:spPr>
          <a:xfrm>
            <a:off x="4125610"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Picture Placeholder 6">
            <a:extLst>
              <a:ext uri="{FF2B5EF4-FFF2-40B4-BE49-F238E27FC236}">
                <a16:creationId xmlns:a16="http://schemas.microsoft.com/office/drawing/2014/main" id="{A4F0B8C9-1C0C-C1CD-37F6-DBABD32C33B8}"/>
              </a:ext>
            </a:extLst>
          </p:cNvPr>
          <p:cNvSpPr>
            <a:spLocks noGrp="1"/>
          </p:cNvSpPr>
          <p:nvPr>
            <p:ph type="pic" sz="quarter" idx="18"/>
          </p:nvPr>
        </p:nvSpPr>
        <p:spPr>
          <a:xfrm>
            <a:off x="5588490" y="3971328"/>
            <a:ext cx="677900" cy="677900"/>
          </a:xfrm>
          <a:prstGeom prst="rect">
            <a:avLst/>
          </a:prstGeom>
        </p:spPr>
        <p:txBody>
          <a:bodyPr/>
          <a:lstStyle/>
          <a:p>
            <a:endParaRPr lang="en-GB"/>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5" name="Picture Placeholder 6">
            <a:extLst>
              <a:ext uri="{FF2B5EF4-FFF2-40B4-BE49-F238E27FC236}">
                <a16:creationId xmlns:a16="http://schemas.microsoft.com/office/drawing/2014/main" id="{0076FBE2-E387-9D69-F905-1C49F9AB3D3A}"/>
              </a:ext>
            </a:extLst>
          </p:cNvPr>
          <p:cNvSpPr>
            <a:spLocks noGrp="1"/>
          </p:cNvSpPr>
          <p:nvPr>
            <p:ph type="pic" sz="quarter" idx="21"/>
          </p:nvPr>
        </p:nvSpPr>
        <p:spPr>
          <a:xfrm>
            <a:off x="9269413" y="3971328"/>
            <a:ext cx="677900" cy="677900"/>
          </a:xfrm>
          <a:prstGeom prst="rect">
            <a:avLst/>
          </a:prstGeom>
        </p:spPr>
        <p:txBody>
          <a:bodyPr/>
          <a:lstStyle/>
          <a:p>
            <a:endParaRPr lang="en-GB"/>
          </a:p>
        </p:txBody>
      </p:sp>
      <p:sp>
        <p:nvSpPr>
          <p:cNvPr id="26" name="Content Placeholder 2">
            <a:extLst>
              <a:ext uri="{FF2B5EF4-FFF2-40B4-BE49-F238E27FC236}">
                <a16:creationId xmlns:a16="http://schemas.microsoft.com/office/drawing/2014/main" id="{95609DB4-2B25-CD8C-651E-1FACB81C75BE}"/>
              </a:ext>
            </a:extLst>
          </p:cNvPr>
          <p:cNvSpPr>
            <a:spLocks noGrp="1"/>
          </p:cNvSpPr>
          <p:nvPr>
            <p:ph sz="half" idx="22"/>
          </p:nvPr>
        </p:nvSpPr>
        <p:spPr>
          <a:xfrm>
            <a:off x="7806533"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822763"/>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836428"/>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5127D8DA-0D92-2CB7-89EC-474CBFA053E2}"/>
              </a:ext>
            </a:extLst>
          </p:cNvPr>
          <p:cNvSpPr>
            <a:spLocks noGrp="1"/>
          </p:cNvSpPr>
          <p:nvPr>
            <p:ph type="pic" sz="quarter" idx="16"/>
          </p:nvPr>
        </p:nvSpPr>
        <p:spPr>
          <a:xfrm>
            <a:off x="1907567" y="3957663"/>
            <a:ext cx="677900" cy="677900"/>
          </a:xfrm>
          <a:prstGeom prst="rect">
            <a:avLst/>
          </a:prstGeom>
        </p:spPr>
        <p:txBody>
          <a:body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836428"/>
            <a:ext cx="677900" cy="677900"/>
          </a:xfrm>
          <a:prstGeom prst="rect">
            <a:avLst/>
          </a:prstGeom>
        </p:spPr>
        <p:txBody>
          <a:bodyPr/>
          <a:lstStyle/>
          <a:p>
            <a:endParaRPr lang="en-GB"/>
          </a:p>
        </p:txBody>
      </p:sp>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5571190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280000" cy="380000"/>
          </a:xfrm>
          <a:prstGeom prst="rect">
            <a:avLst/>
          </a:prstGeom>
        </p:spPr>
        <p:txBody>
          <a:bodyPr/>
          <a:lstStyle>
            <a:lvl1pPr marL="0" indent="0">
              <a:buNone/>
              <a:defRPr sz="1600">
                <a:solidFill>
                  <a:srgbClr val="54555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97746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p>
            <a:endParaRPr lang="en-GB"/>
          </a:p>
        </p:txBody>
      </p:sp>
      <p:sp>
        <p:nvSpPr>
          <p:cNvPr id="3" name="Title 12">
            <a:extLst>
              <a:ext uri="{FF2B5EF4-FFF2-40B4-BE49-F238E27FC236}">
                <a16:creationId xmlns:a16="http://schemas.microsoft.com/office/drawing/2014/main" id="{0AA28110-14D4-EE63-0C54-A1556B6EFBF7}"/>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1474523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b="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b="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b="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p>
            <a:endParaRPr lang="en-GB"/>
          </a:p>
        </p:txBody>
      </p:sp>
      <p:sp>
        <p:nvSpPr>
          <p:cNvPr id="7" name="Title 12">
            <a:extLst>
              <a:ext uri="{FF2B5EF4-FFF2-40B4-BE49-F238E27FC236}">
                <a16:creationId xmlns:a16="http://schemas.microsoft.com/office/drawing/2014/main" id="{1BA5659F-69EE-1CAE-D1D3-151224EE1516}"/>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86497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py and icon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C4B0991-E5A6-2842-B066-2301BF31F1A5}"/>
              </a:ext>
            </a:extLst>
          </p:cNvPr>
          <p:cNvSpPr>
            <a:spLocks noGrp="1"/>
          </p:cNvSpPr>
          <p:nvPr>
            <p:ph type="title" hasCustomPrompt="1"/>
          </p:nvPr>
        </p:nvSpPr>
        <p:spPr>
          <a:xfrm>
            <a:off x="6188764" y="1054238"/>
            <a:ext cx="5008562" cy="416753"/>
          </a:xfrm>
          <a:prstGeom prst="rect">
            <a:avLst/>
          </a:prstGeo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9" name="Text Placeholder 14">
            <a:extLst>
              <a:ext uri="{FF2B5EF4-FFF2-40B4-BE49-F238E27FC236}">
                <a16:creationId xmlns:a16="http://schemas.microsoft.com/office/drawing/2014/main" id="{5B1E4484-AB64-2641-AB66-0717B0B37BCA}"/>
              </a:ext>
            </a:extLst>
          </p:cNvPr>
          <p:cNvSpPr>
            <a:spLocks noGrp="1"/>
          </p:cNvSpPr>
          <p:nvPr>
            <p:ph type="body" sz="quarter" idx="10" hasCustomPrompt="1"/>
          </p:nvPr>
        </p:nvSpPr>
        <p:spPr>
          <a:xfrm>
            <a:off x="6188764" y="2663686"/>
            <a:ext cx="5008563" cy="3153465"/>
          </a:xfrm>
          <a:prstGeom prst="rect">
            <a:avLst/>
          </a:prstGeom>
        </p:spPr>
        <p:txBody>
          <a:bodyPr wrap="square" lIns="0" tIns="0" rIns="0" bIns="0">
            <a:normAutofit/>
          </a:bodyPr>
          <a:lstStyle>
            <a:lvl1pPr marL="0" indent="0">
              <a:lnSpc>
                <a:spcPts val="2200"/>
              </a:lnSpc>
              <a:spcBef>
                <a:spcPts val="0"/>
              </a:spcBef>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Copy he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endParaRPr lang="en-GB"/>
          </a:p>
          <a:p>
            <a:pPr lvl="0"/>
            <a:endParaRPr lang="en-GB"/>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endParaRPr lang="en-GB"/>
          </a:p>
          <a:p>
            <a:pPr lvl="0"/>
            <a:r>
              <a:rPr lang="en-GB"/>
              <a:t>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aliquet</a:t>
            </a:r>
            <a:r>
              <a:rPr lang="en-GB"/>
              <a:t> </a:t>
            </a:r>
            <a:r>
              <a:rPr lang="en-GB" err="1"/>
              <a:t>enim</a:t>
            </a:r>
            <a:r>
              <a:rPr lang="en-GB"/>
              <a:t> </a:t>
            </a:r>
            <a:r>
              <a:rPr lang="en-GB" err="1"/>
              <a:t>torto</a:t>
            </a:r>
            <a:r>
              <a:rPr lang="en-GB"/>
              <a:t> </a:t>
            </a:r>
            <a:r>
              <a:rPr lang="en-GB" err="1"/>
              <a:t>nulla</a:t>
            </a:r>
            <a:r>
              <a:rPr lang="en-GB"/>
              <a:t> </a:t>
            </a:r>
            <a:r>
              <a:rPr lang="en-GB" err="1"/>
              <a:t>aliquet</a:t>
            </a:r>
            <a:r>
              <a:rPr lang="en-GB"/>
              <a:t> </a:t>
            </a:r>
            <a:r>
              <a:rPr lang="en-GB" err="1"/>
              <a:t>enimr</a:t>
            </a:r>
            <a:r>
              <a:rPr lang="en-GB"/>
              <a:t>. </a:t>
            </a:r>
          </a:p>
          <a:p>
            <a:pPr lvl="0"/>
            <a:endParaRPr lang="en-US"/>
          </a:p>
        </p:txBody>
      </p:sp>
      <p:pic>
        <p:nvPicPr>
          <p:cNvPr id="10" name="Picture 9" descr="A picture containing drawing&#10;&#10;Description automatically generated">
            <a:extLst>
              <a:ext uri="{FF2B5EF4-FFF2-40B4-BE49-F238E27FC236}">
                <a16:creationId xmlns:a16="http://schemas.microsoft.com/office/drawing/2014/main" id="{CE67E5C7-D3E2-8B4A-9E2C-6145EBF933E6}"/>
              </a:ext>
            </a:extLst>
          </p:cNvPr>
          <p:cNvPicPr>
            <a:picLocks noChangeAspect="1"/>
          </p:cNvPicPr>
          <p:nvPr userDrawn="1"/>
        </p:nvPicPr>
        <p:blipFill>
          <a:blip r:embed="rId2"/>
          <a:stretch>
            <a:fillRect/>
          </a:stretch>
        </p:blipFill>
        <p:spPr>
          <a:xfrm>
            <a:off x="947738" y="1120090"/>
            <a:ext cx="4328512" cy="4664345"/>
          </a:xfrm>
          <a:prstGeom prst="rect">
            <a:avLst/>
          </a:prstGeom>
        </p:spPr>
      </p:pic>
      <p:sp>
        <p:nvSpPr>
          <p:cNvPr id="11" name="Text Placeholder 13">
            <a:extLst>
              <a:ext uri="{FF2B5EF4-FFF2-40B4-BE49-F238E27FC236}">
                <a16:creationId xmlns:a16="http://schemas.microsoft.com/office/drawing/2014/main" id="{35781D17-80AA-2B4C-8AC7-53F6B81A8293}"/>
              </a:ext>
            </a:extLst>
          </p:cNvPr>
          <p:cNvSpPr>
            <a:spLocks noGrp="1"/>
          </p:cNvSpPr>
          <p:nvPr>
            <p:ph type="body" sz="quarter" idx="13" hasCustomPrompt="1"/>
          </p:nvPr>
        </p:nvSpPr>
        <p:spPr>
          <a:xfrm>
            <a:off x="6188763" y="1502498"/>
            <a:ext cx="5008561" cy="627582"/>
          </a:xfrm>
          <a:prstGeom prst="rect">
            <a:avLst/>
          </a:prstGeo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
        <p:nvSpPr>
          <p:cNvPr id="13" name="Text Placeholder 58">
            <a:extLst>
              <a:ext uri="{FF2B5EF4-FFF2-40B4-BE49-F238E27FC236}">
                <a16:creationId xmlns:a16="http://schemas.microsoft.com/office/drawing/2014/main" id="{EEC8CDA2-973E-6D4E-B02B-914AB0C5D347}"/>
              </a:ext>
            </a:extLst>
          </p:cNvPr>
          <p:cNvSpPr>
            <a:spLocks noGrp="1"/>
          </p:cNvSpPr>
          <p:nvPr>
            <p:ph type="body" sz="quarter" idx="17" hasCustomPrompt="1"/>
          </p:nvPr>
        </p:nvSpPr>
        <p:spPr>
          <a:xfrm>
            <a:off x="6188764" y="2156126"/>
            <a:ext cx="591769" cy="45719"/>
          </a:xfrm>
          <a:prstGeom prst="rect">
            <a:avLst/>
          </a:prstGeom>
          <a:blipFill>
            <a:blip r:embed="rId3">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
        <p:nvSpPr>
          <p:cNvPr id="18" name="Text Placeholder 16">
            <a:extLst>
              <a:ext uri="{FF2B5EF4-FFF2-40B4-BE49-F238E27FC236}">
                <a16:creationId xmlns:a16="http://schemas.microsoft.com/office/drawing/2014/main" id="{46F2E766-CE68-D24D-8664-E92D96F9D2E2}"/>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FFFFFF"/>
                </a:solidFill>
                <a:latin typeface="Lato Semibold" panose="020F0502020204030203" pitchFamily="34" charset="77"/>
              </a:defRPr>
            </a:lvl1pPr>
          </a:lstStyle>
          <a:p>
            <a:pPr lvl="0"/>
            <a:r>
              <a:rPr lang="en-GB"/>
              <a:t>Presentation title</a:t>
            </a:r>
          </a:p>
        </p:txBody>
      </p:sp>
    </p:spTree>
    <p:extLst>
      <p:ext uri="{BB962C8B-B14F-4D97-AF65-F5344CB8AC3E}">
        <p14:creationId xmlns:p14="http://schemas.microsoft.com/office/powerpoint/2010/main" val="1460834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ivider page">
    <p:bg>
      <p:bgPr>
        <a:solidFill>
          <a:schemeClr val="bg1"/>
        </a:solidFill>
        <a:effectLst/>
      </p:bgPr>
    </p:bg>
    <p:spTree>
      <p:nvGrpSpPr>
        <p:cNvPr id="1" name=""/>
        <p:cNvGrpSpPr/>
        <p:nvPr/>
      </p:nvGrpSpPr>
      <p:grpSpPr>
        <a:xfrm>
          <a:off x="0" y="0"/>
          <a:ext cx="0" cy="0"/>
          <a:chOff x="0" y="0"/>
          <a:chExt cx="0" cy="0"/>
        </a:xfrm>
      </p:grpSpPr>
      <p:pic>
        <p:nvPicPr>
          <p:cNvPr id="11" name="Picture 10" descr="A red and orange rectangles on a black background&#10;&#10;Description automatically generated">
            <a:extLst>
              <a:ext uri="{FF2B5EF4-FFF2-40B4-BE49-F238E27FC236}">
                <a16:creationId xmlns:a16="http://schemas.microsoft.com/office/drawing/2014/main" id="{94B47461-6684-230D-1005-40684310C5B2}"/>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Lst>
          </a:blip>
          <a:srcRect l="5539" t="11450" r="7418" b="19294"/>
          <a:stretch/>
        </p:blipFill>
        <p:spPr>
          <a:xfrm>
            <a:off x="1" y="0"/>
            <a:ext cx="12192000" cy="6858000"/>
          </a:xfrm>
          <a:prstGeom prst="rect">
            <a:avLst/>
          </a:prstGeom>
        </p:spPr>
      </p:pic>
      <p:sp>
        <p:nvSpPr>
          <p:cNvPr id="4" name="Picture Placeholder 6">
            <a:extLst>
              <a:ext uri="{FF2B5EF4-FFF2-40B4-BE49-F238E27FC236}">
                <a16:creationId xmlns:a16="http://schemas.microsoft.com/office/drawing/2014/main" id="{C3F308B0-2F98-94B5-59FC-10E4B40A2305}"/>
              </a:ext>
            </a:extLst>
          </p:cNvPr>
          <p:cNvSpPr>
            <a:spLocks noGrp="1"/>
          </p:cNvSpPr>
          <p:nvPr>
            <p:ph type="pic" sz="quarter" idx="13"/>
          </p:nvPr>
        </p:nvSpPr>
        <p:spPr>
          <a:xfrm>
            <a:off x="1440181" y="1365509"/>
            <a:ext cx="9243060" cy="4738112"/>
          </a:xfrm>
          <a:custGeom>
            <a:avLst/>
            <a:gdLst>
              <a:gd name="connsiteX0" fmla="*/ 0 w 7532112"/>
              <a:gd name="connsiteY0" fmla="*/ 0 h 3714177"/>
              <a:gd name="connsiteX1" fmla="*/ 7532112 w 7532112"/>
              <a:gd name="connsiteY1" fmla="*/ 0 h 3714177"/>
              <a:gd name="connsiteX2" fmla="*/ 7532112 w 7532112"/>
              <a:gd name="connsiteY2" fmla="*/ 3714177 h 3714177"/>
              <a:gd name="connsiteX3" fmla="*/ 0 w 7532112"/>
              <a:gd name="connsiteY3" fmla="*/ 3714177 h 3714177"/>
              <a:gd name="connsiteX4" fmla="*/ 0 w 7532112"/>
              <a:gd name="connsiteY4" fmla="*/ 0 h 3714177"/>
              <a:gd name="connsiteX0" fmla="*/ 0 w 7892330"/>
              <a:gd name="connsiteY0" fmla="*/ 0 h 3714177"/>
              <a:gd name="connsiteX1" fmla="*/ 7892330 w 7892330"/>
              <a:gd name="connsiteY1" fmla="*/ 175491 h 3714177"/>
              <a:gd name="connsiteX2" fmla="*/ 7532112 w 7892330"/>
              <a:gd name="connsiteY2" fmla="*/ 3714177 h 3714177"/>
              <a:gd name="connsiteX3" fmla="*/ 0 w 7892330"/>
              <a:gd name="connsiteY3" fmla="*/ 3714177 h 3714177"/>
              <a:gd name="connsiteX4" fmla="*/ 0 w 7892330"/>
              <a:gd name="connsiteY4" fmla="*/ 0 h 3714177"/>
              <a:gd name="connsiteX0" fmla="*/ 0 w 8409566"/>
              <a:gd name="connsiteY0" fmla="*/ 0 h 3714177"/>
              <a:gd name="connsiteX1" fmla="*/ 7892330 w 8409566"/>
              <a:gd name="connsiteY1" fmla="*/ 175491 h 3714177"/>
              <a:gd name="connsiteX2" fmla="*/ 8409566 w 8409566"/>
              <a:gd name="connsiteY2" fmla="*/ 3686468 h 3714177"/>
              <a:gd name="connsiteX3" fmla="*/ 0 w 8409566"/>
              <a:gd name="connsiteY3" fmla="*/ 3714177 h 3714177"/>
              <a:gd name="connsiteX4" fmla="*/ 0 w 8409566"/>
              <a:gd name="connsiteY4" fmla="*/ 0 h 3714177"/>
              <a:gd name="connsiteX0" fmla="*/ 378691 w 8788257"/>
              <a:gd name="connsiteY0" fmla="*/ 0 h 4905668"/>
              <a:gd name="connsiteX1" fmla="*/ 8271021 w 8788257"/>
              <a:gd name="connsiteY1" fmla="*/ 175491 h 4905668"/>
              <a:gd name="connsiteX2" fmla="*/ 8788257 w 8788257"/>
              <a:gd name="connsiteY2" fmla="*/ 3686468 h 4905668"/>
              <a:gd name="connsiteX3" fmla="*/ 0 w 8788257"/>
              <a:gd name="connsiteY3" fmla="*/ 4905668 h 4905668"/>
              <a:gd name="connsiteX4" fmla="*/ 378691 w 8788257"/>
              <a:gd name="connsiteY4" fmla="*/ 0 h 4905668"/>
              <a:gd name="connsiteX0" fmla="*/ 0 w 9305493"/>
              <a:gd name="connsiteY0" fmla="*/ 1209964 h 4730177"/>
              <a:gd name="connsiteX1" fmla="*/ 8788257 w 9305493"/>
              <a:gd name="connsiteY1" fmla="*/ 0 h 4730177"/>
              <a:gd name="connsiteX2" fmla="*/ 9305493 w 9305493"/>
              <a:gd name="connsiteY2" fmla="*/ 3510977 h 4730177"/>
              <a:gd name="connsiteX3" fmla="*/ 517236 w 9305493"/>
              <a:gd name="connsiteY3" fmla="*/ 4730177 h 4730177"/>
              <a:gd name="connsiteX4" fmla="*/ 0 w 9305493"/>
              <a:gd name="connsiteY4" fmla="*/ 1209964 h 4730177"/>
              <a:gd name="connsiteX0" fmla="*/ 0 w 9305493"/>
              <a:gd name="connsiteY0" fmla="*/ 1237674 h 4757887"/>
              <a:gd name="connsiteX1" fmla="*/ 8815966 w 9305493"/>
              <a:gd name="connsiteY1" fmla="*/ 0 h 4757887"/>
              <a:gd name="connsiteX2" fmla="*/ 9305493 w 9305493"/>
              <a:gd name="connsiteY2" fmla="*/ 3538687 h 4757887"/>
              <a:gd name="connsiteX3" fmla="*/ 517236 w 9305493"/>
              <a:gd name="connsiteY3" fmla="*/ 4757887 h 4757887"/>
              <a:gd name="connsiteX4" fmla="*/ 0 w 9305493"/>
              <a:gd name="connsiteY4" fmla="*/ 1237674 h 4757887"/>
              <a:gd name="connsiteX0" fmla="*/ 0 w 9305493"/>
              <a:gd name="connsiteY0" fmla="*/ 1237674 h 4795987"/>
              <a:gd name="connsiteX1" fmla="*/ 8815966 w 9305493"/>
              <a:gd name="connsiteY1" fmla="*/ 0 h 4795987"/>
              <a:gd name="connsiteX2" fmla="*/ 9305493 w 9305493"/>
              <a:gd name="connsiteY2" fmla="*/ 3538687 h 4795987"/>
              <a:gd name="connsiteX3" fmla="*/ 501996 w 9305493"/>
              <a:gd name="connsiteY3" fmla="*/ 4795987 h 4795987"/>
              <a:gd name="connsiteX4" fmla="*/ 0 w 9305493"/>
              <a:gd name="connsiteY4" fmla="*/ 1237674 h 4795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493" h="4795987">
                <a:moveTo>
                  <a:pt x="0" y="1237674"/>
                </a:moveTo>
                <a:lnTo>
                  <a:pt x="8815966" y="0"/>
                </a:lnTo>
                <a:lnTo>
                  <a:pt x="9305493" y="3538687"/>
                </a:lnTo>
                <a:lnTo>
                  <a:pt x="501996" y="4795987"/>
                </a:lnTo>
                <a:lnTo>
                  <a:pt x="0" y="1237674"/>
                </a:lnTo>
                <a:close/>
              </a:path>
            </a:pathLst>
          </a:custGeom>
          <a:noFill/>
          <a:ln w="50800">
            <a:gradFill>
              <a:gsLst>
                <a:gs pos="0">
                  <a:srgbClr val="FF1B12"/>
                </a:gs>
                <a:gs pos="100000">
                  <a:srgbClr val="FF9D1A"/>
                </a:gs>
              </a:gsLst>
              <a:lin ang="3000000" scaled="0"/>
            </a:gradFill>
          </a:ln>
        </p:spPr>
        <p:txBody>
          <a:bodyPr/>
          <a:lstStyle/>
          <a:p>
            <a:endParaRPr lang="en-GB"/>
          </a:p>
        </p:txBody>
      </p:sp>
    </p:spTree>
    <p:extLst>
      <p:ext uri="{BB962C8B-B14F-4D97-AF65-F5344CB8AC3E}">
        <p14:creationId xmlns:p14="http://schemas.microsoft.com/office/powerpoint/2010/main" val="1542107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Front Cover opt 1c">
    <p:spTree>
      <p:nvGrpSpPr>
        <p:cNvPr id="1" name=""/>
        <p:cNvGrpSpPr/>
        <p:nvPr/>
      </p:nvGrpSpPr>
      <p:grpSpPr>
        <a:xfrm>
          <a:off x="0" y="0"/>
          <a:ext cx="0" cy="0"/>
          <a:chOff x="0" y="0"/>
          <a:chExt cx="0" cy="0"/>
        </a:xfrm>
      </p:grpSpPr>
      <p:sp>
        <p:nvSpPr>
          <p:cNvPr id="2" name="Picture Placeholder 26">
            <a:extLst>
              <a:ext uri="{FF2B5EF4-FFF2-40B4-BE49-F238E27FC236}">
                <a16:creationId xmlns:a16="http://schemas.microsoft.com/office/drawing/2014/main" id="{B2721485-6DC0-8114-A3C9-FB71DF3C3770}"/>
              </a:ext>
            </a:extLst>
          </p:cNvPr>
          <p:cNvSpPr>
            <a:spLocks noGrp="1"/>
          </p:cNvSpPr>
          <p:nvPr>
            <p:ph type="pic" sz="quarter" idx="17"/>
          </p:nvPr>
        </p:nvSpPr>
        <p:spPr>
          <a:xfrm rot="168980">
            <a:off x="2495651" y="3321974"/>
            <a:ext cx="3105373" cy="300354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solidFill>
          <a:ln w="38100">
            <a:gradFill>
              <a:gsLst>
                <a:gs pos="0">
                  <a:srgbClr val="FF1B12"/>
                </a:gs>
                <a:gs pos="100000">
                  <a:srgbClr val="FF9D1A"/>
                </a:gs>
              </a:gsLst>
              <a:lin ang="7800000" scaled="0"/>
            </a:gradFill>
            <a:miter lim="800000"/>
          </a:ln>
        </p:spPr>
        <p:txBody>
          <a:bodyPr wrap="square" anchor="ctr">
            <a:noAutofit/>
          </a:bodyPr>
          <a:lstStyle>
            <a:lvl1pPr algn="ctr">
              <a:defRPr/>
            </a:lvl1pPr>
          </a:lstStyle>
          <a:p>
            <a:endParaRPr lang="en-US"/>
          </a:p>
        </p:txBody>
      </p:sp>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31" name="Picture Placeholder 26">
            <a:extLst>
              <a:ext uri="{FF2B5EF4-FFF2-40B4-BE49-F238E27FC236}">
                <a16:creationId xmlns:a16="http://schemas.microsoft.com/office/drawing/2014/main" id="{0CAFDF95-B4A8-D7E3-4812-67068DDEFD24}"/>
              </a:ext>
            </a:extLst>
          </p:cNvPr>
          <p:cNvSpPr>
            <a:spLocks noGrp="1"/>
          </p:cNvSpPr>
          <p:nvPr>
            <p:ph type="pic" sz="quarter" idx="19"/>
          </p:nvPr>
        </p:nvSpPr>
        <p:spPr>
          <a:xfrm rot="21159356">
            <a:off x="1067454" y="2013526"/>
            <a:ext cx="2083505" cy="169848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165" h="1887700">
                <a:moveTo>
                  <a:pt x="609" y="0"/>
                </a:moveTo>
                <a:lnTo>
                  <a:pt x="1929065" y="14743"/>
                </a:lnTo>
                <a:cubicBezTo>
                  <a:pt x="1933555" y="630825"/>
                  <a:pt x="1941675" y="1271618"/>
                  <a:pt x="1946165" y="1887700"/>
                </a:cubicBezTo>
                <a:lnTo>
                  <a:pt x="9860" y="1870217"/>
                </a:lnTo>
                <a:cubicBezTo>
                  <a:pt x="13869" y="1243452"/>
                  <a:pt x="-3400" y="626765"/>
                  <a:pt x="609" y="0"/>
                </a:cubicBezTo>
                <a:close/>
              </a:path>
            </a:pathLst>
          </a:custGeom>
          <a:solidFill>
            <a:schemeClr val="bg1"/>
          </a:solidFill>
          <a:ln w="38100">
            <a:gradFill>
              <a:gsLst>
                <a:gs pos="0">
                  <a:srgbClr val="FF1B12"/>
                </a:gs>
                <a:gs pos="100000">
                  <a:srgbClr val="FF9D1A"/>
                </a:gs>
              </a:gsLst>
              <a:lin ang="3000000" scaled="0"/>
            </a:gradFill>
          </a:ln>
        </p:spPr>
        <p:txBody>
          <a:bodyPr wrap="square" anchor="ctr">
            <a:noAutofit/>
          </a:bodyPr>
          <a:lstStyle>
            <a:lvl1pPr algn="ctr">
              <a:defRPr/>
            </a:lvl1pPr>
          </a:lstStyle>
          <a:p>
            <a:endParaRPr lang="en-US"/>
          </a:p>
        </p:txBody>
      </p:sp>
      <p:sp>
        <p:nvSpPr>
          <p:cNvPr id="33" name="Picture Placeholder 26">
            <a:extLst>
              <a:ext uri="{FF2B5EF4-FFF2-40B4-BE49-F238E27FC236}">
                <a16:creationId xmlns:a16="http://schemas.microsoft.com/office/drawing/2014/main" id="{04F553C7-7AA3-79F7-002E-F14E23D599EF}"/>
              </a:ext>
            </a:extLst>
          </p:cNvPr>
          <p:cNvSpPr>
            <a:spLocks noGrp="1"/>
          </p:cNvSpPr>
          <p:nvPr>
            <p:ph type="pic" sz="quarter" idx="21"/>
          </p:nvPr>
        </p:nvSpPr>
        <p:spPr>
          <a:xfrm rot="892421">
            <a:off x="619540" y="382080"/>
            <a:ext cx="1668338" cy="1623392"/>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066" h="2050060">
                <a:moveTo>
                  <a:pt x="34331" y="0"/>
                </a:moveTo>
                <a:lnTo>
                  <a:pt x="1917617" y="37116"/>
                </a:lnTo>
                <a:cubicBezTo>
                  <a:pt x="1922107" y="653198"/>
                  <a:pt x="1891338" y="1433978"/>
                  <a:pt x="1895828" y="2050060"/>
                </a:cubicBezTo>
                <a:lnTo>
                  <a:pt x="0" y="1985969"/>
                </a:lnTo>
                <a:lnTo>
                  <a:pt x="34331" y="0"/>
                </a:lnTo>
                <a:close/>
              </a:path>
            </a:pathLst>
          </a:custGeom>
          <a:solidFill>
            <a:schemeClr val="bg1"/>
          </a:solidFill>
          <a:ln w="38100">
            <a:gradFill>
              <a:gsLst>
                <a:gs pos="0">
                  <a:srgbClr val="FF1B12"/>
                </a:gs>
                <a:gs pos="100000">
                  <a:srgbClr val="FF9D1A"/>
                </a:gs>
              </a:gsLst>
              <a:lin ang="3000000" scaled="0"/>
            </a:gradFill>
          </a:ln>
        </p:spPr>
        <p:txBody>
          <a:bodyPr wrap="square" anchor="ctr">
            <a:noAutofit/>
          </a:bodyPr>
          <a:lstStyle>
            <a:lvl1pPr algn="ctr">
              <a:defRPr/>
            </a:lvl1pPr>
          </a:lstStyle>
          <a:p>
            <a:endParaRPr lang="en-US"/>
          </a:p>
        </p:txBody>
      </p:sp>
      <p:sp>
        <p:nvSpPr>
          <p:cNvPr id="3" name="Picture Placeholder 26">
            <a:extLst>
              <a:ext uri="{FF2B5EF4-FFF2-40B4-BE49-F238E27FC236}">
                <a16:creationId xmlns:a16="http://schemas.microsoft.com/office/drawing/2014/main" id="{3697296F-9864-63EF-2859-2C9372D73F7C}"/>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solidFill>
          <a:ln w="34925">
            <a:gradFill>
              <a:gsLst>
                <a:gs pos="64000">
                  <a:srgbClr val="FF1B12"/>
                </a:gs>
                <a:gs pos="0">
                  <a:srgbClr val="FF9D1A"/>
                </a:gs>
              </a:gsLst>
              <a:lin ang="3000000" scaled="0"/>
            </a:gradFill>
          </a:ln>
        </p:spPr>
        <p:txBody>
          <a:bodyPr wrap="square" anchor="ctr">
            <a:noAutofit/>
          </a:bodyPr>
          <a:lstStyle>
            <a:lvl1pPr algn="ctr">
              <a:defRPr/>
            </a:lvl1pPr>
          </a:lstStyle>
          <a:p>
            <a:endParaRPr lang="en-US"/>
          </a:p>
        </p:txBody>
      </p:sp>
      <p:sp>
        <p:nvSpPr>
          <p:cNvPr id="7" name="Text Placeholder 10">
            <a:extLst>
              <a:ext uri="{FF2B5EF4-FFF2-40B4-BE49-F238E27FC236}">
                <a16:creationId xmlns:a16="http://schemas.microsoft.com/office/drawing/2014/main" id="{CA9540B2-95EF-A053-F565-2083ECC9AC1A}"/>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rgbClr val="54555A"/>
                </a:solidFill>
              </a:defRPr>
            </a:lvl1pPr>
          </a:lstStyle>
          <a:p>
            <a:pPr lvl="0"/>
            <a:r>
              <a:rPr lang="en-US"/>
              <a:t>Click to add text</a:t>
            </a:r>
            <a:endParaRPr lang="en-GB"/>
          </a:p>
        </p:txBody>
      </p:sp>
    </p:spTree>
    <p:extLst>
      <p:ext uri="{BB962C8B-B14F-4D97-AF65-F5344CB8AC3E}">
        <p14:creationId xmlns:p14="http://schemas.microsoft.com/office/powerpoint/2010/main" val="2279288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1C9A8-90B1-EC4A-A86A-AEB92DEE0E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514190-8499-7547-87DB-36CB51A59D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ED60964-BDCA-7041-87B7-61AB3B7108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2318F1-AEBD-964C-966C-FFD24CB19DBD}"/>
              </a:ext>
            </a:extLst>
          </p:cNvPr>
          <p:cNvSpPr>
            <a:spLocks noGrp="1"/>
          </p:cNvSpPr>
          <p:nvPr>
            <p:ph type="sldNum" sz="quarter" idx="12"/>
          </p:nvPr>
        </p:nvSpPr>
        <p:spPr/>
        <p:txBody>
          <a:bodyPr/>
          <a:lstStyle/>
          <a:p>
            <a:fld id="{57A115BA-9DE4-AE4B-81F0-4BEE0545328B}" type="slidenum">
              <a:rPr lang="en-US" smtClean="0"/>
              <a:t>‹#›</a:t>
            </a:fld>
            <a:endParaRPr lang="en-US"/>
          </a:p>
        </p:txBody>
      </p:sp>
    </p:spTree>
    <p:extLst>
      <p:ext uri="{BB962C8B-B14F-4D97-AF65-F5344CB8AC3E}">
        <p14:creationId xmlns:p14="http://schemas.microsoft.com/office/powerpoint/2010/main" val="31573593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177972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87522"/>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1400"/>
              </a:spcBef>
              <a:defRPr sz="1200"/>
            </a:lvl1pPr>
            <a:lvl2pPr marL="800100" indent="-342900">
              <a:spcBef>
                <a:spcPts val="1200"/>
              </a:spcBef>
              <a:spcAft>
                <a:spcPts val="1200"/>
              </a:spcAft>
              <a:buFont typeface="Arial" panose="020B0604020202020204" pitchFamily="34" charset="0"/>
              <a:buChar char="•"/>
              <a:defRPr sz="1100">
                <a:solidFill>
                  <a:srgbClr val="54555A"/>
                </a:solidFill>
              </a:defRPr>
            </a:lvl2pPr>
            <a:lvl3pPr>
              <a:spcBef>
                <a:spcPts val="600"/>
              </a:spcBef>
              <a:spcAft>
                <a:spcPts val="1200"/>
              </a:spcAft>
              <a:defRPr sz="1000">
                <a:solidFill>
                  <a:srgbClr val="54555A"/>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397415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86000"/>
          </a:xfrm>
          <a:prstGeom prst="rect">
            <a:avLst/>
          </a:prstGeom>
        </p:spPr>
        <p:txBody>
          <a:bodyPr anchor="t"/>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4FDEEED3-3BF4-CAA9-E5E5-F0D1236C8D87}"/>
              </a:ext>
            </a:extLst>
          </p:cNvPr>
          <p:cNvSpPr>
            <a:spLocks noGrp="1"/>
          </p:cNvSpPr>
          <p:nvPr>
            <p:ph sz="half" idx="1"/>
          </p:nvPr>
        </p:nvSpPr>
        <p:spPr>
          <a:xfrm>
            <a:off x="720000" y="1440000"/>
            <a:ext cx="5181600" cy="43513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840156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B9A79B8B-5758-42F8-FFCB-A65DE72DD68E}"/>
              </a:ext>
            </a:extLst>
          </p:cNvPr>
          <p:cNvSpPr>
            <a:spLocks noGrp="1"/>
          </p:cNvSpPr>
          <p:nvPr>
            <p:ph sz="half" idx="2"/>
          </p:nvPr>
        </p:nvSpPr>
        <p:spPr>
          <a:xfrm>
            <a:off x="6300000" y="1800000"/>
            <a:ext cx="5181600" cy="39913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64138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92273"/>
            <a:ext cx="2340000" cy="1800000"/>
          </a:xfrm>
          <a:prstGeom prst="rect">
            <a:avLst/>
          </a:prstGeom>
        </p:spPr>
        <p:txBody>
          <a:body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92273"/>
            <a:ext cx="2340000" cy="1800000"/>
          </a:xfrm>
          <a:prstGeom prst="rect">
            <a:avLst/>
          </a:prstGeom>
        </p:spPr>
        <p:txBody>
          <a:body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p>
            <a:endParaRPr lang="en-GB"/>
          </a:p>
        </p:txBody>
      </p:sp>
    </p:spTree>
    <p:extLst>
      <p:ext uri="{BB962C8B-B14F-4D97-AF65-F5344CB8AC3E}">
        <p14:creationId xmlns:p14="http://schemas.microsoft.com/office/powerpoint/2010/main" val="23037989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4" name="Content Placeholder 2">
            <a:extLst>
              <a:ext uri="{FF2B5EF4-FFF2-40B4-BE49-F238E27FC236}">
                <a16:creationId xmlns:a16="http://schemas.microsoft.com/office/drawing/2014/main" id="{33FBB507-A501-4ED9-83B6-0039A64AC5ED}"/>
              </a:ext>
            </a:extLst>
          </p:cNvPr>
          <p:cNvSpPr>
            <a:spLocks noGrp="1"/>
          </p:cNvSpPr>
          <p:nvPr>
            <p:ph sz="half" idx="1"/>
          </p:nvPr>
        </p:nvSpPr>
        <p:spPr>
          <a:xfrm>
            <a:off x="720000" y="2206393"/>
            <a:ext cx="5181600" cy="3584945"/>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8EC61674-478C-0094-F982-6283BE728209}"/>
              </a:ext>
            </a:extLst>
          </p:cNvPr>
          <p:cNvSpPr>
            <a:spLocks noGrp="1"/>
          </p:cNvSpPr>
          <p:nvPr>
            <p:ph sz="half" idx="2"/>
          </p:nvPr>
        </p:nvSpPr>
        <p:spPr>
          <a:xfrm>
            <a:off x="6300000" y="2206392"/>
            <a:ext cx="5181600" cy="3584945"/>
          </a:xfrm>
          <a:prstGeom prst="rect">
            <a:avLst/>
          </a:prstGeom>
        </p:spPr>
        <p:txBody>
          <a:bodyPr/>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748418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5157787"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620000"/>
            <a:ext cx="5183188" cy="376237"/>
          </a:xfrm>
          <a:prstGeom prst="rect">
            <a:avLst/>
          </a:prstGeom>
        </p:spPr>
        <p:txBody>
          <a:bodyPr anchor="t" anchorCtr="0"/>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0"/>
            <a:ext cx="5181600" cy="3678755"/>
          </a:xfrm>
          <a:prstGeom prst="rect">
            <a:avLst/>
          </a:prstGeom>
        </p:spPr>
        <p:txBody>
          <a:bodyPr/>
          <a:lstStyle>
            <a:lvl1pPr>
              <a:spcBef>
                <a:spcPts val="1400"/>
              </a:spcBef>
              <a:defRPr sz="120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3">
            <a:extLst>
              <a:ext uri="{FF2B5EF4-FFF2-40B4-BE49-F238E27FC236}">
                <a16:creationId xmlns:a16="http://schemas.microsoft.com/office/drawing/2014/main" id="{FCB90BA0-A853-4B5A-CC9E-CBA579C8E775}"/>
              </a:ext>
            </a:extLst>
          </p:cNvPr>
          <p:cNvSpPr>
            <a:spLocks noGrp="1"/>
          </p:cNvSpPr>
          <p:nvPr>
            <p:ph sz="half" idx="2"/>
          </p:nvPr>
        </p:nvSpPr>
        <p:spPr>
          <a:xfrm>
            <a:off x="6300000" y="2340000"/>
            <a:ext cx="5181600" cy="3678755"/>
          </a:xfrm>
          <a:prstGeom prst="rect">
            <a:avLst/>
          </a:prstGeom>
        </p:spPr>
        <p:txBody>
          <a:bodyPr/>
          <a:lstStyle>
            <a:lvl1pPr>
              <a:spcBef>
                <a:spcPts val="1400"/>
              </a:spcBef>
              <a:defRPr sz="120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1968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1" name="Picture 10" descr="A picture containing clock&#10;&#10;Description automatically generated">
            <a:extLst>
              <a:ext uri="{FF2B5EF4-FFF2-40B4-BE49-F238E27FC236}">
                <a16:creationId xmlns:a16="http://schemas.microsoft.com/office/drawing/2014/main" id="{31A3334B-7E90-2845-9094-11D69D8B7C94}"/>
              </a:ext>
            </a:extLst>
          </p:cNvPr>
          <p:cNvPicPr>
            <a:picLocks noChangeAspect="1"/>
          </p:cNvPicPr>
          <p:nvPr userDrawn="1"/>
        </p:nvPicPr>
        <p:blipFill rotWithShape="1">
          <a:blip r:embed="rId2"/>
          <a:srcRect t="60689" r="31758"/>
          <a:stretch/>
        </p:blipFill>
        <p:spPr>
          <a:xfrm>
            <a:off x="6096001" y="0"/>
            <a:ext cx="6096000" cy="4264741"/>
          </a:xfrm>
          <a:prstGeom prst="rect">
            <a:avLst/>
          </a:prstGeom>
        </p:spPr>
      </p:pic>
      <p:sp>
        <p:nvSpPr>
          <p:cNvPr id="12" name="Title 1">
            <a:extLst>
              <a:ext uri="{FF2B5EF4-FFF2-40B4-BE49-F238E27FC236}">
                <a16:creationId xmlns:a16="http://schemas.microsoft.com/office/drawing/2014/main" id="{B2DA0970-0AEF-DE49-8195-F92FCDC24598}"/>
              </a:ext>
            </a:extLst>
          </p:cNvPr>
          <p:cNvSpPr>
            <a:spLocks noGrp="1"/>
          </p:cNvSpPr>
          <p:nvPr>
            <p:ph type="ctrTitle" hasCustomPrompt="1"/>
          </p:nvPr>
        </p:nvSpPr>
        <p:spPr>
          <a:xfrm>
            <a:off x="1311966" y="2703927"/>
            <a:ext cx="9144000" cy="582574"/>
          </a:xfrm>
          <a:prstGeom prst="rect">
            <a:avLst/>
          </a:prstGeom>
        </p:spPr>
        <p:txBody>
          <a:bodyPr lIns="0" tIns="0" rIns="0" bIns="0" anchor="b">
            <a:noAutofit/>
          </a:bodyPr>
          <a:lstStyle>
            <a:lvl1pPr algn="l">
              <a:defRPr sz="4500" b="1" i="0">
                <a:solidFill>
                  <a:srgbClr val="1EDEB9"/>
                </a:solidFill>
                <a:latin typeface="Lato" panose="020F0502020204030203" pitchFamily="34" charset="0"/>
                <a:ea typeface="Lato" panose="020F0502020204030203" pitchFamily="34" charset="0"/>
                <a:cs typeface="Lato" panose="020F0502020204030203" pitchFamily="34" charset="0"/>
              </a:defRPr>
            </a:lvl1pPr>
          </a:lstStyle>
          <a:p>
            <a:r>
              <a:rPr lang="en-GB"/>
              <a:t>MAIN TITLE HERE</a:t>
            </a:r>
            <a:endParaRPr lang="en-US"/>
          </a:p>
        </p:txBody>
      </p:sp>
      <p:sp>
        <p:nvSpPr>
          <p:cNvPr id="13" name="Subtitle 2">
            <a:extLst>
              <a:ext uri="{FF2B5EF4-FFF2-40B4-BE49-F238E27FC236}">
                <a16:creationId xmlns:a16="http://schemas.microsoft.com/office/drawing/2014/main" id="{3258BBC6-D169-1E4C-AA1C-436BC3786EA4}"/>
              </a:ext>
            </a:extLst>
          </p:cNvPr>
          <p:cNvSpPr>
            <a:spLocks noGrp="1"/>
          </p:cNvSpPr>
          <p:nvPr>
            <p:ph type="subTitle" idx="1" hasCustomPrompt="1"/>
          </p:nvPr>
        </p:nvSpPr>
        <p:spPr>
          <a:xfrm>
            <a:off x="1311965" y="4539566"/>
            <a:ext cx="9144000" cy="1655762"/>
          </a:xfrm>
          <a:prstGeom prst="rect">
            <a:avLst/>
          </a:prstGeom>
        </p:spPr>
        <p:txBody>
          <a:bodyPr lIns="0" tIns="0" rIns="0" bIns="0">
            <a:noAutofit/>
          </a:bodyPr>
          <a:lstStyle>
            <a:lvl1pPr marL="0" indent="0" algn="l">
              <a:buNone/>
              <a:defRPr sz="1800">
                <a:solidFill>
                  <a:srgbClr val="FFFFFF"/>
                </a:solidFill>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GOES HERE</a:t>
            </a:r>
            <a:endParaRPr lang="en-US"/>
          </a:p>
        </p:txBody>
      </p:sp>
      <p:sp>
        <p:nvSpPr>
          <p:cNvPr id="14" name="Text Placeholder 13">
            <a:extLst>
              <a:ext uri="{FF2B5EF4-FFF2-40B4-BE49-F238E27FC236}">
                <a16:creationId xmlns:a16="http://schemas.microsoft.com/office/drawing/2014/main" id="{452DDB02-F986-1943-8D51-90D21EFEF32E}"/>
              </a:ext>
            </a:extLst>
          </p:cNvPr>
          <p:cNvSpPr>
            <a:spLocks noGrp="1"/>
          </p:cNvSpPr>
          <p:nvPr>
            <p:ph type="body" sz="quarter" idx="13" hasCustomPrompt="1"/>
          </p:nvPr>
        </p:nvSpPr>
        <p:spPr>
          <a:xfrm>
            <a:off x="1311965" y="3310250"/>
            <a:ext cx="9144000" cy="814388"/>
          </a:xfrm>
          <a:prstGeom prst="rect">
            <a:avLst/>
          </a:prstGeom>
        </p:spPr>
        <p:txBody>
          <a:bodyPr wrap="none" lIns="0" tIns="0" rIns="0" bIns="0">
            <a:noAutofit/>
          </a:bodyPr>
          <a:lstStyle>
            <a:lvl1pPr marL="0" indent="0">
              <a:buNone/>
              <a:defRPr sz="4500" b="0" i="0">
                <a:solidFill>
                  <a:srgbClr val="FFFFFF"/>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PRESENTATION</a:t>
            </a:r>
            <a:endParaRPr lang="en-US"/>
          </a:p>
        </p:txBody>
      </p:sp>
      <p:sp>
        <p:nvSpPr>
          <p:cNvPr id="15" name="Text Placeholder 58">
            <a:extLst>
              <a:ext uri="{FF2B5EF4-FFF2-40B4-BE49-F238E27FC236}">
                <a16:creationId xmlns:a16="http://schemas.microsoft.com/office/drawing/2014/main" id="{1C49AB30-E9F5-7846-BA76-5609AAF9C9C3}"/>
              </a:ext>
            </a:extLst>
          </p:cNvPr>
          <p:cNvSpPr>
            <a:spLocks noGrp="1"/>
          </p:cNvSpPr>
          <p:nvPr>
            <p:ph type="body" sz="quarter" idx="17" hasCustomPrompt="1"/>
          </p:nvPr>
        </p:nvSpPr>
        <p:spPr>
          <a:xfrm flipV="1">
            <a:off x="1311965" y="4232240"/>
            <a:ext cx="752132" cy="45719"/>
          </a:xfrm>
          <a:prstGeom prst="rect">
            <a:avLst/>
          </a:prstGeom>
          <a:blipFill>
            <a:blip r:embed="rId3">
              <a:alphaModFix/>
            </a:blip>
            <a:stretch>
              <a:fillRect l="2615" t="30320" r="2615" b="30320"/>
            </a:stretch>
          </a:blipFill>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 </a:t>
            </a:r>
            <a:endParaRPr lang="en-US"/>
          </a:p>
        </p:txBody>
      </p:sp>
    </p:spTree>
    <p:extLst>
      <p:ext uri="{BB962C8B-B14F-4D97-AF65-F5344CB8AC3E}">
        <p14:creationId xmlns:p14="http://schemas.microsoft.com/office/powerpoint/2010/main" val="31974965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s + two line header + logo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8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1"/>
            <a:ext cx="10800000" cy="3306420"/>
          </a:xfrm>
          <a:prstGeom prst="rect">
            <a:avLst/>
          </a:prstGeom>
        </p:spPr>
        <p:txBody>
          <a:bodyPr numCol="2" spcCol="180000"/>
          <a:lstStyle>
            <a:lvl1pPr>
              <a:spcBef>
                <a:spcPts val="900"/>
              </a:spcBef>
              <a:spcAft>
                <a:spcPts val="1200"/>
              </a:spcAft>
              <a:defRPr sz="120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18630022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1612900" y="2810268"/>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720000" y="2745590"/>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720000" y="3530226"/>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20000" y="4314863"/>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720000" y="5099499"/>
            <a:ext cx="677900" cy="677900"/>
          </a:xfrm>
          <a:prstGeom prst="rect">
            <a:avLst/>
          </a:prstGeom>
        </p:spPr>
        <p:txBody>
          <a:bodyPr/>
          <a:lstStyle/>
          <a:p>
            <a:endParaRPr lang="en-GB"/>
          </a:p>
        </p:txBody>
      </p:sp>
      <p:sp>
        <p:nvSpPr>
          <p:cNvPr id="15" name="Content Placeholder 2">
            <a:extLst>
              <a:ext uri="{FF2B5EF4-FFF2-40B4-BE49-F238E27FC236}">
                <a16:creationId xmlns:a16="http://schemas.microsoft.com/office/drawing/2014/main" id="{62E4263E-5BA8-1A6E-CDA7-C264C6F7CB64}"/>
              </a:ext>
            </a:extLst>
          </p:cNvPr>
          <p:cNvSpPr>
            <a:spLocks noGrp="1"/>
          </p:cNvSpPr>
          <p:nvPr>
            <p:ph sz="half" idx="17"/>
          </p:nvPr>
        </p:nvSpPr>
        <p:spPr>
          <a:xfrm>
            <a:off x="7200000" y="2826169"/>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6">
            <a:extLst>
              <a:ext uri="{FF2B5EF4-FFF2-40B4-BE49-F238E27FC236}">
                <a16:creationId xmlns:a16="http://schemas.microsoft.com/office/drawing/2014/main" id="{3BB4230E-6BD8-1134-F3EE-6CC9F8AFD273}"/>
              </a:ext>
            </a:extLst>
          </p:cNvPr>
          <p:cNvSpPr>
            <a:spLocks noGrp="1"/>
          </p:cNvSpPr>
          <p:nvPr>
            <p:ph type="pic" sz="quarter" idx="18"/>
          </p:nvPr>
        </p:nvSpPr>
        <p:spPr>
          <a:xfrm>
            <a:off x="6307100" y="2761491"/>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AB215E57-6E7E-7B2F-31E3-88F89F5198C0}"/>
              </a:ext>
            </a:extLst>
          </p:cNvPr>
          <p:cNvSpPr>
            <a:spLocks noGrp="1"/>
          </p:cNvSpPr>
          <p:nvPr>
            <p:ph type="pic" sz="quarter" idx="19"/>
          </p:nvPr>
        </p:nvSpPr>
        <p:spPr>
          <a:xfrm>
            <a:off x="6307100" y="3546127"/>
            <a:ext cx="677900" cy="677900"/>
          </a:xfrm>
          <a:prstGeom prst="rect">
            <a:avLst/>
          </a:prstGeom>
        </p:spPr>
        <p:txBody>
          <a:bodyPr/>
          <a:lstStyle/>
          <a:p>
            <a:endParaRPr lang="en-GB"/>
          </a:p>
        </p:txBody>
      </p:sp>
      <p:sp>
        <p:nvSpPr>
          <p:cNvPr id="18" name="Picture Placeholder 6">
            <a:extLst>
              <a:ext uri="{FF2B5EF4-FFF2-40B4-BE49-F238E27FC236}">
                <a16:creationId xmlns:a16="http://schemas.microsoft.com/office/drawing/2014/main" id="{4875DE25-35C1-1208-15CC-EC96423CC121}"/>
              </a:ext>
            </a:extLst>
          </p:cNvPr>
          <p:cNvSpPr>
            <a:spLocks noGrp="1"/>
          </p:cNvSpPr>
          <p:nvPr>
            <p:ph type="pic" sz="quarter" idx="20"/>
          </p:nvPr>
        </p:nvSpPr>
        <p:spPr>
          <a:xfrm>
            <a:off x="6307100" y="4330763"/>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688AEA07-FAE7-4B21-DC24-28CC535AA4EC}"/>
              </a:ext>
            </a:extLst>
          </p:cNvPr>
          <p:cNvSpPr>
            <a:spLocks noGrp="1"/>
          </p:cNvSpPr>
          <p:nvPr>
            <p:ph type="pic" sz="quarter" idx="21"/>
          </p:nvPr>
        </p:nvSpPr>
        <p:spPr>
          <a:xfrm>
            <a:off x="6307100" y="5115400"/>
            <a:ext cx="677900" cy="677900"/>
          </a:xfrm>
          <a:prstGeom prst="rect">
            <a:avLst/>
          </a:prstGeom>
        </p:spPr>
        <p:txBody>
          <a:bodyPr/>
          <a:lstStyle/>
          <a:p>
            <a:endParaRPr lang="en-GB"/>
          </a:p>
        </p:txBody>
      </p:sp>
      <p:sp>
        <p:nvSpPr>
          <p:cNvPr id="20" name="Text Placeholder 2">
            <a:extLst>
              <a:ext uri="{FF2B5EF4-FFF2-40B4-BE49-F238E27FC236}">
                <a16:creationId xmlns:a16="http://schemas.microsoft.com/office/drawing/2014/main" id="{5A19A783-99E9-4431-6236-15AC925DEA45}"/>
              </a:ext>
            </a:extLst>
          </p:cNvPr>
          <p:cNvSpPr>
            <a:spLocks noGrp="1"/>
          </p:cNvSpPr>
          <p:nvPr>
            <p:ph type="body" idx="22"/>
          </p:nvPr>
        </p:nvSpPr>
        <p:spPr>
          <a:xfrm>
            <a:off x="696000" y="2212938"/>
            <a:ext cx="10800000" cy="376237"/>
          </a:xfrm>
          <a:prstGeom prst="rect">
            <a:avLst/>
          </a:prstGeom>
        </p:spPr>
        <p:txBody>
          <a:bodyPr anchor="ctr" anchorCtr="0"/>
          <a:lstStyle>
            <a:lvl1pPr marL="0" indent="0">
              <a:buNone/>
              <a:defRPr sz="1200" b="0">
                <a:solidFill>
                  <a:srgbClr val="64656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9340595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ub header + 8 icon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19999" y="3404152"/>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1524517" y="2377842"/>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4273290" y="2406371"/>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022063" y="2377842"/>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9770835" y="2406827"/>
            <a:ext cx="677900" cy="677900"/>
          </a:xfrm>
          <a:prstGeom prst="rect">
            <a:avLst/>
          </a:prstGeom>
        </p:spPr>
        <p:txBody>
          <a:bodyPr/>
          <a:lstStyle/>
          <a:p>
            <a:endParaRPr lang="en-GB"/>
          </a:p>
        </p:txBody>
      </p:sp>
      <p:sp>
        <p:nvSpPr>
          <p:cNvPr id="2" name="Content Placeholder 2">
            <a:extLst>
              <a:ext uri="{FF2B5EF4-FFF2-40B4-BE49-F238E27FC236}">
                <a16:creationId xmlns:a16="http://schemas.microsoft.com/office/drawing/2014/main" id="{3562E760-B03A-9265-C829-44807226CE5B}"/>
              </a:ext>
            </a:extLst>
          </p:cNvPr>
          <p:cNvSpPr>
            <a:spLocks noGrp="1"/>
          </p:cNvSpPr>
          <p:nvPr>
            <p:ph sz="half" idx="17"/>
          </p:nvPr>
        </p:nvSpPr>
        <p:spPr>
          <a:xfrm>
            <a:off x="3676202"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D83D28E5-933F-61DF-C312-331912ED9223}"/>
              </a:ext>
            </a:extLst>
          </p:cNvPr>
          <p:cNvSpPr>
            <a:spLocks noGrp="1"/>
          </p:cNvSpPr>
          <p:nvPr>
            <p:ph sz="half" idx="18"/>
          </p:nvPr>
        </p:nvSpPr>
        <p:spPr>
          <a:xfrm>
            <a:off x="6629500"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a:extLst>
              <a:ext uri="{FF2B5EF4-FFF2-40B4-BE49-F238E27FC236}">
                <a16:creationId xmlns:a16="http://schemas.microsoft.com/office/drawing/2014/main" id="{D9655EB7-8A60-A8EB-83A8-2CD40273CCD6}"/>
              </a:ext>
            </a:extLst>
          </p:cNvPr>
          <p:cNvSpPr>
            <a:spLocks noGrp="1"/>
          </p:cNvSpPr>
          <p:nvPr>
            <p:ph sz="half" idx="19"/>
          </p:nvPr>
        </p:nvSpPr>
        <p:spPr>
          <a:xfrm>
            <a:off x="9585703" y="3453848"/>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718112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5970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357FB1EB-E6F8-8D4D-8DFD-459D53184100}"/>
              </a:ext>
            </a:extLst>
          </p:cNvPr>
          <p:cNvSpPr>
            <a:spLocks noGrp="1"/>
          </p:cNvSpPr>
          <p:nvPr>
            <p:ph sz="half" idx="17" hasCustomPrompt="1"/>
          </p:nvPr>
        </p:nvSpPr>
        <p:spPr>
          <a:xfrm>
            <a:off x="444687" y="47319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Content Placeholder 2">
            <a:extLst>
              <a:ext uri="{FF2B5EF4-FFF2-40B4-BE49-F238E27FC236}">
                <a16:creationId xmlns:a16="http://schemas.microsoft.com/office/drawing/2014/main" id="{9A73DEF8-94CD-8778-060A-F22352F948B0}"/>
              </a:ext>
            </a:extLst>
          </p:cNvPr>
          <p:cNvSpPr>
            <a:spLocks noGrp="1"/>
          </p:cNvSpPr>
          <p:nvPr>
            <p:ph sz="half" idx="19"/>
          </p:nvPr>
        </p:nvSpPr>
        <p:spPr>
          <a:xfrm>
            <a:off x="4125610"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Picture Placeholder 6">
            <a:extLst>
              <a:ext uri="{FF2B5EF4-FFF2-40B4-BE49-F238E27FC236}">
                <a16:creationId xmlns:a16="http://schemas.microsoft.com/office/drawing/2014/main" id="{A4F0B8C9-1C0C-C1CD-37F6-DBABD32C33B8}"/>
              </a:ext>
            </a:extLst>
          </p:cNvPr>
          <p:cNvSpPr>
            <a:spLocks noGrp="1"/>
          </p:cNvSpPr>
          <p:nvPr>
            <p:ph type="pic" sz="quarter" idx="18"/>
          </p:nvPr>
        </p:nvSpPr>
        <p:spPr>
          <a:xfrm>
            <a:off x="5588490" y="3971328"/>
            <a:ext cx="677900" cy="677900"/>
          </a:xfrm>
          <a:prstGeom prst="rect">
            <a:avLst/>
          </a:prstGeom>
        </p:spPr>
        <p:txBody>
          <a:bodyPr/>
          <a:lstStyle/>
          <a:p>
            <a:endParaRPr lang="en-GB"/>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5" name="Picture Placeholder 6">
            <a:extLst>
              <a:ext uri="{FF2B5EF4-FFF2-40B4-BE49-F238E27FC236}">
                <a16:creationId xmlns:a16="http://schemas.microsoft.com/office/drawing/2014/main" id="{0076FBE2-E387-9D69-F905-1C49F9AB3D3A}"/>
              </a:ext>
            </a:extLst>
          </p:cNvPr>
          <p:cNvSpPr>
            <a:spLocks noGrp="1"/>
          </p:cNvSpPr>
          <p:nvPr>
            <p:ph type="pic" sz="quarter" idx="21"/>
          </p:nvPr>
        </p:nvSpPr>
        <p:spPr>
          <a:xfrm>
            <a:off x="9269413" y="3971328"/>
            <a:ext cx="677900" cy="677900"/>
          </a:xfrm>
          <a:prstGeom prst="rect">
            <a:avLst/>
          </a:prstGeom>
        </p:spPr>
        <p:txBody>
          <a:bodyPr/>
          <a:lstStyle/>
          <a:p>
            <a:endParaRPr lang="en-GB"/>
          </a:p>
        </p:txBody>
      </p:sp>
      <p:sp>
        <p:nvSpPr>
          <p:cNvPr id="26" name="Content Placeholder 2">
            <a:extLst>
              <a:ext uri="{FF2B5EF4-FFF2-40B4-BE49-F238E27FC236}">
                <a16:creationId xmlns:a16="http://schemas.microsoft.com/office/drawing/2014/main" id="{95609DB4-2B25-CD8C-651E-1FACB81C75BE}"/>
              </a:ext>
            </a:extLst>
          </p:cNvPr>
          <p:cNvSpPr>
            <a:spLocks noGrp="1"/>
          </p:cNvSpPr>
          <p:nvPr>
            <p:ph sz="half" idx="22"/>
          </p:nvPr>
        </p:nvSpPr>
        <p:spPr>
          <a:xfrm>
            <a:off x="7806533"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822763"/>
            <a:ext cx="677900" cy="677900"/>
          </a:xfrm>
          <a:prstGeom prst="rect">
            <a:avLst/>
          </a:prstGeom>
        </p:spPr>
        <p:txBody>
          <a:bodyPr/>
          <a:lstStyle/>
          <a:p>
            <a:endParaRPr lang="en-GB"/>
          </a:p>
        </p:txBody>
      </p:sp>
      <p:sp>
        <p:nvSpPr>
          <p:cNvPr id="2" name="Title 1">
            <a:extLst>
              <a:ext uri="{FF2B5EF4-FFF2-40B4-BE49-F238E27FC236}">
                <a16:creationId xmlns:a16="http://schemas.microsoft.com/office/drawing/2014/main" id="{D9B81661-093F-5B5B-8B7A-9DF051237B57}"/>
              </a:ext>
            </a:extLst>
          </p:cNvPr>
          <p:cNvSpPr>
            <a:spLocks noGrp="1"/>
          </p:cNvSpPr>
          <p:nvPr>
            <p:ph type="title" hasCustomPrompt="1"/>
          </p:nvPr>
        </p:nvSpPr>
        <p:spPr/>
        <p:txBody>
          <a:bodyPr/>
          <a:lstStyle/>
          <a:p>
            <a:r>
              <a:rPr lang="en-US"/>
              <a:t>CLICK TO EDIT MASTER TITLE STYLE</a:t>
            </a:r>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836428"/>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5127D8DA-0D92-2CB7-89EC-474CBFA053E2}"/>
              </a:ext>
            </a:extLst>
          </p:cNvPr>
          <p:cNvSpPr>
            <a:spLocks noGrp="1"/>
          </p:cNvSpPr>
          <p:nvPr>
            <p:ph type="pic" sz="quarter" idx="16"/>
          </p:nvPr>
        </p:nvSpPr>
        <p:spPr>
          <a:xfrm>
            <a:off x="1907567" y="3957663"/>
            <a:ext cx="677900" cy="677900"/>
          </a:xfrm>
          <a:prstGeom prst="rect">
            <a:avLst/>
          </a:prstGeom>
        </p:spPr>
        <p:txBody>
          <a:body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836428"/>
            <a:ext cx="677900" cy="677900"/>
          </a:xfrm>
          <a:prstGeom prst="rect">
            <a:avLst/>
          </a:prstGeom>
        </p:spPr>
        <p:txBody>
          <a:bodyPr/>
          <a:lstStyle/>
          <a:p>
            <a:endParaRPr lang="en-GB"/>
          </a:p>
        </p:txBody>
      </p:sp>
    </p:spTree>
    <p:extLst>
      <p:ext uri="{BB962C8B-B14F-4D97-AF65-F5344CB8AC3E}">
        <p14:creationId xmlns:p14="http://schemas.microsoft.com/office/powerpoint/2010/main" val="38502326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49AF-BD21-B3E3-C44E-FCC318D45164}"/>
              </a:ext>
            </a:extLst>
          </p:cNvPr>
          <p:cNvSpPr>
            <a:spLocks noGrp="1"/>
          </p:cNvSpPr>
          <p:nvPr>
            <p:ph type="title" hasCustomPrompt="1"/>
          </p:nvPr>
        </p:nvSpPr>
        <p:spPr>
          <a:xfrm>
            <a:off x="720000" y="540000"/>
            <a:ext cx="8280000" cy="486000"/>
          </a:xfrm>
          <a:prstGeom prst="rect">
            <a:avLst/>
          </a:prstGeom>
        </p:spPr>
        <p:txBody>
          <a:bodyPr/>
          <a:lstStyle>
            <a:lvl1pPr>
              <a:defRPr sz="3000"/>
            </a:lvl1pPr>
          </a:lstStyle>
          <a:p>
            <a:r>
              <a:rPr lang="en-US"/>
              <a:t>CLICK TO EDIT MASTER TITLE</a:t>
            </a:r>
            <a:endParaRPr lang="en-GB"/>
          </a:p>
        </p:txBody>
      </p:sp>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p>
            <a:endParaRPr lang="en-GB"/>
          </a:p>
        </p:txBody>
      </p:sp>
    </p:spTree>
    <p:extLst>
      <p:ext uri="{BB962C8B-B14F-4D97-AF65-F5344CB8AC3E}">
        <p14:creationId xmlns:p14="http://schemas.microsoft.com/office/powerpoint/2010/main" val="40021315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49AF-BD21-B3E3-C44E-FCC318D45164}"/>
              </a:ext>
            </a:extLst>
          </p:cNvPr>
          <p:cNvSpPr>
            <a:spLocks noGrp="1"/>
          </p:cNvSpPr>
          <p:nvPr>
            <p:ph type="title" hasCustomPrompt="1"/>
          </p:nvPr>
        </p:nvSpPr>
        <p:spPr>
          <a:xfrm>
            <a:off x="720000" y="540001"/>
            <a:ext cx="8280000" cy="468667"/>
          </a:xfrm>
          <a:prstGeom prst="rect">
            <a:avLst/>
          </a:prstGeom>
        </p:spPr>
        <p:txBody>
          <a:bodyPr anchor="ctr" anchorCtr="0"/>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p>
            <a:endParaRPr lang="en-GB"/>
          </a:p>
        </p:txBody>
      </p:sp>
    </p:spTree>
    <p:extLst>
      <p:ext uri="{BB962C8B-B14F-4D97-AF65-F5344CB8AC3E}">
        <p14:creationId xmlns:p14="http://schemas.microsoft.com/office/powerpoint/2010/main" val="22858567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A picture containing orange, amber, peach, red&#10;&#10;Description automatically generated">
            <a:extLst>
              <a:ext uri="{FF2B5EF4-FFF2-40B4-BE49-F238E27FC236}">
                <a16:creationId xmlns:a16="http://schemas.microsoft.com/office/drawing/2014/main" id="{96212373-CDB8-F9AB-712D-C6DC8E04B679}"/>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tretch>
            <a:fillRect/>
          </a:stretch>
        </p:blipFill>
        <p:spPr>
          <a:xfrm>
            <a:off x="4930" y="0"/>
            <a:ext cx="12182140" cy="6858000"/>
          </a:xfrm>
          <a:prstGeom prst="rect">
            <a:avLst/>
          </a:prstGeom>
        </p:spPr>
      </p:pic>
      <p:sp>
        <p:nvSpPr>
          <p:cNvPr id="6" name="Title 1">
            <a:extLst>
              <a:ext uri="{FF2B5EF4-FFF2-40B4-BE49-F238E27FC236}">
                <a16:creationId xmlns:a16="http://schemas.microsoft.com/office/drawing/2014/main" id="{FA334A02-5300-F0DF-300A-D830839B227C}"/>
              </a:ext>
            </a:extLst>
          </p:cNvPr>
          <p:cNvSpPr>
            <a:spLocks noGrp="1"/>
          </p:cNvSpPr>
          <p:nvPr>
            <p:ph type="title" hasCustomPrompt="1"/>
          </p:nvPr>
        </p:nvSpPr>
        <p:spPr>
          <a:xfrm>
            <a:off x="720000" y="540001"/>
            <a:ext cx="7679282" cy="468667"/>
          </a:xfrm>
          <a:prstGeom prst="rect">
            <a:avLst/>
          </a:prstGeom>
        </p:spPr>
        <p:txBody>
          <a:bodyPr/>
          <a:lstStyle>
            <a:lvl1pPr>
              <a:defRPr sz="3000">
                <a:solidFill>
                  <a:schemeClr val="bg1"/>
                </a:solidFill>
              </a:defRPr>
            </a:lvl1pPr>
          </a:lstStyle>
          <a:p>
            <a:r>
              <a:rPr lang="en-US"/>
              <a:t>CLICK TO EDIT MASTER TITLE</a:t>
            </a:r>
            <a:endParaRPr lang="en-GB"/>
          </a:p>
        </p:txBody>
      </p:sp>
      <p:pic>
        <p:nvPicPr>
          <p:cNvPr id="17" name="Picture 16" descr="A black background with white text&#10;&#10;Description automatically generated with medium confidence">
            <a:extLst>
              <a:ext uri="{FF2B5EF4-FFF2-40B4-BE49-F238E27FC236}">
                <a16:creationId xmlns:a16="http://schemas.microsoft.com/office/drawing/2014/main" id="{364FB3A9-8C23-9FCB-D971-E15AD9E477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80000" y="360000"/>
            <a:ext cx="2590706" cy="900000"/>
          </a:xfrm>
          <a:prstGeom prst="rect">
            <a:avLst/>
          </a:prstGeom>
        </p:spPr>
      </p:pic>
      <p:sp>
        <p:nvSpPr>
          <p:cNvPr id="19" name="Text Placeholder 3">
            <a:extLst>
              <a:ext uri="{FF2B5EF4-FFF2-40B4-BE49-F238E27FC236}">
                <a16:creationId xmlns:a16="http://schemas.microsoft.com/office/drawing/2014/main" id="{1CA12D2B-F9E3-0AC4-B292-E80F79E51A33}"/>
              </a:ext>
            </a:extLst>
          </p:cNvPr>
          <p:cNvSpPr>
            <a:spLocks noGrp="1"/>
          </p:cNvSpPr>
          <p:nvPr>
            <p:ph type="body" sz="quarter" idx="15"/>
          </p:nvPr>
        </p:nvSpPr>
        <p:spPr>
          <a:xfrm>
            <a:off x="3810000"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0" name="Text Placeholder 3">
            <a:extLst>
              <a:ext uri="{FF2B5EF4-FFF2-40B4-BE49-F238E27FC236}">
                <a16:creationId xmlns:a16="http://schemas.microsoft.com/office/drawing/2014/main" id="{A727B7B0-7372-973C-2B53-1A00DA9C4C07}"/>
              </a:ext>
            </a:extLst>
          </p:cNvPr>
          <p:cNvSpPr>
            <a:spLocks noGrp="1"/>
          </p:cNvSpPr>
          <p:nvPr>
            <p:ph type="body" sz="quarter" idx="16"/>
          </p:nvPr>
        </p:nvSpPr>
        <p:spPr>
          <a:xfrm>
            <a:off x="6610382"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1" name="Text Placeholder 3">
            <a:extLst>
              <a:ext uri="{FF2B5EF4-FFF2-40B4-BE49-F238E27FC236}">
                <a16:creationId xmlns:a16="http://schemas.microsoft.com/office/drawing/2014/main" id="{8B0D5DB5-AB1C-239C-5518-24A427B8A5F6}"/>
              </a:ext>
            </a:extLst>
          </p:cNvPr>
          <p:cNvSpPr>
            <a:spLocks noGrp="1"/>
          </p:cNvSpPr>
          <p:nvPr>
            <p:ph type="body" sz="quarter" idx="17"/>
          </p:nvPr>
        </p:nvSpPr>
        <p:spPr>
          <a:xfrm>
            <a:off x="9410764"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2" name="Text Placeholder 3">
            <a:extLst>
              <a:ext uri="{FF2B5EF4-FFF2-40B4-BE49-F238E27FC236}">
                <a16:creationId xmlns:a16="http://schemas.microsoft.com/office/drawing/2014/main" id="{CCD45813-D282-1C84-FE57-E0A6239CB0F6}"/>
              </a:ext>
            </a:extLst>
          </p:cNvPr>
          <p:cNvSpPr>
            <a:spLocks noGrp="1"/>
          </p:cNvSpPr>
          <p:nvPr>
            <p:ph type="body" sz="quarter" idx="18"/>
          </p:nvPr>
        </p:nvSpPr>
        <p:spPr>
          <a:xfrm>
            <a:off x="655961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3" name="Text Placeholder 3">
            <a:extLst>
              <a:ext uri="{FF2B5EF4-FFF2-40B4-BE49-F238E27FC236}">
                <a16:creationId xmlns:a16="http://schemas.microsoft.com/office/drawing/2014/main" id="{59CA2E90-69DA-7D11-9185-9BFA12CB70AE}"/>
              </a:ext>
            </a:extLst>
          </p:cNvPr>
          <p:cNvSpPr>
            <a:spLocks noGrp="1"/>
          </p:cNvSpPr>
          <p:nvPr>
            <p:ph type="body" sz="quarter" idx="19"/>
          </p:nvPr>
        </p:nvSpPr>
        <p:spPr>
          <a:xfrm>
            <a:off x="941076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4" name="Picture Placeholder 6">
            <a:extLst>
              <a:ext uri="{FF2B5EF4-FFF2-40B4-BE49-F238E27FC236}">
                <a16:creationId xmlns:a16="http://schemas.microsoft.com/office/drawing/2014/main" id="{9C619848-8434-5731-2F7E-9E569D4DECE9}"/>
              </a:ext>
            </a:extLst>
          </p:cNvPr>
          <p:cNvSpPr>
            <a:spLocks noGrp="1"/>
          </p:cNvSpPr>
          <p:nvPr>
            <p:ph type="pic" sz="quarter" idx="10"/>
          </p:nvPr>
        </p:nvSpPr>
        <p:spPr>
          <a:xfrm>
            <a:off x="720000" y="1440000"/>
            <a:ext cx="5346700" cy="4137505"/>
          </a:xfrm>
          <a:prstGeom prst="rect">
            <a:avLst/>
          </a:prstGeom>
        </p:spPr>
        <p:txBody>
          <a:bodyPr/>
          <a:lstStyle>
            <a:lvl1pPr>
              <a:defRPr>
                <a:solidFill>
                  <a:schemeClr val="bg1"/>
                </a:solidFill>
              </a:defRPr>
            </a:lvl1pPr>
          </a:lstStyle>
          <a:p>
            <a:endParaRPr lang="en-GB"/>
          </a:p>
        </p:txBody>
      </p:sp>
      <p:sp>
        <p:nvSpPr>
          <p:cNvPr id="25" name="Picture Placeholder 6">
            <a:extLst>
              <a:ext uri="{FF2B5EF4-FFF2-40B4-BE49-F238E27FC236}">
                <a16:creationId xmlns:a16="http://schemas.microsoft.com/office/drawing/2014/main" id="{1762A094-2F2B-37E4-D6F7-ECD7925E01DD}"/>
              </a:ext>
            </a:extLst>
          </p:cNvPr>
          <p:cNvSpPr>
            <a:spLocks noGrp="1"/>
          </p:cNvSpPr>
          <p:nvPr>
            <p:ph type="pic" sz="quarter" idx="11"/>
          </p:nvPr>
        </p:nvSpPr>
        <p:spPr>
          <a:xfrm>
            <a:off x="6347082" y="1440000"/>
            <a:ext cx="2520000" cy="1800155"/>
          </a:xfrm>
          <a:prstGeom prst="rect">
            <a:avLst/>
          </a:prstGeom>
        </p:spPr>
        <p:txBody>
          <a:bodyPr/>
          <a:lstStyle>
            <a:lvl1pPr>
              <a:defRPr>
                <a:solidFill>
                  <a:schemeClr val="bg1"/>
                </a:solidFill>
              </a:defRPr>
            </a:lvl1pPr>
          </a:lstStyle>
          <a:p>
            <a:endParaRPr lang="en-GB"/>
          </a:p>
        </p:txBody>
      </p:sp>
      <p:sp>
        <p:nvSpPr>
          <p:cNvPr id="26" name="Picture Placeholder 6">
            <a:extLst>
              <a:ext uri="{FF2B5EF4-FFF2-40B4-BE49-F238E27FC236}">
                <a16:creationId xmlns:a16="http://schemas.microsoft.com/office/drawing/2014/main" id="{44E99E6D-1120-25BE-B560-5586C321725E}"/>
              </a:ext>
            </a:extLst>
          </p:cNvPr>
          <p:cNvSpPr>
            <a:spLocks noGrp="1"/>
          </p:cNvSpPr>
          <p:nvPr>
            <p:ph type="pic" sz="quarter" idx="12"/>
          </p:nvPr>
        </p:nvSpPr>
        <p:spPr>
          <a:xfrm>
            <a:off x="9147464" y="1440000"/>
            <a:ext cx="2520000" cy="1800155"/>
          </a:xfrm>
          <a:prstGeom prst="rect">
            <a:avLst/>
          </a:prstGeom>
        </p:spPr>
        <p:txBody>
          <a:bodyPr/>
          <a:lstStyle>
            <a:lvl1pPr>
              <a:defRPr>
                <a:solidFill>
                  <a:schemeClr val="bg1"/>
                </a:solidFill>
              </a:defRPr>
            </a:lvl1pPr>
          </a:lstStyle>
          <a:p>
            <a:endParaRPr lang="en-GB"/>
          </a:p>
        </p:txBody>
      </p:sp>
      <p:sp>
        <p:nvSpPr>
          <p:cNvPr id="27" name="Picture Placeholder 6">
            <a:extLst>
              <a:ext uri="{FF2B5EF4-FFF2-40B4-BE49-F238E27FC236}">
                <a16:creationId xmlns:a16="http://schemas.microsoft.com/office/drawing/2014/main" id="{C0F55060-976C-E508-16DE-B26E20D003B1}"/>
              </a:ext>
            </a:extLst>
          </p:cNvPr>
          <p:cNvSpPr>
            <a:spLocks noGrp="1"/>
          </p:cNvSpPr>
          <p:nvPr>
            <p:ph type="pic" sz="quarter" idx="13"/>
          </p:nvPr>
        </p:nvSpPr>
        <p:spPr>
          <a:xfrm>
            <a:off x="6347082" y="3766809"/>
            <a:ext cx="2520000" cy="1800155"/>
          </a:xfrm>
          <a:prstGeom prst="rect">
            <a:avLst/>
          </a:prstGeom>
        </p:spPr>
        <p:txBody>
          <a:bodyPr/>
          <a:lstStyle>
            <a:lvl1pPr>
              <a:defRPr>
                <a:solidFill>
                  <a:schemeClr val="bg1"/>
                </a:solidFill>
              </a:defRPr>
            </a:lvl1pPr>
          </a:lstStyle>
          <a:p>
            <a:endParaRPr lang="en-GB"/>
          </a:p>
        </p:txBody>
      </p:sp>
      <p:sp>
        <p:nvSpPr>
          <p:cNvPr id="28" name="Picture Placeholder 6">
            <a:extLst>
              <a:ext uri="{FF2B5EF4-FFF2-40B4-BE49-F238E27FC236}">
                <a16:creationId xmlns:a16="http://schemas.microsoft.com/office/drawing/2014/main" id="{AA4103E3-F789-5206-15B7-0AB3D72574C8}"/>
              </a:ext>
            </a:extLst>
          </p:cNvPr>
          <p:cNvSpPr>
            <a:spLocks noGrp="1"/>
          </p:cNvSpPr>
          <p:nvPr>
            <p:ph type="pic" sz="quarter" idx="14"/>
          </p:nvPr>
        </p:nvSpPr>
        <p:spPr>
          <a:xfrm>
            <a:off x="9147464" y="3766809"/>
            <a:ext cx="2520000" cy="1800155"/>
          </a:xfrm>
          <a:prstGeom prst="rect">
            <a:avLst/>
          </a:pr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9707996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5" name="Picture 4" descr="A picture containing orange, amber, peach, red&#10;&#10;Description automatically generated">
            <a:extLst>
              <a:ext uri="{FF2B5EF4-FFF2-40B4-BE49-F238E27FC236}">
                <a16:creationId xmlns:a16="http://schemas.microsoft.com/office/drawing/2014/main" id="{008F8E38-BD9E-8E21-4E01-7EFF5106F2FF}"/>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tretch>
            <a:fillRect/>
          </a:stretch>
        </p:blipFill>
        <p:spPr>
          <a:xfrm>
            <a:off x="4930" y="0"/>
            <a:ext cx="12182140" cy="6858000"/>
          </a:xfrm>
          <a:prstGeom prst="rect">
            <a:avLst/>
          </a:prstGeom>
        </p:spPr>
      </p:pic>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solidFill>
                  <a:schemeClr val="bg1"/>
                </a:solidFill>
              </a:defRPr>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solidFill>
                  <a:schemeClr val="bg1"/>
                </a:solidFill>
              </a:defRPr>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solidFill>
                  <a:schemeClr val="bg1"/>
                </a:solidFill>
              </a:defRPr>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a:solidFill>
                  <a:schemeClr val="bg1"/>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chemeClr val="bg1"/>
                </a:solidFill>
                <a:latin typeface="Verdana" panose="020B0604030504040204" pitchFamily="34" charset="0"/>
                <a:ea typeface="Verdana" panose="020B0604030504040204" pitchFamily="34" charset="0"/>
              </a:defRPr>
            </a:lvl2pPr>
            <a:lvl3pPr>
              <a:spcBef>
                <a:spcPts val="600"/>
              </a:spcBef>
              <a:spcAft>
                <a:spcPts val="1200"/>
              </a:spcAft>
              <a:defRPr sz="1000">
                <a:solidFill>
                  <a:schemeClr val="bg1"/>
                </a:solidFill>
                <a:latin typeface="Verdana" panose="020B0604030504040204" pitchFamily="34" charset="0"/>
                <a:ea typeface="Verdana" panose="020B0604030504040204" pitchFamily="34" charset="0"/>
              </a:defRPr>
            </a:lvl3pPr>
            <a:lvl4pPr>
              <a:spcBef>
                <a:spcPts val="600"/>
              </a:spcBef>
              <a:spcAft>
                <a:spcPts val="1200"/>
              </a:spcAft>
              <a:defRPr sz="900">
                <a:solidFill>
                  <a:schemeClr val="bg1"/>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033FDC72-52C8-63F3-68A1-9A165FD0946E}"/>
              </a:ext>
            </a:extLst>
          </p:cNvPr>
          <p:cNvPicPr>
            <a:picLocks noChangeAspect="1"/>
          </p:cNvPicPr>
          <p:nvPr userDrawn="1"/>
        </p:nvPicPr>
        <p:blipFill>
          <a:blip r:embed="rId3"/>
          <a:srcRect/>
          <a:stretch/>
        </p:blipFill>
        <p:spPr>
          <a:xfrm>
            <a:off x="9180001" y="360000"/>
            <a:ext cx="2590704" cy="900000"/>
          </a:xfrm>
          <a:prstGeom prst="rect">
            <a:avLst/>
          </a:prstGeom>
        </p:spPr>
      </p:pic>
    </p:spTree>
    <p:extLst>
      <p:ext uri="{BB962C8B-B14F-4D97-AF65-F5344CB8AC3E}">
        <p14:creationId xmlns:p14="http://schemas.microsoft.com/office/powerpoint/2010/main" val="39973083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281684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page + 1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1" y="2169453"/>
            <a:ext cx="4667678" cy="1950059"/>
          </a:xfrm>
          <a:prstGeom prst="rect">
            <a:avLst/>
          </a:prstGeom>
        </p:spPr>
        <p:txBody>
          <a:bodyPr anchor="t"/>
          <a:lstStyle>
            <a:lvl1pPr algn="l">
              <a:defRPr sz="4500"/>
            </a:lvl1pPr>
          </a:lstStyle>
          <a:p>
            <a:r>
              <a:rPr lang="en-US"/>
              <a:t>CLICK TO EDIT </a:t>
            </a:r>
            <a:br>
              <a:rPr lang="en-US"/>
            </a:br>
            <a:r>
              <a:rPr lang="en-US"/>
              <a:t>MASTER TITLE </a:t>
            </a:r>
            <a:br>
              <a:rPr lang="en-US"/>
            </a:br>
            <a:r>
              <a:rPr lang="en-US"/>
              <a:t>STYLE</a:t>
            </a:r>
            <a:endParaRPr lang="en-GB"/>
          </a:p>
        </p:txBody>
      </p:sp>
      <p:sp>
        <p:nvSpPr>
          <p:cNvPr id="8" name="Picture Placeholder 6">
            <a:extLst>
              <a:ext uri="{FF2B5EF4-FFF2-40B4-BE49-F238E27FC236}">
                <a16:creationId xmlns:a16="http://schemas.microsoft.com/office/drawing/2014/main" id="{D3621351-0893-3E3A-5B19-7A52E6F7E70D}"/>
              </a:ext>
            </a:extLst>
          </p:cNvPr>
          <p:cNvSpPr>
            <a:spLocks noGrp="1"/>
          </p:cNvSpPr>
          <p:nvPr>
            <p:ph type="pic" sz="quarter" idx="14"/>
          </p:nvPr>
        </p:nvSpPr>
        <p:spPr>
          <a:xfrm>
            <a:off x="8737358" y="3372911"/>
            <a:ext cx="3475723" cy="4451967"/>
          </a:xfrm>
          <a:custGeom>
            <a:avLst/>
            <a:gdLst>
              <a:gd name="connsiteX0" fmla="*/ 0 w 2071552"/>
              <a:gd name="connsiteY0" fmla="*/ 0 h 2567945"/>
              <a:gd name="connsiteX1" fmla="*/ 2071552 w 2071552"/>
              <a:gd name="connsiteY1" fmla="*/ 0 h 2567945"/>
              <a:gd name="connsiteX2" fmla="*/ 2071552 w 2071552"/>
              <a:gd name="connsiteY2" fmla="*/ 2567945 h 2567945"/>
              <a:gd name="connsiteX3" fmla="*/ 0 w 2071552"/>
              <a:gd name="connsiteY3" fmla="*/ 2567945 h 2567945"/>
              <a:gd name="connsiteX4" fmla="*/ 0 w 2071552"/>
              <a:gd name="connsiteY4" fmla="*/ 0 h 2567945"/>
              <a:gd name="connsiteX0" fmla="*/ 19050 w 2071552"/>
              <a:gd name="connsiteY0" fmla="*/ 0 h 2571120"/>
              <a:gd name="connsiteX1" fmla="*/ 2071552 w 2071552"/>
              <a:gd name="connsiteY1" fmla="*/ 3175 h 2571120"/>
              <a:gd name="connsiteX2" fmla="*/ 2071552 w 2071552"/>
              <a:gd name="connsiteY2" fmla="*/ 2571120 h 2571120"/>
              <a:gd name="connsiteX3" fmla="*/ 0 w 2071552"/>
              <a:gd name="connsiteY3" fmla="*/ 2571120 h 2571120"/>
              <a:gd name="connsiteX4" fmla="*/ 19050 w 207155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74727"/>
              <a:gd name="connsiteY0" fmla="*/ 0 h 2564770"/>
              <a:gd name="connsiteX1" fmla="*/ 2065202 w 2074727"/>
              <a:gd name="connsiteY1" fmla="*/ 3175 h 2564770"/>
              <a:gd name="connsiteX2" fmla="*/ 2074727 w 2074727"/>
              <a:gd name="connsiteY2" fmla="*/ 2545720 h 2564770"/>
              <a:gd name="connsiteX3" fmla="*/ 0 w 2074727"/>
              <a:gd name="connsiteY3" fmla="*/ 2564770 h 2564770"/>
              <a:gd name="connsiteX4" fmla="*/ 12700 w 2074727"/>
              <a:gd name="connsiteY4" fmla="*/ 0 h 2564770"/>
              <a:gd name="connsiteX0" fmla="*/ 12700 w 2093777"/>
              <a:gd name="connsiteY0" fmla="*/ 25400 h 2590170"/>
              <a:gd name="connsiteX1" fmla="*/ 2093777 w 2093777"/>
              <a:gd name="connsiteY1" fmla="*/ 0 h 2590170"/>
              <a:gd name="connsiteX2" fmla="*/ 2074727 w 2093777"/>
              <a:gd name="connsiteY2" fmla="*/ 2571120 h 2590170"/>
              <a:gd name="connsiteX3" fmla="*/ 0 w 2093777"/>
              <a:gd name="connsiteY3" fmla="*/ 2590170 h 2590170"/>
              <a:gd name="connsiteX4" fmla="*/ 12700 w 2093777"/>
              <a:gd name="connsiteY4" fmla="*/ 25400 h 2590170"/>
              <a:gd name="connsiteX0" fmla="*/ 12700 w 2090602"/>
              <a:gd name="connsiteY0" fmla="*/ 15875 h 2580645"/>
              <a:gd name="connsiteX1" fmla="*/ 2090602 w 2090602"/>
              <a:gd name="connsiteY1" fmla="*/ 0 h 2580645"/>
              <a:gd name="connsiteX2" fmla="*/ 2074727 w 2090602"/>
              <a:gd name="connsiteY2" fmla="*/ 2561595 h 2580645"/>
              <a:gd name="connsiteX3" fmla="*/ 0 w 2090602"/>
              <a:gd name="connsiteY3" fmla="*/ 2580645 h 2580645"/>
              <a:gd name="connsiteX4" fmla="*/ 12700 w 2090602"/>
              <a:gd name="connsiteY4" fmla="*/ 15875 h 2580645"/>
              <a:gd name="connsiteX0" fmla="*/ 525 w 2105511"/>
              <a:gd name="connsiteY0" fmla="*/ 50698 h 2580645"/>
              <a:gd name="connsiteX1" fmla="*/ 2105511 w 2105511"/>
              <a:gd name="connsiteY1" fmla="*/ 0 h 2580645"/>
              <a:gd name="connsiteX2" fmla="*/ 2089636 w 2105511"/>
              <a:gd name="connsiteY2" fmla="*/ 2561595 h 2580645"/>
              <a:gd name="connsiteX3" fmla="*/ 14909 w 2105511"/>
              <a:gd name="connsiteY3" fmla="*/ 2580645 h 2580645"/>
              <a:gd name="connsiteX4" fmla="*/ 525 w 2105511"/>
              <a:gd name="connsiteY4" fmla="*/ 50698 h 2580645"/>
              <a:gd name="connsiteX0" fmla="*/ 525 w 2089718"/>
              <a:gd name="connsiteY0" fmla="*/ 228681 h 2758628"/>
              <a:gd name="connsiteX1" fmla="*/ 1850145 w 2089718"/>
              <a:gd name="connsiteY1" fmla="*/ 0 h 2758628"/>
              <a:gd name="connsiteX2" fmla="*/ 2089636 w 2089718"/>
              <a:gd name="connsiteY2" fmla="*/ 2739578 h 2758628"/>
              <a:gd name="connsiteX3" fmla="*/ 14909 w 2089718"/>
              <a:gd name="connsiteY3" fmla="*/ 2758628 h 2758628"/>
              <a:gd name="connsiteX4" fmla="*/ 525 w 2089718"/>
              <a:gd name="connsiteY4" fmla="*/ 228681 h 2758628"/>
              <a:gd name="connsiteX0" fmla="*/ 525 w 2089779"/>
              <a:gd name="connsiteY0" fmla="*/ 228681 h 2758628"/>
              <a:gd name="connsiteX1" fmla="*/ 1850145 w 2089779"/>
              <a:gd name="connsiteY1" fmla="*/ 0 h 2758628"/>
              <a:gd name="connsiteX2" fmla="*/ 2089636 w 2089779"/>
              <a:gd name="connsiteY2" fmla="*/ 2739578 h 2758628"/>
              <a:gd name="connsiteX3" fmla="*/ 14909 w 2089779"/>
              <a:gd name="connsiteY3" fmla="*/ 2758628 h 2758628"/>
              <a:gd name="connsiteX4" fmla="*/ 525 w 2089779"/>
              <a:gd name="connsiteY4" fmla="*/ 228681 h 2758628"/>
              <a:gd name="connsiteX0" fmla="*/ 53 w 2089307"/>
              <a:gd name="connsiteY0" fmla="*/ 228681 h 2739578"/>
              <a:gd name="connsiteX1" fmla="*/ 1849673 w 2089307"/>
              <a:gd name="connsiteY1" fmla="*/ 0 h 2739578"/>
              <a:gd name="connsiteX2" fmla="*/ 2089164 w 2089307"/>
              <a:gd name="connsiteY2" fmla="*/ 2739578 h 2739578"/>
              <a:gd name="connsiteX3" fmla="*/ 244195 w 2089307"/>
              <a:gd name="connsiteY3" fmla="*/ 2712676 h 2739578"/>
              <a:gd name="connsiteX4" fmla="*/ 53 w 2089307"/>
              <a:gd name="connsiteY4" fmla="*/ 228681 h 2739578"/>
              <a:gd name="connsiteX0" fmla="*/ 71 w 2089325"/>
              <a:gd name="connsiteY0" fmla="*/ 228681 h 2739578"/>
              <a:gd name="connsiteX1" fmla="*/ 1849691 w 2089325"/>
              <a:gd name="connsiteY1" fmla="*/ 0 h 2739578"/>
              <a:gd name="connsiteX2" fmla="*/ 2089182 w 2089325"/>
              <a:gd name="connsiteY2" fmla="*/ 2739578 h 2739578"/>
              <a:gd name="connsiteX3" fmla="*/ 244213 w 2089325"/>
              <a:gd name="connsiteY3" fmla="*/ 2712676 h 2739578"/>
              <a:gd name="connsiteX4" fmla="*/ 71 w 2089325"/>
              <a:gd name="connsiteY4" fmla="*/ 228681 h 2739578"/>
              <a:gd name="connsiteX0" fmla="*/ 0 w 2089254"/>
              <a:gd name="connsiteY0" fmla="*/ 228681 h 2739578"/>
              <a:gd name="connsiteX1" fmla="*/ 1849620 w 2089254"/>
              <a:gd name="connsiteY1" fmla="*/ 0 h 2739578"/>
              <a:gd name="connsiteX2" fmla="*/ 2089111 w 2089254"/>
              <a:gd name="connsiteY2" fmla="*/ 2739578 h 2739578"/>
              <a:gd name="connsiteX3" fmla="*/ 244142 w 2089254"/>
              <a:gd name="connsiteY3" fmla="*/ 2712676 h 2739578"/>
              <a:gd name="connsiteX4" fmla="*/ 0 w 2089254"/>
              <a:gd name="connsiteY4" fmla="*/ 228681 h 2739578"/>
              <a:gd name="connsiteX0" fmla="*/ 0 w 2117951"/>
              <a:gd name="connsiteY0" fmla="*/ 228681 h 2712676"/>
              <a:gd name="connsiteX1" fmla="*/ 1849620 w 2117951"/>
              <a:gd name="connsiteY1" fmla="*/ 0 h 2712676"/>
              <a:gd name="connsiteX2" fmla="*/ 2117831 w 2117951"/>
              <a:gd name="connsiteY2" fmla="*/ 2595979 h 2712676"/>
              <a:gd name="connsiteX3" fmla="*/ 244142 w 2117951"/>
              <a:gd name="connsiteY3" fmla="*/ 2712676 h 2712676"/>
              <a:gd name="connsiteX4" fmla="*/ 0 w 2117951"/>
              <a:gd name="connsiteY4" fmla="*/ 228681 h 2712676"/>
              <a:gd name="connsiteX0" fmla="*/ 0 w 2117831"/>
              <a:gd name="connsiteY0" fmla="*/ 228681 h 2712676"/>
              <a:gd name="connsiteX1" fmla="*/ 1849620 w 2117831"/>
              <a:gd name="connsiteY1" fmla="*/ 0 h 2712676"/>
              <a:gd name="connsiteX2" fmla="*/ 2117831 w 2117831"/>
              <a:gd name="connsiteY2" fmla="*/ 2595979 h 2712676"/>
              <a:gd name="connsiteX3" fmla="*/ 244142 w 2117831"/>
              <a:gd name="connsiteY3" fmla="*/ 2712676 h 2712676"/>
              <a:gd name="connsiteX4" fmla="*/ 0 w 2117831"/>
              <a:gd name="connsiteY4" fmla="*/ 228681 h 2712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831" h="2712676">
                <a:moveTo>
                  <a:pt x="0" y="228681"/>
                </a:moveTo>
                <a:lnTo>
                  <a:pt x="1849620" y="0"/>
                </a:lnTo>
                <a:cubicBezTo>
                  <a:pt x="1952666" y="904164"/>
                  <a:pt x="2054195" y="1742114"/>
                  <a:pt x="2117831" y="2595979"/>
                </a:cubicBezTo>
                <a:lnTo>
                  <a:pt x="244142" y="2712676"/>
                </a:lnTo>
                <a:cubicBezTo>
                  <a:pt x="179448" y="1863497"/>
                  <a:pt x="76182" y="1083604"/>
                  <a:pt x="0" y="228681"/>
                </a:cubicBezTo>
                <a:close/>
              </a:path>
            </a:pathLst>
          </a:custGeom>
          <a:noFill/>
          <a:ln w="79375">
            <a:solidFill>
              <a:schemeClr val="bg1"/>
            </a:solidFill>
            <a:miter lim="800000"/>
          </a:ln>
        </p:spPr>
        <p:txBody>
          <a:bodyPr/>
          <a:lstStyle>
            <a:lvl1pPr>
              <a:defRPr sz="900">
                <a:solidFill>
                  <a:schemeClr val="bg1"/>
                </a:solidFill>
              </a:defRPr>
            </a:lvl1pPr>
          </a:lstStyle>
          <a:p>
            <a:endParaRPr lang="en-GB"/>
          </a:p>
        </p:txBody>
      </p:sp>
    </p:spTree>
    <p:extLst>
      <p:ext uri="{BB962C8B-B14F-4D97-AF65-F5344CB8AC3E}">
        <p14:creationId xmlns:p14="http://schemas.microsoft.com/office/powerpoint/2010/main" val="2829300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6073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ivider page _ 2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A1AD555-9FFD-2700-36AB-38244587B450}"/>
              </a:ext>
            </a:extLst>
          </p:cNvPr>
          <p:cNvSpPr>
            <a:spLocks noGrp="1"/>
          </p:cNvSpPr>
          <p:nvPr>
            <p:ph type="pic" sz="quarter" idx="14"/>
          </p:nvPr>
        </p:nvSpPr>
        <p:spPr>
          <a:xfrm>
            <a:off x="8737358" y="3372911"/>
            <a:ext cx="3475723" cy="4451967"/>
          </a:xfrm>
          <a:custGeom>
            <a:avLst/>
            <a:gdLst>
              <a:gd name="connsiteX0" fmla="*/ 0 w 2071552"/>
              <a:gd name="connsiteY0" fmla="*/ 0 h 2567945"/>
              <a:gd name="connsiteX1" fmla="*/ 2071552 w 2071552"/>
              <a:gd name="connsiteY1" fmla="*/ 0 h 2567945"/>
              <a:gd name="connsiteX2" fmla="*/ 2071552 w 2071552"/>
              <a:gd name="connsiteY2" fmla="*/ 2567945 h 2567945"/>
              <a:gd name="connsiteX3" fmla="*/ 0 w 2071552"/>
              <a:gd name="connsiteY3" fmla="*/ 2567945 h 2567945"/>
              <a:gd name="connsiteX4" fmla="*/ 0 w 2071552"/>
              <a:gd name="connsiteY4" fmla="*/ 0 h 2567945"/>
              <a:gd name="connsiteX0" fmla="*/ 19050 w 2071552"/>
              <a:gd name="connsiteY0" fmla="*/ 0 h 2571120"/>
              <a:gd name="connsiteX1" fmla="*/ 2071552 w 2071552"/>
              <a:gd name="connsiteY1" fmla="*/ 3175 h 2571120"/>
              <a:gd name="connsiteX2" fmla="*/ 2071552 w 2071552"/>
              <a:gd name="connsiteY2" fmla="*/ 2571120 h 2571120"/>
              <a:gd name="connsiteX3" fmla="*/ 0 w 2071552"/>
              <a:gd name="connsiteY3" fmla="*/ 2571120 h 2571120"/>
              <a:gd name="connsiteX4" fmla="*/ 19050 w 207155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65202"/>
              <a:gd name="connsiteY0" fmla="*/ 0 h 2571120"/>
              <a:gd name="connsiteX1" fmla="*/ 2065202 w 2065202"/>
              <a:gd name="connsiteY1" fmla="*/ 3175 h 2571120"/>
              <a:gd name="connsiteX2" fmla="*/ 2065202 w 2065202"/>
              <a:gd name="connsiteY2" fmla="*/ 2571120 h 2571120"/>
              <a:gd name="connsiteX3" fmla="*/ 0 w 2065202"/>
              <a:gd name="connsiteY3" fmla="*/ 2564770 h 2571120"/>
              <a:gd name="connsiteX4" fmla="*/ 12700 w 2065202"/>
              <a:gd name="connsiteY4" fmla="*/ 0 h 2571120"/>
              <a:gd name="connsiteX0" fmla="*/ 12700 w 2074727"/>
              <a:gd name="connsiteY0" fmla="*/ 0 h 2564770"/>
              <a:gd name="connsiteX1" fmla="*/ 2065202 w 2074727"/>
              <a:gd name="connsiteY1" fmla="*/ 3175 h 2564770"/>
              <a:gd name="connsiteX2" fmla="*/ 2074727 w 2074727"/>
              <a:gd name="connsiteY2" fmla="*/ 2545720 h 2564770"/>
              <a:gd name="connsiteX3" fmla="*/ 0 w 2074727"/>
              <a:gd name="connsiteY3" fmla="*/ 2564770 h 2564770"/>
              <a:gd name="connsiteX4" fmla="*/ 12700 w 2074727"/>
              <a:gd name="connsiteY4" fmla="*/ 0 h 2564770"/>
              <a:gd name="connsiteX0" fmla="*/ 12700 w 2093777"/>
              <a:gd name="connsiteY0" fmla="*/ 25400 h 2590170"/>
              <a:gd name="connsiteX1" fmla="*/ 2093777 w 2093777"/>
              <a:gd name="connsiteY1" fmla="*/ 0 h 2590170"/>
              <a:gd name="connsiteX2" fmla="*/ 2074727 w 2093777"/>
              <a:gd name="connsiteY2" fmla="*/ 2571120 h 2590170"/>
              <a:gd name="connsiteX3" fmla="*/ 0 w 2093777"/>
              <a:gd name="connsiteY3" fmla="*/ 2590170 h 2590170"/>
              <a:gd name="connsiteX4" fmla="*/ 12700 w 2093777"/>
              <a:gd name="connsiteY4" fmla="*/ 25400 h 2590170"/>
              <a:gd name="connsiteX0" fmla="*/ 12700 w 2090602"/>
              <a:gd name="connsiteY0" fmla="*/ 15875 h 2580645"/>
              <a:gd name="connsiteX1" fmla="*/ 2090602 w 2090602"/>
              <a:gd name="connsiteY1" fmla="*/ 0 h 2580645"/>
              <a:gd name="connsiteX2" fmla="*/ 2074727 w 2090602"/>
              <a:gd name="connsiteY2" fmla="*/ 2561595 h 2580645"/>
              <a:gd name="connsiteX3" fmla="*/ 0 w 2090602"/>
              <a:gd name="connsiteY3" fmla="*/ 2580645 h 2580645"/>
              <a:gd name="connsiteX4" fmla="*/ 12700 w 2090602"/>
              <a:gd name="connsiteY4" fmla="*/ 15875 h 2580645"/>
              <a:gd name="connsiteX0" fmla="*/ 525 w 2105511"/>
              <a:gd name="connsiteY0" fmla="*/ 50698 h 2580645"/>
              <a:gd name="connsiteX1" fmla="*/ 2105511 w 2105511"/>
              <a:gd name="connsiteY1" fmla="*/ 0 h 2580645"/>
              <a:gd name="connsiteX2" fmla="*/ 2089636 w 2105511"/>
              <a:gd name="connsiteY2" fmla="*/ 2561595 h 2580645"/>
              <a:gd name="connsiteX3" fmla="*/ 14909 w 2105511"/>
              <a:gd name="connsiteY3" fmla="*/ 2580645 h 2580645"/>
              <a:gd name="connsiteX4" fmla="*/ 525 w 2105511"/>
              <a:gd name="connsiteY4" fmla="*/ 50698 h 2580645"/>
              <a:gd name="connsiteX0" fmla="*/ 525 w 2089718"/>
              <a:gd name="connsiteY0" fmla="*/ 228681 h 2758628"/>
              <a:gd name="connsiteX1" fmla="*/ 1850145 w 2089718"/>
              <a:gd name="connsiteY1" fmla="*/ 0 h 2758628"/>
              <a:gd name="connsiteX2" fmla="*/ 2089636 w 2089718"/>
              <a:gd name="connsiteY2" fmla="*/ 2739578 h 2758628"/>
              <a:gd name="connsiteX3" fmla="*/ 14909 w 2089718"/>
              <a:gd name="connsiteY3" fmla="*/ 2758628 h 2758628"/>
              <a:gd name="connsiteX4" fmla="*/ 525 w 2089718"/>
              <a:gd name="connsiteY4" fmla="*/ 228681 h 2758628"/>
              <a:gd name="connsiteX0" fmla="*/ 525 w 2089779"/>
              <a:gd name="connsiteY0" fmla="*/ 228681 h 2758628"/>
              <a:gd name="connsiteX1" fmla="*/ 1850145 w 2089779"/>
              <a:gd name="connsiteY1" fmla="*/ 0 h 2758628"/>
              <a:gd name="connsiteX2" fmla="*/ 2089636 w 2089779"/>
              <a:gd name="connsiteY2" fmla="*/ 2739578 h 2758628"/>
              <a:gd name="connsiteX3" fmla="*/ 14909 w 2089779"/>
              <a:gd name="connsiteY3" fmla="*/ 2758628 h 2758628"/>
              <a:gd name="connsiteX4" fmla="*/ 525 w 2089779"/>
              <a:gd name="connsiteY4" fmla="*/ 228681 h 2758628"/>
              <a:gd name="connsiteX0" fmla="*/ 53 w 2089307"/>
              <a:gd name="connsiteY0" fmla="*/ 228681 h 2739578"/>
              <a:gd name="connsiteX1" fmla="*/ 1849673 w 2089307"/>
              <a:gd name="connsiteY1" fmla="*/ 0 h 2739578"/>
              <a:gd name="connsiteX2" fmla="*/ 2089164 w 2089307"/>
              <a:gd name="connsiteY2" fmla="*/ 2739578 h 2739578"/>
              <a:gd name="connsiteX3" fmla="*/ 244195 w 2089307"/>
              <a:gd name="connsiteY3" fmla="*/ 2712676 h 2739578"/>
              <a:gd name="connsiteX4" fmla="*/ 53 w 2089307"/>
              <a:gd name="connsiteY4" fmla="*/ 228681 h 2739578"/>
              <a:gd name="connsiteX0" fmla="*/ 71 w 2089325"/>
              <a:gd name="connsiteY0" fmla="*/ 228681 h 2739578"/>
              <a:gd name="connsiteX1" fmla="*/ 1849691 w 2089325"/>
              <a:gd name="connsiteY1" fmla="*/ 0 h 2739578"/>
              <a:gd name="connsiteX2" fmla="*/ 2089182 w 2089325"/>
              <a:gd name="connsiteY2" fmla="*/ 2739578 h 2739578"/>
              <a:gd name="connsiteX3" fmla="*/ 244213 w 2089325"/>
              <a:gd name="connsiteY3" fmla="*/ 2712676 h 2739578"/>
              <a:gd name="connsiteX4" fmla="*/ 71 w 2089325"/>
              <a:gd name="connsiteY4" fmla="*/ 228681 h 2739578"/>
              <a:gd name="connsiteX0" fmla="*/ 0 w 2089254"/>
              <a:gd name="connsiteY0" fmla="*/ 228681 h 2739578"/>
              <a:gd name="connsiteX1" fmla="*/ 1849620 w 2089254"/>
              <a:gd name="connsiteY1" fmla="*/ 0 h 2739578"/>
              <a:gd name="connsiteX2" fmla="*/ 2089111 w 2089254"/>
              <a:gd name="connsiteY2" fmla="*/ 2739578 h 2739578"/>
              <a:gd name="connsiteX3" fmla="*/ 244142 w 2089254"/>
              <a:gd name="connsiteY3" fmla="*/ 2712676 h 2739578"/>
              <a:gd name="connsiteX4" fmla="*/ 0 w 2089254"/>
              <a:gd name="connsiteY4" fmla="*/ 228681 h 2739578"/>
              <a:gd name="connsiteX0" fmla="*/ 0 w 2117951"/>
              <a:gd name="connsiteY0" fmla="*/ 228681 h 2712676"/>
              <a:gd name="connsiteX1" fmla="*/ 1849620 w 2117951"/>
              <a:gd name="connsiteY1" fmla="*/ 0 h 2712676"/>
              <a:gd name="connsiteX2" fmla="*/ 2117831 w 2117951"/>
              <a:gd name="connsiteY2" fmla="*/ 2595979 h 2712676"/>
              <a:gd name="connsiteX3" fmla="*/ 244142 w 2117951"/>
              <a:gd name="connsiteY3" fmla="*/ 2712676 h 2712676"/>
              <a:gd name="connsiteX4" fmla="*/ 0 w 2117951"/>
              <a:gd name="connsiteY4" fmla="*/ 228681 h 2712676"/>
              <a:gd name="connsiteX0" fmla="*/ 0 w 2117831"/>
              <a:gd name="connsiteY0" fmla="*/ 228681 h 2712676"/>
              <a:gd name="connsiteX1" fmla="*/ 1849620 w 2117831"/>
              <a:gd name="connsiteY1" fmla="*/ 0 h 2712676"/>
              <a:gd name="connsiteX2" fmla="*/ 2117831 w 2117831"/>
              <a:gd name="connsiteY2" fmla="*/ 2595979 h 2712676"/>
              <a:gd name="connsiteX3" fmla="*/ 244142 w 2117831"/>
              <a:gd name="connsiteY3" fmla="*/ 2712676 h 2712676"/>
              <a:gd name="connsiteX4" fmla="*/ 0 w 2117831"/>
              <a:gd name="connsiteY4" fmla="*/ 228681 h 2712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831" h="2712676">
                <a:moveTo>
                  <a:pt x="0" y="228681"/>
                </a:moveTo>
                <a:lnTo>
                  <a:pt x="1849620" y="0"/>
                </a:lnTo>
                <a:cubicBezTo>
                  <a:pt x="1952666" y="904164"/>
                  <a:pt x="2054195" y="1742114"/>
                  <a:pt x="2117831" y="2595979"/>
                </a:cubicBezTo>
                <a:lnTo>
                  <a:pt x="244142" y="2712676"/>
                </a:lnTo>
                <a:cubicBezTo>
                  <a:pt x="179448" y="1863497"/>
                  <a:pt x="76182" y="1083604"/>
                  <a:pt x="0" y="228681"/>
                </a:cubicBezTo>
                <a:close/>
              </a:path>
            </a:pathLst>
          </a:custGeom>
          <a:noFill/>
          <a:ln w="79375">
            <a:solidFill>
              <a:schemeClr val="bg1"/>
            </a:solidFill>
            <a:miter lim="800000"/>
          </a:ln>
        </p:spPr>
        <p:txBody>
          <a:bodyPr/>
          <a:lstStyle>
            <a:lvl1pPr>
              <a:defRPr sz="900">
                <a:solidFill>
                  <a:schemeClr val="bg1"/>
                </a:solidFill>
              </a:defRPr>
            </a:lvl1pPr>
          </a:lstStyle>
          <a:p>
            <a:endParaRPr lang="en-GB"/>
          </a:p>
        </p:txBody>
      </p:sp>
      <p:sp>
        <p:nvSpPr>
          <p:cNvPr id="9" name="Title 1">
            <a:extLst>
              <a:ext uri="{FF2B5EF4-FFF2-40B4-BE49-F238E27FC236}">
                <a16:creationId xmlns:a16="http://schemas.microsoft.com/office/drawing/2014/main" id="{690E0B63-B36E-7A38-FEB1-25847DBE33D3}"/>
              </a:ext>
            </a:extLst>
          </p:cNvPr>
          <p:cNvSpPr>
            <a:spLocks noGrp="1"/>
          </p:cNvSpPr>
          <p:nvPr>
            <p:ph type="ctrTitle" hasCustomPrompt="1"/>
          </p:nvPr>
        </p:nvSpPr>
        <p:spPr>
          <a:xfrm>
            <a:off x="1620001" y="2169454"/>
            <a:ext cx="4742700" cy="1811996"/>
          </a:xfrm>
          <a:prstGeom prst="rect">
            <a:avLst/>
          </a:prstGeom>
        </p:spPr>
        <p:txBody>
          <a:bodyPr anchor="t"/>
          <a:lstStyle>
            <a:lvl1pPr algn="l">
              <a:defRPr sz="4500"/>
            </a:lvl1pPr>
          </a:lstStyle>
          <a:p>
            <a:r>
              <a:rPr lang="en-US"/>
              <a:t>CLICK TO EDIT MASTER TITLE STYLE</a:t>
            </a:r>
            <a:endParaRPr lang="en-GB"/>
          </a:p>
        </p:txBody>
      </p:sp>
      <p:sp>
        <p:nvSpPr>
          <p:cNvPr id="10" name="Subtitle 2">
            <a:extLst>
              <a:ext uri="{FF2B5EF4-FFF2-40B4-BE49-F238E27FC236}">
                <a16:creationId xmlns:a16="http://schemas.microsoft.com/office/drawing/2014/main" id="{20082274-696F-A5F2-4F02-2B2637C0B08D}"/>
              </a:ext>
            </a:extLst>
          </p:cNvPr>
          <p:cNvSpPr>
            <a:spLocks noGrp="1"/>
          </p:cNvSpPr>
          <p:nvPr>
            <p:ph type="subTitle" idx="1"/>
          </p:nvPr>
        </p:nvSpPr>
        <p:spPr>
          <a:xfrm>
            <a:off x="1620001" y="4405304"/>
            <a:ext cx="4839794" cy="500062"/>
          </a:xfrm>
          <a:prstGeom prst="rect">
            <a:avLst/>
          </a:prstGeom>
        </p:spPr>
        <p:txBody>
          <a:bodyPr anchor="ctr">
            <a:no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8" name="Picture Placeholder 6">
            <a:extLst>
              <a:ext uri="{FF2B5EF4-FFF2-40B4-BE49-F238E27FC236}">
                <a16:creationId xmlns:a16="http://schemas.microsoft.com/office/drawing/2014/main" id="{70465B34-05F2-F86A-1B0F-6DAB811E3FE5}"/>
              </a:ext>
            </a:extLst>
          </p:cNvPr>
          <p:cNvSpPr>
            <a:spLocks noGrp="1"/>
          </p:cNvSpPr>
          <p:nvPr>
            <p:ph type="pic" sz="quarter" idx="15"/>
          </p:nvPr>
        </p:nvSpPr>
        <p:spPr>
          <a:xfrm>
            <a:off x="6636015" y="1826553"/>
            <a:ext cx="3729197" cy="3922664"/>
          </a:xfrm>
          <a:custGeom>
            <a:avLst/>
            <a:gdLst>
              <a:gd name="connsiteX0" fmla="*/ 0 w 2297475"/>
              <a:gd name="connsiteY0" fmla="*/ 0 h 2394508"/>
              <a:gd name="connsiteX1" fmla="*/ 2297475 w 2297475"/>
              <a:gd name="connsiteY1" fmla="*/ 0 h 2394508"/>
              <a:gd name="connsiteX2" fmla="*/ 2297475 w 2297475"/>
              <a:gd name="connsiteY2" fmla="*/ 2394508 h 2394508"/>
              <a:gd name="connsiteX3" fmla="*/ 0 w 2297475"/>
              <a:gd name="connsiteY3" fmla="*/ 2394508 h 2394508"/>
              <a:gd name="connsiteX4" fmla="*/ 0 w 2297475"/>
              <a:gd name="connsiteY4" fmla="*/ 0 h 2394508"/>
              <a:gd name="connsiteX0" fmla="*/ 0 w 2297475"/>
              <a:gd name="connsiteY0" fmla="*/ 66675 h 2394508"/>
              <a:gd name="connsiteX1" fmla="*/ 2297475 w 2297475"/>
              <a:gd name="connsiteY1" fmla="*/ 0 h 2394508"/>
              <a:gd name="connsiteX2" fmla="*/ 2297475 w 2297475"/>
              <a:gd name="connsiteY2" fmla="*/ 2394508 h 2394508"/>
              <a:gd name="connsiteX3" fmla="*/ 0 w 2297475"/>
              <a:gd name="connsiteY3" fmla="*/ 2394508 h 2394508"/>
              <a:gd name="connsiteX4" fmla="*/ 0 w 2297475"/>
              <a:gd name="connsiteY4" fmla="*/ 66675 h 2394508"/>
              <a:gd name="connsiteX0" fmla="*/ 0 w 2297475"/>
              <a:gd name="connsiteY0" fmla="*/ 41275 h 2369108"/>
              <a:gd name="connsiteX1" fmla="*/ 2287950 w 2297475"/>
              <a:gd name="connsiteY1" fmla="*/ 0 h 2369108"/>
              <a:gd name="connsiteX2" fmla="*/ 2297475 w 2297475"/>
              <a:gd name="connsiteY2" fmla="*/ 2369108 h 2369108"/>
              <a:gd name="connsiteX3" fmla="*/ 0 w 2297475"/>
              <a:gd name="connsiteY3" fmla="*/ 2369108 h 2369108"/>
              <a:gd name="connsiteX4" fmla="*/ 0 w 2297475"/>
              <a:gd name="connsiteY4" fmla="*/ 41275 h 2369108"/>
              <a:gd name="connsiteX0" fmla="*/ 0 w 2297475"/>
              <a:gd name="connsiteY0" fmla="*/ 22225 h 2350058"/>
              <a:gd name="connsiteX1" fmla="*/ 2287950 w 2297475"/>
              <a:gd name="connsiteY1" fmla="*/ 0 h 2350058"/>
              <a:gd name="connsiteX2" fmla="*/ 2297475 w 2297475"/>
              <a:gd name="connsiteY2" fmla="*/ 2350058 h 2350058"/>
              <a:gd name="connsiteX3" fmla="*/ 0 w 2297475"/>
              <a:gd name="connsiteY3" fmla="*/ 2350058 h 2350058"/>
              <a:gd name="connsiteX4" fmla="*/ 0 w 2297475"/>
              <a:gd name="connsiteY4" fmla="*/ 22225 h 2350058"/>
              <a:gd name="connsiteX0" fmla="*/ 0 w 2297475"/>
              <a:gd name="connsiteY0" fmla="*/ 31750 h 2359583"/>
              <a:gd name="connsiteX1" fmla="*/ 2287950 w 2297475"/>
              <a:gd name="connsiteY1" fmla="*/ 0 h 2359583"/>
              <a:gd name="connsiteX2" fmla="*/ 2297475 w 2297475"/>
              <a:gd name="connsiteY2" fmla="*/ 2359583 h 2359583"/>
              <a:gd name="connsiteX3" fmla="*/ 0 w 2297475"/>
              <a:gd name="connsiteY3" fmla="*/ 2359583 h 2359583"/>
              <a:gd name="connsiteX4" fmla="*/ 0 w 2297475"/>
              <a:gd name="connsiteY4" fmla="*/ 31750 h 2359583"/>
              <a:gd name="connsiteX0" fmla="*/ 0 w 2287950"/>
              <a:gd name="connsiteY0" fmla="*/ 31750 h 2359583"/>
              <a:gd name="connsiteX1" fmla="*/ 2287950 w 2287950"/>
              <a:gd name="connsiteY1" fmla="*/ 0 h 2359583"/>
              <a:gd name="connsiteX2" fmla="*/ 2211750 w 2287950"/>
              <a:gd name="connsiteY2" fmla="*/ 2353233 h 2359583"/>
              <a:gd name="connsiteX3" fmla="*/ 0 w 2287950"/>
              <a:gd name="connsiteY3" fmla="*/ 2359583 h 2359583"/>
              <a:gd name="connsiteX4" fmla="*/ 0 w 2287950"/>
              <a:gd name="connsiteY4" fmla="*/ 31750 h 2359583"/>
              <a:gd name="connsiteX0" fmla="*/ 0 w 2287950"/>
              <a:gd name="connsiteY0" fmla="*/ 31750 h 2359583"/>
              <a:gd name="connsiteX1" fmla="*/ 2287950 w 2287950"/>
              <a:gd name="connsiteY1" fmla="*/ 0 h 2359583"/>
              <a:gd name="connsiteX2" fmla="*/ 2259375 w 2287950"/>
              <a:gd name="connsiteY2" fmla="*/ 2359583 h 2359583"/>
              <a:gd name="connsiteX3" fmla="*/ 0 w 2287950"/>
              <a:gd name="connsiteY3" fmla="*/ 2359583 h 2359583"/>
              <a:gd name="connsiteX4" fmla="*/ 0 w 2287950"/>
              <a:gd name="connsiteY4" fmla="*/ 31750 h 2359583"/>
              <a:gd name="connsiteX0" fmla="*/ 34925 w 2322875"/>
              <a:gd name="connsiteY0" fmla="*/ 31750 h 2391333"/>
              <a:gd name="connsiteX1" fmla="*/ 2322875 w 2322875"/>
              <a:gd name="connsiteY1" fmla="*/ 0 h 2391333"/>
              <a:gd name="connsiteX2" fmla="*/ 2294300 w 2322875"/>
              <a:gd name="connsiteY2" fmla="*/ 2359583 h 2391333"/>
              <a:gd name="connsiteX3" fmla="*/ 0 w 2322875"/>
              <a:gd name="connsiteY3" fmla="*/ 2391333 h 2391333"/>
              <a:gd name="connsiteX4" fmla="*/ 34925 w 2322875"/>
              <a:gd name="connsiteY4" fmla="*/ 31750 h 2391333"/>
              <a:gd name="connsiteX0" fmla="*/ 34925 w 2322875"/>
              <a:gd name="connsiteY0" fmla="*/ 41275 h 2391333"/>
              <a:gd name="connsiteX1" fmla="*/ 2322875 w 2322875"/>
              <a:gd name="connsiteY1" fmla="*/ 0 h 2391333"/>
              <a:gd name="connsiteX2" fmla="*/ 2294300 w 2322875"/>
              <a:gd name="connsiteY2" fmla="*/ 2359583 h 2391333"/>
              <a:gd name="connsiteX3" fmla="*/ 0 w 2322875"/>
              <a:gd name="connsiteY3" fmla="*/ 2391333 h 2391333"/>
              <a:gd name="connsiteX4" fmla="*/ 34925 w 2322875"/>
              <a:gd name="connsiteY4" fmla="*/ 41275 h 2391333"/>
              <a:gd name="connsiteX0" fmla="*/ 34925 w 2326050"/>
              <a:gd name="connsiteY0" fmla="*/ 31750 h 2381808"/>
              <a:gd name="connsiteX1" fmla="*/ 2326050 w 2326050"/>
              <a:gd name="connsiteY1" fmla="*/ 0 h 2381808"/>
              <a:gd name="connsiteX2" fmla="*/ 2294300 w 2326050"/>
              <a:gd name="connsiteY2" fmla="*/ 2350058 h 2381808"/>
              <a:gd name="connsiteX3" fmla="*/ 0 w 2326050"/>
              <a:gd name="connsiteY3" fmla="*/ 2381808 h 2381808"/>
              <a:gd name="connsiteX4" fmla="*/ 34925 w 2326050"/>
              <a:gd name="connsiteY4" fmla="*/ 31750 h 2381808"/>
              <a:gd name="connsiteX0" fmla="*/ 34925 w 2314840"/>
              <a:gd name="connsiteY0" fmla="*/ 0 h 2350058"/>
              <a:gd name="connsiteX1" fmla="*/ 2314840 w 2314840"/>
              <a:gd name="connsiteY1" fmla="*/ 7485 h 2350058"/>
              <a:gd name="connsiteX2" fmla="*/ 2294300 w 2314840"/>
              <a:gd name="connsiteY2" fmla="*/ 2318308 h 2350058"/>
              <a:gd name="connsiteX3" fmla="*/ 0 w 2314840"/>
              <a:gd name="connsiteY3" fmla="*/ 2350058 h 2350058"/>
              <a:gd name="connsiteX4" fmla="*/ 34925 w 2314840"/>
              <a:gd name="connsiteY4" fmla="*/ 0 h 2350058"/>
              <a:gd name="connsiteX0" fmla="*/ 34925 w 2331655"/>
              <a:gd name="connsiteY0" fmla="*/ 0 h 2350058"/>
              <a:gd name="connsiteX1" fmla="*/ 2314840 w 2331655"/>
              <a:gd name="connsiteY1" fmla="*/ 7485 h 2350058"/>
              <a:gd name="connsiteX2" fmla="*/ 2331655 w 2331655"/>
              <a:gd name="connsiteY2" fmla="*/ 109110 h 2350058"/>
              <a:gd name="connsiteX3" fmla="*/ 2294300 w 2331655"/>
              <a:gd name="connsiteY3" fmla="*/ 2318308 h 2350058"/>
              <a:gd name="connsiteX4" fmla="*/ 0 w 2331655"/>
              <a:gd name="connsiteY4" fmla="*/ 2350058 h 2350058"/>
              <a:gd name="connsiteX5" fmla="*/ 34925 w 2331655"/>
              <a:gd name="connsiteY5" fmla="*/ 0 h 2350058"/>
              <a:gd name="connsiteX0" fmla="*/ 34925 w 2326050"/>
              <a:gd name="connsiteY0" fmla="*/ 0 h 2350058"/>
              <a:gd name="connsiteX1" fmla="*/ 2314840 w 2326050"/>
              <a:gd name="connsiteY1" fmla="*/ 7485 h 2350058"/>
              <a:gd name="connsiteX2" fmla="*/ 2326050 w 2326050"/>
              <a:gd name="connsiteY2" fmla="*/ 243629 h 2350058"/>
              <a:gd name="connsiteX3" fmla="*/ 2294300 w 2326050"/>
              <a:gd name="connsiteY3" fmla="*/ 2318308 h 2350058"/>
              <a:gd name="connsiteX4" fmla="*/ 0 w 2326050"/>
              <a:gd name="connsiteY4" fmla="*/ 2350058 h 2350058"/>
              <a:gd name="connsiteX5" fmla="*/ 34925 w 2326050"/>
              <a:gd name="connsiteY5" fmla="*/ 0 h 2350058"/>
              <a:gd name="connsiteX0" fmla="*/ 0 w 2291125"/>
              <a:gd name="connsiteY0" fmla="*/ 0 h 2350058"/>
              <a:gd name="connsiteX1" fmla="*/ 2279915 w 2291125"/>
              <a:gd name="connsiteY1" fmla="*/ 7485 h 2350058"/>
              <a:gd name="connsiteX2" fmla="*/ 2291125 w 2291125"/>
              <a:gd name="connsiteY2" fmla="*/ 243629 h 2350058"/>
              <a:gd name="connsiteX3" fmla="*/ 2259375 w 2291125"/>
              <a:gd name="connsiteY3" fmla="*/ 2318308 h 2350058"/>
              <a:gd name="connsiteX4" fmla="*/ 9915 w 2291125"/>
              <a:gd name="connsiteY4" fmla="*/ 2350058 h 2350058"/>
              <a:gd name="connsiteX5" fmla="*/ 0 w 2291125"/>
              <a:gd name="connsiteY5" fmla="*/ 0 h 2350058"/>
              <a:gd name="connsiteX0" fmla="*/ 0 w 2291125"/>
              <a:gd name="connsiteY0" fmla="*/ 17737 h 2367795"/>
              <a:gd name="connsiteX1" fmla="*/ 2279915 w 2291125"/>
              <a:gd name="connsiteY1" fmla="*/ 0 h 2367795"/>
              <a:gd name="connsiteX2" fmla="*/ 2291125 w 2291125"/>
              <a:gd name="connsiteY2" fmla="*/ 261366 h 2367795"/>
              <a:gd name="connsiteX3" fmla="*/ 2259375 w 2291125"/>
              <a:gd name="connsiteY3" fmla="*/ 2336045 h 2367795"/>
              <a:gd name="connsiteX4" fmla="*/ 9915 w 2291125"/>
              <a:gd name="connsiteY4" fmla="*/ 2367795 h 2367795"/>
              <a:gd name="connsiteX5" fmla="*/ 0 w 2291125"/>
              <a:gd name="connsiteY5" fmla="*/ 17737 h 2367795"/>
              <a:gd name="connsiteX0" fmla="*/ 0 w 2291125"/>
              <a:gd name="connsiteY0" fmla="*/ 17737 h 2367795"/>
              <a:gd name="connsiteX1" fmla="*/ 2279915 w 2291125"/>
              <a:gd name="connsiteY1" fmla="*/ 0 h 2367795"/>
              <a:gd name="connsiteX2" fmla="*/ 2291125 w 2291125"/>
              <a:gd name="connsiteY2" fmla="*/ 261366 h 2367795"/>
              <a:gd name="connsiteX3" fmla="*/ 2259375 w 2291125"/>
              <a:gd name="connsiteY3" fmla="*/ 2336045 h 2367795"/>
              <a:gd name="connsiteX4" fmla="*/ 9915 w 2291125"/>
              <a:gd name="connsiteY4" fmla="*/ 2367795 h 2367795"/>
              <a:gd name="connsiteX5" fmla="*/ 0 w 2291125"/>
              <a:gd name="connsiteY5" fmla="*/ 17737 h 2367795"/>
              <a:gd name="connsiteX0" fmla="*/ 0 w 2282717"/>
              <a:gd name="connsiteY0" fmla="*/ 17737 h 2367795"/>
              <a:gd name="connsiteX1" fmla="*/ 2279915 w 2282717"/>
              <a:gd name="connsiteY1" fmla="*/ 0 h 2367795"/>
              <a:gd name="connsiteX2" fmla="*/ 2282717 w 2282717"/>
              <a:gd name="connsiteY2" fmla="*/ 891922 h 2367795"/>
              <a:gd name="connsiteX3" fmla="*/ 2259375 w 2282717"/>
              <a:gd name="connsiteY3" fmla="*/ 2336045 h 2367795"/>
              <a:gd name="connsiteX4" fmla="*/ 9915 w 2282717"/>
              <a:gd name="connsiteY4" fmla="*/ 2367795 h 2367795"/>
              <a:gd name="connsiteX5" fmla="*/ 0 w 2282717"/>
              <a:gd name="connsiteY5" fmla="*/ 17737 h 2367795"/>
              <a:gd name="connsiteX0" fmla="*/ 0 w 2279915"/>
              <a:gd name="connsiteY0" fmla="*/ 17737 h 2367795"/>
              <a:gd name="connsiteX1" fmla="*/ 2279915 w 2279915"/>
              <a:gd name="connsiteY1" fmla="*/ 0 h 2367795"/>
              <a:gd name="connsiteX2" fmla="*/ 2274309 w 2279915"/>
              <a:gd name="connsiteY2" fmla="*/ 1074083 h 2367795"/>
              <a:gd name="connsiteX3" fmla="*/ 2259375 w 2279915"/>
              <a:gd name="connsiteY3" fmla="*/ 2336045 h 2367795"/>
              <a:gd name="connsiteX4" fmla="*/ 9915 w 2279915"/>
              <a:gd name="connsiteY4" fmla="*/ 2367795 h 2367795"/>
              <a:gd name="connsiteX5" fmla="*/ 0 w 2279915"/>
              <a:gd name="connsiteY5" fmla="*/ 17737 h 2367795"/>
              <a:gd name="connsiteX0" fmla="*/ 0 w 2279915"/>
              <a:gd name="connsiteY0" fmla="*/ 17737 h 2367795"/>
              <a:gd name="connsiteX1" fmla="*/ 2279915 w 2279915"/>
              <a:gd name="connsiteY1" fmla="*/ 0 h 2367795"/>
              <a:gd name="connsiteX2" fmla="*/ 2274309 w 2279915"/>
              <a:gd name="connsiteY2" fmla="*/ 1074083 h 2367795"/>
              <a:gd name="connsiteX3" fmla="*/ 2259375 w 2279915"/>
              <a:gd name="connsiteY3" fmla="*/ 2336045 h 2367795"/>
              <a:gd name="connsiteX4" fmla="*/ 9915 w 2279915"/>
              <a:gd name="connsiteY4" fmla="*/ 2367795 h 2367795"/>
              <a:gd name="connsiteX5" fmla="*/ 0 w 2279915"/>
              <a:gd name="connsiteY5" fmla="*/ 17737 h 2367795"/>
              <a:gd name="connsiteX0" fmla="*/ 0 w 2552922"/>
              <a:gd name="connsiteY0" fmla="*/ 17737 h 2367795"/>
              <a:gd name="connsiteX1" fmla="*/ 2279915 w 2552922"/>
              <a:gd name="connsiteY1" fmla="*/ 0 h 2367795"/>
              <a:gd name="connsiteX2" fmla="*/ 2259375 w 2552922"/>
              <a:gd name="connsiteY2" fmla="*/ 2336045 h 2367795"/>
              <a:gd name="connsiteX3" fmla="*/ 9915 w 2552922"/>
              <a:gd name="connsiteY3" fmla="*/ 2367795 h 2367795"/>
              <a:gd name="connsiteX4" fmla="*/ 0 w 2552922"/>
              <a:gd name="connsiteY4" fmla="*/ 17737 h 2367795"/>
              <a:gd name="connsiteX0" fmla="*/ 0 w 2432867"/>
              <a:gd name="connsiteY0" fmla="*/ 17737 h 2367795"/>
              <a:gd name="connsiteX1" fmla="*/ 2279915 w 2432867"/>
              <a:gd name="connsiteY1" fmla="*/ 0 h 2367795"/>
              <a:gd name="connsiteX2" fmla="*/ 2259375 w 2432867"/>
              <a:gd name="connsiteY2" fmla="*/ 2336045 h 2367795"/>
              <a:gd name="connsiteX3" fmla="*/ 9915 w 2432867"/>
              <a:gd name="connsiteY3" fmla="*/ 2367795 h 2367795"/>
              <a:gd name="connsiteX4" fmla="*/ 0 w 2432867"/>
              <a:gd name="connsiteY4" fmla="*/ 17737 h 2367795"/>
              <a:gd name="connsiteX0" fmla="*/ 0 w 2279915"/>
              <a:gd name="connsiteY0" fmla="*/ 17737 h 2367795"/>
              <a:gd name="connsiteX1" fmla="*/ 2279915 w 2279915"/>
              <a:gd name="connsiteY1" fmla="*/ 0 h 2367795"/>
              <a:gd name="connsiteX2" fmla="*/ 2259375 w 2279915"/>
              <a:gd name="connsiteY2" fmla="*/ 2336045 h 2367795"/>
              <a:gd name="connsiteX3" fmla="*/ 9915 w 2279915"/>
              <a:gd name="connsiteY3" fmla="*/ 2367795 h 2367795"/>
              <a:gd name="connsiteX4" fmla="*/ 0 w 2279915"/>
              <a:gd name="connsiteY4" fmla="*/ 17737 h 2367795"/>
              <a:gd name="connsiteX0" fmla="*/ 0 w 2330698"/>
              <a:gd name="connsiteY0" fmla="*/ 17737 h 2367795"/>
              <a:gd name="connsiteX1" fmla="*/ 2279915 w 2330698"/>
              <a:gd name="connsiteY1" fmla="*/ 0 h 2367795"/>
              <a:gd name="connsiteX2" fmla="*/ 2325941 w 2330698"/>
              <a:gd name="connsiteY2" fmla="*/ 2336045 h 2367795"/>
              <a:gd name="connsiteX3" fmla="*/ 9915 w 2330698"/>
              <a:gd name="connsiteY3" fmla="*/ 2367795 h 2367795"/>
              <a:gd name="connsiteX4" fmla="*/ 0 w 2330698"/>
              <a:gd name="connsiteY4" fmla="*/ 17737 h 2367795"/>
              <a:gd name="connsiteX0" fmla="*/ 0 w 2325941"/>
              <a:gd name="connsiteY0" fmla="*/ 17737 h 2367795"/>
              <a:gd name="connsiteX1" fmla="*/ 2279915 w 2325941"/>
              <a:gd name="connsiteY1" fmla="*/ 0 h 2367795"/>
              <a:gd name="connsiteX2" fmla="*/ 2325941 w 2325941"/>
              <a:gd name="connsiteY2" fmla="*/ 2336045 h 2367795"/>
              <a:gd name="connsiteX3" fmla="*/ 9915 w 2325941"/>
              <a:gd name="connsiteY3" fmla="*/ 2367795 h 2367795"/>
              <a:gd name="connsiteX4" fmla="*/ 0 w 2325941"/>
              <a:gd name="connsiteY4" fmla="*/ 17737 h 2367795"/>
              <a:gd name="connsiteX0" fmla="*/ 0 w 2384338"/>
              <a:gd name="connsiteY0" fmla="*/ 68835 h 2367795"/>
              <a:gd name="connsiteX1" fmla="*/ 2338312 w 2384338"/>
              <a:gd name="connsiteY1" fmla="*/ 0 h 2367795"/>
              <a:gd name="connsiteX2" fmla="*/ 2384338 w 2384338"/>
              <a:gd name="connsiteY2" fmla="*/ 2336045 h 2367795"/>
              <a:gd name="connsiteX3" fmla="*/ 68312 w 2384338"/>
              <a:gd name="connsiteY3" fmla="*/ 2367795 h 2367795"/>
              <a:gd name="connsiteX4" fmla="*/ 0 w 2384338"/>
              <a:gd name="connsiteY4" fmla="*/ 68835 h 2367795"/>
              <a:gd name="connsiteX0" fmla="*/ 0 w 2384338"/>
              <a:gd name="connsiteY0" fmla="*/ 265926 h 2564886"/>
              <a:gd name="connsiteX1" fmla="*/ 1925882 w 2384338"/>
              <a:gd name="connsiteY1" fmla="*/ 0 h 2564886"/>
              <a:gd name="connsiteX2" fmla="*/ 2384338 w 2384338"/>
              <a:gd name="connsiteY2" fmla="*/ 2533136 h 2564886"/>
              <a:gd name="connsiteX3" fmla="*/ 68312 w 2384338"/>
              <a:gd name="connsiteY3" fmla="*/ 2564886 h 2564886"/>
              <a:gd name="connsiteX4" fmla="*/ 0 w 2384338"/>
              <a:gd name="connsiteY4" fmla="*/ 265926 h 2564886"/>
              <a:gd name="connsiteX0" fmla="*/ 0 w 2384338"/>
              <a:gd name="connsiteY0" fmla="*/ 265926 h 2564886"/>
              <a:gd name="connsiteX1" fmla="*/ 1925882 w 2384338"/>
              <a:gd name="connsiteY1" fmla="*/ 0 h 2564886"/>
              <a:gd name="connsiteX2" fmla="*/ 2384338 w 2384338"/>
              <a:gd name="connsiteY2" fmla="*/ 2533136 h 2564886"/>
              <a:gd name="connsiteX3" fmla="*/ 68312 w 2384338"/>
              <a:gd name="connsiteY3" fmla="*/ 2564886 h 2564886"/>
              <a:gd name="connsiteX4" fmla="*/ 0 w 2384338"/>
              <a:gd name="connsiteY4" fmla="*/ 265926 h 2564886"/>
              <a:gd name="connsiteX0" fmla="*/ 0 w 2143450"/>
              <a:gd name="connsiteY0" fmla="*/ 265926 h 2564886"/>
              <a:gd name="connsiteX1" fmla="*/ 1925882 w 2143450"/>
              <a:gd name="connsiteY1" fmla="*/ 0 h 2564886"/>
              <a:gd name="connsiteX2" fmla="*/ 2143450 w 2143450"/>
              <a:gd name="connsiteY2" fmla="*/ 1989312 h 2564886"/>
              <a:gd name="connsiteX3" fmla="*/ 68312 w 2143450"/>
              <a:gd name="connsiteY3" fmla="*/ 2564886 h 2564886"/>
              <a:gd name="connsiteX4" fmla="*/ 0 w 2143450"/>
              <a:gd name="connsiteY4" fmla="*/ 265926 h 2564886"/>
              <a:gd name="connsiteX0" fmla="*/ 0 w 2143450"/>
              <a:gd name="connsiteY0" fmla="*/ 265926 h 2564886"/>
              <a:gd name="connsiteX1" fmla="*/ 1925882 w 2143450"/>
              <a:gd name="connsiteY1" fmla="*/ 0 h 2564886"/>
              <a:gd name="connsiteX2" fmla="*/ 2143450 w 2143450"/>
              <a:gd name="connsiteY2" fmla="*/ 1989312 h 2564886"/>
              <a:gd name="connsiteX3" fmla="*/ 68312 w 2143450"/>
              <a:gd name="connsiteY3" fmla="*/ 2564886 h 2564886"/>
              <a:gd name="connsiteX4" fmla="*/ 0 w 2143450"/>
              <a:gd name="connsiteY4" fmla="*/ 265926 h 2564886"/>
              <a:gd name="connsiteX0" fmla="*/ 0 w 2143450"/>
              <a:gd name="connsiteY0" fmla="*/ 265926 h 2254651"/>
              <a:gd name="connsiteX1" fmla="*/ 1925882 w 2143450"/>
              <a:gd name="connsiteY1" fmla="*/ 0 h 2254651"/>
              <a:gd name="connsiteX2" fmla="*/ 2143450 w 2143450"/>
              <a:gd name="connsiteY2" fmla="*/ 1989312 h 2254651"/>
              <a:gd name="connsiteX3" fmla="*/ 217955 w 2143450"/>
              <a:gd name="connsiteY3" fmla="*/ 2254651 h 2254651"/>
              <a:gd name="connsiteX4" fmla="*/ 0 w 2143450"/>
              <a:gd name="connsiteY4" fmla="*/ 265926 h 2254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3450" h="2254651">
                <a:moveTo>
                  <a:pt x="0" y="265926"/>
                </a:moveTo>
                <a:lnTo>
                  <a:pt x="1925882" y="0"/>
                </a:lnTo>
                <a:cubicBezTo>
                  <a:pt x="1998234" y="597322"/>
                  <a:pt x="2047783" y="1101563"/>
                  <a:pt x="2143450" y="1989312"/>
                </a:cubicBezTo>
                <a:lnTo>
                  <a:pt x="217955" y="2254651"/>
                </a:lnTo>
                <a:lnTo>
                  <a:pt x="0" y="265926"/>
                </a:lnTo>
                <a:close/>
              </a:path>
            </a:pathLst>
          </a:custGeom>
          <a:noFill/>
          <a:ln w="79375">
            <a:solidFill>
              <a:schemeClr val="bg1"/>
            </a:solidFill>
            <a:miter lim="800000"/>
          </a:ln>
        </p:spPr>
        <p:txBody>
          <a:bodyPr/>
          <a:lstStyle>
            <a:lvl1pPr>
              <a:defRPr sz="900">
                <a:solidFill>
                  <a:schemeClr val="bg1"/>
                </a:solidFill>
              </a:defRPr>
            </a:lvl1pPr>
          </a:lstStyle>
          <a:p>
            <a:endParaRPr lang="en-GB"/>
          </a:p>
        </p:txBody>
      </p:sp>
    </p:spTree>
    <p:extLst>
      <p:ext uri="{BB962C8B-B14F-4D97-AF65-F5344CB8AC3E}">
        <p14:creationId xmlns:p14="http://schemas.microsoft.com/office/powerpoint/2010/main" val="29647207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900"/>
              </a:spcBef>
              <a:spcAft>
                <a:spcPts val="1200"/>
              </a:spcAft>
              <a:defRPr sz="1200" b="1">
                <a:solidFill>
                  <a:schemeClr val="bg1"/>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200" b="1">
                <a:solidFill>
                  <a:schemeClr val="bg1"/>
                </a:solidFill>
                <a:latin typeface="Verdana" panose="020B0604030504040204" pitchFamily="34" charset="0"/>
                <a:ea typeface="Verdana" panose="020B0604030504040204" pitchFamily="34" charset="0"/>
              </a:defRPr>
            </a:lvl2pPr>
            <a:lvl3pPr marL="1144800" indent="-230400">
              <a:spcBef>
                <a:spcPts val="600"/>
              </a:spcBef>
              <a:spcAft>
                <a:spcPts val="600"/>
              </a:spcAft>
              <a:buFont typeface="Arial" panose="020B0604020202020204" pitchFamily="34" charset="0"/>
              <a:buChar char="•"/>
              <a:defRPr sz="1200" b="1">
                <a:solidFill>
                  <a:schemeClr val="bg1"/>
                </a:solidFill>
                <a:latin typeface="Verdana" panose="020B0604030504040204" pitchFamily="34" charset="0"/>
                <a:ea typeface="Verdana" panose="020B0604030504040204" pitchFamily="34" charset="0"/>
              </a:defRPr>
            </a:lvl3pPr>
            <a:lvl4pPr>
              <a:spcBef>
                <a:spcPts val="600"/>
              </a:spcBef>
              <a:spcAft>
                <a:spcPts val="600"/>
              </a:spcAft>
              <a:defRPr sz="1200" b="1">
                <a:solidFill>
                  <a:schemeClr val="bg1"/>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367518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1200"/>
              </a:spcBef>
              <a:spcAft>
                <a:spcPts val="1200"/>
              </a:spcAft>
              <a:defRPr sz="1400" b="1">
                <a:solidFill>
                  <a:schemeClr val="bg1"/>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marL="1144800" indent="-230400">
              <a:spcBef>
                <a:spcPts val="900"/>
              </a:spcBef>
              <a:spcAft>
                <a:spcPts val="1200"/>
              </a:spcAft>
              <a:buFont typeface="Arial" panose="020B0604020202020204" pitchFamily="34" charset="0"/>
              <a:buChar char="•"/>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p:txBody>
      </p:sp>
    </p:spTree>
    <p:extLst>
      <p:ext uri="{BB962C8B-B14F-4D97-AF65-F5344CB8AC3E}">
        <p14:creationId xmlns:p14="http://schemas.microsoft.com/office/powerpoint/2010/main" val="16246472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38061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87522"/>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881D194B-4ECA-54B8-C96B-00B15AEA1A06}"/>
              </a:ext>
            </a:extLst>
          </p:cNvPr>
          <p:cNvSpPr>
            <a:spLocks noGrp="1"/>
          </p:cNvSpPr>
          <p:nvPr>
            <p:ph idx="1"/>
          </p:nvPr>
        </p:nvSpPr>
        <p:spPr>
          <a:xfrm>
            <a:off x="720000" y="1440000"/>
            <a:ext cx="10440000" cy="4059000"/>
          </a:xfrm>
          <a:prstGeom prst="rect">
            <a:avLst/>
          </a:prstGeom>
        </p:spPr>
        <p:txBody>
          <a:bodyPr/>
          <a:lstStyle>
            <a:lvl1pPr>
              <a:spcBef>
                <a:spcPts val="1400"/>
              </a:spcBef>
              <a:defRPr sz="1200" b="0"/>
            </a:lvl1pPr>
            <a:lvl2pPr marL="800100" indent="-342900">
              <a:spcBef>
                <a:spcPts val="1200"/>
              </a:spcBef>
              <a:spcAft>
                <a:spcPts val="1200"/>
              </a:spcAft>
              <a:buFont typeface="Arial" panose="020B0604020202020204" pitchFamily="34" charset="0"/>
              <a:buChar char="•"/>
              <a:defRPr sz="1100">
                <a:solidFill>
                  <a:srgbClr val="54555A"/>
                </a:solidFill>
              </a:defRPr>
            </a:lvl2pPr>
            <a:lvl3pPr>
              <a:spcBef>
                <a:spcPts val="600"/>
              </a:spcBef>
              <a:spcAft>
                <a:spcPts val="1200"/>
              </a:spcAft>
              <a:defRPr sz="1000">
                <a:solidFill>
                  <a:srgbClr val="54555A"/>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743835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86000"/>
          </a:xfrm>
          <a:prstGeom prst="rect">
            <a:avLst/>
          </a:prstGeom>
        </p:spPr>
        <p:txBody>
          <a:bodyPr anchor="t"/>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4FDEEED3-3BF4-CAA9-E5E5-F0D1236C8D87}"/>
              </a:ext>
            </a:extLst>
          </p:cNvPr>
          <p:cNvSpPr>
            <a:spLocks noGrp="1"/>
          </p:cNvSpPr>
          <p:nvPr>
            <p:ph sz="half" idx="1"/>
          </p:nvPr>
        </p:nvSpPr>
        <p:spPr>
          <a:xfrm>
            <a:off x="72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41635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B9A79B8B-5758-42F8-FFCB-A65DE72DD68E}"/>
              </a:ext>
            </a:extLst>
          </p:cNvPr>
          <p:cNvSpPr>
            <a:spLocks noGrp="1"/>
          </p:cNvSpPr>
          <p:nvPr>
            <p:ph sz="half" idx="2"/>
          </p:nvPr>
        </p:nvSpPr>
        <p:spPr>
          <a:xfrm>
            <a:off x="6300000" y="1800000"/>
            <a:ext cx="5181600" cy="39913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784903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3" name="Content Placeholder 2">
            <a:extLst>
              <a:ext uri="{FF2B5EF4-FFF2-40B4-BE49-F238E27FC236}">
                <a16:creationId xmlns:a16="http://schemas.microsoft.com/office/drawing/2014/main" id="{CB257430-1C22-EE18-223E-7A000910F3DC}"/>
              </a:ext>
            </a:extLst>
          </p:cNvPr>
          <p:cNvSpPr>
            <a:spLocks noGrp="1"/>
          </p:cNvSpPr>
          <p:nvPr>
            <p:ph sz="half" idx="1"/>
          </p:nvPr>
        </p:nvSpPr>
        <p:spPr>
          <a:xfrm>
            <a:off x="720000" y="1800000"/>
            <a:ext cx="5181600" cy="3962538"/>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b="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b="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00000"/>
            <a:ext cx="2340000" cy="1800000"/>
          </a:xfrm>
          <a:prstGeom prst="rect">
            <a:avLst/>
          </a:prstGeom>
        </p:spPr>
        <p:txBody>
          <a:body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00000"/>
            <a:ext cx="2340000" cy="1800000"/>
          </a:xfrm>
          <a:prstGeom prst="rect">
            <a:avLst/>
          </a:prstGeom>
        </p:spPr>
        <p:txBody>
          <a:body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p>
            <a:endParaRPr lang="en-GB"/>
          </a:p>
        </p:txBody>
      </p:sp>
    </p:spTree>
    <p:extLst>
      <p:ext uri="{BB962C8B-B14F-4D97-AF65-F5344CB8AC3E}">
        <p14:creationId xmlns:p14="http://schemas.microsoft.com/office/powerpoint/2010/main" val="27162147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1"/>
            <a:ext cx="8280000" cy="486000"/>
          </a:xfrm>
          <a:prstGeom prst="rect">
            <a:avLst/>
          </a:prstGeom>
        </p:spPr>
        <p:txBody>
          <a:bodyPr anchor="t" anchorCtr="0"/>
          <a:lstStyle>
            <a:lvl1pPr>
              <a:defRPr sz="3000"/>
            </a:lvl1pPr>
          </a:lstStyle>
          <a:p>
            <a:r>
              <a:rPr lang="en-US"/>
              <a:t>CLICK TO EDIT MASTER TITLE</a:t>
            </a:r>
            <a:endParaRPr lang="en-GB"/>
          </a:p>
        </p:txBody>
      </p:sp>
      <p:sp>
        <p:nvSpPr>
          <p:cNvPr id="4" name="Content Placeholder 2">
            <a:extLst>
              <a:ext uri="{FF2B5EF4-FFF2-40B4-BE49-F238E27FC236}">
                <a16:creationId xmlns:a16="http://schemas.microsoft.com/office/drawing/2014/main" id="{33FBB507-A501-4ED9-83B6-0039A64AC5ED}"/>
              </a:ext>
            </a:extLst>
          </p:cNvPr>
          <p:cNvSpPr>
            <a:spLocks noGrp="1"/>
          </p:cNvSpPr>
          <p:nvPr>
            <p:ph sz="half" idx="1"/>
          </p:nvPr>
        </p:nvSpPr>
        <p:spPr>
          <a:xfrm>
            <a:off x="720000" y="2206393"/>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8EC61674-478C-0094-F982-6283BE728209}"/>
              </a:ext>
            </a:extLst>
          </p:cNvPr>
          <p:cNvSpPr>
            <a:spLocks noGrp="1"/>
          </p:cNvSpPr>
          <p:nvPr>
            <p:ph sz="half" idx="2"/>
          </p:nvPr>
        </p:nvSpPr>
        <p:spPr>
          <a:xfrm>
            <a:off x="6300000" y="2206392"/>
            <a:ext cx="5181600" cy="3584945"/>
          </a:xfrm>
          <a:prstGeom prst="rect">
            <a:avLst/>
          </a:prstGeom>
        </p:spPr>
        <p:txBody>
          <a:bodyPr/>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283242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5157787"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620000"/>
            <a:ext cx="5183188" cy="376237"/>
          </a:xfrm>
          <a:prstGeom prst="rect">
            <a:avLst/>
          </a:prstGeom>
        </p:spPr>
        <p:txBody>
          <a:bodyPr anchor="t" anchorCtr="0"/>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0"/>
            <a:ext cx="5181600" cy="3678755"/>
          </a:xfrm>
          <a:prstGeom prst="rect">
            <a:avLst/>
          </a:prstGeom>
        </p:spPr>
        <p:txBody>
          <a:bodyPr/>
          <a:lstStyle>
            <a:lvl1pPr>
              <a:spcBef>
                <a:spcPts val="1400"/>
              </a:spcBef>
              <a:defRPr sz="1200" b="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3">
            <a:extLst>
              <a:ext uri="{FF2B5EF4-FFF2-40B4-BE49-F238E27FC236}">
                <a16:creationId xmlns:a16="http://schemas.microsoft.com/office/drawing/2014/main" id="{FCB90BA0-A853-4B5A-CC9E-CBA579C8E775}"/>
              </a:ext>
            </a:extLst>
          </p:cNvPr>
          <p:cNvSpPr>
            <a:spLocks noGrp="1"/>
          </p:cNvSpPr>
          <p:nvPr>
            <p:ph sz="half" idx="2"/>
          </p:nvPr>
        </p:nvSpPr>
        <p:spPr>
          <a:xfrm>
            <a:off x="6300000" y="2340000"/>
            <a:ext cx="5181600" cy="3678755"/>
          </a:xfrm>
          <a:prstGeom prst="rect">
            <a:avLst/>
          </a:prstGeom>
        </p:spPr>
        <p:txBody>
          <a:bodyPr/>
          <a:lstStyle>
            <a:lvl1pPr>
              <a:spcBef>
                <a:spcPts val="1400"/>
              </a:spcBef>
              <a:defRPr sz="1200" b="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75220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88CB-7F03-734F-9EA6-DB242DEA005A}"/>
              </a:ext>
            </a:extLst>
          </p:cNvPr>
          <p:cNvSpPr>
            <a:spLocks noGrp="1"/>
          </p:cNvSpPr>
          <p:nvPr>
            <p:ph type="title" hasCustomPrompt="1"/>
          </p:nvPr>
        </p:nvSpPr>
        <p:spPr>
          <a:xfrm>
            <a:off x="6188764" y="1054238"/>
            <a:ext cx="2819400" cy="416753"/>
          </a:xfrm>
        </p:spPr>
        <p:txBody>
          <a:bodyPr wrap="none" lIns="0" tIns="0" rIns="0" bIns="0" anchor="t" anchorCtr="0">
            <a:noAutofit/>
          </a:bodyPr>
          <a:lstStyle>
            <a:lvl1pPr>
              <a:defRPr sz="3500" b="1" i="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pic>
        <p:nvPicPr>
          <p:cNvPr id="6" name="Picture 5">
            <a:extLst>
              <a:ext uri="{FF2B5EF4-FFF2-40B4-BE49-F238E27FC236}">
                <a16:creationId xmlns:a16="http://schemas.microsoft.com/office/drawing/2014/main" id="{F0703195-C5FA-B14E-83D3-F9E095FD5E4F}"/>
              </a:ext>
            </a:extLst>
          </p:cNvPr>
          <p:cNvPicPr>
            <a:picLocks noChangeAspect="1"/>
          </p:cNvPicPr>
          <p:nvPr userDrawn="1"/>
        </p:nvPicPr>
        <p:blipFill>
          <a:blip r:embed="rId2"/>
          <a:stretch>
            <a:fillRect/>
          </a:stretch>
        </p:blipFill>
        <p:spPr>
          <a:xfrm>
            <a:off x="947738" y="6242704"/>
            <a:ext cx="720459" cy="119067"/>
          </a:xfrm>
          <a:prstGeom prst="rect">
            <a:avLst/>
          </a:prstGeom>
        </p:spPr>
      </p:pic>
      <p:sp>
        <p:nvSpPr>
          <p:cNvPr id="7" name="TextBox 6">
            <a:extLst>
              <a:ext uri="{FF2B5EF4-FFF2-40B4-BE49-F238E27FC236}">
                <a16:creationId xmlns:a16="http://schemas.microsoft.com/office/drawing/2014/main" id="{612E8779-C0AC-984A-B8A7-2DDE785C8561}"/>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dirty="0">
              <a:solidFill>
                <a:schemeClr val="bg1"/>
              </a:solidFill>
              <a:latin typeface="Lato Black" panose="020F0502020204030203" pitchFamily="34" charset="77"/>
            </a:endParaRPr>
          </a:p>
        </p:txBody>
      </p:sp>
      <p:sp>
        <p:nvSpPr>
          <p:cNvPr id="8" name="TextBox 7">
            <a:extLst>
              <a:ext uri="{FF2B5EF4-FFF2-40B4-BE49-F238E27FC236}">
                <a16:creationId xmlns:a16="http://schemas.microsoft.com/office/drawing/2014/main" id="{0412097C-D7FB-0B41-80F3-8D907CD16B0D}"/>
              </a:ext>
            </a:extLst>
          </p:cNvPr>
          <p:cNvSpPr txBox="1"/>
          <p:nvPr userDrawn="1"/>
        </p:nvSpPr>
        <p:spPr>
          <a:xfrm>
            <a:off x="8745467" y="6144930"/>
            <a:ext cx="2135893" cy="307841"/>
          </a:xfrm>
          <a:prstGeom prst="rect">
            <a:avLst/>
          </a:prstGeom>
          <a:noFill/>
        </p:spPr>
        <p:txBody>
          <a:bodyPr wrap="square" rtlCol="0">
            <a:spAutoFit/>
          </a:bodyPr>
          <a:lstStyle/>
          <a:p>
            <a:pPr>
              <a:lnSpc>
                <a:spcPts val="1900"/>
              </a:lnSpc>
            </a:pPr>
            <a:r>
              <a:rPr lang="en-GB" sz="1200">
                <a:solidFill>
                  <a:schemeClr val="bg1"/>
                </a:solidFill>
                <a:latin typeface="Lato Medium" panose="020F0502020204030203" pitchFamily="34" charset="77"/>
              </a:rPr>
              <a:t>Presentation title</a:t>
            </a:r>
          </a:p>
        </p:txBody>
      </p:sp>
      <p:cxnSp>
        <p:nvCxnSpPr>
          <p:cNvPr id="12" name="Straight Connector 11">
            <a:extLst>
              <a:ext uri="{FF2B5EF4-FFF2-40B4-BE49-F238E27FC236}">
                <a16:creationId xmlns:a16="http://schemas.microsoft.com/office/drawing/2014/main" id="{CECBECF5-6332-7149-8F6C-CE608F3F6A19}"/>
              </a:ext>
            </a:extLst>
          </p:cNvPr>
          <p:cNvCxnSpPr>
            <a:cxnSpLocks/>
          </p:cNvCxnSpPr>
          <p:nvPr userDrawn="1"/>
        </p:nvCxnSpPr>
        <p:spPr>
          <a:xfrm>
            <a:off x="6196079" y="2178986"/>
            <a:ext cx="5402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1C21BE24-3F3D-B944-A37A-608BC6EE28D4}"/>
              </a:ext>
            </a:extLst>
          </p:cNvPr>
          <p:cNvSpPr>
            <a:spLocks noGrp="1"/>
          </p:cNvSpPr>
          <p:nvPr>
            <p:ph type="body" sz="quarter" idx="10" hasCustomPrompt="1"/>
          </p:nvPr>
        </p:nvSpPr>
        <p:spPr>
          <a:xfrm>
            <a:off x="6188764" y="2663686"/>
            <a:ext cx="5008563" cy="3153465"/>
          </a:xfrm>
        </p:spPr>
        <p:txBody>
          <a:bodyPr wrap="square" lIns="0" tIns="0" rIns="0" bIns="0">
            <a:normAutofit/>
          </a:bodyPr>
          <a:lstStyle>
            <a:lvl1pPr marL="0" indent="0">
              <a:lnSpc>
                <a:spcPts val="2200"/>
              </a:lnSpc>
              <a:spcBef>
                <a:spcPts val="0"/>
              </a:spcBef>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1600" b="0" i="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Copy he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endParaRPr lang="en-GB"/>
          </a:p>
          <a:p>
            <a:pPr lvl="0"/>
            <a:endParaRPr lang="en-GB"/>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endParaRPr lang="en-GB"/>
          </a:p>
          <a:p>
            <a:pPr lvl="0"/>
            <a:r>
              <a:rPr lang="en-GB"/>
              <a:t>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aliquet</a:t>
            </a:r>
            <a:r>
              <a:rPr lang="en-GB"/>
              <a:t> </a:t>
            </a:r>
            <a:r>
              <a:rPr lang="en-GB" err="1"/>
              <a:t>enim</a:t>
            </a:r>
            <a:r>
              <a:rPr lang="en-GB"/>
              <a:t> </a:t>
            </a:r>
            <a:r>
              <a:rPr lang="en-GB" err="1"/>
              <a:t>torto</a:t>
            </a:r>
            <a:r>
              <a:rPr lang="en-GB"/>
              <a:t> </a:t>
            </a:r>
            <a:r>
              <a:rPr lang="en-GB" err="1"/>
              <a:t>nulla</a:t>
            </a:r>
            <a:r>
              <a:rPr lang="en-GB"/>
              <a:t> </a:t>
            </a:r>
            <a:r>
              <a:rPr lang="en-GB" err="1"/>
              <a:t>aliquet</a:t>
            </a:r>
            <a:r>
              <a:rPr lang="en-GB"/>
              <a:t> </a:t>
            </a:r>
            <a:r>
              <a:rPr lang="en-GB" err="1"/>
              <a:t>enimr</a:t>
            </a:r>
            <a:r>
              <a:rPr lang="en-GB"/>
              <a:t>. </a:t>
            </a:r>
          </a:p>
          <a:p>
            <a:pPr lvl="0"/>
            <a:endParaRPr lang="en-US"/>
          </a:p>
        </p:txBody>
      </p:sp>
      <p:pic>
        <p:nvPicPr>
          <p:cNvPr id="19" name="Picture 18" descr="A picture containing drawing&#10;&#10;Description automatically generated">
            <a:extLst>
              <a:ext uri="{FF2B5EF4-FFF2-40B4-BE49-F238E27FC236}">
                <a16:creationId xmlns:a16="http://schemas.microsoft.com/office/drawing/2014/main" id="{35A7E746-283C-5046-BAD0-7B67D3C09CEE}"/>
              </a:ext>
            </a:extLst>
          </p:cNvPr>
          <p:cNvPicPr>
            <a:picLocks noChangeAspect="1"/>
          </p:cNvPicPr>
          <p:nvPr userDrawn="1"/>
        </p:nvPicPr>
        <p:blipFill>
          <a:blip r:embed="rId3"/>
          <a:stretch>
            <a:fillRect/>
          </a:stretch>
        </p:blipFill>
        <p:spPr>
          <a:xfrm>
            <a:off x="947738" y="1120090"/>
            <a:ext cx="4328512" cy="4664345"/>
          </a:xfrm>
          <a:prstGeom prst="rect">
            <a:avLst/>
          </a:prstGeom>
        </p:spPr>
      </p:pic>
      <p:sp>
        <p:nvSpPr>
          <p:cNvPr id="21" name="Text Placeholder 13">
            <a:extLst>
              <a:ext uri="{FF2B5EF4-FFF2-40B4-BE49-F238E27FC236}">
                <a16:creationId xmlns:a16="http://schemas.microsoft.com/office/drawing/2014/main" id="{18037ACD-2206-0340-AF29-BE57ECF3D286}"/>
              </a:ext>
            </a:extLst>
          </p:cNvPr>
          <p:cNvSpPr>
            <a:spLocks noGrp="1"/>
          </p:cNvSpPr>
          <p:nvPr>
            <p:ph type="body" sz="quarter" idx="13" hasCustomPrompt="1"/>
          </p:nvPr>
        </p:nvSpPr>
        <p:spPr>
          <a:xfrm>
            <a:off x="6188764" y="1487508"/>
            <a:ext cx="4234070" cy="627582"/>
          </a:xfrm>
        </p:spPr>
        <p:txBody>
          <a:bodyPr wrap="none" lIns="0" tIns="0" rIns="0" bIns="0">
            <a:noAutofit/>
          </a:bodyPr>
          <a:lstStyle>
            <a:lvl1pPr marL="0" indent="0">
              <a:buNone/>
              <a:defRPr sz="3500" b="0" i="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192919231"/>
      </p:ext>
    </p:extLst>
  </p:cSld>
  <p:clrMapOvr>
    <a:masterClrMapping/>
  </p:clrMapOvr>
  <p:extLst>
    <p:ext uri="{DCECCB84-F9BA-43D5-87BE-67443E8EF086}">
      <p15:sldGuideLst xmlns:p15="http://schemas.microsoft.com/office/powerpoint/2012/main">
        <p15:guide id="1" orient="horz" pos="2160">
          <p15:clr>
            <a:srgbClr val="FBAE40"/>
          </p15:clr>
        </p15:guide>
        <p15:guide id="2" pos="390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 two line header + logo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20000" y="2340001"/>
            <a:ext cx="10800000" cy="3306420"/>
          </a:xfrm>
          <a:prstGeom prst="rect">
            <a:avLst/>
          </a:prstGeom>
        </p:spPr>
        <p:txBody>
          <a:bodyPr numCol="2" spcCol="180000"/>
          <a:lstStyle>
            <a:lvl1pPr>
              <a:spcBef>
                <a:spcPts val="900"/>
              </a:spcBef>
              <a:spcAft>
                <a:spcPts val="12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9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9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12693200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620000"/>
            <a:ext cx="10800000" cy="376237"/>
          </a:xfrm>
          <a:prstGeom prst="rect">
            <a:avLst/>
          </a:prstGeom>
        </p:spPr>
        <p:txBody>
          <a:bodyPr anchor="t" anchorCtr="0"/>
          <a:lstStyle>
            <a:lvl1pPr marL="0" indent="0">
              <a:buNone/>
              <a:defRPr sz="1600" b="1">
                <a:solidFill>
                  <a:srgbClr val="FF9D1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1612900" y="2810268"/>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720000" y="2745590"/>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720000" y="3530226"/>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20000" y="4314863"/>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720000" y="5099499"/>
            <a:ext cx="677900" cy="677900"/>
          </a:xfrm>
          <a:prstGeom prst="rect">
            <a:avLst/>
          </a:prstGeom>
        </p:spPr>
        <p:txBody>
          <a:bodyPr/>
          <a:lstStyle/>
          <a:p>
            <a:endParaRPr lang="en-GB"/>
          </a:p>
        </p:txBody>
      </p:sp>
      <p:sp>
        <p:nvSpPr>
          <p:cNvPr id="15" name="Content Placeholder 2">
            <a:extLst>
              <a:ext uri="{FF2B5EF4-FFF2-40B4-BE49-F238E27FC236}">
                <a16:creationId xmlns:a16="http://schemas.microsoft.com/office/drawing/2014/main" id="{62E4263E-5BA8-1A6E-CDA7-C264C6F7CB64}"/>
              </a:ext>
            </a:extLst>
          </p:cNvPr>
          <p:cNvSpPr>
            <a:spLocks noGrp="1"/>
          </p:cNvSpPr>
          <p:nvPr>
            <p:ph sz="half" idx="17"/>
          </p:nvPr>
        </p:nvSpPr>
        <p:spPr>
          <a:xfrm>
            <a:off x="7200000" y="2826169"/>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6">
            <a:extLst>
              <a:ext uri="{FF2B5EF4-FFF2-40B4-BE49-F238E27FC236}">
                <a16:creationId xmlns:a16="http://schemas.microsoft.com/office/drawing/2014/main" id="{3BB4230E-6BD8-1134-F3EE-6CC9F8AFD273}"/>
              </a:ext>
            </a:extLst>
          </p:cNvPr>
          <p:cNvSpPr>
            <a:spLocks noGrp="1"/>
          </p:cNvSpPr>
          <p:nvPr>
            <p:ph type="pic" sz="quarter" idx="18"/>
          </p:nvPr>
        </p:nvSpPr>
        <p:spPr>
          <a:xfrm>
            <a:off x="6307100" y="2761491"/>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AB215E57-6E7E-7B2F-31E3-88F89F5198C0}"/>
              </a:ext>
            </a:extLst>
          </p:cNvPr>
          <p:cNvSpPr>
            <a:spLocks noGrp="1"/>
          </p:cNvSpPr>
          <p:nvPr>
            <p:ph type="pic" sz="quarter" idx="19"/>
          </p:nvPr>
        </p:nvSpPr>
        <p:spPr>
          <a:xfrm>
            <a:off x="6307100" y="3546127"/>
            <a:ext cx="677900" cy="677900"/>
          </a:xfrm>
          <a:prstGeom prst="rect">
            <a:avLst/>
          </a:prstGeom>
        </p:spPr>
        <p:txBody>
          <a:bodyPr/>
          <a:lstStyle/>
          <a:p>
            <a:endParaRPr lang="en-GB"/>
          </a:p>
        </p:txBody>
      </p:sp>
      <p:sp>
        <p:nvSpPr>
          <p:cNvPr id="18" name="Picture Placeholder 6">
            <a:extLst>
              <a:ext uri="{FF2B5EF4-FFF2-40B4-BE49-F238E27FC236}">
                <a16:creationId xmlns:a16="http://schemas.microsoft.com/office/drawing/2014/main" id="{4875DE25-35C1-1208-15CC-EC96423CC121}"/>
              </a:ext>
            </a:extLst>
          </p:cNvPr>
          <p:cNvSpPr>
            <a:spLocks noGrp="1"/>
          </p:cNvSpPr>
          <p:nvPr>
            <p:ph type="pic" sz="quarter" idx="20"/>
          </p:nvPr>
        </p:nvSpPr>
        <p:spPr>
          <a:xfrm>
            <a:off x="6307100" y="4330763"/>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688AEA07-FAE7-4B21-DC24-28CC535AA4EC}"/>
              </a:ext>
            </a:extLst>
          </p:cNvPr>
          <p:cNvSpPr>
            <a:spLocks noGrp="1"/>
          </p:cNvSpPr>
          <p:nvPr>
            <p:ph type="pic" sz="quarter" idx="21"/>
          </p:nvPr>
        </p:nvSpPr>
        <p:spPr>
          <a:xfrm>
            <a:off x="6307100" y="5115400"/>
            <a:ext cx="677900" cy="677900"/>
          </a:xfrm>
          <a:prstGeom prst="rect">
            <a:avLst/>
          </a:prstGeom>
        </p:spPr>
        <p:txBody>
          <a:bodyPr/>
          <a:lstStyle/>
          <a:p>
            <a:endParaRPr lang="en-GB"/>
          </a:p>
        </p:txBody>
      </p:sp>
      <p:sp>
        <p:nvSpPr>
          <p:cNvPr id="20" name="Text Placeholder 2">
            <a:extLst>
              <a:ext uri="{FF2B5EF4-FFF2-40B4-BE49-F238E27FC236}">
                <a16:creationId xmlns:a16="http://schemas.microsoft.com/office/drawing/2014/main" id="{5A19A783-99E9-4431-6236-15AC925DEA45}"/>
              </a:ext>
            </a:extLst>
          </p:cNvPr>
          <p:cNvSpPr>
            <a:spLocks noGrp="1"/>
          </p:cNvSpPr>
          <p:nvPr>
            <p:ph type="body" idx="22"/>
          </p:nvPr>
        </p:nvSpPr>
        <p:spPr>
          <a:xfrm>
            <a:off x="696000" y="2212938"/>
            <a:ext cx="10800000" cy="376237"/>
          </a:xfrm>
          <a:prstGeom prst="rect">
            <a:avLst/>
          </a:prstGeom>
        </p:spPr>
        <p:txBody>
          <a:bodyPr anchor="ctr" anchorCtr="0"/>
          <a:lstStyle>
            <a:lvl1pPr marL="0" indent="0">
              <a:buNone/>
              <a:defRPr sz="1200" b="0">
                <a:solidFill>
                  <a:srgbClr val="64656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558272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ub header + 8 icon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559D6F1-1DBE-FDC8-4D9A-DF9AE7BA9521}"/>
              </a:ext>
            </a:extLst>
          </p:cNvPr>
          <p:cNvSpPr>
            <a:spLocks noGrp="1"/>
          </p:cNvSpPr>
          <p:nvPr>
            <p:ph sz="half" idx="10"/>
          </p:nvPr>
        </p:nvSpPr>
        <p:spPr>
          <a:xfrm>
            <a:off x="719999" y="3404152"/>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a:extLst>
              <a:ext uri="{FF2B5EF4-FFF2-40B4-BE49-F238E27FC236}">
                <a16:creationId xmlns:a16="http://schemas.microsoft.com/office/drawing/2014/main" id="{50A1E226-0474-AB7B-2C90-9E5A3DD4E506}"/>
              </a:ext>
            </a:extLst>
          </p:cNvPr>
          <p:cNvSpPr>
            <a:spLocks noGrp="1"/>
          </p:cNvSpPr>
          <p:nvPr>
            <p:ph type="pic" sz="quarter" idx="13"/>
          </p:nvPr>
        </p:nvSpPr>
        <p:spPr>
          <a:xfrm>
            <a:off x="1524517" y="2377842"/>
            <a:ext cx="677900" cy="677900"/>
          </a:xfrm>
          <a:prstGeom prst="rect">
            <a:avLst/>
          </a:prstGeom>
        </p:spPr>
        <p:txBody>
          <a:bodyPr/>
          <a:lstStyle/>
          <a:p>
            <a:endParaRPr lang="en-GB"/>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
        <p:nvSpPr>
          <p:cNvPr id="8" name="Picture Placeholder 6">
            <a:extLst>
              <a:ext uri="{FF2B5EF4-FFF2-40B4-BE49-F238E27FC236}">
                <a16:creationId xmlns:a16="http://schemas.microsoft.com/office/drawing/2014/main" id="{DBC23680-4AA1-8430-7B33-1FB8F0D7816E}"/>
              </a:ext>
            </a:extLst>
          </p:cNvPr>
          <p:cNvSpPr>
            <a:spLocks noGrp="1"/>
          </p:cNvSpPr>
          <p:nvPr>
            <p:ph type="pic" sz="quarter" idx="14"/>
          </p:nvPr>
        </p:nvSpPr>
        <p:spPr>
          <a:xfrm>
            <a:off x="4273290" y="2406371"/>
            <a:ext cx="677900" cy="6779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A146650D-B484-91F6-D5CD-BF708F4756FD}"/>
              </a:ext>
            </a:extLst>
          </p:cNvPr>
          <p:cNvSpPr>
            <a:spLocks noGrp="1"/>
          </p:cNvSpPr>
          <p:nvPr>
            <p:ph type="pic" sz="quarter" idx="15"/>
          </p:nvPr>
        </p:nvSpPr>
        <p:spPr>
          <a:xfrm>
            <a:off x="7022063" y="2377842"/>
            <a:ext cx="677900" cy="67790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39C39DA4-E2C6-2376-ED21-CBC0FEC5CF84}"/>
              </a:ext>
            </a:extLst>
          </p:cNvPr>
          <p:cNvSpPr>
            <a:spLocks noGrp="1"/>
          </p:cNvSpPr>
          <p:nvPr>
            <p:ph type="pic" sz="quarter" idx="16"/>
          </p:nvPr>
        </p:nvSpPr>
        <p:spPr>
          <a:xfrm>
            <a:off x="9770835" y="2406827"/>
            <a:ext cx="677900" cy="677900"/>
          </a:xfrm>
          <a:prstGeom prst="rect">
            <a:avLst/>
          </a:prstGeom>
        </p:spPr>
        <p:txBody>
          <a:bodyPr/>
          <a:lstStyle/>
          <a:p>
            <a:endParaRPr lang="en-GB"/>
          </a:p>
        </p:txBody>
      </p:sp>
      <p:sp>
        <p:nvSpPr>
          <p:cNvPr id="2" name="Content Placeholder 2">
            <a:extLst>
              <a:ext uri="{FF2B5EF4-FFF2-40B4-BE49-F238E27FC236}">
                <a16:creationId xmlns:a16="http://schemas.microsoft.com/office/drawing/2014/main" id="{3562E760-B03A-9265-C829-44807226CE5B}"/>
              </a:ext>
            </a:extLst>
          </p:cNvPr>
          <p:cNvSpPr>
            <a:spLocks noGrp="1"/>
          </p:cNvSpPr>
          <p:nvPr>
            <p:ph sz="half" idx="17"/>
          </p:nvPr>
        </p:nvSpPr>
        <p:spPr>
          <a:xfrm>
            <a:off x="3676202"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D83D28E5-933F-61DF-C312-331912ED9223}"/>
              </a:ext>
            </a:extLst>
          </p:cNvPr>
          <p:cNvSpPr>
            <a:spLocks noGrp="1"/>
          </p:cNvSpPr>
          <p:nvPr>
            <p:ph sz="half" idx="18"/>
          </p:nvPr>
        </p:nvSpPr>
        <p:spPr>
          <a:xfrm>
            <a:off x="6629500" y="3429000"/>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a:extLst>
              <a:ext uri="{FF2B5EF4-FFF2-40B4-BE49-F238E27FC236}">
                <a16:creationId xmlns:a16="http://schemas.microsoft.com/office/drawing/2014/main" id="{D9655EB7-8A60-A8EB-83A8-2CD40273CCD6}"/>
              </a:ext>
            </a:extLst>
          </p:cNvPr>
          <p:cNvSpPr>
            <a:spLocks noGrp="1"/>
          </p:cNvSpPr>
          <p:nvPr>
            <p:ph sz="half" idx="19"/>
          </p:nvPr>
        </p:nvSpPr>
        <p:spPr>
          <a:xfrm>
            <a:off x="9585703" y="3453848"/>
            <a:ext cx="2549975" cy="2120899"/>
          </a:xfrm>
          <a:prstGeom prst="rect">
            <a:avLst/>
          </a:prstGeom>
        </p:spPr>
        <p:txBody>
          <a:bodyPr numCol="1" spcCol="180000"/>
          <a:lstStyle>
            <a:lvl1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20789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5970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357FB1EB-E6F8-8D4D-8DFD-459D53184100}"/>
              </a:ext>
            </a:extLst>
          </p:cNvPr>
          <p:cNvSpPr>
            <a:spLocks noGrp="1"/>
          </p:cNvSpPr>
          <p:nvPr>
            <p:ph sz="half" idx="17" hasCustomPrompt="1"/>
          </p:nvPr>
        </p:nvSpPr>
        <p:spPr>
          <a:xfrm>
            <a:off x="444687" y="4731959"/>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Content Placeholder 2">
            <a:extLst>
              <a:ext uri="{FF2B5EF4-FFF2-40B4-BE49-F238E27FC236}">
                <a16:creationId xmlns:a16="http://schemas.microsoft.com/office/drawing/2014/main" id="{9A73DEF8-94CD-8778-060A-F22352F948B0}"/>
              </a:ext>
            </a:extLst>
          </p:cNvPr>
          <p:cNvSpPr>
            <a:spLocks noGrp="1"/>
          </p:cNvSpPr>
          <p:nvPr>
            <p:ph sz="half" idx="19"/>
          </p:nvPr>
        </p:nvSpPr>
        <p:spPr>
          <a:xfrm>
            <a:off x="4125610"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Picture Placeholder 6">
            <a:extLst>
              <a:ext uri="{FF2B5EF4-FFF2-40B4-BE49-F238E27FC236}">
                <a16:creationId xmlns:a16="http://schemas.microsoft.com/office/drawing/2014/main" id="{A4F0B8C9-1C0C-C1CD-37F6-DBABD32C33B8}"/>
              </a:ext>
            </a:extLst>
          </p:cNvPr>
          <p:cNvSpPr>
            <a:spLocks noGrp="1"/>
          </p:cNvSpPr>
          <p:nvPr>
            <p:ph type="pic" sz="quarter" idx="18"/>
          </p:nvPr>
        </p:nvSpPr>
        <p:spPr>
          <a:xfrm>
            <a:off x="5588490" y="3971328"/>
            <a:ext cx="677900" cy="677900"/>
          </a:xfrm>
          <a:prstGeom prst="rect">
            <a:avLst/>
          </a:prstGeom>
        </p:spPr>
        <p:txBody>
          <a:bodyPr/>
          <a:lstStyle/>
          <a:p>
            <a:endParaRPr lang="en-GB"/>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6107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5" name="Picture Placeholder 6">
            <a:extLst>
              <a:ext uri="{FF2B5EF4-FFF2-40B4-BE49-F238E27FC236}">
                <a16:creationId xmlns:a16="http://schemas.microsoft.com/office/drawing/2014/main" id="{0076FBE2-E387-9D69-F905-1C49F9AB3D3A}"/>
              </a:ext>
            </a:extLst>
          </p:cNvPr>
          <p:cNvSpPr>
            <a:spLocks noGrp="1"/>
          </p:cNvSpPr>
          <p:nvPr>
            <p:ph type="pic" sz="quarter" idx="21"/>
          </p:nvPr>
        </p:nvSpPr>
        <p:spPr>
          <a:xfrm>
            <a:off x="9269413" y="3971328"/>
            <a:ext cx="677900" cy="677900"/>
          </a:xfrm>
          <a:prstGeom prst="rect">
            <a:avLst/>
          </a:prstGeom>
        </p:spPr>
        <p:txBody>
          <a:bodyPr/>
          <a:lstStyle/>
          <a:p>
            <a:endParaRPr lang="en-GB"/>
          </a:p>
        </p:txBody>
      </p:sp>
      <p:sp>
        <p:nvSpPr>
          <p:cNvPr id="26" name="Content Placeholder 2">
            <a:extLst>
              <a:ext uri="{FF2B5EF4-FFF2-40B4-BE49-F238E27FC236}">
                <a16:creationId xmlns:a16="http://schemas.microsoft.com/office/drawing/2014/main" id="{95609DB4-2B25-CD8C-651E-1FACB81C75BE}"/>
              </a:ext>
            </a:extLst>
          </p:cNvPr>
          <p:cNvSpPr>
            <a:spLocks noGrp="1"/>
          </p:cNvSpPr>
          <p:nvPr>
            <p:ph sz="half" idx="22"/>
          </p:nvPr>
        </p:nvSpPr>
        <p:spPr>
          <a:xfrm>
            <a:off x="7806533" y="4745624"/>
            <a:ext cx="3600000" cy="900000"/>
          </a:xfrm>
          <a:prstGeom prst="rect">
            <a:avLst/>
          </a:prstGeom>
        </p:spPr>
        <p:txBody>
          <a:bodyPr numCol="1" spcCol="180000"/>
          <a:lstStyle>
            <a:lvl1pPr algn="ctr">
              <a:spcBef>
                <a:spcPts val="0"/>
              </a:spcBef>
              <a:spcAft>
                <a:spcPts val="600"/>
              </a:spcAft>
              <a:defRPr sz="1200" b="1">
                <a:solidFill>
                  <a:srgbClr val="FF981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822763"/>
            <a:ext cx="677900" cy="677900"/>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836428"/>
            <a:ext cx="677900" cy="677900"/>
          </a:xfrm>
          <a:prstGeom prst="rect">
            <a:avLst/>
          </a:prstGeom>
        </p:spPr>
        <p:txBody>
          <a:bodyPr/>
          <a:lstStyle/>
          <a:p>
            <a:endParaRPr lang="en-GB"/>
          </a:p>
        </p:txBody>
      </p:sp>
      <p:sp>
        <p:nvSpPr>
          <p:cNvPr id="19" name="Picture Placeholder 6">
            <a:extLst>
              <a:ext uri="{FF2B5EF4-FFF2-40B4-BE49-F238E27FC236}">
                <a16:creationId xmlns:a16="http://schemas.microsoft.com/office/drawing/2014/main" id="{5127D8DA-0D92-2CB7-89EC-474CBFA053E2}"/>
              </a:ext>
            </a:extLst>
          </p:cNvPr>
          <p:cNvSpPr>
            <a:spLocks noGrp="1"/>
          </p:cNvSpPr>
          <p:nvPr>
            <p:ph type="pic" sz="quarter" idx="16"/>
          </p:nvPr>
        </p:nvSpPr>
        <p:spPr>
          <a:xfrm>
            <a:off x="1907567" y="3957663"/>
            <a:ext cx="677900" cy="677900"/>
          </a:xfrm>
          <a:prstGeom prst="rect">
            <a:avLst/>
          </a:prstGeom>
        </p:spPr>
        <p:txBody>
          <a:body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836428"/>
            <a:ext cx="677900" cy="677900"/>
          </a:xfrm>
          <a:prstGeom prst="rect">
            <a:avLst/>
          </a:prstGeom>
        </p:spPr>
        <p:txBody>
          <a:bodyPr/>
          <a:lstStyle/>
          <a:p>
            <a:endParaRPr lang="en-GB"/>
          </a:p>
        </p:txBody>
      </p:sp>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25240824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p>
            <a:endParaRPr lang="en-GB"/>
          </a:p>
        </p:txBody>
      </p:sp>
      <p:sp>
        <p:nvSpPr>
          <p:cNvPr id="3" name="Title 12">
            <a:extLst>
              <a:ext uri="{FF2B5EF4-FFF2-40B4-BE49-F238E27FC236}">
                <a16:creationId xmlns:a16="http://schemas.microsoft.com/office/drawing/2014/main" id="{0AA28110-14D4-EE63-0C54-A1556B6EFBF7}"/>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35334306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b="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b="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b="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p>
            <a:endParaRPr lang="en-GB"/>
          </a:p>
        </p:txBody>
      </p:sp>
      <p:sp>
        <p:nvSpPr>
          <p:cNvPr id="7" name="Title 12">
            <a:extLst>
              <a:ext uri="{FF2B5EF4-FFF2-40B4-BE49-F238E27FC236}">
                <a16:creationId xmlns:a16="http://schemas.microsoft.com/office/drawing/2014/main" id="{1BA5659F-69EE-1CAE-D1D3-151224EE1516}"/>
              </a:ext>
            </a:extLst>
          </p:cNvPr>
          <p:cNvSpPr>
            <a:spLocks noGrp="1"/>
          </p:cNvSpPr>
          <p:nvPr>
            <p:ph type="title" hasCustomPrompt="1"/>
          </p:nvPr>
        </p:nvSpPr>
        <p:spPr>
          <a:xfrm>
            <a:off x="719998" y="540000"/>
            <a:ext cx="8280000" cy="486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21280284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descr="A picture containing orange, amber, peach, red&#10;&#10;Description automatically generated">
            <a:extLst>
              <a:ext uri="{FF2B5EF4-FFF2-40B4-BE49-F238E27FC236}">
                <a16:creationId xmlns:a16="http://schemas.microsoft.com/office/drawing/2014/main" id="{908DD059-4D74-871E-A8F9-D3948BF7146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sp>
        <p:nvSpPr>
          <p:cNvPr id="6" name="Title 1">
            <a:extLst>
              <a:ext uri="{FF2B5EF4-FFF2-40B4-BE49-F238E27FC236}">
                <a16:creationId xmlns:a16="http://schemas.microsoft.com/office/drawing/2014/main" id="{FA334A02-5300-F0DF-300A-D830839B227C}"/>
              </a:ext>
            </a:extLst>
          </p:cNvPr>
          <p:cNvSpPr>
            <a:spLocks noGrp="1"/>
          </p:cNvSpPr>
          <p:nvPr>
            <p:ph type="title" hasCustomPrompt="1"/>
          </p:nvPr>
        </p:nvSpPr>
        <p:spPr>
          <a:xfrm>
            <a:off x="720000" y="540001"/>
            <a:ext cx="7679282" cy="468667"/>
          </a:xfrm>
          <a:prstGeom prst="rect">
            <a:avLst/>
          </a:prstGeom>
        </p:spPr>
        <p:txBody>
          <a:bodyPr/>
          <a:lstStyle>
            <a:lvl1pPr>
              <a:defRPr sz="3000">
                <a:solidFill>
                  <a:schemeClr val="bg1"/>
                </a:solidFill>
              </a:defRPr>
            </a:lvl1pPr>
          </a:lstStyle>
          <a:p>
            <a:r>
              <a:rPr lang="en-US"/>
              <a:t>CLICK TO EDIT MASTER TITLE</a:t>
            </a:r>
            <a:endParaRPr lang="en-GB"/>
          </a:p>
        </p:txBody>
      </p:sp>
      <p:pic>
        <p:nvPicPr>
          <p:cNvPr id="17" name="Picture 16" descr="A black background with white text&#10;&#10;Description automatically generated with medium confidence">
            <a:extLst>
              <a:ext uri="{FF2B5EF4-FFF2-40B4-BE49-F238E27FC236}">
                <a16:creationId xmlns:a16="http://schemas.microsoft.com/office/drawing/2014/main" id="{364FB3A9-8C23-9FCB-D971-E15AD9E477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80000" y="360000"/>
            <a:ext cx="2590706" cy="900000"/>
          </a:xfrm>
          <a:prstGeom prst="rect">
            <a:avLst/>
          </a:prstGeom>
        </p:spPr>
      </p:pic>
      <p:sp>
        <p:nvSpPr>
          <p:cNvPr id="19" name="Text Placeholder 3">
            <a:extLst>
              <a:ext uri="{FF2B5EF4-FFF2-40B4-BE49-F238E27FC236}">
                <a16:creationId xmlns:a16="http://schemas.microsoft.com/office/drawing/2014/main" id="{1CA12D2B-F9E3-0AC4-B292-E80F79E51A33}"/>
              </a:ext>
            </a:extLst>
          </p:cNvPr>
          <p:cNvSpPr>
            <a:spLocks noGrp="1"/>
          </p:cNvSpPr>
          <p:nvPr>
            <p:ph type="body" sz="quarter" idx="15"/>
          </p:nvPr>
        </p:nvSpPr>
        <p:spPr>
          <a:xfrm>
            <a:off x="3810000"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0" name="Text Placeholder 3">
            <a:extLst>
              <a:ext uri="{FF2B5EF4-FFF2-40B4-BE49-F238E27FC236}">
                <a16:creationId xmlns:a16="http://schemas.microsoft.com/office/drawing/2014/main" id="{A727B7B0-7372-973C-2B53-1A00DA9C4C07}"/>
              </a:ext>
            </a:extLst>
          </p:cNvPr>
          <p:cNvSpPr>
            <a:spLocks noGrp="1"/>
          </p:cNvSpPr>
          <p:nvPr>
            <p:ph type="body" sz="quarter" idx="16"/>
          </p:nvPr>
        </p:nvSpPr>
        <p:spPr>
          <a:xfrm>
            <a:off x="6610382"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1" name="Text Placeholder 3">
            <a:extLst>
              <a:ext uri="{FF2B5EF4-FFF2-40B4-BE49-F238E27FC236}">
                <a16:creationId xmlns:a16="http://schemas.microsoft.com/office/drawing/2014/main" id="{8B0D5DB5-AB1C-239C-5518-24A427B8A5F6}"/>
              </a:ext>
            </a:extLst>
          </p:cNvPr>
          <p:cNvSpPr>
            <a:spLocks noGrp="1"/>
          </p:cNvSpPr>
          <p:nvPr>
            <p:ph type="body" sz="quarter" idx="17"/>
          </p:nvPr>
        </p:nvSpPr>
        <p:spPr>
          <a:xfrm>
            <a:off x="9410764" y="3334142"/>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2" name="Text Placeholder 3">
            <a:extLst>
              <a:ext uri="{FF2B5EF4-FFF2-40B4-BE49-F238E27FC236}">
                <a16:creationId xmlns:a16="http://schemas.microsoft.com/office/drawing/2014/main" id="{CCD45813-D282-1C84-FE57-E0A6239CB0F6}"/>
              </a:ext>
            </a:extLst>
          </p:cNvPr>
          <p:cNvSpPr>
            <a:spLocks noGrp="1"/>
          </p:cNvSpPr>
          <p:nvPr>
            <p:ph type="body" sz="quarter" idx="18"/>
          </p:nvPr>
        </p:nvSpPr>
        <p:spPr>
          <a:xfrm>
            <a:off x="655961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3" name="Text Placeholder 3">
            <a:extLst>
              <a:ext uri="{FF2B5EF4-FFF2-40B4-BE49-F238E27FC236}">
                <a16:creationId xmlns:a16="http://schemas.microsoft.com/office/drawing/2014/main" id="{59CA2E90-69DA-7D11-9185-9BFA12CB70AE}"/>
              </a:ext>
            </a:extLst>
          </p:cNvPr>
          <p:cNvSpPr>
            <a:spLocks noGrp="1"/>
          </p:cNvSpPr>
          <p:nvPr>
            <p:ph type="body" sz="quarter" idx="19"/>
          </p:nvPr>
        </p:nvSpPr>
        <p:spPr>
          <a:xfrm>
            <a:off x="9410764" y="5660951"/>
            <a:ext cx="2256700" cy="229687"/>
          </a:xfrm>
          <a:prstGeom prst="rect">
            <a:avLst/>
          </a:prstGeom>
        </p:spPr>
        <p:txBody>
          <a:bodyPr/>
          <a:lstStyle>
            <a:lvl1pPr algn="r">
              <a:defRPr sz="900">
                <a:solidFill>
                  <a:schemeClr val="bg1"/>
                </a:solidFill>
              </a:defRPr>
            </a:lvl1pPr>
          </a:lstStyle>
          <a:p>
            <a:pPr lvl="0"/>
            <a:r>
              <a:rPr lang="en-US"/>
              <a:t>Click to edit Master text</a:t>
            </a:r>
            <a:endParaRPr lang="en-GB"/>
          </a:p>
        </p:txBody>
      </p:sp>
      <p:sp>
        <p:nvSpPr>
          <p:cNvPr id="24" name="Picture Placeholder 6">
            <a:extLst>
              <a:ext uri="{FF2B5EF4-FFF2-40B4-BE49-F238E27FC236}">
                <a16:creationId xmlns:a16="http://schemas.microsoft.com/office/drawing/2014/main" id="{9C619848-8434-5731-2F7E-9E569D4DECE9}"/>
              </a:ext>
            </a:extLst>
          </p:cNvPr>
          <p:cNvSpPr>
            <a:spLocks noGrp="1"/>
          </p:cNvSpPr>
          <p:nvPr>
            <p:ph type="pic" sz="quarter" idx="10"/>
          </p:nvPr>
        </p:nvSpPr>
        <p:spPr>
          <a:xfrm>
            <a:off x="720000" y="1440000"/>
            <a:ext cx="5346700" cy="4137505"/>
          </a:xfrm>
          <a:prstGeom prst="rect">
            <a:avLst/>
          </a:prstGeom>
        </p:spPr>
        <p:txBody>
          <a:bodyPr/>
          <a:lstStyle>
            <a:lvl1pPr>
              <a:defRPr>
                <a:solidFill>
                  <a:schemeClr val="bg1"/>
                </a:solidFill>
              </a:defRPr>
            </a:lvl1pPr>
          </a:lstStyle>
          <a:p>
            <a:endParaRPr lang="en-GB"/>
          </a:p>
        </p:txBody>
      </p:sp>
      <p:sp>
        <p:nvSpPr>
          <p:cNvPr id="25" name="Picture Placeholder 6">
            <a:extLst>
              <a:ext uri="{FF2B5EF4-FFF2-40B4-BE49-F238E27FC236}">
                <a16:creationId xmlns:a16="http://schemas.microsoft.com/office/drawing/2014/main" id="{1762A094-2F2B-37E4-D6F7-ECD7925E01DD}"/>
              </a:ext>
            </a:extLst>
          </p:cNvPr>
          <p:cNvSpPr>
            <a:spLocks noGrp="1"/>
          </p:cNvSpPr>
          <p:nvPr>
            <p:ph type="pic" sz="quarter" idx="11"/>
          </p:nvPr>
        </p:nvSpPr>
        <p:spPr>
          <a:xfrm>
            <a:off x="6347082" y="1440000"/>
            <a:ext cx="2520000" cy="1800155"/>
          </a:xfrm>
          <a:prstGeom prst="rect">
            <a:avLst/>
          </a:prstGeom>
        </p:spPr>
        <p:txBody>
          <a:bodyPr/>
          <a:lstStyle>
            <a:lvl1pPr>
              <a:defRPr>
                <a:solidFill>
                  <a:schemeClr val="bg1"/>
                </a:solidFill>
              </a:defRPr>
            </a:lvl1pPr>
          </a:lstStyle>
          <a:p>
            <a:endParaRPr lang="en-GB"/>
          </a:p>
        </p:txBody>
      </p:sp>
      <p:sp>
        <p:nvSpPr>
          <p:cNvPr id="26" name="Picture Placeholder 6">
            <a:extLst>
              <a:ext uri="{FF2B5EF4-FFF2-40B4-BE49-F238E27FC236}">
                <a16:creationId xmlns:a16="http://schemas.microsoft.com/office/drawing/2014/main" id="{44E99E6D-1120-25BE-B560-5586C321725E}"/>
              </a:ext>
            </a:extLst>
          </p:cNvPr>
          <p:cNvSpPr>
            <a:spLocks noGrp="1"/>
          </p:cNvSpPr>
          <p:nvPr>
            <p:ph type="pic" sz="quarter" idx="12"/>
          </p:nvPr>
        </p:nvSpPr>
        <p:spPr>
          <a:xfrm>
            <a:off x="9147464" y="1440000"/>
            <a:ext cx="2520000" cy="1800155"/>
          </a:xfrm>
          <a:prstGeom prst="rect">
            <a:avLst/>
          </a:prstGeom>
        </p:spPr>
        <p:txBody>
          <a:bodyPr/>
          <a:lstStyle>
            <a:lvl1pPr>
              <a:defRPr>
                <a:solidFill>
                  <a:schemeClr val="bg1"/>
                </a:solidFill>
              </a:defRPr>
            </a:lvl1pPr>
          </a:lstStyle>
          <a:p>
            <a:endParaRPr lang="en-GB"/>
          </a:p>
        </p:txBody>
      </p:sp>
      <p:sp>
        <p:nvSpPr>
          <p:cNvPr id="27" name="Picture Placeholder 6">
            <a:extLst>
              <a:ext uri="{FF2B5EF4-FFF2-40B4-BE49-F238E27FC236}">
                <a16:creationId xmlns:a16="http://schemas.microsoft.com/office/drawing/2014/main" id="{C0F55060-976C-E508-16DE-B26E20D003B1}"/>
              </a:ext>
            </a:extLst>
          </p:cNvPr>
          <p:cNvSpPr>
            <a:spLocks noGrp="1"/>
          </p:cNvSpPr>
          <p:nvPr>
            <p:ph type="pic" sz="quarter" idx="13"/>
          </p:nvPr>
        </p:nvSpPr>
        <p:spPr>
          <a:xfrm>
            <a:off x="6347082" y="3766809"/>
            <a:ext cx="2520000" cy="1800155"/>
          </a:xfrm>
          <a:prstGeom prst="rect">
            <a:avLst/>
          </a:prstGeom>
        </p:spPr>
        <p:txBody>
          <a:bodyPr/>
          <a:lstStyle>
            <a:lvl1pPr>
              <a:defRPr>
                <a:solidFill>
                  <a:schemeClr val="bg1"/>
                </a:solidFill>
              </a:defRPr>
            </a:lvl1pPr>
          </a:lstStyle>
          <a:p>
            <a:endParaRPr lang="en-GB"/>
          </a:p>
        </p:txBody>
      </p:sp>
      <p:sp>
        <p:nvSpPr>
          <p:cNvPr id="28" name="Picture Placeholder 6">
            <a:extLst>
              <a:ext uri="{FF2B5EF4-FFF2-40B4-BE49-F238E27FC236}">
                <a16:creationId xmlns:a16="http://schemas.microsoft.com/office/drawing/2014/main" id="{AA4103E3-F789-5206-15B7-0AB3D72574C8}"/>
              </a:ext>
            </a:extLst>
          </p:cNvPr>
          <p:cNvSpPr>
            <a:spLocks noGrp="1"/>
          </p:cNvSpPr>
          <p:nvPr>
            <p:ph type="pic" sz="quarter" idx="14"/>
          </p:nvPr>
        </p:nvSpPr>
        <p:spPr>
          <a:xfrm>
            <a:off x="9147464" y="3766809"/>
            <a:ext cx="2520000" cy="1800155"/>
          </a:xfrm>
          <a:prstGeom prst="rect">
            <a:avLst/>
          </a:pr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982952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7" name="Picture 6" descr="A picture containing orange, amber, peach, red&#10;&#10;Description automatically generated">
            <a:extLst>
              <a:ext uri="{FF2B5EF4-FFF2-40B4-BE49-F238E27FC236}">
                <a16:creationId xmlns:a16="http://schemas.microsoft.com/office/drawing/2014/main" id="{32237F94-A346-C402-B2DA-7E57B0D04D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solidFill>
                  <a:schemeClr val="bg1"/>
                </a:solidFill>
              </a:defRPr>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solidFill>
                  <a:schemeClr val="bg1"/>
                </a:solidFill>
              </a:defRPr>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solidFill>
                  <a:schemeClr val="bg1"/>
                </a:solidFill>
              </a:defRPr>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a:solidFill>
                  <a:schemeClr val="bg1"/>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chemeClr val="bg1"/>
                </a:solidFill>
                <a:latin typeface="Verdana" panose="020B0604030504040204" pitchFamily="34" charset="0"/>
                <a:ea typeface="Verdana" panose="020B0604030504040204" pitchFamily="34" charset="0"/>
              </a:defRPr>
            </a:lvl2pPr>
            <a:lvl3pPr>
              <a:spcBef>
                <a:spcPts val="600"/>
              </a:spcBef>
              <a:spcAft>
                <a:spcPts val="1200"/>
              </a:spcAft>
              <a:defRPr sz="1000">
                <a:solidFill>
                  <a:schemeClr val="bg1"/>
                </a:solidFill>
                <a:latin typeface="Verdana" panose="020B0604030504040204" pitchFamily="34" charset="0"/>
                <a:ea typeface="Verdana" panose="020B0604030504040204" pitchFamily="34" charset="0"/>
              </a:defRPr>
            </a:lvl3pPr>
            <a:lvl4pPr>
              <a:spcBef>
                <a:spcPts val="600"/>
              </a:spcBef>
              <a:spcAft>
                <a:spcPts val="1200"/>
              </a:spcAft>
              <a:defRPr sz="900">
                <a:solidFill>
                  <a:schemeClr val="bg1"/>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033FDC72-52C8-63F3-68A1-9A165FD0946E}"/>
              </a:ext>
            </a:extLst>
          </p:cNvPr>
          <p:cNvPicPr>
            <a:picLocks noChangeAspect="1"/>
          </p:cNvPicPr>
          <p:nvPr userDrawn="1"/>
        </p:nvPicPr>
        <p:blipFill>
          <a:blip r:embed="rId3"/>
          <a:srcRect/>
          <a:stretch/>
        </p:blipFill>
        <p:spPr>
          <a:xfrm>
            <a:off x="9180001" y="360000"/>
            <a:ext cx="2590704" cy="900000"/>
          </a:xfrm>
          <a:prstGeom prst="rect">
            <a:avLst/>
          </a:prstGeom>
        </p:spPr>
      </p:pic>
    </p:spTree>
    <p:extLst>
      <p:ext uri="{BB962C8B-B14F-4D97-AF65-F5344CB8AC3E}">
        <p14:creationId xmlns:p14="http://schemas.microsoft.com/office/powerpoint/2010/main" val="31534892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310878" cy="478095"/>
          </a:xfrm>
          <a:prstGeom prst="rect">
            <a:avLst/>
          </a:prstGeom>
        </p:spPr>
        <p:txBody>
          <a:bodyPr anchor="b"/>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394449"/>
            <a:ext cx="8310878" cy="380000"/>
          </a:xfrm>
          <a:prstGeom prst="rect">
            <a:avLst/>
          </a:prstGeom>
        </p:spPr>
        <p:txBody>
          <a:bodyPr/>
          <a:lstStyle>
            <a:lvl1pPr marL="0" indent="0">
              <a:buNone/>
              <a:defRPr sz="1800">
                <a:solidFill>
                  <a:srgbClr val="54555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2172700"/>
            <a:ext cx="3543300" cy="3811588"/>
          </a:xfrm>
          <a:prstGeom prst="rect">
            <a:avLst/>
          </a:prstGeom>
        </p:spPr>
        <p:txBody>
          <a:bodyPr/>
          <a:lstStyle>
            <a:lvl1pPr>
              <a:defRPr sz="12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2160588"/>
            <a:ext cx="3136900" cy="3824287"/>
          </a:xfrm>
          <a:prstGeom prst="rect">
            <a:avLst/>
          </a:prstGeom>
        </p:spPr>
        <p:txBody>
          <a:bodyPr/>
          <a:lstStyle>
            <a:lvl1pPr>
              <a:defRPr sz="12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2172700"/>
            <a:ext cx="3966300" cy="3811588"/>
          </a:xfrm>
          <a:prstGeom prst="rect">
            <a:avLst/>
          </a:prstGeom>
        </p:spPr>
        <p:txBody>
          <a:bodyPr/>
          <a:lstStyle>
            <a:lvl1pPr>
              <a:spcBef>
                <a:spcPts val="1400"/>
              </a:spcBef>
              <a:defRPr sz="1200" b="0">
                <a:solidFill>
                  <a:srgbClr val="54555A"/>
                </a:solidFill>
                <a:latin typeface="Verdana" panose="020B0604030504040204" pitchFamily="34" charset="0"/>
                <a:ea typeface="Verdana" panose="020B0604030504040204" pitchFamily="34" charset="0"/>
              </a:defRPr>
            </a:lvl1pPr>
            <a:lvl2pPr marL="800100" indent="-342900">
              <a:spcBef>
                <a:spcPts val="1200"/>
              </a:spcBef>
              <a:spcAft>
                <a:spcPts val="12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12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12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019303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72F4ED6-5003-7344-A80B-DEF5A1280CD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C1C9A8-90B1-EC4A-A86A-AEB92DEE0E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514190-8499-7547-87DB-36CB51A59D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ED60964-BDCA-7041-87B7-61AB3B7108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2318F1-AEBD-964C-966C-FFD24CB19DBD}"/>
              </a:ext>
            </a:extLst>
          </p:cNvPr>
          <p:cNvSpPr>
            <a:spLocks noGrp="1"/>
          </p:cNvSpPr>
          <p:nvPr>
            <p:ph type="sldNum" sz="quarter" idx="12"/>
          </p:nvPr>
        </p:nvSpPr>
        <p:spPr/>
        <p:txBody>
          <a:bodyPr/>
          <a:lstStyle/>
          <a:p>
            <a:fld id="{57A115BA-9DE4-AE4B-81F0-4BEE0545328B}" type="slidenum">
              <a:rPr lang="en-US" smtClean="0"/>
              <a:t>‹#›</a:t>
            </a:fld>
            <a:endParaRPr lang="en-US"/>
          </a:p>
        </p:txBody>
      </p:sp>
    </p:spTree>
    <p:extLst>
      <p:ext uri="{BB962C8B-B14F-4D97-AF65-F5344CB8AC3E}">
        <p14:creationId xmlns:p14="http://schemas.microsoft.com/office/powerpoint/2010/main" val="495386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1A">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74277A43-E169-904A-9C07-CBFACCE8464B}"/>
              </a:ext>
            </a:extLst>
          </p:cNvPr>
          <p:cNvSpPr>
            <a:spLocks noGrp="1"/>
          </p:cNvSpPr>
          <p:nvPr>
            <p:ph type="body" sz="quarter" idx="14" hasCustomPrompt="1"/>
          </p:nvPr>
        </p:nvSpPr>
        <p:spPr>
          <a:xfrm>
            <a:off x="964667" y="2474629"/>
            <a:ext cx="7780800" cy="3597275"/>
          </a:xfrm>
          <a:prstGeom prst="rect">
            <a:avLst/>
          </a:prstGeom>
        </p:spPr>
        <p:txBody>
          <a:bodyPr lIns="0" tIns="0" rIns="0" bIns="0">
            <a:noAutofit/>
          </a:bodyPr>
          <a:lstStyle>
            <a:lvl1pPr marL="285750" indent="-285750">
              <a:lnSpc>
                <a:spcPts val="2200"/>
              </a:lnSpc>
              <a:spcBef>
                <a:spcPts val="0"/>
              </a:spcBef>
              <a:spcAft>
                <a:spcPts val="2200"/>
              </a:spcAft>
              <a:buFontTx/>
              <a:buBlip>
                <a:blip r:embed="rId2"/>
              </a:buBlip>
              <a:defRPr sz="1600">
                <a:solidFill>
                  <a:srgbClr val="000942"/>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a:t>
            </a:r>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a:t>
            </a:r>
          </a:p>
        </p:txBody>
      </p:sp>
      <p:sp>
        <p:nvSpPr>
          <p:cNvPr id="10" name="Text Placeholder 16">
            <a:extLst>
              <a:ext uri="{FF2B5EF4-FFF2-40B4-BE49-F238E27FC236}">
                <a16:creationId xmlns:a16="http://schemas.microsoft.com/office/drawing/2014/main" id="{A38E6DC8-A1C1-3145-B349-887206C940CD}"/>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001054"/>
                </a:solidFill>
                <a:latin typeface="Lato Semibold" panose="020F0502020204030203" pitchFamily="34" charset="77"/>
              </a:defRPr>
            </a:lvl1pPr>
          </a:lstStyle>
          <a:p>
            <a:pPr lvl="0"/>
            <a:r>
              <a:rPr lang="en-GB"/>
              <a:t>Presentation title</a:t>
            </a:r>
          </a:p>
        </p:txBody>
      </p:sp>
      <p:sp>
        <p:nvSpPr>
          <p:cNvPr id="12" name="Title 1">
            <a:extLst>
              <a:ext uri="{FF2B5EF4-FFF2-40B4-BE49-F238E27FC236}">
                <a16:creationId xmlns:a16="http://schemas.microsoft.com/office/drawing/2014/main" id="{C350A781-CE1B-BB44-B75E-132F96EEABEA}"/>
              </a:ext>
            </a:extLst>
          </p:cNvPr>
          <p:cNvSpPr>
            <a:spLocks noGrp="1"/>
          </p:cNvSpPr>
          <p:nvPr>
            <p:ph type="title" hasCustomPrompt="1"/>
          </p:nvPr>
        </p:nvSpPr>
        <p:spPr>
          <a:xfrm>
            <a:off x="953154" y="1054238"/>
            <a:ext cx="7792316" cy="416753"/>
          </a:xfrm>
          <a:prstGeom prst="rect">
            <a:avLst/>
          </a:prstGeom>
        </p:spPr>
        <p:txBody>
          <a:bodyPr wrap="none" lIns="0" tIns="0" rIns="0" bIns="0" anchor="t" anchorCtr="0">
            <a:noAutofit/>
          </a:bodyPr>
          <a:lstStyle>
            <a:lvl1pPr>
              <a:defRPr sz="3500" b="1" i="0">
                <a:solidFill>
                  <a:srgbClr val="000942"/>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3" name="Text Placeholder 13">
            <a:extLst>
              <a:ext uri="{FF2B5EF4-FFF2-40B4-BE49-F238E27FC236}">
                <a16:creationId xmlns:a16="http://schemas.microsoft.com/office/drawing/2014/main" id="{B71B0E56-0712-0744-86A4-DD396DF39B8D}"/>
              </a:ext>
            </a:extLst>
          </p:cNvPr>
          <p:cNvSpPr>
            <a:spLocks noGrp="1"/>
          </p:cNvSpPr>
          <p:nvPr>
            <p:ph type="body" sz="quarter" idx="13" hasCustomPrompt="1"/>
          </p:nvPr>
        </p:nvSpPr>
        <p:spPr>
          <a:xfrm>
            <a:off x="953153" y="1502498"/>
            <a:ext cx="7792314" cy="627582"/>
          </a:xfrm>
          <a:prstGeom prst="rect">
            <a:avLst/>
          </a:prstGeom>
        </p:spPr>
        <p:txBody>
          <a:bodyPr wrap="none" lIns="0" tIns="0" rIns="0" bIns="0">
            <a:noAutofit/>
          </a:bodyPr>
          <a:lstStyle>
            <a:lvl1pPr marL="0" indent="0">
              <a:buNone/>
              <a:defRPr sz="35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7203000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Divider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029CA-304F-2254-B519-98FA70F0128D}"/>
              </a:ext>
            </a:extLst>
          </p:cNvPr>
          <p:cNvSpPr>
            <a:spLocks noGrp="1"/>
          </p:cNvSpPr>
          <p:nvPr>
            <p:ph type="ctrTitle" hasCustomPrompt="1"/>
          </p:nvPr>
        </p:nvSpPr>
        <p:spPr>
          <a:xfrm>
            <a:off x="1620000" y="2340000"/>
            <a:ext cx="7721600" cy="1380340"/>
          </a:xfrm>
          <a:prstGeom prst="rect">
            <a:avLst/>
          </a:prstGeom>
        </p:spPr>
        <p:txBody>
          <a:bodyPr anchor="t"/>
          <a:lstStyle>
            <a:lvl1pPr algn="l">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447D8858-1302-1A22-1BEC-99F36F4FBFC5}"/>
              </a:ext>
            </a:extLst>
          </p:cNvPr>
          <p:cNvSpPr>
            <a:spLocks noGrp="1"/>
          </p:cNvSpPr>
          <p:nvPr>
            <p:ph type="subTitle" idx="1"/>
          </p:nvPr>
        </p:nvSpPr>
        <p:spPr>
          <a:xfrm>
            <a:off x="1620000" y="3960000"/>
            <a:ext cx="9144000" cy="500062"/>
          </a:xfrm>
          <a:prstGeom prst="rect">
            <a:avLst/>
          </a:prstGeom>
        </p:spPr>
        <p:txBody>
          <a:bodyPr anchor="ctr">
            <a:noAutofit/>
          </a:bodyPr>
          <a:lstStyle>
            <a:lvl1pPr marL="0" indent="0" algn="l">
              <a:buNone/>
              <a:defRPr sz="2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105059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897A47F-6262-5038-D725-62B1681B58B6}"/>
              </a:ext>
            </a:extLst>
          </p:cNvPr>
          <p:cNvSpPr>
            <a:spLocks noGrp="1"/>
          </p:cNvSpPr>
          <p:nvPr>
            <p:ph sz="half" idx="10"/>
          </p:nvPr>
        </p:nvSpPr>
        <p:spPr>
          <a:xfrm>
            <a:off x="719998" y="1440000"/>
            <a:ext cx="10439999" cy="4059000"/>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BD06124E-32F4-10B1-2D7B-FCAA424AE3D5}"/>
              </a:ext>
            </a:extLst>
          </p:cNvPr>
          <p:cNvSpPr>
            <a:spLocks noGrp="1"/>
          </p:cNvSpPr>
          <p:nvPr>
            <p:ph type="title" hasCustomPrompt="1"/>
          </p:nvPr>
        </p:nvSpPr>
        <p:spPr>
          <a:xfrm>
            <a:off x="719999"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14189105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 1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574B-8400-3BFA-68CF-B22D4C198189}"/>
              </a:ext>
            </a:extLst>
          </p:cNvPr>
          <p:cNvSpPr>
            <a:spLocks noGrp="1"/>
          </p:cNvSpPr>
          <p:nvPr>
            <p:ph type="title" hasCustomPrompt="1"/>
          </p:nvPr>
        </p:nvSpPr>
        <p:spPr>
          <a:xfrm>
            <a:off x="720000" y="540000"/>
            <a:ext cx="8280000" cy="468000"/>
          </a:xfrm>
          <a:prstGeom prst="rect">
            <a:avLst/>
          </a:prstGeom>
        </p:spPr>
        <p:txBody>
          <a:bodyPr anchor="t"/>
          <a:lstStyle>
            <a:lvl1pPr>
              <a:defRPr sz="3000"/>
            </a:lvl1pPr>
          </a:lstStyle>
          <a:p>
            <a:r>
              <a:rPr lang="en-US"/>
              <a:t>CLICK TO EDIT MASTER TITLE</a:t>
            </a:r>
            <a:endParaRPr lang="en-GB"/>
          </a:p>
        </p:txBody>
      </p:sp>
      <p:sp>
        <p:nvSpPr>
          <p:cNvPr id="4" name="Content Placeholder 3">
            <a:extLst>
              <a:ext uri="{FF2B5EF4-FFF2-40B4-BE49-F238E27FC236}">
                <a16:creationId xmlns:a16="http://schemas.microsoft.com/office/drawing/2014/main" id="{651F1513-448B-C016-032C-5A479AE9786B}"/>
              </a:ext>
            </a:extLst>
          </p:cNvPr>
          <p:cNvSpPr>
            <a:spLocks noGrp="1"/>
          </p:cNvSpPr>
          <p:nvPr>
            <p:ph sz="half" idx="2"/>
          </p:nvPr>
        </p:nvSpPr>
        <p:spPr>
          <a:xfrm>
            <a:off x="6300000" y="1440000"/>
            <a:ext cx="5181600" cy="435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3">
            <a:extLst>
              <a:ext uri="{FF2B5EF4-FFF2-40B4-BE49-F238E27FC236}">
                <a16:creationId xmlns:a16="http://schemas.microsoft.com/office/drawing/2014/main" id="{14614A78-42AA-CB84-A013-D0CED441F148}"/>
              </a:ext>
            </a:extLst>
          </p:cNvPr>
          <p:cNvSpPr>
            <a:spLocks noGrp="1"/>
          </p:cNvSpPr>
          <p:nvPr>
            <p:ph sz="half" idx="10"/>
          </p:nvPr>
        </p:nvSpPr>
        <p:spPr>
          <a:xfrm>
            <a:off x="720000" y="1440000"/>
            <a:ext cx="5181600" cy="435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8434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layout - two line header">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C4AB445A-18AD-8B8C-3569-A06E3AC76F63}"/>
              </a:ext>
            </a:extLst>
          </p:cNvPr>
          <p:cNvSpPr>
            <a:spLocks noGrp="1"/>
          </p:cNvSpPr>
          <p:nvPr>
            <p:ph sz="half" idx="2"/>
          </p:nvPr>
        </p:nvSpPr>
        <p:spPr>
          <a:xfrm>
            <a:off x="6300000" y="1794659"/>
            <a:ext cx="5181600" cy="399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066D73AF-0F19-11DC-5700-4EA565E7363D}"/>
              </a:ext>
            </a:extLst>
          </p:cNvPr>
          <p:cNvSpPr>
            <a:spLocks noGrp="1"/>
          </p:cNvSpPr>
          <p:nvPr>
            <p:ph sz="half" idx="12"/>
          </p:nvPr>
        </p:nvSpPr>
        <p:spPr>
          <a:xfrm>
            <a:off x="720000" y="1794659"/>
            <a:ext cx="5181600" cy="399133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9" y="540001"/>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Tree>
    <p:extLst>
      <p:ext uri="{BB962C8B-B14F-4D97-AF65-F5344CB8AC3E}">
        <p14:creationId xmlns:p14="http://schemas.microsoft.com/office/powerpoint/2010/main" val="17940773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layer + three line header">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EA581058-CBFF-64B5-C5AD-D95C6BDC2845}"/>
              </a:ext>
            </a:extLst>
          </p:cNvPr>
          <p:cNvSpPr>
            <a:spLocks noGrp="1"/>
          </p:cNvSpPr>
          <p:nvPr>
            <p:ph sz="half" idx="10"/>
          </p:nvPr>
        </p:nvSpPr>
        <p:spPr>
          <a:xfrm>
            <a:off x="6300000" y="2206392"/>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1">
            <a:extLst>
              <a:ext uri="{FF2B5EF4-FFF2-40B4-BE49-F238E27FC236}">
                <a16:creationId xmlns:a16="http://schemas.microsoft.com/office/drawing/2014/main" id="{AC93F90F-E0AF-3D1F-C011-B0CA0F812AD9}"/>
              </a:ext>
            </a:extLst>
          </p:cNvPr>
          <p:cNvSpPr>
            <a:spLocks noGrp="1"/>
          </p:cNvSpPr>
          <p:nvPr>
            <p:ph type="title" hasCustomPrompt="1"/>
          </p:nvPr>
        </p:nvSpPr>
        <p:spPr>
          <a:xfrm>
            <a:off x="719998" y="540000"/>
            <a:ext cx="8280000" cy="1296000"/>
          </a:xfrm>
          <a:prstGeom prst="rect">
            <a:avLst/>
          </a:prstGeom>
        </p:spPr>
        <p:txBody>
          <a:bodyPr anchor="t" anchorCtr="0"/>
          <a:lstStyle>
            <a:lvl1pPr>
              <a:defRPr sz="3000"/>
            </a:lvl1pPr>
          </a:lstStyle>
          <a:p>
            <a:r>
              <a:rPr lang="en-US"/>
              <a:t>CLICK TO </a:t>
            </a:r>
            <a:br>
              <a:rPr lang="en-US"/>
            </a:br>
            <a:r>
              <a:rPr lang="en-US"/>
              <a:t>EDIT THIS</a:t>
            </a:r>
            <a:br>
              <a:rPr lang="en-US"/>
            </a:br>
            <a:r>
              <a:rPr lang="en-US"/>
              <a:t>MASTER TITLE</a:t>
            </a:r>
            <a:endParaRPr lang="en-GB"/>
          </a:p>
        </p:txBody>
      </p:sp>
      <p:sp>
        <p:nvSpPr>
          <p:cNvPr id="6" name="Content Placeholder 3">
            <a:extLst>
              <a:ext uri="{FF2B5EF4-FFF2-40B4-BE49-F238E27FC236}">
                <a16:creationId xmlns:a16="http://schemas.microsoft.com/office/drawing/2014/main" id="{0C349DA2-8F73-B855-0CC9-1BED75238431}"/>
              </a:ext>
            </a:extLst>
          </p:cNvPr>
          <p:cNvSpPr>
            <a:spLocks noGrp="1"/>
          </p:cNvSpPr>
          <p:nvPr>
            <p:ph sz="half" idx="11"/>
          </p:nvPr>
        </p:nvSpPr>
        <p:spPr>
          <a:xfrm>
            <a:off x="719998" y="2212509"/>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496146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ontent layout - two lin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7BE-4378-3A88-DCC8-8CB022685F5A}"/>
              </a:ext>
            </a:extLst>
          </p:cNvPr>
          <p:cNvSpPr>
            <a:spLocks noGrp="1"/>
          </p:cNvSpPr>
          <p:nvPr>
            <p:ph type="title" hasCustomPrompt="1"/>
          </p:nvPr>
        </p:nvSpPr>
        <p:spPr>
          <a:xfrm>
            <a:off x="719998" y="539999"/>
            <a:ext cx="8280000" cy="900000"/>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5" name="Picture Placeholder 6">
            <a:extLst>
              <a:ext uri="{FF2B5EF4-FFF2-40B4-BE49-F238E27FC236}">
                <a16:creationId xmlns:a16="http://schemas.microsoft.com/office/drawing/2014/main" id="{ED541F12-C7E5-3CCF-F414-0BA2CC7B12FB}"/>
              </a:ext>
            </a:extLst>
          </p:cNvPr>
          <p:cNvSpPr>
            <a:spLocks noGrp="1"/>
          </p:cNvSpPr>
          <p:nvPr>
            <p:ph type="pic" sz="quarter" idx="11"/>
          </p:nvPr>
        </p:nvSpPr>
        <p:spPr>
          <a:xfrm>
            <a:off x="6290402" y="1800000"/>
            <a:ext cx="2340000" cy="1800000"/>
          </a:xfrm>
          <a:prstGeom prst="rect">
            <a:avLst/>
          </a:prstGeom>
        </p:spPr>
        <p:txBody>
          <a:bodyPr/>
          <a:lstStyle>
            <a:lvl1pPr>
              <a:defRPr sz="900"/>
            </a:lvl1pPr>
          </a:lstStyle>
          <a:p>
            <a:endParaRPr lang="en-GB"/>
          </a:p>
        </p:txBody>
      </p:sp>
      <p:sp>
        <p:nvSpPr>
          <p:cNvPr id="6" name="Picture Placeholder 6">
            <a:extLst>
              <a:ext uri="{FF2B5EF4-FFF2-40B4-BE49-F238E27FC236}">
                <a16:creationId xmlns:a16="http://schemas.microsoft.com/office/drawing/2014/main" id="{5AD0BCE1-4D05-759D-B2ED-F5FC1A504308}"/>
              </a:ext>
            </a:extLst>
          </p:cNvPr>
          <p:cNvSpPr>
            <a:spLocks noGrp="1"/>
          </p:cNvSpPr>
          <p:nvPr>
            <p:ph type="pic" sz="quarter" idx="12"/>
          </p:nvPr>
        </p:nvSpPr>
        <p:spPr>
          <a:xfrm>
            <a:off x="9090784" y="1800000"/>
            <a:ext cx="2340000" cy="1800000"/>
          </a:xfrm>
          <a:prstGeom prst="rect">
            <a:avLst/>
          </a:prstGeom>
        </p:spPr>
        <p:txBody>
          <a:bodyPr/>
          <a:lstStyle>
            <a:lvl1pPr>
              <a:defRPr sz="900"/>
            </a:lvl1pPr>
          </a:lstStyle>
          <a:p>
            <a:endParaRPr lang="en-GB"/>
          </a:p>
        </p:txBody>
      </p:sp>
      <p:sp>
        <p:nvSpPr>
          <p:cNvPr id="7" name="Picture Placeholder 6">
            <a:extLst>
              <a:ext uri="{FF2B5EF4-FFF2-40B4-BE49-F238E27FC236}">
                <a16:creationId xmlns:a16="http://schemas.microsoft.com/office/drawing/2014/main" id="{DB956735-33AF-C164-6CDE-478B1A571437}"/>
              </a:ext>
            </a:extLst>
          </p:cNvPr>
          <p:cNvSpPr>
            <a:spLocks noGrp="1"/>
          </p:cNvSpPr>
          <p:nvPr>
            <p:ph type="pic" sz="quarter" idx="13"/>
          </p:nvPr>
        </p:nvSpPr>
        <p:spPr>
          <a:xfrm>
            <a:off x="6290402" y="3962538"/>
            <a:ext cx="2340000" cy="1800000"/>
          </a:xfrm>
          <a:prstGeom prst="rect">
            <a:avLst/>
          </a:prstGeom>
        </p:spPr>
        <p:txBody>
          <a:bodyPr/>
          <a:lstStyle>
            <a:lvl1pPr>
              <a:defRPr sz="900"/>
            </a:lvl1pPr>
          </a:lstStyle>
          <a:p>
            <a:endParaRPr lang="en-GB"/>
          </a:p>
        </p:txBody>
      </p:sp>
      <p:sp>
        <p:nvSpPr>
          <p:cNvPr id="8" name="Picture Placeholder 6">
            <a:extLst>
              <a:ext uri="{FF2B5EF4-FFF2-40B4-BE49-F238E27FC236}">
                <a16:creationId xmlns:a16="http://schemas.microsoft.com/office/drawing/2014/main" id="{49A162DF-1011-C75D-C1F3-C5E4EADD9623}"/>
              </a:ext>
            </a:extLst>
          </p:cNvPr>
          <p:cNvSpPr>
            <a:spLocks noGrp="1"/>
          </p:cNvSpPr>
          <p:nvPr>
            <p:ph type="pic" sz="quarter" idx="14"/>
          </p:nvPr>
        </p:nvSpPr>
        <p:spPr>
          <a:xfrm>
            <a:off x="9090782" y="3962538"/>
            <a:ext cx="2340000" cy="1800000"/>
          </a:xfrm>
          <a:prstGeom prst="rect">
            <a:avLst/>
          </a:prstGeom>
        </p:spPr>
        <p:txBody>
          <a:bodyPr/>
          <a:lstStyle>
            <a:lvl1pPr>
              <a:defRPr sz="900"/>
            </a:lvl1pPr>
          </a:lstStyle>
          <a:p>
            <a:endParaRPr lang="en-GB"/>
          </a:p>
        </p:txBody>
      </p:sp>
      <p:sp>
        <p:nvSpPr>
          <p:cNvPr id="4" name="Content Placeholder 3">
            <a:extLst>
              <a:ext uri="{FF2B5EF4-FFF2-40B4-BE49-F238E27FC236}">
                <a16:creationId xmlns:a16="http://schemas.microsoft.com/office/drawing/2014/main" id="{FD0951DE-A37A-C44F-E84D-AEA3EA120DCB}"/>
              </a:ext>
            </a:extLst>
          </p:cNvPr>
          <p:cNvSpPr>
            <a:spLocks noGrp="1"/>
          </p:cNvSpPr>
          <p:nvPr>
            <p:ph sz="half" idx="10"/>
          </p:nvPr>
        </p:nvSpPr>
        <p:spPr>
          <a:xfrm>
            <a:off x="719998" y="1807527"/>
            <a:ext cx="5181600" cy="3955011"/>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578785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1F4-D541-5D77-C594-6E1FBBA2F3CA}"/>
              </a:ext>
            </a:extLst>
          </p:cNvPr>
          <p:cNvSpPr>
            <a:spLocks noGrp="1"/>
          </p:cNvSpPr>
          <p:nvPr>
            <p:ph type="title" hasCustomPrompt="1"/>
          </p:nvPr>
        </p:nvSpPr>
        <p:spPr>
          <a:xfrm>
            <a:off x="720000" y="540000"/>
            <a:ext cx="8280000" cy="468667"/>
          </a:xfrm>
          <a:prstGeom prst="rect">
            <a:avLst/>
          </a:prstGeom>
        </p:spPr>
        <p:txBody>
          <a:bodyPr anchor="t"/>
          <a:lstStyle>
            <a:lvl1pPr>
              <a:defRPr sz="3000"/>
            </a:lvl1pPr>
          </a:lstStyle>
          <a:p>
            <a:r>
              <a:rPr lang="en-US"/>
              <a:t>CLICK TO EDIT MASTER TITLE</a:t>
            </a:r>
            <a:endParaRPr lang="en-GB"/>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440000"/>
            <a:ext cx="5157787" cy="293641"/>
          </a:xfrm>
          <a:prstGeom prst="rect">
            <a:avLst/>
          </a:prstGeom>
        </p:spPr>
        <p:txBody>
          <a:bodyPr anchor="t" anchorCtr="0"/>
          <a:lstStyle>
            <a:lvl1pPr marL="0" indent="0">
              <a:buNone/>
              <a:defRPr sz="1400" b="1">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E888EB83-0AA8-12F1-AE2B-FDE142804D80}"/>
              </a:ext>
            </a:extLst>
          </p:cNvPr>
          <p:cNvSpPr>
            <a:spLocks noGrp="1"/>
          </p:cNvSpPr>
          <p:nvPr>
            <p:ph type="body" sz="quarter" idx="3"/>
          </p:nvPr>
        </p:nvSpPr>
        <p:spPr>
          <a:xfrm>
            <a:off x="6300000" y="1440000"/>
            <a:ext cx="5183188" cy="293641"/>
          </a:xfrm>
          <a:prstGeom prst="rect">
            <a:avLst/>
          </a:prstGeom>
        </p:spPr>
        <p:txBody>
          <a:bodyPr anchor="t" anchorCtr="0"/>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979EA3-A595-0B27-D94E-DB915841B2D5}"/>
              </a:ext>
            </a:extLst>
          </p:cNvPr>
          <p:cNvSpPr>
            <a:spLocks noGrp="1"/>
          </p:cNvSpPr>
          <p:nvPr>
            <p:ph sz="half" idx="10"/>
          </p:nvPr>
        </p:nvSpPr>
        <p:spPr>
          <a:xfrm>
            <a:off x="6300000" y="1980000"/>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3">
            <a:extLst>
              <a:ext uri="{FF2B5EF4-FFF2-40B4-BE49-F238E27FC236}">
                <a16:creationId xmlns:a16="http://schemas.microsoft.com/office/drawing/2014/main" id="{D6CD6DEA-B9BE-3DD7-6787-A3ADC50275DD}"/>
              </a:ext>
            </a:extLst>
          </p:cNvPr>
          <p:cNvSpPr>
            <a:spLocks noGrp="1"/>
          </p:cNvSpPr>
          <p:nvPr>
            <p:ph sz="half" idx="11"/>
          </p:nvPr>
        </p:nvSpPr>
        <p:spPr>
          <a:xfrm>
            <a:off x="720000" y="1980000"/>
            <a:ext cx="5181600" cy="3584945"/>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60625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s + two line header + logos">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91BDF5BA-2666-6014-EF10-8CC2FF132A13}"/>
              </a:ext>
            </a:extLst>
          </p:cNvPr>
          <p:cNvSpPr>
            <a:spLocks noGrp="1"/>
          </p:cNvSpPr>
          <p:nvPr>
            <p:ph sz="half" idx="11"/>
          </p:nvPr>
        </p:nvSpPr>
        <p:spPr>
          <a:xfrm>
            <a:off x="719998" y="1980000"/>
            <a:ext cx="10800000" cy="3306420"/>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2">
            <a:extLst>
              <a:ext uri="{FF2B5EF4-FFF2-40B4-BE49-F238E27FC236}">
                <a16:creationId xmlns:a16="http://schemas.microsoft.com/office/drawing/2014/main" id="{31C4D3FB-EDB4-F0AE-C286-AD8F152421EE}"/>
              </a:ext>
            </a:extLst>
          </p:cNvPr>
          <p:cNvSpPr>
            <a:spLocks noGrp="1"/>
          </p:cNvSpPr>
          <p:nvPr>
            <p:ph type="body" idx="1"/>
          </p:nvPr>
        </p:nvSpPr>
        <p:spPr>
          <a:xfrm>
            <a:off x="720000" y="1440000"/>
            <a:ext cx="10800000" cy="376237"/>
          </a:xfrm>
          <a:prstGeom prst="rect">
            <a:avLst/>
          </a:prstGeom>
        </p:spPr>
        <p:txBody>
          <a:bodyPr anchor="t" anchorCtr="0"/>
          <a:lstStyle>
            <a:lvl1pPr marL="0" indent="0">
              <a:buNone/>
              <a:defRPr sz="1400" b="1">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p>
            <a:r>
              <a:rPr lang="en-US"/>
              <a:t>CLICK TO EDIT MASTER TITLE</a:t>
            </a:r>
            <a:endParaRPr lang="en-GB"/>
          </a:p>
        </p:txBody>
      </p:sp>
    </p:spTree>
    <p:extLst>
      <p:ext uri="{BB962C8B-B14F-4D97-AF65-F5344CB8AC3E}">
        <p14:creationId xmlns:p14="http://schemas.microsoft.com/office/powerpoint/2010/main" val="18434924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 header + 8 icon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2" name="Text Placeholder 2">
            <a:extLst>
              <a:ext uri="{FF2B5EF4-FFF2-40B4-BE49-F238E27FC236}">
                <a16:creationId xmlns:a16="http://schemas.microsoft.com/office/drawing/2014/main" id="{A3E6B83D-23A8-67DF-B634-A5B7C13708AA}"/>
              </a:ext>
            </a:extLst>
          </p:cNvPr>
          <p:cNvSpPr>
            <a:spLocks noGrp="1"/>
          </p:cNvSpPr>
          <p:nvPr>
            <p:ph type="body" idx="1"/>
          </p:nvPr>
        </p:nvSpPr>
        <p:spPr>
          <a:xfrm>
            <a:off x="720000" y="1440000"/>
            <a:ext cx="10800000" cy="265969"/>
          </a:xfrm>
          <a:prstGeom prst="rect">
            <a:avLst/>
          </a:prstGeom>
        </p:spPr>
        <p:txBody>
          <a:bodyPr anchor="t" anchorCtr="0"/>
          <a:lstStyle>
            <a:lvl1pPr marL="0" indent="0">
              <a:buNone/>
              <a:defRPr sz="1400" b="1">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2">
            <a:extLst>
              <a:ext uri="{FF2B5EF4-FFF2-40B4-BE49-F238E27FC236}">
                <a16:creationId xmlns:a16="http://schemas.microsoft.com/office/drawing/2014/main" id="{E0BEC818-29AA-14C8-7AA1-AED21769A321}"/>
              </a:ext>
            </a:extLst>
          </p:cNvPr>
          <p:cNvSpPr>
            <a:spLocks noGrp="1"/>
          </p:cNvSpPr>
          <p:nvPr>
            <p:ph sz="half" idx="10"/>
          </p:nvPr>
        </p:nvSpPr>
        <p:spPr>
          <a:xfrm>
            <a:off x="1612900" y="2700000"/>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6">
            <a:extLst>
              <a:ext uri="{FF2B5EF4-FFF2-40B4-BE49-F238E27FC236}">
                <a16:creationId xmlns:a16="http://schemas.microsoft.com/office/drawing/2014/main" id="{4A3B2618-BD6A-8599-938D-6D7C97F57C59}"/>
              </a:ext>
            </a:extLst>
          </p:cNvPr>
          <p:cNvSpPr>
            <a:spLocks noGrp="1"/>
          </p:cNvSpPr>
          <p:nvPr>
            <p:ph type="pic" sz="quarter" idx="13"/>
          </p:nvPr>
        </p:nvSpPr>
        <p:spPr>
          <a:xfrm>
            <a:off x="720000" y="2641895"/>
            <a:ext cx="677900" cy="677900"/>
          </a:xfrm>
          <a:prstGeom prst="rect">
            <a:avLst/>
          </a:prstGeom>
        </p:spPr>
        <p:txBody>
          <a:bodyPr/>
          <a:lstStyle>
            <a:lvl1pPr>
              <a:defRPr sz="900">
                <a:solidFill>
                  <a:srgbClr val="54555A"/>
                </a:solidFill>
              </a:defRPr>
            </a:lvl1pPr>
          </a:lstStyle>
          <a:p>
            <a:endParaRPr lang="en-GB"/>
          </a:p>
        </p:txBody>
      </p:sp>
      <p:sp>
        <p:nvSpPr>
          <p:cNvPr id="9" name="Picture Placeholder 6">
            <a:extLst>
              <a:ext uri="{FF2B5EF4-FFF2-40B4-BE49-F238E27FC236}">
                <a16:creationId xmlns:a16="http://schemas.microsoft.com/office/drawing/2014/main" id="{B735576A-BC26-1D2D-75F4-97FE636A81ED}"/>
              </a:ext>
            </a:extLst>
          </p:cNvPr>
          <p:cNvSpPr>
            <a:spLocks noGrp="1"/>
          </p:cNvSpPr>
          <p:nvPr>
            <p:ph type="pic" sz="quarter" idx="14"/>
          </p:nvPr>
        </p:nvSpPr>
        <p:spPr>
          <a:xfrm>
            <a:off x="720000" y="3426531"/>
            <a:ext cx="677900" cy="677900"/>
          </a:xfrm>
          <a:prstGeom prst="rect">
            <a:avLst/>
          </a:prstGeom>
        </p:spPr>
        <p:txBody>
          <a:bodyPr/>
          <a:lstStyle>
            <a:lvl1pPr>
              <a:defRPr sz="900">
                <a:solidFill>
                  <a:srgbClr val="54555A"/>
                </a:solidFill>
              </a:defRPr>
            </a:lvl1pPr>
          </a:lstStyle>
          <a:p>
            <a:endParaRPr lang="en-GB"/>
          </a:p>
        </p:txBody>
      </p:sp>
      <p:sp>
        <p:nvSpPr>
          <p:cNvPr id="10" name="Picture Placeholder 6">
            <a:extLst>
              <a:ext uri="{FF2B5EF4-FFF2-40B4-BE49-F238E27FC236}">
                <a16:creationId xmlns:a16="http://schemas.microsoft.com/office/drawing/2014/main" id="{6D3456DA-CC58-3FD3-0D76-BD93944F87E8}"/>
              </a:ext>
            </a:extLst>
          </p:cNvPr>
          <p:cNvSpPr>
            <a:spLocks noGrp="1"/>
          </p:cNvSpPr>
          <p:nvPr>
            <p:ph type="pic" sz="quarter" idx="15"/>
          </p:nvPr>
        </p:nvSpPr>
        <p:spPr>
          <a:xfrm>
            <a:off x="720000" y="4211168"/>
            <a:ext cx="677900" cy="677900"/>
          </a:xfrm>
          <a:prstGeom prst="rect">
            <a:avLst/>
          </a:prstGeom>
        </p:spPr>
        <p:txBody>
          <a:bodyPr/>
          <a:lstStyle>
            <a:lvl1pPr>
              <a:defRPr sz="900">
                <a:solidFill>
                  <a:srgbClr val="54555A"/>
                </a:solidFill>
              </a:defRPr>
            </a:lvl1pPr>
          </a:lstStyle>
          <a:p>
            <a:endParaRPr lang="en-GB"/>
          </a:p>
        </p:txBody>
      </p:sp>
      <p:sp>
        <p:nvSpPr>
          <p:cNvPr id="12" name="Picture Placeholder 6">
            <a:extLst>
              <a:ext uri="{FF2B5EF4-FFF2-40B4-BE49-F238E27FC236}">
                <a16:creationId xmlns:a16="http://schemas.microsoft.com/office/drawing/2014/main" id="{AB371FAC-BA79-7AB5-6EC9-038019276837}"/>
              </a:ext>
            </a:extLst>
          </p:cNvPr>
          <p:cNvSpPr>
            <a:spLocks noGrp="1"/>
          </p:cNvSpPr>
          <p:nvPr>
            <p:ph type="pic" sz="quarter" idx="16"/>
          </p:nvPr>
        </p:nvSpPr>
        <p:spPr>
          <a:xfrm>
            <a:off x="720000" y="4995804"/>
            <a:ext cx="677900" cy="677900"/>
          </a:xfrm>
          <a:prstGeom prst="rect">
            <a:avLst/>
          </a:prstGeom>
        </p:spPr>
        <p:txBody>
          <a:bodyPr/>
          <a:lstStyle>
            <a:lvl1pPr>
              <a:defRPr sz="900">
                <a:solidFill>
                  <a:srgbClr val="54555A"/>
                </a:solidFill>
              </a:defRPr>
            </a:lvl1pPr>
          </a:lstStyle>
          <a:p>
            <a:endParaRPr lang="en-GB"/>
          </a:p>
        </p:txBody>
      </p:sp>
      <p:sp>
        <p:nvSpPr>
          <p:cNvPr id="21" name="Content Placeholder 2">
            <a:extLst>
              <a:ext uri="{FF2B5EF4-FFF2-40B4-BE49-F238E27FC236}">
                <a16:creationId xmlns:a16="http://schemas.microsoft.com/office/drawing/2014/main" id="{E4849A36-9E16-E990-2732-BBDC297DB543}"/>
              </a:ext>
            </a:extLst>
          </p:cNvPr>
          <p:cNvSpPr>
            <a:spLocks noGrp="1"/>
          </p:cNvSpPr>
          <p:nvPr>
            <p:ph sz="half" idx="17"/>
          </p:nvPr>
        </p:nvSpPr>
        <p:spPr>
          <a:xfrm>
            <a:off x="7200000" y="2700000"/>
            <a:ext cx="4320000" cy="3532307"/>
          </a:xfrm>
          <a:prstGeom prst="rect">
            <a:avLst/>
          </a:prstGeom>
        </p:spPr>
        <p:txBody>
          <a:bodyPr numCol="1" spcCol="180000"/>
          <a:lstStyle>
            <a:lvl1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Picture Placeholder 6">
            <a:extLst>
              <a:ext uri="{FF2B5EF4-FFF2-40B4-BE49-F238E27FC236}">
                <a16:creationId xmlns:a16="http://schemas.microsoft.com/office/drawing/2014/main" id="{CC3B06C7-8383-F8F0-1E50-D321F64F51BE}"/>
              </a:ext>
            </a:extLst>
          </p:cNvPr>
          <p:cNvSpPr>
            <a:spLocks noGrp="1"/>
          </p:cNvSpPr>
          <p:nvPr>
            <p:ph type="pic" sz="quarter" idx="18"/>
          </p:nvPr>
        </p:nvSpPr>
        <p:spPr>
          <a:xfrm>
            <a:off x="6307100" y="2657796"/>
            <a:ext cx="677900" cy="677900"/>
          </a:xfrm>
          <a:prstGeom prst="rect">
            <a:avLst/>
          </a:prstGeom>
        </p:spPr>
        <p:txBody>
          <a:bodyPr/>
          <a:lstStyle>
            <a:lvl1pPr>
              <a:defRPr sz="900">
                <a:solidFill>
                  <a:srgbClr val="54555A"/>
                </a:solidFill>
              </a:defRPr>
            </a:lvl1pPr>
          </a:lstStyle>
          <a:p>
            <a:endParaRPr lang="en-GB"/>
          </a:p>
        </p:txBody>
      </p:sp>
      <p:sp>
        <p:nvSpPr>
          <p:cNvPr id="23" name="Picture Placeholder 6">
            <a:extLst>
              <a:ext uri="{FF2B5EF4-FFF2-40B4-BE49-F238E27FC236}">
                <a16:creationId xmlns:a16="http://schemas.microsoft.com/office/drawing/2014/main" id="{FE82C76B-6903-7BE4-0E01-156A50AC125D}"/>
              </a:ext>
            </a:extLst>
          </p:cNvPr>
          <p:cNvSpPr>
            <a:spLocks noGrp="1"/>
          </p:cNvSpPr>
          <p:nvPr>
            <p:ph type="pic" sz="quarter" idx="19"/>
          </p:nvPr>
        </p:nvSpPr>
        <p:spPr>
          <a:xfrm>
            <a:off x="6307100" y="3442432"/>
            <a:ext cx="677900" cy="677900"/>
          </a:xfrm>
          <a:prstGeom prst="rect">
            <a:avLst/>
          </a:prstGeom>
        </p:spPr>
        <p:txBody>
          <a:bodyPr/>
          <a:lstStyle>
            <a:lvl1pPr>
              <a:defRPr sz="900">
                <a:solidFill>
                  <a:srgbClr val="54555A"/>
                </a:solidFill>
              </a:defRPr>
            </a:lvl1pPr>
          </a:lstStyle>
          <a:p>
            <a:endParaRPr lang="en-GB"/>
          </a:p>
        </p:txBody>
      </p:sp>
      <p:sp>
        <p:nvSpPr>
          <p:cNvPr id="24" name="Picture Placeholder 6">
            <a:extLst>
              <a:ext uri="{FF2B5EF4-FFF2-40B4-BE49-F238E27FC236}">
                <a16:creationId xmlns:a16="http://schemas.microsoft.com/office/drawing/2014/main" id="{468A016B-87E8-BBAF-9610-C4D41991C01D}"/>
              </a:ext>
            </a:extLst>
          </p:cNvPr>
          <p:cNvSpPr>
            <a:spLocks noGrp="1"/>
          </p:cNvSpPr>
          <p:nvPr>
            <p:ph type="pic" sz="quarter" idx="20"/>
          </p:nvPr>
        </p:nvSpPr>
        <p:spPr>
          <a:xfrm>
            <a:off x="6307100" y="4227068"/>
            <a:ext cx="677900" cy="677900"/>
          </a:xfrm>
          <a:prstGeom prst="rect">
            <a:avLst/>
          </a:prstGeom>
        </p:spPr>
        <p:txBody>
          <a:bodyPr/>
          <a:lstStyle>
            <a:lvl1pPr>
              <a:defRPr sz="900">
                <a:solidFill>
                  <a:srgbClr val="54555A"/>
                </a:solidFill>
              </a:defRPr>
            </a:lvl1pPr>
          </a:lstStyle>
          <a:p>
            <a:endParaRPr lang="en-GB"/>
          </a:p>
        </p:txBody>
      </p:sp>
      <p:sp>
        <p:nvSpPr>
          <p:cNvPr id="25" name="Picture Placeholder 6">
            <a:extLst>
              <a:ext uri="{FF2B5EF4-FFF2-40B4-BE49-F238E27FC236}">
                <a16:creationId xmlns:a16="http://schemas.microsoft.com/office/drawing/2014/main" id="{A4CF9884-E4EA-77F2-E124-6318C256A61F}"/>
              </a:ext>
            </a:extLst>
          </p:cNvPr>
          <p:cNvSpPr>
            <a:spLocks noGrp="1"/>
          </p:cNvSpPr>
          <p:nvPr>
            <p:ph type="pic" sz="quarter" idx="21"/>
          </p:nvPr>
        </p:nvSpPr>
        <p:spPr>
          <a:xfrm>
            <a:off x="6307100" y="5011705"/>
            <a:ext cx="677900" cy="677900"/>
          </a:xfrm>
          <a:prstGeom prst="rect">
            <a:avLst/>
          </a:prstGeom>
        </p:spPr>
        <p:txBody>
          <a:bodyPr/>
          <a:lstStyle>
            <a:lvl1pPr>
              <a:defRPr sz="900">
                <a:solidFill>
                  <a:srgbClr val="54555A"/>
                </a:solidFill>
              </a:defRPr>
            </a:lvl1pPr>
          </a:lstStyle>
          <a:p>
            <a:endParaRPr lang="en-GB"/>
          </a:p>
        </p:txBody>
      </p:sp>
      <p:sp>
        <p:nvSpPr>
          <p:cNvPr id="26" name="Text Placeholder 2">
            <a:extLst>
              <a:ext uri="{FF2B5EF4-FFF2-40B4-BE49-F238E27FC236}">
                <a16:creationId xmlns:a16="http://schemas.microsoft.com/office/drawing/2014/main" id="{2EAF5E6E-C93D-008F-6BD6-EE6EB7BA5918}"/>
              </a:ext>
            </a:extLst>
          </p:cNvPr>
          <p:cNvSpPr>
            <a:spLocks noGrp="1"/>
          </p:cNvSpPr>
          <p:nvPr>
            <p:ph type="body" idx="22"/>
          </p:nvPr>
        </p:nvSpPr>
        <p:spPr>
          <a:xfrm>
            <a:off x="719998" y="1980000"/>
            <a:ext cx="10776002" cy="376237"/>
          </a:xfrm>
          <a:prstGeom prst="rect">
            <a:avLst/>
          </a:prstGeom>
        </p:spPr>
        <p:txBody>
          <a:bodyPr anchor="ctr" anchorCtr="0"/>
          <a:lstStyle>
            <a:lvl1pPr marL="0" indent="0">
              <a:buNone/>
              <a:defRPr sz="1200" b="0">
                <a:solidFill>
                  <a:srgbClr val="5455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2430117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ub header + 8 icon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00453EC-6C60-BBB3-D23A-A6ED82E2C69A}"/>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6" name="Content Placeholder 2">
            <a:extLst>
              <a:ext uri="{FF2B5EF4-FFF2-40B4-BE49-F238E27FC236}">
                <a16:creationId xmlns:a16="http://schemas.microsoft.com/office/drawing/2014/main" id="{5B33C736-B0BF-25E9-54D0-9138977FFC99}"/>
              </a:ext>
            </a:extLst>
          </p:cNvPr>
          <p:cNvSpPr>
            <a:spLocks noGrp="1"/>
          </p:cNvSpPr>
          <p:nvPr>
            <p:ph sz="half" idx="20"/>
          </p:nvPr>
        </p:nvSpPr>
        <p:spPr>
          <a:xfrm>
            <a:off x="327703"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6">
            <a:extLst>
              <a:ext uri="{FF2B5EF4-FFF2-40B4-BE49-F238E27FC236}">
                <a16:creationId xmlns:a16="http://schemas.microsoft.com/office/drawing/2014/main" id="{65B76E8A-ECA5-1990-5AE5-60E240468B08}"/>
              </a:ext>
            </a:extLst>
          </p:cNvPr>
          <p:cNvSpPr>
            <a:spLocks noGrp="1"/>
          </p:cNvSpPr>
          <p:nvPr>
            <p:ph type="pic" sz="quarter" idx="13"/>
          </p:nvPr>
        </p:nvSpPr>
        <p:spPr>
          <a:xfrm>
            <a:off x="1263740" y="2160000"/>
            <a:ext cx="677900" cy="677900"/>
          </a:xfrm>
          <a:prstGeom prst="rect">
            <a:avLst/>
          </a:prstGeom>
        </p:spPr>
        <p:txBody>
          <a:bodyPr/>
          <a:lstStyle>
            <a:lvl1pPr>
              <a:defRPr sz="900"/>
            </a:lvl1pPr>
          </a:lstStyle>
          <a:p>
            <a:endParaRPr lang="en-GB"/>
          </a:p>
        </p:txBody>
      </p:sp>
      <p:sp>
        <p:nvSpPr>
          <p:cNvPr id="10" name="Picture Placeholder 6">
            <a:extLst>
              <a:ext uri="{FF2B5EF4-FFF2-40B4-BE49-F238E27FC236}">
                <a16:creationId xmlns:a16="http://schemas.microsoft.com/office/drawing/2014/main" id="{3CE8A808-37A4-E041-7FB2-718EB8F36A12}"/>
              </a:ext>
            </a:extLst>
          </p:cNvPr>
          <p:cNvSpPr>
            <a:spLocks noGrp="1"/>
          </p:cNvSpPr>
          <p:nvPr>
            <p:ph type="pic" sz="quarter" idx="14"/>
          </p:nvPr>
        </p:nvSpPr>
        <p:spPr>
          <a:xfrm>
            <a:off x="4219943" y="2160000"/>
            <a:ext cx="677900" cy="677900"/>
          </a:xfrm>
          <a:prstGeom prst="rect">
            <a:avLst/>
          </a:prstGeom>
        </p:spPr>
        <p:txBody>
          <a:bodyPr/>
          <a:lstStyle>
            <a:lvl1pPr>
              <a:defRPr sz="900"/>
            </a:lvl1pPr>
          </a:lstStyle>
          <a:p>
            <a:endParaRPr lang="en-GB"/>
          </a:p>
        </p:txBody>
      </p:sp>
      <p:sp>
        <p:nvSpPr>
          <p:cNvPr id="12" name="Picture Placeholder 6">
            <a:extLst>
              <a:ext uri="{FF2B5EF4-FFF2-40B4-BE49-F238E27FC236}">
                <a16:creationId xmlns:a16="http://schemas.microsoft.com/office/drawing/2014/main" id="{F17F435F-762E-6610-6A5C-DD68CBB0FEFC}"/>
              </a:ext>
            </a:extLst>
          </p:cNvPr>
          <p:cNvSpPr>
            <a:spLocks noGrp="1"/>
          </p:cNvSpPr>
          <p:nvPr>
            <p:ph type="pic" sz="quarter" idx="15"/>
          </p:nvPr>
        </p:nvSpPr>
        <p:spPr>
          <a:xfrm>
            <a:off x="7294157" y="2160000"/>
            <a:ext cx="677900" cy="677900"/>
          </a:xfrm>
          <a:prstGeom prst="rect">
            <a:avLst/>
          </a:prstGeom>
        </p:spPr>
        <p:txBody>
          <a:bodyPr/>
          <a:lstStyle>
            <a:lvl1pPr>
              <a:defRPr sz="900"/>
            </a:lvl1pPr>
          </a:lstStyle>
          <a:p>
            <a:endParaRPr lang="en-GB"/>
          </a:p>
        </p:txBody>
      </p:sp>
      <p:sp>
        <p:nvSpPr>
          <p:cNvPr id="15" name="Picture Placeholder 6">
            <a:extLst>
              <a:ext uri="{FF2B5EF4-FFF2-40B4-BE49-F238E27FC236}">
                <a16:creationId xmlns:a16="http://schemas.microsoft.com/office/drawing/2014/main" id="{80D327DF-39EA-57C8-BF37-0757F1FB84B9}"/>
              </a:ext>
            </a:extLst>
          </p:cNvPr>
          <p:cNvSpPr>
            <a:spLocks noGrp="1"/>
          </p:cNvSpPr>
          <p:nvPr>
            <p:ph type="pic" sz="quarter" idx="16"/>
          </p:nvPr>
        </p:nvSpPr>
        <p:spPr>
          <a:xfrm>
            <a:off x="10250360" y="2160000"/>
            <a:ext cx="677900" cy="677900"/>
          </a:xfrm>
          <a:prstGeom prst="rect">
            <a:avLst/>
          </a:prstGeom>
        </p:spPr>
        <p:txBody>
          <a:bodyPr/>
          <a:lstStyle>
            <a:lvl1pPr>
              <a:defRPr sz="900"/>
            </a:lvl1pPr>
          </a:lstStyle>
          <a:p>
            <a:endParaRPr lang="en-GB"/>
          </a:p>
        </p:txBody>
      </p:sp>
      <p:sp>
        <p:nvSpPr>
          <p:cNvPr id="2" name="Content Placeholder 2">
            <a:extLst>
              <a:ext uri="{FF2B5EF4-FFF2-40B4-BE49-F238E27FC236}">
                <a16:creationId xmlns:a16="http://schemas.microsoft.com/office/drawing/2014/main" id="{EFE8C8F3-26B3-20D4-73E9-C6558A1741D1}"/>
              </a:ext>
            </a:extLst>
          </p:cNvPr>
          <p:cNvSpPr>
            <a:spLocks noGrp="1"/>
          </p:cNvSpPr>
          <p:nvPr>
            <p:ph sz="half" idx="23"/>
          </p:nvPr>
        </p:nvSpPr>
        <p:spPr>
          <a:xfrm>
            <a:off x="3283905"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2">
            <a:extLst>
              <a:ext uri="{FF2B5EF4-FFF2-40B4-BE49-F238E27FC236}">
                <a16:creationId xmlns:a16="http://schemas.microsoft.com/office/drawing/2014/main" id="{6F26A72B-C52C-B950-A8CC-89BD233CC640}"/>
              </a:ext>
            </a:extLst>
          </p:cNvPr>
          <p:cNvSpPr>
            <a:spLocks noGrp="1"/>
          </p:cNvSpPr>
          <p:nvPr>
            <p:ph sz="half" idx="24"/>
          </p:nvPr>
        </p:nvSpPr>
        <p:spPr>
          <a:xfrm>
            <a:off x="6358120"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2">
            <a:extLst>
              <a:ext uri="{FF2B5EF4-FFF2-40B4-BE49-F238E27FC236}">
                <a16:creationId xmlns:a16="http://schemas.microsoft.com/office/drawing/2014/main" id="{0B80BA1C-6005-3046-CF3B-A93B2CC2CA3A}"/>
              </a:ext>
            </a:extLst>
          </p:cNvPr>
          <p:cNvSpPr>
            <a:spLocks noGrp="1"/>
          </p:cNvSpPr>
          <p:nvPr>
            <p:ph sz="half" idx="25"/>
          </p:nvPr>
        </p:nvSpPr>
        <p:spPr>
          <a:xfrm>
            <a:off x="9314322" y="3060000"/>
            <a:ext cx="2549975" cy="2120899"/>
          </a:xfrm>
          <a:prstGeom prst="rect">
            <a:avLst/>
          </a:prstGeom>
        </p:spPr>
        <p:txBody>
          <a:bodyPr numCol="1" spcCol="180000"/>
          <a:lstStyle>
            <a:lvl1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lgn="l">
              <a:spcBef>
                <a:spcPts val="600"/>
              </a:spcBef>
              <a:spcAft>
                <a:spcPts val="6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3pPr>
            <a:lvl4pPr algn="l">
              <a:spcBef>
                <a:spcPts val="600"/>
              </a:spcBef>
              <a:spcAft>
                <a:spcPts val="6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769169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1B">
    <p:spTree>
      <p:nvGrpSpPr>
        <p:cNvPr id="1" name=""/>
        <p:cNvGrpSpPr/>
        <p:nvPr/>
      </p:nvGrpSpPr>
      <p:grpSpPr>
        <a:xfrm>
          <a:off x="0" y="0"/>
          <a:ext cx="0" cy="0"/>
          <a:chOff x="0" y="0"/>
          <a:chExt cx="0" cy="0"/>
        </a:xfrm>
      </p:grpSpPr>
      <p:sp>
        <p:nvSpPr>
          <p:cNvPr id="10" name="Text Placeholder 16">
            <a:extLst>
              <a:ext uri="{FF2B5EF4-FFF2-40B4-BE49-F238E27FC236}">
                <a16:creationId xmlns:a16="http://schemas.microsoft.com/office/drawing/2014/main" id="{A38E6DC8-A1C1-3145-B349-887206C940CD}"/>
              </a:ext>
            </a:extLst>
          </p:cNvPr>
          <p:cNvSpPr>
            <a:spLocks noGrp="1"/>
          </p:cNvSpPr>
          <p:nvPr>
            <p:ph type="body" sz="quarter" idx="18" hasCustomPrompt="1"/>
          </p:nvPr>
        </p:nvSpPr>
        <p:spPr>
          <a:xfrm>
            <a:off x="8745467" y="6198640"/>
            <a:ext cx="1491569" cy="227919"/>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marL="0" indent="0">
              <a:buFontTx/>
              <a:buNone/>
              <a:defRPr sz="1200" b="1" i="0">
                <a:solidFill>
                  <a:srgbClr val="001054"/>
                </a:solidFill>
                <a:latin typeface="Lato Semibold" panose="020F0502020204030203" pitchFamily="34" charset="77"/>
              </a:defRPr>
            </a:lvl1pPr>
          </a:lstStyle>
          <a:p>
            <a:pPr lvl="0"/>
            <a:r>
              <a:rPr lang="en-GB"/>
              <a:t>Presentation title</a:t>
            </a:r>
          </a:p>
        </p:txBody>
      </p:sp>
      <p:sp>
        <p:nvSpPr>
          <p:cNvPr id="13" name="Text Placeholder 11">
            <a:extLst>
              <a:ext uri="{FF2B5EF4-FFF2-40B4-BE49-F238E27FC236}">
                <a16:creationId xmlns:a16="http://schemas.microsoft.com/office/drawing/2014/main" id="{3F0C79D2-D2E3-4B4F-8DB4-ECACEE47007B}"/>
              </a:ext>
            </a:extLst>
          </p:cNvPr>
          <p:cNvSpPr>
            <a:spLocks noGrp="1"/>
          </p:cNvSpPr>
          <p:nvPr>
            <p:ph type="body" sz="quarter" idx="14" hasCustomPrompt="1"/>
          </p:nvPr>
        </p:nvSpPr>
        <p:spPr>
          <a:xfrm>
            <a:off x="964667" y="2474630"/>
            <a:ext cx="10626055" cy="3441262"/>
          </a:xfrm>
          <a:prstGeom prst="rect">
            <a:avLst/>
          </a:prstGeom>
        </p:spPr>
        <p:txBody>
          <a:bodyPr wrap="square" lIns="0" tIns="0" rIns="0" bIns="0" numCol="2" spcCol="90000">
            <a:noAutofit/>
          </a:bodyPr>
          <a:lstStyle>
            <a:lvl1pPr marL="0" indent="0">
              <a:lnSpc>
                <a:spcPts val="2200"/>
              </a:lnSpc>
              <a:spcBef>
                <a:spcPts val="0"/>
              </a:spcBef>
              <a:spcAft>
                <a:spcPts val="2200"/>
              </a:spcAft>
              <a:buFont typeface="Arial" panose="020B0604020202020204" pitchFamily="34" charset="0"/>
              <a:buNone/>
              <a:defRPr sz="1600">
                <a:solidFill>
                  <a:srgbClr val="000942"/>
                </a:solidFill>
                <a:latin typeface="Lato" panose="020F0502020204030203" pitchFamily="34" charset="0"/>
                <a:ea typeface="Lato" panose="020F0502020204030203" pitchFamily="34" charset="0"/>
                <a:cs typeface="Lato" panose="020F0502020204030203" pitchFamily="34" charset="0"/>
              </a:defRPr>
            </a:lvl1pPr>
            <a:lvl2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2pPr>
            <a:lvl3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3pPr>
            <a:lvl4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4pPr>
            <a:lvl5pPr marL="284400" indent="-284400">
              <a:lnSpc>
                <a:spcPts val="2200"/>
              </a:lnSpc>
              <a:buFont typeface=".PingFang SC Regular"/>
              <a:buChar char="﹥"/>
              <a:defRPr sz="16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r>
              <a:rPr lang="en-GB"/>
              <a:t> </a:t>
            </a:r>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a:t>
            </a:r>
          </a:p>
          <a:p>
            <a:pPr lvl="0"/>
            <a:r>
              <a:rPr lang="en-GB" err="1"/>
              <a:t>Rhoncus</a:t>
            </a:r>
            <a:r>
              <a:rPr lang="en-GB"/>
              <a:t> </a:t>
            </a:r>
            <a:r>
              <a:rPr lang="en-GB" err="1"/>
              <a:t>urna</a:t>
            </a:r>
            <a:r>
              <a:rPr lang="en-GB"/>
              <a:t> </a:t>
            </a:r>
            <a:r>
              <a:rPr lang="en-GB" err="1"/>
              <a:t>neque</a:t>
            </a:r>
            <a:r>
              <a:rPr lang="en-GB"/>
              <a:t> </a:t>
            </a:r>
            <a:r>
              <a:rPr lang="en-GB" err="1"/>
              <a:t>viverra</a:t>
            </a:r>
            <a:r>
              <a:rPr lang="en-GB"/>
              <a:t> </a:t>
            </a:r>
            <a:r>
              <a:rPr lang="en-GB" err="1"/>
              <a:t>justo</a:t>
            </a:r>
            <a:r>
              <a:rPr lang="en-GB"/>
              <a:t> </a:t>
            </a:r>
            <a:r>
              <a:rPr lang="en-GB" err="1"/>
              <a:t>nec</a:t>
            </a:r>
            <a:r>
              <a:rPr lang="en-GB"/>
              <a:t> </a:t>
            </a:r>
            <a:r>
              <a:rPr lang="en-GB" err="1"/>
              <a:t>ultrices</a:t>
            </a:r>
            <a:r>
              <a:rPr lang="en-GB"/>
              <a:t> dui. </a:t>
            </a:r>
            <a:r>
              <a:rPr lang="en-GB" err="1"/>
              <a:t>Nulla</a:t>
            </a:r>
            <a:r>
              <a:rPr lang="en-GB"/>
              <a:t> </a:t>
            </a:r>
            <a:r>
              <a:rPr lang="en-GB" err="1"/>
              <a:t>aliquet</a:t>
            </a:r>
            <a:r>
              <a:rPr lang="en-GB"/>
              <a:t> </a:t>
            </a:r>
            <a:r>
              <a:rPr lang="en-GB" err="1"/>
              <a:t>enim</a:t>
            </a:r>
            <a:r>
              <a:rPr lang="en-GB"/>
              <a:t> </a:t>
            </a:r>
            <a:r>
              <a:rPr lang="en-GB" err="1"/>
              <a:t>tortor</a:t>
            </a:r>
            <a:r>
              <a:rPr lang="en-GB"/>
              <a:t> at </a:t>
            </a:r>
            <a:r>
              <a:rPr lang="en-GB" err="1"/>
              <a:t>auctor</a:t>
            </a:r>
            <a:r>
              <a:rPr lang="en-GB"/>
              <a:t> </a:t>
            </a:r>
            <a:r>
              <a:rPr lang="en-GB" err="1"/>
              <a:t>urna</a:t>
            </a:r>
            <a:r>
              <a:rPr lang="en-GB"/>
              <a:t> </a:t>
            </a:r>
            <a:r>
              <a:rPr lang="en-GB" err="1"/>
              <a:t>nunc</a:t>
            </a:r>
            <a:r>
              <a:rPr lang="en-GB"/>
              <a:t>. </a:t>
            </a:r>
            <a:r>
              <a:rPr lang="en-GB" err="1"/>
              <a:t>Diam</a:t>
            </a:r>
            <a:r>
              <a:rPr lang="en-GB"/>
              <a:t> </a:t>
            </a:r>
            <a:r>
              <a:rPr lang="en-GB" err="1"/>
              <a:t>phasellus</a:t>
            </a:r>
            <a:r>
              <a:rPr lang="en-GB"/>
              <a:t> vestibulum lorem </a:t>
            </a:r>
            <a:r>
              <a:rPr lang="en-GB" err="1"/>
              <a:t>sed</a:t>
            </a:r>
            <a:r>
              <a:rPr lang="en-GB"/>
              <a:t> </a:t>
            </a:r>
            <a:r>
              <a:rPr lang="en-GB" err="1"/>
              <a:t>risus</a:t>
            </a:r>
            <a:r>
              <a:rPr lang="en-GB"/>
              <a:t> </a:t>
            </a:r>
            <a:r>
              <a:rPr lang="en-GB" err="1"/>
              <a:t>ies</a:t>
            </a:r>
            <a:r>
              <a:rPr lang="en-GB"/>
              <a:t> </a:t>
            </a:r>
            <a:r>
              <a:rPr lang="en-GB" err="1"/>
              <a:t>tristique</a:t>
            </a:r>
            <a:endParaRPr lang="en-GB"/>
          </a:p>
          <a:p>
            <a:pPr lvl="0"/>
            <a:r>
              <a:rPr lang="en-GB" err="1"/>
              <a:t>Sed</a:t>
            </a:r>
            <a:r>
              <a:rPr lang="en-GB"/>
              <a:t> </a:t>
            </a:r>
            <a:r>
              <a:rPr lang="en-GB" err="1"/>
              <a:t>cras</a:t>
            </a:r>
            <a:r>
              <a:rPr lang="en-GB"/>
              <a:t> </a:t>
            </a:r>
            <a:r>
              <a:rPr lang="en-GB" err="1"/>
              <a:t>ornare</a:t>
            </a:r>
            <a:r>
              <a:rPr lang="en-GB"/>
              <a:t> </a:t>
            </a:r>
            <a:r>
              <a:rPr lang="en-GB" err="1"/>
              <a:t>arcu</a:t>
            </a:r>
            <a:r>
              <a:rPr lang="en-GB"/>
              <a:t> dui </a:t>
            </a:r>
            <a:r>
              <a:rPr lang="en-GB" err="1"/>
              <a:t>vivamus</a:t>
            </a:r>
            <a:r>
              <a:rPr lang="en-GB"/>
              <a:t> </a:t>
            </a:r>
            <a:r>
              <a:rPr lang="en-GB" err="1"/>
              <a:t>arcu</a:t>
            </a:r>
            <a:r>
              <a:rPr lang="en-GB"/>
              <a:t> </a:t>
            </a:r>
            <a:r>
              <a:rPr lang="en-GB" err="1"/>
              <a:t>felis</a:t>
            </a:r>
            <a:r>
              <a:rPr lang="en-GB"/>
              <a:t> </a:t>
            </a:r>
            <a:r>
              <a:rPr lang="en-GB" err="1"/>
              <a:t>bibendu</a:t>
            </a:r>
            <a:r>
              <a:rPr lang="en-GB"/>
              <a:t> sit </a:t>
            </a:r>
            <a:r>
              <a:rPr lang="en-GB" err="1"/>
              <a:t>amet</a:t>
            </a:r>
            <a:r>
              <a:rPr lang="en-GB"/>
              <a:t> </a:t>
            </a:r>
            <a:r>
              <a:rPr lang="en-GB" err="1"/>
              <a:t>purus</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a:t>
            </a:r>
          </a:p>
          <a:p>
            <a:pPr lvl="0"/>
            <a:endParaRPr lang="en-GB"/>
          </a:p>
          <a:p>
            <a:pPr lvl="0"/>
            <a:endParaRPr lang="en-GB"/>
          </a:p>
          <a:p>
            <a:pPr lvl="0"/>
            <a:endParaRPr lang="en-GB"/>
          </a:p>
        </p:txBody>
      </p:sp>
      <p:sp>
        <p:nvSpPr>
          <p:cNvPr id="14" name="Title 1">
            <a:extLst>
              <a:ext uri="{FF2B5EF4-FFF2-40B4-BE49-F238E27FC236}">
                <a16:creationId xmlns:a16="http://schemas.microsoft.com/office/drawing/2014/main" id="{021A6A52-0EA2-7E4F-BC33-74F4D450C907}"/>
              </a:ext>
            </a:extLst>
          </p:cNvPr>
          <p:cNvSpPr>
            <a:spLocks noGrp="1"/>
          </p:cNvSpPr>
          <p:nvPr>
            <p:ph type="title" hasCustomPrompt="1"/>
          </p:nvPr>
        </p:nvSpPr>
        <p:spPr>
          <a:xfrm>
            <a:off x="953154" y="1054238"/>
            <a:ext cx="7792316" cy="416753"/>
          </a:xfrm>
          <a:prstGeom prst="rect">
            <a:avLst/>
          </a:prstGeom>
        </p:spPr>
        <p:txBody>
          <a:bodyPr wrap="none" lIns="0" tIns="0" rIns="0" bIns="0" anchor="t" anchorCtr="0">
            <a:noAutofit/>
          </a:bodyPr>
          <a:lstStyle>
            <a:lvl1pPr>
              <a:defRPr sz="3500" b="1" i="0">
                <a:solidFill>
                  <a:srgbClr val="000942"/>
                </a:solidFill>
                <a:latin typeface="Lato" panose="020F0502020204030203" pitchFamily="34" charset="0"/>
                <a:ea typeface="Lato" panose="020F0502020204030203" pitchFamily="34" charset="0"/>
                <a:cs typeface="Lato" panose="020F0502020204030203" pitchFamily="34" charset="0"/>
              </a:defRPr>
            </a:lvl1pPr>
          </a:lstStyle>
          <a:p>
            <a:r>
              <a:rPr lang="en-GB"/>
              <a:t>PAGE TITLE</a:t>
            </a:r>
            <a:endParaRPr lang="en-US"/>
          </a:p>
        </p:txBody>
      </p:sp>
      <p:sp>
        <p:nvSpPr>
          <p:cNvPr id="15" name="Text Placeholder 13">
            <a:extLst>
              <a:ext uri="{FF2B5EF4-FFF2-40B4-BE49-F238E27FC236}">
                <a16:creationId xmlns:a16="http://schemas.microsoft.com/office/drawing/2014/main" id="{579B43B1-E69B-414F-9D27-D73A84BA0A05}"/>
              </a:ext>
            </a:extLst>
          </p:cNvPr>
          <p:cNvSpPr>
            <a:spLocks noGrp="1"/>
          </p:cNvSpPr>
          <p:nvPr>
            <p:ph type="body" sz="quarter" idx="13" hasCustomPrompt="1"/>
          </p:nvPr>
        </p:nvSpPr>
        <p:spPr>
          <a:xfrm>
            <a:off x="953153" y="1502498"/>
            <a:ext cx="7792314" cy="627582"/>
          </a:xfrm>
          <a:prstGeom prst="rect">
            <a:avLst/>
          </a:prstGeom>
        </p:spPr>
        <p:txBody>
          <a:bodyPr wrap="none" lIns="0" tIns="0" rIns="0" bIns="0">
            <a:noAutofit/>
          </a:bodyPr>
          <a:lstStyle>
            <a:lvl1pPr marL="0" indent="0">
              <a:buNone/>
              <a:defRPr sz="3500" b="0" i="0">
                <a:solidFill>
                  <a:srgbClr val="000942"/>
                </a:solidFill>
                <a:latin typeface="Lato Light" panose="020F0502020204030203" pitchFamily="34" charset="0"/>
                <a:ea typeface="Lato Light" panose="020F0502020204030203" pitchFamily="34" charset="0"/>
                <a:cs typeface="Lato Light" panose="020F0502020204030203" pitchFamily="34" charset="0"/>
              </a:defRPr>
            </a:lvl1pPr>
            <a:lvl2pPr marL="4572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2pPr>
            <a:lvl3pPr marL="9144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3pPr>
            <a:lvl4pPr marL="13716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4pPr>
            <a:lvl5pPr marL="1828800" indent="0">
              <a:buNone/>
              <a:defRPr sz="4500">
                <a:solidFill>
                  <a:schemeClr val="bg1"/>
                </a:solidFill>
                <a:latin typeface="Lato" panose="020F0502020204030203" pitchFamily="34" charset="0"/>
                <a:ea typeface="Lato" panose="020F0502020204030203" pitchFamily="34" charset="0"/>
                <a:cs typeface="Lato" panose="020F0502020204030203" pitchFamily="34" charset="0"/>
              </a:defRPr>
            </a:lvl5pPr>
          </a:lstStyle>
          <a:p>
            <a:pPr lvl="0"/>
            <a:r>
              <a:rPr lang="en-GB"/>
              <a:t>HEADER</a:t>
            </a:r>
            <a:endParaRPr lang="en-US"/>
          </a:p>
        </p:txBody>
      </p:sp>
    </p:spTree>
    <p:extLst>
      <p:ext uri="{BB962C8B-B14F-4D97-AF65-F5344CB8AC3E}">
        <p14:creationId xmlns:p14="http://schemas.microsoft.com/office/powerpoint/2010/main" val="37519118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F2EA3A47-0E94-BFDA-FCEE-14A8A7C3ABBF}"/>
              </a:ext>
            </a:extLst>
          </p:cNvPr>
          <p:cNvSpPr>
            <a:spLocks noGrp="1"/>
          </p:cNvSpPr>
          <p:nvPr>
            <p:ph sz="half" idx="10"/>
          </p:nvPr>
        </p:nvSpPr>
        <p:spPr>
          <a:xfrm>
            <a:off x="444687"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8" name="Content Placeholder 2">
            <a:extLst>
              <a:ext uri="{FF2B5EF4-FFF2-40B4-BE49-F238E27FC236}">
                <a16:creationId xmlns:a16="http://schemas.microsoft.com/office/drawing/2014/main" id="{73C4A349-70C2-B0CF-9BFA-3B848824AE08}"/>
              </a:ext>
            </a:extLst>
          </p:cNvPr>
          <p:cNvSpPr>
            <a:spLocks noGrp="1"/>
          </p:cNvSpPr>
          <p:nvPr>
            <p:ph sz="half" idx="15"/>
          </p:nvPr>
        </p:nvSpPr>
        <p:spPr>
          <a:xfrm>
            <a:off x="4125610"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4" name="Content Placeholder 2">
            <a:extLst>
              <a:ext uri="{FF2B5EF4-FFF2-40B4-BE49-F238E27FC236}">
                <a16:creationId xmlns:a16="http://schemas.microsoft.com/office/drawing/2014/main" id="{FF3F4FBF-D9A0-174E-5629-E7399ED1CDC5}"/>
              </a:ext>
            </a:extLst>
          </p:cNvPr>
          <p:cNvSpPr>
            <a:spLocks noGrp="1"/>
          </p:cNvSpPr>
          <p:nvPr>
            <p:ph sz="half" idx="20"/>
          </p:nvPr>
        </p:nvSpPr>
        <p:spPr>
          <a:xfrm>
            <a:off x="7806533"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5" name="Picture Placeholder 6">
            <a:extLst>
              <a:ext uri="{FF2B5EF4-FFF2-40B4-BE49-F238E27FC236}">
                <a16:creationId xmlns:a16="http://schemas.microsoft.com/office/drawing/2014/main" id="{9E5E0AD1-E33A-B807-336B-C326A88135E2}"/>
              </a:ext>
            </a:extLst>
          </p:cNvPr>
          <p:cNvSpPr>
            <a:spLocks noGrp="1"/>
          </p:cNvSpPr>
          <p:nvPr>
            <p:ph type="pic" sz="quarter" idx="13"/>
          </p:nvPr>
        </p:nvSpPr>
        <p:spPr>
          <a:xfrm>
            <a:off x="1907567" y="1575662"/>
            <a:ext cx="677900" cy="677900"/>
          </a:xfrm>
          <a:prstGeom prst="rect">
            <a:avLst/>
          </a:prstGeom>
        </p:spPr>
        <p:txBody>
          <a:bodyPr/>
          <a:lstStyle>
            <a:lvl1pPr>
              <a:defRPr sz="900"/>
            </a:lvl1pPr>
          </a:lstStyle>
          <a:p>
            <a:endParaRPr lang="en-GB"/>
          </a:p>
        </p:txBody>
      </p:sp>
      <p:sp>
        <p:nvSpPr>
          <p:cNvPr id="17" name="Picture Placeholder 6">
            <a:extLst>
              <a:ext uri="{FF2B5EF4-FFF2-40B4-BE49-F238E27FC236}">
                <a16:creationId xmlns:a16="http://schemas.microsoft.com/office/drawing/2014/main" id="{451FFADA-EB03-B5F0-C8CA-4A78ACC5F1B1}"/>
              </a:ext>
            </a:extLst>
          </p:cNvPr>
          <p:cNvSpPr>
            <a:spLocks noGrp="1"/>
          </p:cNvSpPr>
          <p:nvPr>
            <p:ph type="pic" sz="quarter" idx="14"/>
          </p:nvPr>
        </p:nvSpPr>
        <p:spPr>
          <a:xfrm>
            <a:off x="5588490" y="1575662"/>
            <a:ext cx="677900" cy="677900"/>
          </a:xfrm>
          <a:prstGeom prst="rect">
            <a:avLst/>
          </a:prstGeom>
        </p:spPr>
        <p:txBody>
          <a:bodyPr/>
          <a:lstStyle>
            <a:lvl1pPr>
              <a:defRPr sz="900"/>
            </a:lvl1pPr>
          </a:lstStyle>
          <a:p>
            <a:endParaRPr lang="en-GB"/>
          </a:p>
        </p:txBody>
      </p:sp>
      <p:sp>
        <p:nvSpPr>
          <p:cNvPr id="27" name="Picture Placeholder 6">
            <a:extLst>
              <a:ext uri="{FF2B5EF4-FFF2-40B4-BE49-F238E27FC236}">
                <a16:creationId xmlns:a16="http://schemas.microsoft.com/office/drawing/2014/main" id="{44F8EFCD-61B2-D315-63C6-C8A685BC0AB0}"/>
              </a:ext>
            </a:extLst>
          </p:cNvPr>
          <p:cNvSpPr>
            <a:spLocks noGrp="1"/>
          </p:cNvSpPr>
          <p:nvPr>
            <p:ph type="pic" sz="quarter" idx="23"/>
          </p:nvPr>
        </p:nvSpPr>
        <p:spPr>
          <a:xfrm>
            <a:off x="9269413" y="1575662"/>
            <a:ext cx="677900" cy="677900"/>
          </a:xfrm>
          <a:prstGeom prst="rect">
            <a:avLst/>
          </a:prstGeom>
        </p:spPr>
        <p:txBody>
          <a:bodyPr/>
          <a:lstStyle>
            <a:lvl1pPr>
              <a:defRPr sz="900"/>
            </a:lvl1pPr>
          </a:lstStyle>
          <a:p>
            <a:endParaRPr lang="en-GB"/>
          </a:p>
        </p:txBody>
      </p:sp>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9" name="Content Placeholder 2">
            <a:extLst>
              <a:ext uri="{FF2B5EF4-FFF2-40B4-BE49-F238E27FC236}">
                <a16:creationId xmlns:a16="http://schemas.microsoft.com/office/drawing/2014/main" id="{C7A7304A-F1C5-EC01-76D9-BE661D787AE0}"/>
              </a:ext>
            </a:extLst>
          </p:cNvPr>
          <p:cNvSpPr>
            <a:spLocks noGrp="1"/>
          </p:cNvSpPr>
          <p:nvPr>
            <p:ph sz="half" idx="30"/>
          </p:nvPr>
        </p:nvSpPr>
        <p:spPr>
          <a:xfrm>
            <a:off x="444687"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0" name="Content Placeholder 2">
            <a:extLst>
              <a:ext uri="{FF2B5EF4-FFF2-40B4-BE49-F238E27FC236}">
                <a16:creationId xmlns:a16="http://schemas.microsoft.com/office/drawing/2014/main" id="{BD72E274-D612-9BBE-D75C-118AE6B4335E}"/>
              </a:ext>
            </a:extLst>
          </p:cNvPr>
          <p:cNvSpPr>
            <a:spLocks noGrp="1"/>
          </p:cNvSpPr>
          <p:nvPr>
            <p:ph sz="half" idx="31"/>
          </p:nvPr>
        </p:nvSpPr>
        <p:spPr>
          <a:xfrm>
            <a:off x="4125610"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1" name="Content Placeholder 2">
            <a:extLst>
              <a:ext uri="{FF2B5EF4-FFF2-40B4-BE49-F238E27FC236}">
                <a16:creationId xmlns:a16="http://schemas.microsoft.com/office/drawing/2014/main" id="{51FD6B36-9FD8-072B-58A3-261B14E5A984}"/>
              </a:ext>
            </a:extLst>
          </p:cNvPr>
          <p:cNvSpPr>
            <a:spLocks noGrp="1"/>
          </p:cNvSpPr>
          <p:nvPr>
            <p:ph sz="half" idx="32"/>
          </p:nvPr>
        </p:nvSpPr>
        <p:spPr>
          <a:xfrm>
            <a:off x="7806533"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2" name="Content Placeholder 2">
            <a:extLst>
              <a:ext uri="{FF2B5EF4-FFF2-40B4-BE49-F238E27FC236}">
                <a16:creationId xmlns:a16="http://schemas.microsoft.com/office/drawing/2014/main" id="{41788339-15C9-BE6D-1C5C-98DF60097B32}"/>
              </a:ext>
            </a:extLst>
          </p:cNvPr>
          <p:cNvSpPr>
            <a:spLocks noGrp="1"/>
          </p:cNvSpPr>
          <p:nvPr>
            <p:ph sz="half" idx="33"/>
          </p:nvPr>
        </p:nvSpPr>
        <p:spPr>
          <a:xfrm>
            <a:off x="444687"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3" name="Content Placeholder 2">
            <a:extLst>
              <a:ext uri="{FF2B5EF4-FFF2-40B4-BE49-F238E27FC236}">
                <a16:creationId xmlns:a16="http://schemas.microsoft.com/office/drawing/2014/main" id="{61046743-EAB0-68C9-6928-087FB483745C}"/>
              </a:ext>
            </a:extLst>
          </p:cNvPr>
          <p:cNvSpPr>
            <a:spLocks noGrp="1"/>
          </p:cNvSpPr>
          <p:nvPr>
            <p:ph sz="half" idx="34"/>
          </p:nvPr>
        </p:nvSpPr>
        <p:spPr>
          <a:xfrm>
            <a:off x="4125610"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4" name="Content Placeholder 2">
            <a:extLst>
              <a:ext uri="{FF2B5EF4-FFF2-40B4-BE49-F238E27FC236}">
                <a16:creationId xmlns:a16="http://schemas.microsoft.com/office/drawing/2014/main" id="{022B7B89-F483-EB80-3775-1E68DA30FB91}"/>
              </a:ext>
            </a:extLst>
          </p:cNvPr>
          <p:cNvSpPr>
            <a:spLocks noGrp="1"/>
          </p:cNvSpPr>
          <p:nvPr>
            <p:ph sz="half" idx="35"/>
          </p:nvPr>
        </p:nvSpPr>
        <p:spPr>
          <a:xfrm>
            <a:off x="7806533"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5" name="Picture Placeholder 6">
            <a:extLst>
              <a:ext uri="{FF2B5EF4-FFF2-40B4-BE49-F238E27FC236}">
                <a16:creationId xmlns:a16="http://schemas.microsoft.com/office/drawing/2014/main" id="{0C935899-30E3-F0AB-2616-DBE5CBD7E67B}"/>
              </a:ext>
            </a:extLst>
          </p:cNvPr>
          <p:cNvSpPr>
            <a:spLocks noGrp="1"/>
          </p:cNvSpPr>
          <p:nvPr>
            <p:ph type="pic" sz="quarter" idx="36"/>
          </p:nvPr>
        </p:nvSpPr>
        <p:spPr>
          <a:xfrm>
            <a:off x="1907567" y="3967864"/>
            <a:ext cx="677900" cy="677900"/>
          </a:xfrm>
          <a:prstGeom prst="rect">
            <a:avLst/>
          </a:prstGeom>
        </p:spPr>
        <p:txBody>
          <a:bodyPr/>
          <a:lstStyle>
            <a:lvl1pPr>
              <a:defRPr sz="900"/>
            </a:lvl1pPr>
          </a:lstStyle>
          <a:p>
            <a:endParaRPr lang="en-GB"/>
          </a:p>
        </p:txBody>
      </p:sp>
      <p:sp>
        <p:nvSpPr>
          <p:cNvPr id="46" name="Picture Placeholder 6">
            <a:extLst>
              <a:ext uri="{FF2B5EF4-FFF2-40B4-BE49-F238E27FC236}">
                <a16:creationId xmlns:a16="http://schemas.microsoft.com/office/drawing/2014/main" id="{6A1BB059-B54C-8809-760A-29BE71D92215}"/>
              </a:ext>
            </a:extLst>
          </p:cNvPr>
          <p:cNvSpPr>
            <a:spLocks noGrp="1"/>
          </p:cNvSpPr>
          <p:nvPr>
            <p:ph type="pic" sz="quarter" idx="37"/>
          </p:nvPr>
        </p:nvSpPr>
        <p:spPr>
          <a:xfrm>
            <a:off x="5588490" y="3967864"/>
            <a:ext cx="677900" cy="677900"/>
          </a:xfrm>
          <a:prstGeom prst="rect">
            <a:avLst/>
          </a:prstGeom>
        </p:spPr>
        <p:txBody>
          <a:bodyPr/>
          <a:lstStyle>
            <a:lvl1pPr>
              <a:defRPr sz="900"/>
            </a:lvl1pPr>
          </a:lstStyle>
          <a:p>
            <a:endParaRPr lang="en-GB"/>
          </a:p>
        </p:txBody>
      </p:sp>
      <p:sp>
        <p:nvSpPr>
          <p:cNvPr id="47" name="Picture Placeholder 6">
            <a:extLst>
              <a:ext uri="{FF2B5EF4-FFF2-40B4-BE49-F238E27FC236}">
                <a16:creationId xmlns:a16="http://schemas.microsoft.com/office/drawing/2014/main" id="{614628F8-1F18-5F78-7C25-F488DE97E1E5}"/>
              </a:ext>
            </a:extLst>
          </p:cNvPr>
          <p:cNvSpPr>
            <a:spLocks noGrp="1"/>
          </p:cNvSpPr>
          <p:nvPr>
            <p:ph type="pic" sz="quarter" idx="38"/>
          </p:nvPr>
        </p:nvSpPr>
        <p:spPr>
          <a:xfrm>
            <a:off x="9269413" y="3967864"/>
            <a:ext cx="677900" cy="677900"/>
          </a:xfrm>
          <a:prstGeom prst="rect">
            <a:avLst/>
          </a:prstGeom>
        </p:spPr>
        <p:txBody>
          <a:bodyPr/>
          <a:lstStyle>
            <a:lvl1pPr>
              <a:defRPr sz="900"/>
            </a:lvl1pPr>
          </a:lstStyle>
          <a:p>
            <a:endParaRPr lang="en-GB"/>
          </a:p>
        </p:txBody>
      </p:sp>
      <p:sp>
        <p:nvSpPr>
          <p:cNvPr id="48" name="Content Placeholder 2">
            <a:extLst>
              <a:ext uri="{FF2B5EF4-FFF2-40B4-BE49-F238E27FC236}">
                <a16:creationId xmlns:a16="http://schemas.microsoft.com/office/drawing/2014/main" id="{C336B75B-3271-7146-C4A2-05AEFB52F624}"/>
              </a:ext>
            </a:extLst>
          </p:cNvPr>
          <p:cNvSpPr>
            <a:spLocks noGrp="1"/>
          </p:cNvSpPr>
          <p:nvPr>
            <p:ph sz="half" idx="39"/>
          </p:nvPr>
        </p:nvSpPr>
        <p:spPr>
          <a:xfrm>
            <a:off x="444687"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9" name="Content Placeholder 2">
            <a:extLst>
              <a:ext uri="{FF2B5EF4-FFF2-40B4-BE49-F238E27FC236}">
                <a16:creationId xmlns:a16="http://schemas.microsoft.com/office/drawing/2014/main" id="{A56C595A-704A-E3F8-EEFE-85876C1C066D}"/>
              </a:ext>
            </a:extLst>
          </p:cNvPr>
          <p:cNvSpPr>
            <a:spLocks noGrp="1"/>
          </p:cNvSpPr>
          <p:nvPr>
            <p:ph sz="half" idx="40"/>
          </p:nvPr>
        </p:nvSpPr>
        <p:spPr>
          <a:xfrm>
            <a:off x="4125610"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50" name="Content Placeholder 2">
            <a:extLst>
              <a:ext uri="{FF2B5EF4-FFF2-40B4-BE49-F238E27FC236}">
                <a16:creationId xmlns:a16="http://schemas.microsoft.com/office/drawing/2014/main" id="{C6B669D6-CFF2-A94A-CCB4-577625FE3355}"/>
              </a:ext>
            </a:extLst>
          </p:cNvPr>
          <p:cNvSpPr>
            <a:spLocks noGrp="1"/>
          </p:cNvSpPr>
          <p:nvPr>
            <p:ph sz="half" idx="41"/>
          </p:nvPr>
        </p:nvSpPr>
        <p:spPr>
          <a:xfrm>
            <a:off x="7806533"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Tree>
    <p:extLst>
      <p:ext uri="{BB962C8B-B14F-4D97-AF65-F5344CB8AC3E}">
        <p14:creationId xmlns:p14="http://schemas.microsoft.com/office/powerpoint/2010/main" val="486584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hree line header with icons - no graphic">
    <p:spTree>
      <p:nvGrpSpPr>
        <p:cNvPr id="1" name=""/>
        <p:cNvGrpSpPr/>
        <p:nvPr/>
      </p:nvGrpSpPr>
      <p:grpSpPr>
        <a:xfrm>
          <a:off x="0" y="0"/>
          <a:ext cx="0" cy="0"/>
          <a:chOff x="0" y="0"/>
          <a:chExt cx="0" cy="0"/>
        </a:xfrm>
      </p:grpSpPr>
      <p:sp>
        <p:nvSpPr>
          <p:cNvPr id="3" name="Title 12">
            <a:extLst>
              <a:ext uri="{FF2B5EF4-FFF2-40B4-BE49-F238E27FC236}">
                <a16:creationId xmlns:a16="http://schemas.microsoft.com/office/drawing/2014/main" id="{1A212342-33B8-1D2D-A0F6-81E327B15E08}"/>
              </a:ext>
            </a:extLst>
          </p:cNvPr>
          <p:cNvSpPr>
            <a:spLocks noGrp="1"/>
          </p:cNvSpPr>
          <p:nvPr>
            <p:ph type="title" hasCustomPrompt="1"/>
          </p:nvPr>
        </p:nvSpPr>
        <p:spPr>
          <a:xfrm>
            <a:off x="719998" y="539999"/>
            <a:ext cx="8280000" cy="847407"/>
          </a:xfrm>
          <a:prstGeom prst="rect">
            <a:avLst/>
          </a:prstGeom>
        </p:spPr>
        <p:txBody>
          <a:bodyPr anchor="t" anchorCtr="0"/>
          <a:lstStyle>
            <a:lvl1pPr>
              <a:defRPr sz="3000"/>
            </a:lvl1pPr>
          </a:lstStyle>
          <a:p>
            <a:r>
              <a:rPr lang="en-US"/>
              <a:t>CLICK TO EDIT </a:t>
            </a:r>
            <a:br>
              <a:rPr lang="en-US"/>
            </a:br>
            <a:r>
              <a:rPr lang="en-US"/>
              <a:t>MASTER TITLE</a:t>
            </a:r>
            <a:endParaRPr lang="en-GB"/>
          </a:p>
        </p:txBody>
      </p:sp>
      <p:sp>
        <p:nvSpPr>
          <p:cNvPr id="2" name="Content Placeholder 2">
            <a:extLst>
              <a:ext uri="{FF2B5EF4-FFF2-40B4-BE49-F238E27FC236}">
                <a16:creationId xmlns:a16="http://schemas.microsoft.com/office/drawing/2014/main" id="{FCBD1632-6A95-EFF4-9604-0526AEDE5317}"/>
              </a:ext>
            </a:extLst>
          </p:cNvPr>
          <p:cNvSpPr>
            <a:spLocks noGrp="1"/>
          </p:cNvSpPr>
          <p:nvPr>
            <p:ph sz="half" idx="10"/>
          </p:nvPr>
        </p:nvSpPr>
        <p:spPr>
          <a:xfrm>
            <a:off x="444687"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4" name="Content Placeholder 2">
            <a:extLst>
              <a:ext uri="{FF2B5EF4-FFF2-40B4-BE49-F238E27FC236}">
                <a16:creationId xmlns:a16="http://schemas.microsoft.com/office/drawing/2014/main" id="{2CC71864-1745-C9C5-AC94-B3122569DB61}"/>
              </a:ext>
            </a:extLst>
          </p:cNvPr>
          <p:cNvSpPr>
            <a:spLocks noGrp="1"/>
          </p:cNvSpPr>
          <p:nvPr>
            <p:ph sz="half" idx="15"/>
          </p:nvPr>
        </p:nvSpPr>
        <p:spPr>
          <a:xfrm>
            <a:off x="4125610"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5" name="Content Placeholder 2">
            <a:extLst>
              <a:ext uri="{FF2B5EF4-FFF2-40B4-BE49-F238E27FC236}">
                <a16:creationId xmlns:a16="http://schemas.microsoft.com/office/drawing/2014/main" id="{A41868B7-BEB3-46F5-5543-2C641A7CD928}"/>
              </a:ext>
            </a:extLst>
          </p:cNvPr>
          <p:cNvSpPr>
            <a:spLocks noGrp="1"/>
          </p:cNvSpPr>
          <p:nvPr>
            <p:ph sz="half" idx="20"/>
          </p:nvPr>
        </p:nvSpPr>
        <p:spPr>
          <a:xfrm>
            <a:off x="7806533" y="2349958"/>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6" name="Picture Placeholder 6">
            <a:extLst>
              <a:ext uri="{FF2B5EF4-FFF2-40B4-BE49-F238E27FC236}">
                <a16:creationId xmlns:a16="http://schemas.microsoft.com/office/drawing/2014/main" id="{A2B81564-F865-56C7-4CE5-131A728B6AC0}"/>
              </a:ext>
            </a:extLst>
          </p:cNvPr>
          <p:cNvSpPr>
            <a:spLocks noGrp="1"/>
          </p:cNvSpPr>
          <p:nvPr>
            <p:ph type="pic" sz="quarter" idx="13"/>
          </p:nvPr>
        </p:nvSpPr>
        <p:spPr>
          <a:xfrm>
            <a:off x="1907567" y="1575662"/>
            <a:ext cx="677900" cy="677900"/>
          </a:xfrm>
          <a:prstGeom prst="rect">
            <a:avLst/>
          </a:prstGeom>
        </p:spPr>
        <p:txBody>
          <a:bodyPr/>
          <a:lstStyle>
            <a:lvl1pPr>
              <a:defRPr sz="900"/>
            </a:lvl1pPr>
          </a:lstStyle>
          <a:p>
            <a:endParaRPr lang="en-GB"/>
          </a:p>
        </p:txBody>
      </p:sp>
      <p:sp>
        <p:nvSpPr>
          <p:cNvPr id="7" name="Picture Placeholder 6">
            <a:extLst>
              <a:ext uri="{FF2B5EF4-FFF2-40B4-BE49-F238E27FC236}">
                <a16:creationId xmlns:a16="http://schemas.microsoft.com/office/drawing/2014/main" id="{F762CED8-483B-CE0F-C893-7341376B8CDD}"/>
              </a:ext>
            </a:extLst>
          </p:cNvPr>
          <p:cNvSpPr>
            <a:spLocks noGrp="1"/>
          </p:cNvSpPr>
          <p:nvPr>
            <p:ph type="pic" sz="quarter" idx="14"/>
          </p:nvPr>
        </p:nvSpPr>
        <p:spPr>
          <a:xfrm>
            <a:off x="5588490" y="1575662"/>
            <a:ext cx="677900" cy="677900"/>
          </a:xfrm>
          <a:prstGeom prst="rect">
            <a:avLst/>
          </a:prstGeom>
        </p:spPr>
        <p:txBody>
          <a:bodyPr/>
          <a:lstStyle>
            <a:lvl1pPr>
              <a:defRPr sz="900"/>
            </a:lvl1pPr>
          </a:lstStyle>
          <a:p>
            <a:endParaRPr lang="en-GB"/>
          </a:p>
        </p:txBody>
      </p:sp>
      <p:sp>
        <p:nvSpPr>
          <p:cNvPr id="8" name="Picture Placeholder 6">
            <a:extLst>
              <a:ext uri="{FF2B5EF4-FFF2-40B4-BE49-F238E27FC236}">
                <a16:creationId xmlns:a16="http://schemas.microsoft.com/office/drawing/2014/main" id="{E89654F4-1A58-8EA1-CB02-E45F60F64D29}"/>
              </a:ext>
            </a:extLst>
          </p:cNvPr>
          <p:cNvSpPr>
            <a:spLocks noGrp="1"/>
          </p:cNvSpPr>
          <p:nvPr>
            <p:ph type="pic" sz="quarter" idx="23"/>
          </p:nvPr>
        </p:nvSpPr>
        <p:spPr>
          <a:xfrm>
            <a:off x="9269413" y="1575662"/>
            <a:ext cx="677900" cy="677900"/>
          </a:xfrm>
          <a:prstGeom prst="rect">
            <a:avLst/>
          </a:prstGeom>
        </p:spPr>
        <p:txBody>
          <a:bodyPr/>
          <a:lstStyle>
            <a:lvl1pPr>
              <a:defRPr sz="900"/>
            </a:lvl1pPr>
          </a:lstStyle>
          <a:p>
            <a:endParaRPr lang="en-GB"/>
          </a:p>
        </p:txBody>
      </p:sp>
      <p:sp>
        <p:nvSpPr>
          <p:cNvPr id="12" name="Content Placeholder 2">
            <a:extLst>
              <a:ext uri="{FF2B5EF4-FFF2-40B4-BE49-F238E27FC236}">
                <a16:creationId xmlns:a16="http://schemas.microsoft.com/office/drawing/2014/main" id="{17CBE2DF-6ECB-6C19-093A-58145D1979FA}"/>
              </a:ext>
            </a:extLst>
          </p:cNvPr>
          <p:cNvSpPr>
            <a:spLocks noGrp="1"/>
          </p:cNvSpPr>
          <p:nvPr>
            <p:ph sz="half" idx="30"/>
          </p:nvPr>
        </p:nvSpPr>
        <p:spPr>
          <a:xfrm>
            <a:off x="444687"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3" name="Content Placeholder 2">
            <a:extLst>
              <a:ext uri="{FF2B5EF4-FFF2-40B4-BE49-F238E27FC236}">
                <a16:creationId xmlns:a16="http://schemas.microsoft.com/office/drawing/2014/main" id="{44B751EB-7EE5-FFF8-F30B-D6AEBDC22795}"/>
              </a:ext>
            </a:extLst>
          </p:cNvPr>
          <p:cNvSpPr>
            <a:spLocks noGrp="1"/>
          </p:cNvSpPr>
          <p:nvPr>
            <p:ph sz="half" idx="31"/>
          </p:nvPr>
        </p:nvSpPr>
        <p:spPr>
          <a:xfrm>
            <a:off x="4125610"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4" name="Content Placeholder 2">
            <a:extLst>
              <a:ext uri="{FF2B5EF4-FFF2-40B4-BE49-F238E27FC236}">
                <a16:creationId xmlns:a16="http://schemas.microsoft.com/office/drawing/2014/main" id="{0AA7D3DF-A3D4-51A4-2B15-E46EB90F1495}"/>
              </a:ext>
            </a:extLst>
          </p:cNvPr>
          <p:cNvSpPr>
            <a:spLocks noGrp="1"/>
          </p:cNvSpPr>
          <p:nvPr>
            <p:ph sz="half" idx="32"/>
          </p:nvPr>
        </p:nvSpPr>
        <p:spPr>
          <a:xfrm>
            <a:off x="7806533" y="2683250"/>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19" name="Content Placeholder 2">
            <a:extLst>
              <a:ext uri="{FF2B5EF4-FFF2-40B4-BE49-F238E27FC236}">
                <a16:creationId xmlns:a16="http://schemas.microsoft.com/office/drawing/2014/main" id="{E1FFB620-0266-76F6-E760-7E4A8DBDAD19}"/>
              </a:ext>
            </a:extLst>
          </p:cNvPr>
          <p:cNvSpPr>
            <a:spLocks noGrp="1"/>
          </p:cNvSpPr>
          <p:nvPr>
            <p:ph sz="half" idx="33"/>
          </p:nvPr>
        </p:nvSpPr>
        <p:spPr>
          <a:xfrm>
            <a:off x="444687"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0" name="Content Placeholder 2">
            <a:extLst>
              <a:ext uri="{FF2B5EF4-FFF2-40B4-BE49-F238E27FC236}">
                <a16:creationId xmlns:a16="http://schemas.microsoft.com/office/drawing/2014/main" id="{5EC1E242-1C5D-3501-7465-AF43778A985F}"/>
              </a:ext>
            </a:extLst>
          </p:cNvPr>
          <p:cNvSpPr>
            <a:spLocks noGrp="1"/>
          </p:cNvSpPr>
          <p:nvPr>
            <p:ph sz="half" idx="34"/>
          </p:nvPr>
        </p:nvSpPr>
        <p:spPr>
          <a:xfrm>
            <a:off x="4125610"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1" name="Content Placeholder 2">
            <a:extLst>
              <a:ext uri="{FF2B5EF4-FFF2-40B4-BE49-F238E27FC236}">
                <a16:creationId xmlns:a16="http://schemas.microsoft.com/office/drawing/2014/main" id="{E01B5987-CB28-7274-72C5-864CE75AFF19}"/>
              </a:ext>
            </a:extLst>
          </p:cNvPr>
          <p:cNvSpPr>
            <a:spLocks noGrp="1"/>
          </p:cNvSpPr>
          <p:nvPr>
            <p:ph sz="half" idx="35"/>
          </p:nvPr>
        </p:nvSpPr>
        <p:spPr>
          <a:xfrm>
            <a:off x="7806533" y="4742160"/>
            <a:ext cx="3600000" cy="275948"/>
          </a:xfrm>
          <a:prstGeom prst="rect">
            <a:avLst/>
          </a:prstGeom>
        </p:spPr>
        <p:txBody>
          <a:bodyPr numCol="1" spcCol="180000"/>
          <a:lstStyle>
            <a:lvl1pPr algn="ctr">
              <a:spcBef>
                <a:spcPts val="0"/>
              </a:spcBef>
              <a:spcAft>
                <a:spcPts val="600"/>
              </a:spcAft>
              <a:defRPr sz="1000" b="1">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2" name="Picture Placeholder 6">
            <a:extLst>
              <a:ext uri="{FF2B5EF4-FFF2-40B4-BE49-F238E27FC236}">
                <a16:creationId xmlns:a16="http://schemas.microsoft.com/office/drawing/2014/main" id="{1FC7E750-8474-8EF9-0808-A978E35618B1}"/>
              </a:ext>
            </a:extLst>
          </p:cNvPr>
          <p:cNvSpPr>
            <a:spLocks noGrp="1"/>
          </p:cNvSpPr>
          <p:nvPr>
            <p:ph type="pic" sz="quarter" idx="36"/>
          </p:nvPr>
        </p:nvSpPr>
        <p:spPr>
          <a:xfrm>
            <a:off x="1907567" y="3967864"/>
            <a:ext cx="677900" cy="677900"/>
          </a:xfrm>
          <a:prstGeom prst="rect">
            <a:avLst/>
          </a:prstGeom>
        </p:spPr>
        <p:txBody>
          <a:bodyPr/>
          <a:lstStyle>
            <a:lvl1pPr>
              <a:defRPr sz="900"/>
            </a:lvl1pPr>
          </a:lstStyle>
          <a:p>
            <a:endParaRPr lang="en-GB"/>
          </a:p>
        </p:txBody>
      </p:sp>
      <p:sp>
        <p:nvSpPr>
          <p:cNvPr id="23" name="Picture Placeholder 6">
            <a:extLst>
              <a:ext uri="{FF2B5EF4-FFF2-40B4-BE49-F238E27FC236}">
                <a16:creationId xmlns:a16="http://schemas.microsoft.com/office/drawing/2014/main" id="{26C749F1-872B-5FA8-3092-46C986BB6269}"/>
              </a:ext>
            </a:extLst>
          </p:cNvPr>
          <p:cNvSpPr>
            <a:spLocks noGrp="1"/>
          </p:cNvSpPr>
          <p:nvPr>
            <p:ph type="pic" sz="quarter" idx="37"/>
          </p:nvPr>
        </p:nvSpPr>
        <p:spPr>
          <a:xfrm>
            <a:off x="5588490" y="3967864"/>
            <a:ext cx="677900" cy="677900"/>
          </a:xfrm>
          <a:prstGeom prst="rect">
            <a:avLst/>
          </a:prstGeom>
        </p:spPr>
        <p:txBody>
          <a:bodyPr/>
          <a:lstStyle>
            <a:lvl1pPr>
              <a:defRPr sz="900"/>
            </a:lvl1pPr>
          </a:lstStyle>
          <a:p>
            <a:endParaRPr lang="en-GB"/>
          </a:p>
        </p:txBody>
      </p:sp>
      <p:sp>
        <p:nvSpPr>
          <p:cNvPr id="25" name="Picture Placeholder 6">
            <a:extLst>
              <a:ext uri="{FF2B5EF4-FFF2-40B4-BE49-F238E27FC236}">
                <a16:creationId xmlns:a16="http://schemas.microsoft.com/office/drawing/2014/main" id="{A71EE605-09D0-4FF8-FCC1-B0E141B99021}"/>
              </a:ext>
            </a:extLst>
          </p:cNvPr>
          <p:cNvSpPr>
            <a:spLocks noGrp="1"/>
          </p:cNvSpPr>
          <p:nvPr>
            <p:ph type="pic" sz="quarter" idx="38"/>
          </p:nvPr>
        </p:nvSpPr>
        <p:spPr>
          <a:xfrm>
            <a:off x="9269413" y="3967864"/>
            <a:ext cx="677900" cy="677900"/>
          </a:xfrm>
          <a:prstGeom prst="rect">
            <a:avLst/>
          </a:prstGeom>
        </p:spPr>
        <p:txBody>
          <a:bodyPr/>
          <a:lstStyle>
            <a:lvl1pPr>
              <a:defRPr sz="900"/>
            </a:lvl1pPr>
          </a:lstStyle>
          <a:p>
            <a:endParaRPr lang="en-GB"/>
          </a:p>
        </p:txBody>
      </p:sp>
      <p:sp>
        <p:nvSpPr>
          <p:cNvPr id="26" name="Content Placeholder 2">
            <a:extLst>
              <a:ext uri="{FF2B5EF4-FFF2-40B4-BE49-F238E27FC236}">
                <a16:creationId xmlns:a16="http://schemas.microsoft.com/office/drawing/2014/main" id="{E0450857-E840-AE16-07F2-4175EBF6C6E0}"/>
              </a:ext>
            </a:extLst>
          </p:cNvPr>
          <p:cNvSpPr>
            <a:spLocks noGrp="1"/>
          </p:cNvSpPr>
          <p:nvPr>
            <p:ph sz="half" idx="39"/>
          </p:nvPr>
        </p:nvSpPr>
        <p:spPr>
          <a:xfrm>
            <a:off x="444687"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8" name="Content Placeholder 2">
            <a:extLst>
              <a:ext uri="{FF2B5EF4-FFF2-40B4-BE49-F238E27FC236}">
                <a16:creationId xmlns:a16="http://schemas.microsoft.com/office/drawing/2014/main" id="{BF966802-BC87-3AC8-081B-3679943D58F6}"/>
              </a:ext>
            </a:extLst>
          </p:cNvPr>
          <p:cNvSpPr>
            <a:spLocks noGrp="1"/>
          </p:cNvSpPr>
          <p:nvPr>
            <p:ph sz="half" idx="40"/>
          </p:nvPr>
        </p:nvSpPr>
        <p:spPr>
          <a:xfrm>
            <a:off x="4125610"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
        <p:nvSpPr>
          <p:cNvPr id="29" name="Content Placeholder 2">
            <a:extLst>
              <a:ext uri="{FF2B5EF4-FFF2-40B4-BE49-F238E27FC236}">
                <a16:creationId xmlns:a16="http://schemas.microsoft.com/office/drawing/2014/main" id="{2368AA3C-D8AD-E970-950A-55C3D52AD6C1}"/>
              </a:ext>
            </a:extLst>
          </p:cNvPr>
          <p:cNvSpPr>
            <a:spLocks noGrp="1"/>
          </p:cNvSpPr>
          <p:nvPr>
            <p:ph sz="half" idx="41"/>
          </p:nvPr>
        </p:nvSpPr>
        <p:spPr>
          <a:xfrm>
            <a:off x="7806533" y="5075452"/>
            <a:ext cx="3600000" cy="1103746"/>
          </a:xfrm>
          <a:prstGeom prst="rect">
            <a:avLst/>
          </a:prstGeom>
        </p:spPr>
        <p:txBody>
          <a:bodyPr numCol="1" spcCol="180000"/>
          <a:lstStyle>
            <a:lvl1pPr algn="ctr">
              <a:lnSpc>
                <a:spcPct val="100000"/>
              </a:lnSpc>
              <a:spcBef>
                <a:spcPts val="600"/>
              </a:spcBef>
              <a:spcAft>
                <a:spcPts val="600"/>
              </a:spcAft>
              <a:defRPr sz="1000" b="0">
                <a:solidFill>
                  <a:srgbClr val="54555A"/>
                </a:solidFill>
                <a:latin typeface="Verdana" panose="020B0604030504040204" pitchFamily="34" charset="0"/>
                <a:ea typeface="Verdana" panose="020B0604030504040204" pitchFamily="34" charset="0"/>
              </a:defRPr>
            </a:lvl1pPr>
            <a:lvl2pPr marL="800100" indent="-342900" algn="l">
              <a:spcBef>
                <a:spcPts val="900"/>
              </a:spcBef>
              <a:spcAft>
                <a:spcPts val="3000"/>
              </a:spcAft>
              <a:buFont typeface="Arial" panose="020B0604020202020204" pitchFamily="34" charset="0"/>
              <a:buChar char="•"/>
              <a:defRPr sz="1200" b="0">
                <a:solidFill>
                  <a:srgbClr val="54555A"/>
                </a:solidFill>
                <a:latin typeface="Verdana" panose="020B0604030504040204" pitchFamily="34" charset="0"/>
                <a:ea typeface="Verdana" panose="020B0604030504040204" pitchFamily="34" charset="0"/>
              </a:defRPr>
            </a:lvl2pPr>
            <a:lvl3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3pPr>
            <a:lvl4pPr algn="l">
              <a:spcBef>
                <a:spcPts val="900"/>
              </a:spcBef>
              <a:spcAft>
                <a:spcPts val="3000"/>
              </a:spcAft>
              <a:defRPr sz="1200" b="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br>
              <a:rPr lang="en-US"/>
            </a:br>
            <a:endParaRPr lang="en-US"/>
          </a:p>
        </p:txBody>
      </p:sp>
    </p:spTree>
    <p:extLst>
      <p:ext uri="{BB962C8B-B14F-4D97-AF65-F5344CB8AC3E}">
        <p14:creationId xmlns:p14="http://schemas.microsoft.com/office/powerpoint/2010/main" val="30190146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2542-C9BF-24D5-204E-502E40D11879}"/>
              </a:ext>
            </a:extLst>
          </p:cNvPr>
          <p:cNvSpPr>
            <a:spLocks noGrp="1"/>
          </p:cNvSpPr>
          <p:nvPr>
            <p:ph type="title" hasCustomPrompt="1"/>
          </p:nvPr>
        </p:nvSpPr>
        <p:spPr>
          <a:xfrm>
            <a:off x="720000" y="540000"/>
            <a:ext cx="8280000" cy="468000"/>
          </a:xfrm>
          <a:prstGeom prst="rect">
            <a:avLst/>
          </a:prstGeom>
        </p:spPr>
        <p:txBody>
          <a:bodyPr anchor="t" anchorCtr="0"/>
          <a:lstStyle>
            <a:lvl1pPr>
              <a:defRPr sz="3000"/>
            </a:lvl1pPr>
          </a:lstStyle>
          <a:p>
            <a:r>
              <a:rPr lang="en-US"/>
              <a:t>CLICK TO EDIT MASTER TITLE</a:t>
            </a:r>
            <a:endParaRPr lang="en-GB"/>
          </a:p>
        </p:txBody>
      </p:sp>
      <p:sp>
        <p:nvSpPr>
          <p:cNvPr id="4" name="Text Placeholder 3">
            <a:extLst>
              <a:ext uri="{FF2B5EF4-FFF2-40B4-BE49-F238E27FC236}">
                <a16:creationId xmlns:a16="http://schemas.microsoft.com/office/drawing/2014/main" id="{1AD5A1D2-B7BB-97DB-17EA-6F629FB42F45}"/>
              </a:ext>
            </a:extLst>
          </p:cNvPr>
          <p:cNvSpPr>
            <a:spLocks noGrp="1"/>
          </p:cNvSpPr>
          <p:nvPr>
            <p:ph type="body" sz="half" idx="2"/>
          </p:nvPr>
        </p:nvSpPr>
        <p:spPr>
          <a:xfrm>
            <a:off x="720000" y="1440000"/>
            <a:ext cx="8280000" cy="253196"/>
          </a:xfrm>
          <a:prstGeom prst="rect">
            <a:avLst/>
          </a:prstGeom>
        </p:spPr>
        <p:txBody>
          <a:bodyPr/>
          <a:lstStyle>
            <a:lvl1pPr marL="0" indent="0">
              <a:buNone/>
              <a:defRPr sz="1400">
                <a:solidFill>
                  <a:srgbClr val="54555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Chart Placeholder 8">
            <a:extLst>
              <a:ext uri="{FF2B5EF4-FFF2-40B4-BE49-F238E27FC236}">
                <a16:creationId xmlns:a16="http://schemas.microsoft.com/office/drawing/2014/main" id="{2227076E-80CB-3340-3DC8-3783D0A92220}"/>
              </a:ext>
            </a:extLst>
          </p:cNvPr>
          <p:cNvSpPr>
            <a:spLocks noGrp="1"/>
          </p:cNvSpPr>
          <p:nvPr>
            <p:ph type="chart" sz="quarter" idx="10"/>
          </p:nvPr>
        </p:nvSpPr>
        <p:spPr>
          <a:xfrm>
            <a:off x="4914900" y="1980000"/>
            <a:ext cx="3543300" cy="3811588"/>
          </a:xfrm>
          <a:prstGeom prst="rect">
            <a:avLst/>
          </a:prstGeom>
        </p:spPr>
        <p:txBody>
          <a:bodyPr/>
          <a:lstStyle>
            <a:lvl1pPr>
              <a:defRPr sz="900"/>
            </a:lvl1pPr>
          </a:lstStyle>
          <a:p>
            <a:endParaRPr lang="en-GB"/>
          </a:p>
        </p:txBody>
      </p:sp>
      <p:sp>
        <p:nvSpPr>
          <p:cNvPr id="11" name="Table Placeholder 10">
            <a:extLst>
              <a:ext uri="{FF2B5EF4-FFF2-40B4-BE49-F238E27FC236}">
                <a16:creationId xmlns:a16="http://schemas.microsoft.com/office/drawing/2014/main" id="{B20A63D4-2E2A-1C96-59EF-62CA748392C9}"/>
              </a:ext>
            </a:extLst>
          </p:cNvPr>
          <p:cNvSpPr>
            <a:spLocks noGrp="1"/>
          </p:cNvSpPr>
          <p:nvPr>
            <p:ph type="tbl" sz="quarter" idx="11"/>
          </p:nvPr>
        </p:nvSpPr>
        <p:spPr>
          <a:xfrm>
            <a:off x="8686800" y="1980000"/>
            <a:ext cx="3136900" cy="3824287"/>
          </a:xfrm>
          <a:prstGeom prst="rect">
            <a:avLst/>
          </a:prstGeom>
        </p:spPr>
        <p:txBody>
          <a:bodyPr/>
          <a:lstStyle>
            <a:lvl1pPr>
              <a:defRPr sz="900"/>
            </a:lvl1pPr>
          </a:lstStyle>
          <a:p>
            <a:endParaRPr lang="en-GB"/>
          </a:p>
        </p:txBody>
      </p:sp>
      <p:sp>
        <p:nvSpPr>
          <p:cNvPr id="3" name="Content Placeholder 2">
            <a:extLst>
              <a:ext uri="{FF2B5EF4-FFF2-40B4-BE49-F238E27FC236}">
                <a16:creationId xmlns:a16="http://schemas.microsoft.com/office/drawing/2014/main" id="{54504701-9D88-06F7-C90D-6ED24A7B649A}"/>
              </a:ext>
            </a:extLst>
          </p:cNvPr>
          <p:cNvSpPr>
            <a:spLocks noGrp="1"/>
          </p:cNvSpPr>
          <p:nvPr>
            <p:ph sz="half" idx="12"/>
          </p:nvPr>
        </p:nvSpPr>
        <p:spPr>
          <a:xfrm>
            <a:off x="720000" y="1980000"/>
            <a:ext cx="3966300" cy="3811588"/>
          </a:xfrm>
          <a:prstGeom prst="rect">
            <a:avLst/>
          </a:prstGeom>
        </p:spPr>
        <p:txBody>
          <a:bodyPr/>
          <a:lstStyle>
            <a:lvl1pPr>
              <a:spcBef>
                <a:spcPts val="600"/>
              </a:spcBef>
              <a:spcAft>
                <a:spcPts val="600"/>
              </a:spcAft>
              <a:defRPr sz="1200" b="0">
                <a:solidFill>
                  <a:srgbClr val="54555A"/>
                </a:solidFill>
                <a:latin typeface="Verdana" panose="020B0604030504040204" pitchFamily="34" charset="0"/>
                <a:ea typeface="Verdana" panose="020B0604030504040204" pitchFamily="34" charset="0"/>
              </a:defRPr>
            </a:lvl1pPr>
            <a:lvl2pPr marL="800100" indent="-342900">
              <a:spcBef>
                <a:spcPts val="600"/>
              </a:spcBef>
              <a:spcAft>
                <a:spcPts val="600"/>
              </a:spcAft>
              <a:buFont typeface="Arial" panose="020B0604020202020204" pitchFamily="34" charset="0"/>
              <a:buChar char="•"/>
              <a:defRPr sz="1100">
                <a:solidFill>
                  <a:srgbClr val="54555A"/>
                </a:solidFill>
                <a:latin typeface="Verdana" panose="020B0604030504040204" pitchFamily="34" charset="0"/>
                <a:ea typeface="Verdana" panose="020B0604030504040204" pitchFamily="34" charset="0"/>
              </a:defRPr>
            </a:lvl2pPr>
            <a:lvl3pPr>
              <a:spcBef>
                <a:spcPts val="600"/>
              </a:spcBef>
              <a:spcAft>
                <a:spcPts val="600"/>
              </a:spcAft>
              <a:defRPr sz="1000">
                <a:solidFill>
                  <a:srgbClr val="54555A"/>
                </a:solidFill>
                <a:latin typeface="Verdana" panose="020B0604030504040204" pitchFamily="34" charset="0"/>
                <a:ea typeface="Verdana" panose="020B0604030504040204" pitchFamily="34" charset="0"/>
              </a:defRPr>
            </a:lvl3pPr>
            <a:lvl4pPr>
              <a:spcBef>
                <a:spcPts val="600"/>
              </a:spcBef>
              <a:spcAft>
                <a:spcPts val="600"/>
              </a:spcAft>
              <a:defRPr sz="900">
                <a:solidFill>
                  <a:srgbClr val="54555A"/>
                </a:solidFill>
                <a:latin typeface="Verdana" panose="020B0604030504040204" pitchFamily="34" charset="0"/>
                <a:ea typeface="Verdana" panose="020B060403050404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251996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1747C1-6850-275E-7E57-535FF0E24112}"/>
              </a:ext>
            </a:extLst>
          </p:cNvPr>
          <p:cNvSpPr>
            <a:spLocks noGrp="1"/>
          </p:cNvSpPr>
          <p:nvPr>
            <p:ph type="pic" sz="quarter" idx="10"/>
          </p:nvPr>
        </p:nvSpPr>
        <p:spPr>
          <a:xfrm>
            <a:off x="720000" y="1619999"/>
            <a:ext cx="5346700" cy="4572001"/>
          </a:xfrm>
          <a:prstGeom prst="rect">
            <a:avLst/>
          </a:prstGeom>
        </p:spPr>
        <p:txBody>
          <a:bodyPr/>
          <a:lstStyle>
            <a:lvl1pPr>
              <a:defRPr sz="900"/>
            </a:lvl1pPr>
          </a:lstStyle>
          <a:p>
            <a:endParaRPr lang="en-GB"/>
          </a:p>
        </p:txBody>
      </p:sp>
      <p:sp>
        <p:nvSpPr>
          <p:cNvPr id="8" name="Picture Placeholder 6">
            <a:extLst>
              <a:ext uri="{FF2B5EF4-FFF2-40B4-BE49-F238E27FC236}">
                <a16:creationId xmlns:a16="http://schemas.microsoft.com/office/drawing/2014/main" id="{8566387B-1C19-F6A9-62BE-150886F75943}"/>
              </a:ext>
            </a:extLst>
          </p:cNvPr>
          <p:cNvSpPr>
            <a:spLocks noGrp="1"/>
          </p:cNvSpPr>
          <p:nvPr>
            <p:ph type="pic" sz="quarter" idx="11"/>
          </p:nvPr>
        </p:nvSpPr>
        <p:spPr>
          <a:xfrm>
            <a:off x="6347082" y="1619999"/>
            <a:ext cx="2520000" cy="2160000"/>
          </a:xfrm>
          <a:prstGeom prst="rect">
            <a:avLst/>
          </a:prstGeom>
        </p:spPr>
        <p:txBody>
          <a:bodyPr/>
          <a:lstStyle>
            <a:lvl1pPr>
              <a:defRPr sz="900"/>
            </a:lvl1pPr>
          </a:lstStyle>
          <a:p>
            <a:endParaRPr lang="en-GB"/>
          </a:p>
        </p:txBody>
      </p:sp>
      <p:sp>
        <p:nvSpPr>
          <p:cNvPr id="9" name="Picture Placeholder 6">
            <a:extLst>
              <a:ext uri="{FF2B5EF4-FFF2-40B4-BE49-F238E27FC236}">
                <a16:creationId xmlns:a16="http://schemas.microsoft.com/office/drawing/2014/main" id="{140DC165-89F3-2F8D-CFCB-64F34975F10E}"/>
              </a:ext>
            </a:extLst>
          </p:cNvPr>
          <p:cNvSpPr>
            <a:spLocks noGrp="1"/>
          </p:cNvSpPr>
          <p:nvPr>
            <p:ph type="pic" sz="quarter" idx="12"/>
          </p:nvPr>
        </p:nvSpPr>
        <p:spPr>
          <a:xfrm>
            <a:off x="9147464" y="1619999"/>
            <a:ext cx="2520000" cy="2160000"/>
          </a:xfrm>
          <a:prstGeom prst="rect">
            <a:avLst/>
          </a:prstGeom>
        </p:spPr>
        <p:txBody>
          <a:bodyPr/>
          <a:lstStyle>
            <a:lvl1pPr>
              <a:defRPr sz="900"/>
            </a:lvl1pPr>
          </a:lstStyle>
          <a:p>
            <a:endParaRPr lang="en-GB"/>
          </a:p>
        </p:txBody>
      </p:sp>
      <p:sp>
        <p:nvSpPr>
          <p:cNvPr id="10" name="Picture Placeholder 6">
            <a:extLst>
              <a:ext uri="{FF2B5EF4-FFF2-40B4-BE49-F238E27FC236}">
                <a16:creationId xmlns:a16="http://schemas.microsoft.com/office/drawing/2014/main" id="{9A4FA696-3053-8EAD-676F-F3B3679F9109}"/>
              </a:ext>
            </a:extLst>
          </p:cNvPr>
          <p:cNvSpPr>
            <a:spLocks noGrp="1"/>
          </p:cNvSpPr>
          <p:nvPr>
            <p:ph type="pic" sz="quarter" idx="13"/>
          </p:nvPr>
        </p:nvSpPr>
        <p:spPr>
          <a:xfrm>
            <a:off x="6347082" y="4032000"/>
            <a:ext cx="2520000" cy="2160000"/>
          </a:xfrm>
          <a:prstGeom prst="rect">
            <a:avLst/>
          </a:prstGeom>
        </p:spPr>
        <p:txBody>
          <a:bodyPr/>
          <a:lstStyle>
            <a:lvl1pPr>
              <a:defRPr sz="900"/>
            </a:lvl1pPr>
          </a:lstStyle>
          <a:p>
            <a:endParaRPr lang="en-GB"/>
          </a:p>
        </p:txBody>
      </p:sp>
      <p:sp>
        <p:nvSpPr>
          <p:cNvPr id="11" name="Picture Placeholder 6">
            <a:extLst>
              <a:ext uri="{FF2B5EF4-FFF2-40B4-BE49-F238E27FC236}">
                <a16:creationId xmlns:a16="http://schemas.microsoft.com/office/drawing/2014/main" id="{2FA35AD2-97C3-7AC6-AABE-5FF33C8AD3E8}"/>
              </a:ext>
            </a:extLst>
          </p:cNvPr>
          <p:cNvSpPr>
            <a:spLocks noGrp="1"/>
          </p:cNvSpPr>
          <p:nvPr>
            <p:ph type="pic" sz="quarter" idx="14"/>
          </p:nvPr>
        </p:nvSpPr>
        <p:spPr>
          <a:xfrm>
            <a:off x="9147464" y="4032000"/>
            <a:ext cx="2520000" cy="2160000"/>
          </a:xfrm>
          <a:prstGeom prst="rect">
            <a:avLst/>
          </a:prstGeom>
        </p:spPr>
        <p:txBody>
          <a:bodyPr/>
          <a:lstStyle>
            <a:lvl1pPr>
              <a:defRPr sz="900"/>
            </a:lvl1pPr>
          </a:lstStyle>
          <a:p>
            <a:endParaRPr lang="en-GB"/>
          </a:p>
        </p:txBody>
      </p:sp>
      <p:sp>
        <p:nvSpPr>
          <p:cNvPr id="3" name="Title 12">
            <a:extLst>
              <a:ext uri="{FF2B5EF4-FFF2-40B4-BE49-F238E27FC236}">
                <a16:creationId xmlns:a16="http://schemas.microsoft.com/office/drawing/2014/main" id="{0AA28110-14D4-EE63-0C54-A1556B6EFBF7}"/>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13382410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89D2F-627E-0BA7-0072-8E659B3DDC24}"/>
              </a:ext>
            </a:extLst>
          </p:cNvPr>
          <p:cNvSpPr>
            <a:spLocks noGrp="1"/>
          </p:cNvSpPr>
          <p:nvPr>
            <p:ph type="body" sz="quarter" idx="15"/>
          </p:nvPr>
        </p:nvSpPr>
        <p:spPr>
          <a:xfrm>
            <a:off x="3810000" y="5671491"/>
            <a:ext cx="2256700" cy="229687"/>
          </a:xfrm>
          <a:prstGeom prst="rect">
            <a:avLst/>
          </a:prstGeom>
        </p:spPr>
        <p:txBody>
          <a:bodyPr/>
          <a:lstStyle>
            <a:lvl1pPr algn="r">
              <a:defRPr sz="900" b="0"/>
            </a:lvl1pPr>
          </a:lstStyle>
          <a:p>
            <a:pPr lvl="0"/>
            <a:r>
              <a:rPr lang="en-US"/>
              <a:t>Click to edit Master text</a:t>
            </a:r>
            <a:endParaRPr lang="en-GB"/>
          </a:p>
        </p:txBody>
      </p:sp>
      <p:sp>
        <p:nvSpPr>
          <p:cNvPr id="5" name="Text Placeholder 3">
            <a:extLst>
              <a:ext uri="{FF2B5EF4-FFF2-40B4-BE49-F238E27FC236}">
                <a16:creationId xmlns:a16="http://schemas.microsoft.com/office/drawing/2014/main" id="{8BFF5A9C-A34B-9B26-CBE8-D5C7A819A22D}"/>
              </a:ext>
            </a:extLst>
          </p:cNvPr>
          <p:cNvSpPr>
            <a:spLocks noGrp="1"/>
          </p:cNvSpPr>
          <p:nvPr>
            <p:ph type="body" sz="quarter" idx="16"/>
          </p:nvPr>
        </p:nvSpPr>
        <p:spPr>
          <a:xfrm>
            <a:off x="6610382" y="3340302"/>
            <a:ext cx="2256700" cy="229687"/>
          </a:xfrm>
          <a:prstGeom prst="rect">
            <a:avLst/>
          </a:prstGeom>
        </p:spPr>
        <p:txBody>
          <a:bodyPr/>
          <a:lstStyle>
            <a:lvl1pPr algn="r">
              <a:defRPr sz="900" b="0"/>
            </a:lvl1pPr>
          </a:lstStyle>
          <a:p>
            <a:pPr lvl="0"/>
            <a:r>
              <a:rPr lang="en-US"/>
              <a:t>Click to edit Master text</a:t>
            </a:r>
            <a:endParaRPr lang="en-GB"/>
          </a:p>
        </p:txBody>
      </p:sp>
      <p:sp>
        <p:nvSpPr>
          <p:cNvPr id="6" name="Text Placeholder 3">
            <a:extLst>
              <a:ext uri="{FF2B5EF4-FFF2-40B4-BE49-F238E27FC236}">
                <a16:creationId xmlns:a16="http://schemas.microsoft.com/office/drawing/2014/main" id="{A3043315-9FB5-DDD3-4835-93B3BA901AE0}"/>
              </a:ext>
            </a:extLst>
          </p:cNvPr>
          <p:cNvSpPr>
            <a:spLocks noGrp="1"/>
          </p:cNvSpPr>
          <p:nvPr>
            <p:ph type="body" sz="quarter" idx="17"/>
          </p:nvPr>
        </p:nvSpPr>
        <p:spPr>
          <a:xfrm>
            <a:off x="9410764" y="3340302"/>
            <a:ext cx="2256700" cy="229687"/>
          </a:xfrm>
          <a:prstGeom prst="rect">
            <a:avLst/>
          </a:prstGeom>
        </p:spPr>
        <p:txBody>
          <a:bodyPr/>
          <a:lstStyle>
            <a:lvl1pPr algn="r">
              <a:defRPr sz="900" b="0"/>
            </a:lvl1pPr>
          </a:lstStyle>
          <a:p>
            <a:pPr lvl="0"/>
            <a:r>
              <a:rPr lang="en-US"/>
              <a:t>Click to edit Master text</a:t>
            </a:r>
            <a:endParaRPr lang="en-GB"/>
          </a:p>
        </p:txBody>
      </p:sp>
      <p:sp>
        <p:nvSpPr>
          <p:cNvPr id="12" name="Text Placeholder 3">
            <a:extLst>
              <a:ext uri="{FF2B5EF4-FFF2-40B4-BE49-F238E27FC236}">
                <a16:creationId xmlns:a16="http://schemas.microsoft.com/office/drawing/2014/main" id="{AACE5D79-8A4F-AE88-FE01-1503A781FB6B}"/>
              </a:ext>
            </a:extLst>
          </p:cNvPr>
          <p:cNvSpPr>
            <a:spLocks noGrp="1"/>
          </p:cNvSpPr>
          <p:nvPr>
            <p:ph type="body" sz="quarter" idx="18"/>
          </p:nvPr>
        </p:nvSpPr>
        <p:spPr>
          <a:xfrm>
            <a:off x="655961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13" name="Text Placeholder 3">
            <a:extLst>
              <a:ext uri="{FF2B5EF4-FFF2-40B4-BE49-F238E27FC236}">
                <a16:creationId xmlns:a16="http://schemas.microsoft.com/office/drawing/2014/main" id="{18DF0122-81CC-0B1A-DAF0-B9528C41E52D}"/>
              </a:ext>
            </a:extLst>
          </p:cNvPr>
          <p:cNvSpPr>
            <a:spLocks noGrp="1"/>
          </p:cNvSpPr>
          <p:nvPr>
            <p:ph type="body" sz="quarter" idx="19"/>
          </p:nvPr>
        </p:nvSpPr>
        <p:spPr>
          <a:xfrm>
            <a:off x="9410764" y="5671492"/>
            <a:ext cx="2256700" cy="229687"/>
          </a:xfrm>
          <a:prstGeom prst="rect">
            <a:avLst/>
          </a:prstGeom>
        </p:spPr>
        <p:txBody>
          <a:bodyPr/>
          <a:lstStyle>
            <a:lvl1pPr algn="r">
              <a:defRPr sz="900" b="0"/>
            </a:lvl1pPr>
          </a:lstStyle>
          <a:p>
            <a:pPr lvl="0"/>
            <a:r>
              <a:rPr lang="en-US"/>
              <a:t>Click to edit Master text</a:t>
            </a:r>
            <a:endParaRPr lang="en-GB"/>
          </a:p>
        </p:txBody>
      </p:sp>
      <p:sp>
        <p:nvSpPr>
          <p:cNvPr id="3" name="Picture Placeholder 6">
            <a:extLst>
              <a:ext uri="{FF2B5EF4-FFF2-40B4-BE49-F238E27FC236}">
                <a16:creationId xmlns:a16="http://schemas.microsoft.com/office/drawing/2014/main" id="{A96E31EE-0FCD-AFAF-D3A4-ABE357142E72}"/>
              </a:ext>
            </a:extLst>
          </p:cNvPr>
          <p:cNvSpPr>
            <a:spLocks noGrp="1"/>
          </p:cNvSpPr>
          <p:nvPr>
            <p:ph type="pic" sz="quarter" idx="10"/>
          </p:nvPr>
        </p:nvSpPr>
        <p:spPr>
          <a:xfrm>
            <a:off x="720000" y="1440000"/>
            <a:ext cx="5346700" cy="4137505"/>
          </a:xfrm>
          <a:prstGeom prst="rect">
            <a:avLst/>
          </a:prstGeom>
        </p:spPr>
        <p:txBody>
          <a:bodyPr/>
          <a:lstStyle>
            <a:lvl1pPr>
              <a:defRPr sz="900"/>
            </a:lvl1pPr>
          </a:lstStyle>
          <a:p>
            <a:endParaRPr lang="en-GB"/>
          </a:p>
        </p:txBody>
      </p:sp>
      <p:sp>
        <p:nvSpPr>
          <p:cNvPr id="14" name="Picture Placeholder 6">
            <a:extLst>
              <a:ext uri="{FF2B5EF4-FFF2-40B4-BE49-F238E27FC236}">
                <a16:creationId xmlns:a16="http://schemas.microsoft.com/office/drawing/2014/main" id="{BCFFA499-02E6-5465-807B-703C5ABF2366}"/>
              </a:ext>
            </a:extLst>
          </p:cNvPr>
          <p:cNvSpPr>
            <a:spLocks noGrp="1"/>
          </p:cNvSpPr>
          <p:nvPr>
            <p:ph type="pic" sz="quarter" idx="11"/>
          </p:nvPr>
        </p:nvSpPr>
        <p:spPr>
          <a:xfrm>
            <a:off x="6347082" y="1440000"/>
            <a:ext cx="2520000" cy="1800155"/>
          </a:xfrm>
          <a:prstGeom prst="rect">
            <a:avLst/>
          </a:prstGeom>
        </p:spPr>
        <p:txBody>
          <a:bodyPr/>
          <a:lstStyle>
            <a:lvl1pPr>
              <a:defRPr sz="900"/>
            </a:lvl1pPr>
          </a:lstStyle>
          <a:p>
            <a:endParaRPr lang="en-GB"/>
          </a:p>
        </p:txBody>
      </p:sp>
      <p:sp>
        <p:nvSpPr>
          <p:cNvPr id="15" name="Picture Placeholder 6">
            <a:extLst>
              <a:ext uri="{FF2B5EF4-FFF2-40B4-BE49-F238E27FC236}">
                <a16:creationId xmlns:a16="http://schemas.microsoft.com/office/drawing/2014/main" id="{EA93A382-E4B7-3ECF-59C5-6E08203EB821}"/>
              </a:ext>
            </a:extLst>
          </p:cNvPr>
          <p:cNvSpPr>
            <a:spLocks noGrp="1"/>
          </p:cNvSpPr>
          <p:nvPr>
            <p:ph type="pic" sz="quarter" idx="12"/>
          </p:nvPr>
        </p:nvSpPr>
        <p:spPr>
          <a:xfrm>
            <a:off x="9147464" y="1440000"/>
            <a:ext cx="2520000" cy="1800155"/>
          </a:xfrm>
          <a:prstGeom prst="rect">
            <a:avLst/>
          </a:prstGeom>
        </p:spPr>
        <p:txBody>
          <a:bodyPr/>
          <a:lstStyle>
            <a:lvl1pPr>
              <a:defRPr sz="900"/>
            </a:lvl1pPr>
          </a:lstStyle>
          <a:p>
            <a:endParaRPr lang="en-GB"/>
          </a:p>
        </p:txBody>
      </p:sp>
      <p:sp>
        <p:nvSpPr>
          <p:cNvPr id="16" name="Picture Placeholder 6">
            <a:extLst>
              <a:ext uri="{FF2B5EF4-FFF2-40B4-BE49-F238E27FC236}">
                <a16:creationId xmlns:a16="http://schemas.microsoft.com/office/drawing/2014/main" id="{F36966DE-E628-AE25-0AD7-0BAA898FB554}"/>
              </a:ext>
            </a:extLst>
          </p:cNvPr>
          <p:cNvSpPr>
            <a:spLocks noGrp="1"/>
          </p:cNvSpPr>
          <p:nvPr>
            <p:ph type="pic" sz="quarter" idx="13"/>
          </p:nvPr>
        </p:nvSpPr>
        <p:spPr>
          <a:xfrm>
            <a:off x="6347082" y="3777350"/>
            <a:ext cx="2520000" cy="1800155"/>
          </a:xfrm>
          <a:prstGeom prst="rect">
            <a:avLst/>
          </a:prstGeom>
        </p:spPr>
        <p:txBody>
          <a:bodyPr/>
          <a:lstStyle>
            <a:lvl1pPr>
              <a:defRPr sz="900"/>
            </a:lvl1pPr>
          </a:lstStyle>
          <a:p>
            <a:endParaRPr lang="en-GB"/>
          </a:p>
        </p:txBody>
      </p:sp>
      <p:sp>
        <p:nvSpPr>
          <p:cNvPr id="17" name="Picture Placeholder 6">
            <a:extLst>
              <a:ext uri="{FF2B5EF4-FFF2-40B4-BE49-F238E27FC236}">
                <a16:creationId xmlns:a16="http://schemas.microsoft.com/office/drawing/2014/main" id="{1CAF4DCD-1C05-E8AC-86DD-5C5D8D1A395A}"/>
              </a:ext>
            </a:extLst>
          </p:cNvPr>
          <p:cNvSpPr>
            <a:spLocks noGrp="1"/>
          </p:cNvSpPr>
          <p:nvPr>
            <p:ph type="pic" sz="quarter" idx="14"/>
          </p:nvPr>
        </p:nvSpPr>
        <p:spPr>
          <a:xfrm>
            <a:off x="9147464" y="3777350"/>
            <a:ext cx="2520000" cy="1800155"/>
          </a:xfrm>
          <a:prstGeom prst="rect">
            <a:avLst/>
          </a:prstGeom>
        </p:spPr>
        <p:txBody>
          <a:bodyPr/>
          <a:lstStyle>
            <a:lvl1pPr>
              <a:defRPr sz="900"/>
            </a:lvl1pPr>
          </a:lstStyle>
          <a:p>
            <a:endParaRPr lang="en-GB"/>
          </a:p>
        </p:txBody>
      </p:sp>
      <p:sp>
        <p:nvSpPr>
          <p:cNvPr id="7" name="Title 12">
            <a:extLst>
              <a:ext uri="{FF2B5EF4-FFF2-40B4-BE49-F238E27FC236}">
                <a16:creationId xmlns:a16="http://schemas.microsoft.com/office/drawing/2014/main" id="{1BA5659F-69EE-1CAE-D1D3-151224EE1516}"/>
              </a:ext>
            </a:extLst>
          </p:cNvPr>
          <p:cNvSpPr>
            <a:spLocks noGrp="1"/>
          </p:cNvSpPr>
          <p:nvPr>
            <p:ph type="title" hasCustomPrompt="1"/>
          </p:nvPr>
        </p:nvSpPr>
        <p:spPr>
          <a:xfrm>
            <a:off x="719998" y="540000"/>
            <a:ext cx="8280000" cy="468000"/>
          </a:xfrm>
          <a:prstGeom prst="rect">
            <a:avLst/>
          </a:prstGeom>
        </p:spPr>
        <p:txBody>
          <a:bodyPr anchor="t" anchorCtr="0"/>
          <a:lstStyle>
            <a:lvl1pPr>
              <a:defRPr sz="3000"/>
            </a:lvl1pPr>
          </a:lstStyle>
          <a:p>
            <a:r>
              <a:rPr lang="en-US"/>
              <a:t>CLICK TO EDIT MASTER TITLE</a:t>
            </a:r>
            <a:endParaRPr lang="en-GB"/>
          </a:p>
        </p:txBody>
      </p:sp>
    </p:spTree>
    <p:extLst>
      <p:ext uri="{BB962C8B-B14F-4D97-AF65-F5344CB8AC3E}">
        <p14:creationId xmlns:p14="http://schemas.microsoft.com/office/powerpoint/2010/main" val="42727773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ront Cover opt 1a">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2E71A-7910-1C78-7164-9BD6510D2EDF}"/>
              </a:ext>
            </a:extLst>
          </p:cNvPr>
          <p:cNvSpPr>
            <a:spLocks noGrp="1"/>
          </p:cNvSpPr>
          <p:nvPr>
            <p:ph type="title" hasCustomPrompt="1"/>
          </p:nvPr>
        </p:nvSpPr>
        <p:spPr/>
        <p:txBody>
          <a:bodyPr/>
          <a:lstStyle>
            <a:lvl1pPr>
              <a:defRPr/>
            </a:lvl1pPr>
          </a:lstStyle>
          <a:p>
            <a:r>
              <a:rPr lang="en-US"/>
              <a:t>CLICK TO EDIT MASTER TITLE STYLE HERE</a:t>
            </a:r>
            <a:endParaRPr lang="en-GB"/>
          </a:p>
        </p:txBody>
      </p:sp>
      <p:sp>
        <p:nvSpPr>
          <p:cNvPr id="5" name="Picture Placeholder 26">
            <a:extLst>
              <a:ext uri="{FF2B5EF4-FFF2-40B4-BE49-F238E27FC236}">
                <a16:creationId xmlns:a16="http://schemas.microsoft.com/office/drawing/2014/main" id="{9D2EDC8C-F4DE-DFA5-5ED2-8DF6B6F3585F}"/>
              </a:ext>
            </a:extLst>
          </p:cNvPr>
          <p:cNvSpPr>
            <a:spLocks noGrp="1"/>
          </p:cNvSpPr>
          <p:nvPr>
            <p:ph type="pic" sz="quarter" idx="20"/>
          </p:nvPr>
        </p:nvSpPr>
        <p:spPr>
          <a:xfrm rot="21159356">
            <a:off x="154145" y="2462776"/>
            <a:ext cx="1514051" cy="113120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860" h="1937641">
                <a:moveTo>
                  <a:pt x="513" y="1"/>
                </a:moveTo>
                <a:lnTo>
                  <a:pt x="1842994" y="26489"/>
                </a:lnTo>
                <a:cubicBezTo>
                  <a:pt x="1847484" y="642571"/>
                  <a:pt x="1854370" y="1321559"/>
                  <a:pt x="1858860" y="1937641"/>
                </a:cubicBezTo>
                <a:lnTo>
                  <a:pt x="21253" y="1901091"/>
                </a:lnTo>
                <a:cubicBezTo>
                  <a:pt x="17163" y="1268868"/>
                  <a:pt x="-3496" y="626766"/>
                  <a:pt x="513" y="1"/>
                </a:cubicBezTo>
                <a:close/>
              </a:path>
            </a:pathLst>
          </a:custGeom>
          <a:solidFill>
            <a:schemeClr val="bg1">
              <a:lumMod val="85000"/>
            </a:schemeClr>
          </a:solidFill>
          <a:ln w="31750">
            <a:solidFill>
              <a:schemeClr val="bg1"/>
            </a:solidFill>
            <a:miter lim="800000"/>
          </a:ln>
        </p:spPr>
        <p:txBody>
          <a:bodyPr wrap="square" anchor="ctr">
            <a:noAutofit/>
          </a:bodyPr>
          <a:lstStyle>
            <a:lvl1pPr algn="ctr">
              <a:defRPr/>
            </a:lvl1pPr>
          </a:lstStyle>
          <a:p>
            <a:endParaRPr lang="en-US"/>
          </a:p>
        </p:txBody>
      </p:sp>
      <p:sp>
        <p:nvSpPr>
          <p:cNvPr id="6" name="Picture Placeholder 26">
            <a:extLst>
              <a:ext uri="{FF2B5EF4-FFF2-40B4-BE49-F238E27FC236}">
                <a16:creationId xmlns:a16="http://schemas.microsoft.com/office/drawing/2014/main" id="{F2871F8B-9644-00DD-51DC-9A1146FAD072}"/>
              </a:ext>
            </a:extLst>
          </p:cNvPr>
          <p:cNvSpPr>
            <a:spLocks noGrp="1"/>
          </p:cNvSpPr>
          <p:nvPr>
            <p:ph type="pic" sz="quarter" idx="17"/>
          </p:nvPr>
        </p:nvSpPr>
        <p:spPr>
          <a:xfrm rot="171018">
            <a:off x="2495651" y="3256954"/>
            <a:ext cx="3138003" cy="305127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8" name="Picture Placeholder 26">
            <a:extLst>
              <a:ext uri="{FF2B5EF4-FFF2-40B4-BE49-F238E27FC236}">
                <a16:creationId xmlns:a16="http://schemas.microsoft.com/office/drawing/2014/main" id="{39A41B9A-05C3-CFAF-DBA4-705E2E612304}"/>
              </a:ext>
            </a:extLst>
          </p:cNvPr>
          <p:cNvSpPr>
            <a:spLocks noGrp="1"/>
          </p:cNvSpPr>
          <p:nvPr>
            <p:ph type="pic" sz="quarter" idx="18"/>
          </p:nvPr>
        </p:nvSpPr>
        <p:spPr>
          <a:xfrm rot="941624">
            <a:off x="5054247" y="4914079"/>
            <a:ext cx="2559440" cy="1737445"/>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710692"/>
              <a:gd name="connsiteY0" fmla="*/ 1314091 h 1314091"/>
              <a:gd name="connsiteX1" fmla="*/ 0 w 5710692"/>
              <a:gd name="connsiteY1" fmla="*/ 93090 h 1314091"/>
              <a:gd name="connsiteX2" fmla="*/ 5671955 w 5710692"/>
              <a:gd name="connsiteY2" fmla="*/ 0 h 1314091"/>
              <a:gd name="connsiteX3" fmla="*/ 5710691 w 5710692"/>
              <a:gd name="connsiteY3" fmla="*/ 1240122 h 1314091"/>
              <a:gd name="connsiteX4" fmla="*/ 180172 w 5710692"/>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5931" h="1338438">
                <a:moveTo>
                  <a:pt x="148295" y="1338438"/>
                </a:moveTo>
                <a:cubicBezTo>
                  <a:pt x="67763" y="821494"/>
                  <a:pt x="2246" y="219071"/>
                  <a:pt x="0" y="91062"/>
                </a:cubicBezTo>
                <a:lnTo>
                  <a:pt x="5650567" y="0"/>
                </a:lnTo>
                <a:cubicBezTo>
                  <a:pt x="5709903" y="239279"/>
                  <a:pt x="5790858" y="708770"/>
                  <a:pt x="5855932" y="1255465"/>
                </a:cubicBezTo>
                <a:lnTo>
                  <a:pt x="148295" y="1338438"/>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9" name="Picture Placeholder 26">
            <a:extLst>
              <a:ext uri="{FF2B5EF4-FFF2-40B4-BE49-F238E27FC236}">
                <a16:creationId xmlns:a16="http://schemas.microsoft.com/office/drawing/2014/main" id="{26A6B15A-1190-C1DC-F430-3D14A4CBCF6E}"/>
              </a:ext>
            </a:extLst>
          </p:cNvPr>
          <p:cNvSpPr>
            <a:spLocks noGrp="1"/>
          </p:cNvSpPr>
          <p:nvPr>
            <p:ph type="pic" sz="quarter" idx="19"/>
          </p:nvPr>
        </p:nvSpPr>
        <p:spPr>
          <a:xfrm rot="21159356">
            <a:off x="1086498" y="2009712"/>
            <a:ext cx="2041929" cy="1684398"/>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640013 w 1946165"/>
              <a:gd name="connsiteY1" fmla="*/ 2258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843251 w 1946165"/>
              <a:gd name="connsiteY1" fmla="*/ 935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843387"/>
              <a:gd name="connsiteY0" fmla="*/ 0 h 1870217"/>
              <a:gd name="connsiteX1" fmla="*/ 1843251 w 1843387"/>
              <a:gd name="connsiteY1" fmla="*/ 93534 h 1870217"/>
              <a:gd name="connsiteX2" fmla="*/ 1744803 w 1843387"/>
              <a:gd name="connsiteY2" fmla="*/ 1764870 h 1870217"/>
              <a:gd name="connsiteX3" fmla="*/ 9860 w 1843387"/>
              <a:gd name="connsiteY3" fmla="*/ 1870217 h 1870217"/>
              <a:gd name="connsiteX4" fmla="*/ 609 w 1843387"/>
              <a:gd name="connsiteY4" fmla="*/ 0 h 1870217"/>
              <a:gd name="connsiteX0" fmla="*/ 609 w 1844479"/>
              <a:gd name="connsiteY0" fmla="*/ 0 h 1892256"/>
              <a:gd name="connsiteX1" fmla="*/ 1843251 w 1844479"/>
              <a:gd name="connsiteY1" fmla="*/ 93534 h 1892256"/>
              <a:gd name="connsiteX2" fmla="*/ 1842631 w 1844479"/>
              <a:gd name="connsiteY2" fmla="*/ 1892256 h 1892256"/>
              <a:gd name="connsiteX3" fmla="*/ 9860 w 1844479"/>
              <a:gd name="connsiteY3" fmla="*/ 1870217 h 1892256"/>
              <a:gd name="connsiteX4" fmla="*/ 609 w 1844479"/>
              <a:gd name="connsiteY4" fmla="*/ 0 h 1892256"/>
              <a:gd name="connsiteX0" fmla="*/ 88315 w 1834619"/>
              <a:gd name="connsiteY0" fmla="*/ 115687 h 1798863"/>
              <a:gd name="connsiteX1" fmla="*/ 1833391 w 1834619"/>
              <a:gd name="connsiteY1" fmla="*/ 141 h 1798863"/>
              <a:gd name="connsiteX2" fmla="*/ 1832771 w 1834619"/>
              <a:gd name="connsiteY2" fmla="*/ 1798863 h 1798863"/>
              <a:gd name="connsiteX3" fmla="*/ 0 w 1834619"/>
              <a:gd name="connsiteY3" fmla="*/ 1776824 h 1798863"/>
              <a:gd name="connsiteX4" fmla="*/ 88315 w 1834619"/>
              <a:gd name="connsiteY4" fmla="*/ 115687 h 1798863"/>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2 h 1810561"/>
              <a:gd name="connsiteX4" fmla="*/ 600 w 1844731"/>
              <a:gd name="connsiteY4" fmla="*/ 0 h 1810561"/>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3 h 1810561"/>
              <a:gd name="connsiteX4" fmla="*/ 600 w 1844731"/>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688" h="1810561">
                <a:moveTo>
                  <a:pt x="557" y="0"/>
                </a:moveTo>
                <a:lnTo>
                  <a:pt x="1843460" y="11839"/>
                </a:lnTo>
                <a:cubicBezTo>
                  <a:pt x="1847950" y="627921"/>
                  <a:pt x="1838350" y="1194479"/>
                  <a:pt x="1842840" y="1810561"/>
                </a:cubicBezTo>
                <a:lnTo>
                  <a:pt x="10069" y="1788523"/>
                </a:lnTo>
                <a:cubicBezTo>
                  <a:pt x="15692" y="988322"/>
                  <a:pt x="-3452" y="626765"/>
                  <a:pt x="557" y="0"/>
                </a:cubicBez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15" name="Picture Placeholder 26">
            <a:extLst>
              <a:ext uri="{FF2B5EF4-FFF2-40B4-BE49-F238E27FC236}">
                <a16:creationId xmlns:a16="http://schemas.microsoft.com/office/drawing/2014/main" id="{76E102E5-5A4A-3DAC-5AD1-67A625DE70BD}"/>
              </a:ext>
            </a:extLst>
          </p:cNvPr>
          <p:cNvSpPr>
            <a:spLocks noGrp="1"/>
          </p:cNvSpPr>
          <p:nvPr>
            <p:ph type="pic" sz="quarter" idx="21"/>
          </p:nvPr>
        </p:nvSpPr>
        <p:spPr>
          <a:xfrm rot="892421">
            <a:off x="652130" y="395641"/>
            <a:ext cx="1665804" cy="1604154"/>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0 w 2124830"/>
              <a:gd name="connsiteY0" fmla="*/ 450150 h 2013182"/>
              <a:gd name="connsiteX1" fmla="*/ 2124381 w 2124830"/>
              <a:gd name="connsiteY1" fmla="*/ 238 h 2013182"/>
              <a:gd name="connsiteX2" fmla="*/ 2102592 w 2124830"/>
              <a:gd name="connsiteY2" fmla="*/ 2013182 h 2013182"/>
              <a:gd name="connsiteX3" fmla="*/ 206764 w 2124830"/>
              <a:gd name="connsiteY3" fmla="*/ 1949091 h 2013182"/>
              <a:gd name="connsiteX4" fmla="*/ 0 w 2124830"/>
              <a:gd name="connsiteY4" fmla="*/ 450150 h 2013182"/>
              <a:gd name="connsiteX0" fmla="*/ 17720 w 2142550"/>
              <a:gd name="connsiteY0" fmla="*/ 450150 h 2420008"/>
              <a:gd name="connsiteX1" fmla="*/ 2142101 w 2142550"/>
              <a:gd name="connsiteY1" fmla="*/ 238 h 2420008"/>
              <a:gd name="connsiteX2" fmla="*/ 2120312 w 2142550"/>
              <a:gd name="connsiteY2" fmla="*/ 2013182 h 2420008"/>
              <a:gd name="connsiteX3" fmla="*/ 0 w 2142550"/>
              <a:gd name="connsiteY3" fmla="*/ 2420008 h 2420008"/>
              <a:gd name="connsiteX4" fmla="*/ 17720 w 2142550"/>
              <a:gd name="connsiteY4" fmla="*/ 450150 h 2420008"/>
              <a:gd name="connsiteX0" fmla="*/ 17720 w 2142235"/>
              <a:gd name="connsiteY0" fmla="*/ 450150 h 2452711"/>
              <a:gd name="connsiteX1" fmla="*/ 2142101 w 2142235"/>
              <a:gd name="connsiteY1" fmla="*/ 238 h 2452711"/>
              <a:gd name="connsiteX2" fmla="*/ 2042033 w 2142235"/>
              <a:gd name="connsiteY2" fmla="*/ 2452711 h 2452711"/>
              <a:gd name="connsiteX3" fmla="*/ 0 w 2142235"/>
              <a:gd name="connsiteY3" fmla="*/ 2420008 h 2452711"/>
              <a:gd name="connsiteX4" fmla="*/ 17720 w 2142235"/>
              <a:gd name="connsiteY4" fmla="*/ 450150 h 2452711"/>
              <a:gd name="connsiteX0" fmla="*/ 17720 w 2142136"/>
              <a:gd name="connsiteY0" fmla="*/ 450150 h 2420008"/>
              <a:gd name="connsiteX1" fmla="*/ 2142101 w 2142136"/>
              <a:gd name="connsiteY1" fmla="*/ 238 h 2420008"/>
              <a:gd name="connsiteX2" fmla="*/ 1730181 w 2142136"/>
              <a:gd name="connsiteY2" fmla="*/ 2138255 h 2420008"/>
              <a:gd name="connsiteX3" fmla="*/ 0 w 2142136"/>
              <a:gd name="connsiteY3" fmla="*/ 2420008 h 2420008"/>
              <a:gd name="connsiteX4" fmla="*/ 17720 w 2142136"/>
              <a:gd name="connsiteY4" fmla="*/ 450150 h 2420008"/>
              <a:gd name="connsiteX0" fmla="*/ 17720 w 2142158"/>
              <a:gd name="connsiteY0" fmla="*/ 450150 h 2463060"/>
              <a:gd name="connsiteX1" fmla="*/ 2142101 w 2142158"/>
              <a:gd name="connsiteY1" fmla="*/ 238 h 2463060"/>
              <a:gd name="connsiteX2" fmla="*/ 1890741 w 2142158"/>
              <a:gd name="connsiteY2" fmla="*/ 2463060 h 2463060"/>
              <a:gd name="connsiteX3" fmla="*/ 0 w 2142158"/>
              <a:gd name="connsiteY3" fmla="*/ 2420008 h 2463060"/>
              <a:gd name="connsiteX4" fmla="*/ 17720 w 2142158"/>
              <a:gd name="connsiteY4" fmla="*/ 450150 h 2463060"/>
              <a:gd name="connsiteX0" fmla="*/ 17720 w 1986745"/>
              <a:gd name="connsiteY0" fmla="*/ 34657 h 2047567"/>
              <a:gd name="connsiteX1" fmla="*/ 1986605 w 1986745"/>
              <a:gd name="connsiteY1" fmla="*/ 1753 h 2047567"/>
              <a:gd name="connsiteX2" fmla="*/ 1890741 w 1986745"/>
              <a:gd name="connsiteY2" fmla="*/ 2047567 h 2047567"/>
              <a:gd name="connsiteX3" fmla="*/ 0 w 1986745"/>
              <a:gd name="connsiteY3" fmla="*/ 2004515 h 2047567"/>
              <a:gd name="connsiteX4" fmla="*/ 17720 w 1986745"/>
              <a:gd name="connsiteY4" fmla="*/ 34657 h 2047567"/>
              <a:gd name="connsiteX0" fmla="*/ 17720 w 1890741"/>
              <a:gd name="connsiteY0" fmla="*/ 0 h 2012910"/>
              <a:gd name="connsiteX1" fmla="*/ 1857607 w 1890741"/>
              <a:gd name="connsiteY1" fmla="*/ 27253 h 2012910"/>
              <a:gd name="connsiteX2" fmla="*/ 1890741 w 1890741"/>
              <a:gd name="connsiteY2" fmla="*/ 2012910 h 2012910"/>
              <a:gd name="connsiteX3" fmla="*/ 0 w 1890741"/>
              <a:gd name="connsiteY3" fmla="*/ 1969858 h 2012910"/>
              <a:gd name="connsiteX4" fmla="*/ 17720 w 1890741"/>
              <a:gd name="connsiteY4" fmla="*/ 0 h 2012910"/>
              <a:gd name="connsiteX0" fmla="*/ 17720 w 1913565"/>
              <a:gd name="connsiteY0" fmla="*/ 0 h 2012910"/>
              <a:gd name="connsiteX1" fmla="*/ 1913124 w 1913565"/>
              <a:gd name="connsiteY1" fmla="*/ 44842 h 2012910"/>
              <a:gd name="connsiteX2" fmla="*/ 1890741 w 1913565"/>
              <a:gd name="connsiteY2" fmla="*/ 2012910 h 2012910"/>
              <a:gd name="connsiteX3" fmla="*/ 0 w 1913565"/>
              <a:gd name="connsiteY3" fmla="*/ 1969858 h 2012910"/>
              <a:gd name="connsiteX4" fmla="*/ 17720 w 1913565"/>
              <a:gd name="connsiteY4" fmla="*/ 0 h 2012910"/>
              <a:gd name="connsiteX0" fmla="*/ 50192 w 1913565"/>
              <a:gd name="connsiteY0" fmla="*/ 47043 h 1968068"/>
              <a:gd name="connsiteX1" fmla="*/ 1913124 w 1913565"/>
              <a:gd name="connsiteY1" fmla="*/ 0 h 1968068"/>
              <a:gd name="connsiteX2" fmla="*/ 1890741 w 1913565"/>
              <a:gd name="connsiteY2" fmla="*/ 1968068 h 1968068"/>
              <a:gd name="connsiteX3" fmla="*/ 0 w 1913565"/>
              <a:gd name="connsiteY3" fmla="*/ 1925016 h 1968068"/>
              <a:gd name="connsiteX4" fmla="*/ 50192 w 1913565"/>
              <a:gd name="connsiteY4" fmla="*/ 47043 h 1968068"/>
              <a:gd name="connsiteX0" fmla="*/ 56030 w 1913565"/>
              <a:gd name="connsiteY0" fmla="*/ 0 h 2024087"/>
              <a:gd name="connsiteX1" fmla="*/ 1913124 w 1913565"/>
              <a:gd name="connsiteY1" fmla="*/ 56019 h 2024087"/>
              <a:gd name="connsiteX2" fmla="*/ 1890741 w 1913565"/>
              <a:gd name="connsiteY2" fmla="*/ 2024087 h 2024087"/>
              <a:gd name="connsiteX3" fmla="*/ 0 w 1913565"/>
              <a:gd name="connsiteY3" fmla="*/ 1981035 h 2024087"/>
              <a:gd name="connsiteX4" fmla="*/ 56030 w 1913565"/>
              <a:gd name="connsiteY4" fmla="*/ 0 h 2024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65" h="2024087">
                <a:moveTo>
                  <a:pt x="56030" y="0"/>
                </a:moveTo>
                <a:lnTo>
                  <a:pt x="1913124" y="56019"/>
                </a:lnTo>
                <a:cubicBezTo>
                  <a:pt x="1917614" y="672101"/>
                  <a:pt x="1886251" y="1408005"/>
                  <a:pt x="1890741" y="2024087"/>
                </a:cubicBezTo>
                <a:lnTo>
                  <a:pt x="0" y="1981035"/>
                </a:lnTo>
                <a:lnTo>
                  <a:pt x="56030" y="0"/>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19" name="Picture Placeholder 26">
            <a:extLst>
              <a:ext uri="{FF2B5EF4-FFF2-40B4-BE49-F238E27FC236}">
                <a16:creationId xmlns:a16="http://schemas.microsoft.com/office/drawing/2014/main" id="{FDDAD05E-7FC5-1987-AE31-326528438CC7}"/>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20" name="Picture Placeholder 26">
            <a:extLst>
              <a:ext uri="{FF2B5EF4-FFF2-40B4-BE49-F238E27FC236}">
                <a16:creationId xmlns:a16="http://schemas.microsoft.com/office/drawing/2014/main" id="{CBD593A4-9D7D-56A4-B2E8-98D87C6694DA}"/>
              </a:ext>
            </a:extLst>
          </p:cNvPr>
          <p:cNvSpPr>
            <a:spLocks noGrp="1"/>
          </p:cNvSpPr>
          <p:nvPr>
            <p:ph type="pic" sz="quarter" idx="23"/>
          </p:nvPr>
        </p:nvSpPr>
        <p:spPr>
          <a:xfrm>
            <a:off x="1814331" y="710546"/>
            <a:ext cx="2138237" cy="2044579"/>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14 w 2030832"/>
              <a:gd name="connsiteY0" fmla="*/ 0 h 1918098"/>
              <a:gd name="connsiteX1" fmla="*/ 2013732 w 2030832"/>
              <a:gd name="connsiteY1" fmla="*/ 45141 h 1918098"/>
              <a:gd name="connsiteX2" fmla="*/ 2030832 w 2030832"/>
              <a:gd name="connsiteY2" fmla="*/ 1918098 h 1918098"/>
              <a:gd name="connsiteX3" fmla="*/ 94527 w 2030832"/>
              <a:gd name="connsiteY3" fmla="*/ 1900615 h 1918098"/>
              <a:gd name="connsiteX4" fmla="*/ 114 w 2030832"/>
              <a:gd name="connsiteY4" fmla="*/ 0 h 1918098"/>
              <a:gd name="connsiteX0" fmla="*/ 114 w 2030832"/>
              <a:gd name="connsiteY0" fmla="*/ 198133 h 2116231"/>
              <a:gd name="connsiteX1" fmla="*/ 1690117 w 2030832"/>
              <a:gd name="connsiteY1" fmla="*/ 85 h 2116231"/>
              <a:gd name="connsiteX2" fmla="*/ 2030832 w 2030832"/>
              <a:gd name="connsiteY2" fmla="*/ 2116231 h 2116231"/>
              <a:gd name="connsiteX3" fmla="*/ 94527 w 2030832"/>
              <a:gd name="connsiteY3" fmla="*/ 2098748 h 2116231"/>
              <a:gd name="connsiteX4" fmla="*/ 114 w 2030832"/>
              <a:gd name="connsiteY4" fmla="*/ 198133 h 2116231"/>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1690181"/>
              <a:gd name="connsiteY0" fmla="*/ 198048 h 2098663"/>
              <a:gd name="connsiteX1" fmla="*/ 1690117 w 1690181"/>
              <a:gd name="connsiteY1" fmla="*/ 0 h 2098663"/>
              <a:gd name="connsiteX2" fmla="*/ 1468762 w 1690181"/>
              <a:gd name="connsiteY2" fmla="*/ 1690566 h 2098663"/>
              <a:gd name="connsiteX3" fmla="*/ 94527 w 1690181"/>
              <a:gd name="connsiteY3" fmla="*/ 2098663 h 2098663"/>
              <a:gd name="connsiteX4" fmla="*/ 114 w 1690181"/>
              <a:gd name="connsiteY4" fmla="*/ 198048 h 2098663"/>
              <a:gd name="connsiteX0" fmla="*/ 49 w 1690116"/>
              <a:gd name="connsiteY0" fmla="*/ 198048 h 2149327"/>
              <a:gd name="connsiteX1" fmla="*/ 1690052 w 1690116"/>
              <a:gd name="connsiteY1" fmla="*/ 0 h 2149327"/>
              <a:gd name="connsiteX2" fmla="*/ 1468697 w 1690116"/>
              <a:gd name="connsiteY2" fmla="*/ 1690566 h 2149327"/>
              <a:gd name="connsiteX3" fmla="*/ 239238 w 1690116"/>
              <a:gd name="connsiteY3" fmla="*/ 2149327 h 2149327"/>
              <a:gd name="connsiteX4" fmla="*/ 49 w 1690116"/>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24 w 1920031"/>
              <a:gd name="connsiteY0" fmla="*/ 198048 h 1903355"/>
              <a:gd name="connsiteX1" fmla="*/ 1690027 w 1920031"/>
              <a:gd name="connsiteY1" fmla="*/ 0 h 1903355"/>
              <a:gd name="connsiteX2" fmla="*/ 1920031 w 1920031"/>
              <a:gd name="connsiteY2" fmla="*/ 1903355 h 1903355"/>
              <a:gd name="connsiteX3" fmla="*/ 503216 w 1920031"/>
              <a:gd name="connsiteY3" fmla="*/ 1754145 h 1903355"/>
              <a:gd name="connsiteX4" fmla="*/ 24 w 1920031"/>
              <a:gd name="connsiteY4" fmla="*/ 198048 h 1903355"/>
              <a:gd name="connsiteX0" fmla="*/ 45 w 1920052"/>
              <a:gd name="connsiteY0" fmla="*/ 198048 h 2149328"/>
              <a:gd name="connsiteX1" fmla="*/ 1690048 w 1920052"/>
              <a:gd name="connsiteY1" fmla="*/ 0 h 2149328"/>
              <a:gd name="connsiteX2" fmla="*/ 1920052 w 1920052"/>
              <a:gd name="connsiteY2" fmla="*/ 1903355 h 2149328"/>
              <a:gd name="connsiteX3" fmla="*/ 256267 w 1920052"/>
              <a:gd name="connsiteY3" fmla="*/ 2149328 h 2149328"/>
              <a:gd name="connsiteX4" fmla="*/ 45 w 1920052"/>
              <a:gd name="connsiteY4" fmla="*/ 198048 h 2149328"/>
              <a:gd name="connsiteX0" fmla="*/ 60 w 1920067"/>
              <a:gd name="connsiteY0" fmla="*/ 198048 h 2149328"/>
              <a:gd name="connsiteX1" fmla="*/ 1690063 w 1920067"/>
              <a:gd name="connsiteY1" fmla="*/ 0 h 2149328"/>
              <a:gd name="connsiteX2" fmla="*/ 1920067 w 1920067"/>
              <a:gd name="connsiteY2" fmla="*/ 1903355 h 2149328"/>
              <a:gd name="connsiteX3" fmla="*/ 256282 w 1920067"/>
              <a:gd name="connsiteY3" fmla="*/ 2149328 h 2149328"/>
              <a:gd name="connsiteX4" fmla="*/ 60 w 1920067"/>
              <a:gd name="connsiteY4" fmla="*/ 198048 h 2149328"/>
              <a:gd name="connsiteX0" fmla="*/ 116488 w 1678814"/>
              <a:gd name="connsiteY0" fmla="*/ 218314 h 2149328"/>
              <a:gd name="connsiteX1" fmla="*/ 1448810 w 1678814"/>
              <a:gd name="connsiteY1" fmla="*/ 0 h 2149328"/>
              <a:gd name="connsiteX2" fmla="*/ 1678814 w 1678814"/>
              <a:gd name="connsiteY2" fmla="*/ 1903355 h 2149328"/>
              <a:gd name="connsiteX3" fmla="*/ 15029 w 1678814"/>
              <a:gd name="connsiteY3" fmla="*/ 2149328 h 2149328"/>
              <a:gd name="connsiteX4" fmla="*/ 116488 w 1678814"/>
              <a:gd name="connsiteY4" fmla="*/ 218314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0 w 1920008"/>
              <a:gd name="connsiteY0" fmla="*/ 187916 h 2149328"/>
              <a:gd name="connsiteX1" fmla="*/ 1690004 w 1920008"/>
              <a:gd name="connsiteY1" fmla="*/ 0 h 2149328"/>
              <a:gd name="connsiteX2" fmla="*/ 1920008 w 1920008"/>
              <a:gd name="connsiteY2" fmla="*/ 1903355 h 2149328"/>
              <a:gd name="connsiteX3" fmla="*/ 256223 w 1920008"/>
              <a:gd name="connsiteY3" fmla="*/ 2149328 h 2149328"/>
              <a:gd name="connsiteX4" fmla="*/ 0 w 1920008"/>
              <a:gd name="connsiteY4" fmla="*/ 187916 h 2149328"/>
              <a:gd name="connsiteX0" fmla="*/ 0 w 1775233"/>
              <a:gd name="connsiteY0" fmla="*/ 187916 h 2149328"/>
              <a:gd name="connsiteX1" fmla="*/ 1545229 w 1775233"/>
              <a:gd name="connsiteY1" fmla="*/ 0 h 2149328"/>
              <a:gd name="connsiteX2" fmla="*/ 1775233 w 1775233"/>
              <a:gd name="connsiteY2" fmla="*/ 1903355 h 2149328"/>
              <a:gd name="connsiteX3" fmla="*/ 111448 w 1775233"/>
              <a:gd name="connsiteY3" fmla="*/ 2149328 h 2149328"/>
              <a:gd name="connsiteX4" fmla="*/ 0 w 1775233"/>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69 w 1894529"/>
              <a:gd name="connsiteY0" fmla="*/ 187916 h 2149328"/>
              <a:gd name="connsiteX1" fmla="*/ 1664525 w 1894529"/>
              <a:gd name="connsiteY1" fmla="*/ 0 h 2149328"/>
              <a:gd name="connsiteX2" fmla="*/ 1894529 w 1894529"/>
              <a:gd name="connsiteY2" fmla="*/ 1903355 h 2149328"/>
              <a:gd name="connsiteX3" fmla="*/ 230744 w 1894529"/>
              <a:gd name="connsiteY3" fmla="*/ 2149328 h 2149328"/>
              <a:gd name="connsiteX4" fmla="*/ 69 w 189452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2 h 2149374"/>
              <a:gd name="connsiteX1" fmla="*/ 1664456 w 1894460"/>
              <a:gd name="connsiteY1" fmla="*/ 46 h 2149374"/>
              <a:gd name="connsiteX2" fmla="*/ 1894460 w 1894460"/>
              <a:gd name="connsiteY2" fmla="*/ 1903401 h 2149374"/>
              <a:gd name="connsiteX3" fmla="*/ 230675 w 1894460"/>
              <a:gd name="connsiteY3" fmla="*/ 2149374 h 2149374"/>
              <a:gd name="connsiteX4" fmla="*/ 0 w 1894460"/>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1 h 2149373"/>
              <a:gd name="connsiteX1" fmla="*/ 1664474 w 1894478"/>
              <a:gd name="connsiteY1" fmla="*/ 45 h 2149373"/>
              <a:gd name="connsiteX2" fmla="*/ 1894478 w 1894478"/>
              <a:gd name="connsiteY2" fmla="*/ 1903400 h 2149373"/>
              <a:gd name="connsiteX3" fmla="*/ 230693 w 1894478"/>
              <a:gd name="connsiteY3" fmla="*/ 2149373 h 2149373"/>
              <a:gd name="connsiteX4" fmla="*/ 18 w 1894478"/>
              <a:gd name="connsiteY4" fmla="*/ 187961 h 2149373"/>
              <a:gd name="connsiteX0" fmla="*/ 18 w 1894478"/>
              <a:gd name="connsiteY0" fmla="*/ 32510 h 1993922"/>
              <a:gd name="connsiteX1" fmla="*/ 1675373 w 1894478"/>
              <a:gd name="connsiteY1" fmla="*/ 210 h 1993922"/>
              <a:gd name="connsiteX2" fmla="*/ 1894478 w 1894478"/>
              <a:gd name="connsiteY2" fmla="*/ 1747949 h 1993922"/>
              <a:gd name="connsiteX3" fmla="*/ 230693 w 1894478"/>
              <a:gd name="connsiteY3" fmla="*/ 1993922 h 1993922"/>
              <a:gd name="connsiteX4" fmla="*/ 18 w 1894478"/>
              <a:gd name="connsiteY4" fmla="*/ 32510 h 1993922"/>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00 h 1993712"/>
              <a:gd name="connsiteX1" fmla="*/ 1675373 w 1894478"/>
              <a:gd name="connsiteY1" fmla="*/ 0 h 1993712"/>
              <a:gd name="connsiteX2" fmla="*/ 1894478 w 1894478"/>
              <a:gd name="connsiteY2" fmla="*/ 1747739 h 1993712"/>
              <a:gd name="connsiteX3" fmla="*/ 230693 w 1894478"/>
              <a:gd name="connsiteY3" fmla="*/ 1993712 h 1993712"/>
              <a:gd name="connsiteX4" fmla="*/ 18 w 1894478"/>
              <a:gd name="connsiteY4" fmla="*/ 32300 h 1993712"/>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0 w 1894460"/>
              <a:gd name="connsiteY0" fmla="*/ 142528 h 2103940"/>
              <a:gd name="connsiteX1" fmla="*/ 1661731 w 1894460"/>
              <a:gd name="connsiteY1" fmla="*/ 0 h 2103940"/>
              <a:gd name="connsiteX2" fmla="*/ 1894460 w 1894460"/>
              <a:gd name="connsiteY2" fmla="*/ 1857967 h 2103940"/>
              <a:gd name="connsiteX3" fmla="*/ 230675 w 1894460"/>
              <a:gd name="connsiteY3" fmla="*/ 2103940 h 2103940"/>
              <a:gd name="connsiteX4" fmla="*/ 0 w 1894460"/>
              <a:gd name="connsiteY4" fmla="*/ 142528 h 2103940"/>
              <a:gd name="connsiteX0" fmla="*/ 0 w 1820891"/>
              <a:gd name="connsiteY0" fmla="*/ 139286 h 2103940"/>
              <a:gd name="connsiteX1" fmla="*/ 1588162 w 1820891"/>
              <a:gd name="connsiteY1" fmla="*/ 0 h 2103940"/>
              <a:gd name="connsiteX2" fmla="*/ 1820891 w 1820891"/>
              <a:gd name="connsiteY2" fmla="*/ 1857967 h 2103940"/>
              <a:gd name="connsiteX3" fmla="*/ 157106 w 1820891"/>
              <a:gd name="connsiteY3" fmla="*/ 2103940 h 2103940"/>
              <a:gd name="connsiteX4" fmla="*/ 0 w 1820891"/>
              <a:gd name="connsiteY4" fmla="*/ 139286 h 2103940"/>
              <a:gd name="connsiteX0" fmla="*/ 0 w 1842689"/>
              <a:gd name="connsiteY0" fmla="*/ 204126 h 2103940"/>
              <a:gd name="connsiteX1" fmla="*/ 1609960 w 1842689"/>
              <a:gd name="connsiteY1" fmla="*/ 0 h 2103940"/>
              <a:gd name="connsiteX2" fmla="*/ 1842689 w 1842689"/>
              <a:gd name="connsiteY2" fmla="*/ 1857967 h 2103940"/>
              <a:gd name="connsiteX3" fmla="*/ 178904 w 1842689"/>
              <a:gd name="connsiteY3" fmla="*/ 2103940 h 2103940"/>
              <a:gd name="connsiteX4" fmla="*/ 0 w 1842689"/>
              <a:gd name="connsiteY4" fmla="*/ 204126 h 2103940"/>
              <a:gd name="connsiteX0" fmla="*/ 0 w 1842689"/>
              <a:gd name="connsiteY0" fmla="*/ 204126 h 1977502"/>
              <a:gd name="connsiteX1" fmla="*/ 1609960 w 1842689"/>
              <a:gd name="connsiteY1" fmla="*/ 0 h 1977502"/>
              <a:gd name="connsiteX2" fmla="*/ 1842689 w 1842689"/>
              <a:gd name="connsiteY2" fmla="*/ 1857967 h 1977502"/>
              <a:gd name="connsiteX3" fmla="*/ 222500 w 1842689"/>
              <a:gd name="connsiteY3" fmla="*/ 1977502 h 1977502"/>
              <a:gd name="connsiteX4" fmla="*/ 0 w 1842689"/>
              <a:gd name="connsiteY4" fmla="*/ 204126 h 1977502"/>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679203"/>
              <a:gd name="connsiteY0" fmla="*/ 204126 h 2078004"/>
              <a:gd name="connsiteX1" fmla="*/ 1609960 w 1679203"/>
              <a:gd name="connsiteY1" fmla="*/ 0 h 2078004"/>
              <a:gd name="connsiteX2" fmla="*/ 1679203 w 1679203"/>
              <a:gd name="connsiteY2" fmla="*/ 1883903 h 2078004"/>
              <a:gd name="connsiteX3" fmla="*/ 230674 w 1679203"/>
              <a:gd name="connsiteY3" fmla="*/ 2078004 h 2078004"/>
              <a:gd name="connsiteX4" fmla="*/ 0 w 1679203"/>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119834 h 1993712"/>
              <a:gd name="connsiteX1" fmla="*/ 1604511 w 1837239"/>
              <a:gd name="connsiteY1" fmla="*/ 0 h 1993712"/>
              <a:gd name="connsiteX2" fmla="*/ 1837239 w 1837239"/>
              <a:gd name="connsiteY2" fmla="*/ 1767191 h 1993712"/>
              <a:gd name="connsiteX3" fmla="*/ 230674 w 1837239"/>
              <a:gd name="connsiteY3" fmla="*/ 1993712 h 1993712"/>
              <a:gd name="connsiteX4" fmla="*/ 0 w 1837239"/>
              <a:gd name="connsiteY4" fmla="*/ 119834 h 1993712"/>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790918"/>
              <a:gd name="connsiteY0" fmla="*/ 226820 h 2087730"/>
              <a:gd name="connsiteX1" fmla="*/ 1577263 w 1790918"/>
              <a:gd name="connsiteY1" fmla="*/ 0 h 2087730"/>
              <a:gd name="connsiteX2" fmla="*/ 1790918 w 1790918"/>
              <a:gd name="connsiteY2" fmla="*/ 1861209 h 2087730"/>
              <a:gd name="connsiteX3" fmla="*/ 184353 w 1790918"/>
              <a:gd name="connsiteY3" fmla="*/ 2087730 h 2087730"/>
              <a:gd name="connsiteX4" fmla="*/ 0 w 1790918"/>
              <a:gd name="connsiteY4" fmla="*/ 226820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716" h="2087730">
                <a:moveTo>
                  <a:pt x="0" y="213852"/>
                </a:moveTo>
                <a:lnTo>
                  <a:pt x="1599061" y="0"/>
                </a:lnTo>
                <a:cubicBezTo>
                  <a:pt x="1707251" y="932225"/>
                  <a:pt x="1748955" y="1289309"/>
                  <a:pt x="1812716" y="1861209"/>
                </a:cubicBezTo>
                <a:cubicBezTo>
                  <a:pt x="1275378" y="1934555"/>
                  <a:pt x="1825219" y="1865252"/>
                  <a:pt x="206151" y="2087730"/>
                </a:cubicBezTo>
                <a:cubicBezTo>
                  <a:pt x="83796" y="1035118"/>
                  <a:pt x="35842" y="545306"/>
                  <a:pt x="0" y="213852"/>
                </a:cubicBez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3" name="Text Placeholder 10">
            <a:extLst>
              <a:ext uri="{FF2B5EF4-FFF2-40B4-BE49-F238E27FC236}">
                <a16:creationId xmlns:a16="http://schemas.microsoft.com/office/drawing/2014/main" id="{D7B4A989-B814-5B7D-C14D-37113CC6254B}"/>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70735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ront Cover opt 1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960114-CE5B-021E-9172-3446DB1F2FA9}"/>
              </a:ext>
            </a:extLst>
          </p:cNvPr>
          <p:cNvSpPr>
            <a:spLocks noGrp="1"/>
          </p:cNvSpPr>
          <p:nvPr>
            <p:ph type="title" hasCustomPrompt="1"/>
          </p:nvPr>
        </p:nvSpPr>
        <p:spPr>
          <a:xfrm>
            <a:off x="5580000" y="2160000"/>
            <a:ext cx="6259398" cy="1797847"/>
          </a:xfrm>
          <a:prstGeom prst="rect">
            <a:avLst/>
          </a:prstGeom>
        </p:spPr>
        <p:txBody>
          <a:bodyPr/>
          <a:lstStyle>
            <a:lvl1pPr>
              <a:defRPr/>
            </a:lvl1pPr>
          </a:lstStyle>
          <a:p>
            <a:r>
              <a:rPr lang="en-US"/>
              <a:t>CLICK TO EDIT MASTER TITLE STYLE HERE</a:t>
            </a:r>
            <a:endParaRPr lang="en-GB"/>
          </a:p>
        </p:txBody>
      </p:sp>
      <p:sp>
        <p:nvSpPr>
          <p:cNvPr id="5" name="Picture Placeholder 26">
            <a:extLst>
              <a:ext uri="{FF2B5EF4-FFF2-40B4-BE49-F238E27FC236}">
                <a16:creationId xmlns:a16="http://schemas.microsoft.com/office/drawing/2014/main" id="{636048FA-579A-08EE-6265-8F3AAECD1056}"/>
              </a:ext>
            </a:extLst>
          </p:cNvPr>
          <p:cNvSpPr>
            <a:spLocks noGrp="1"/>
          </p:cNvSpPr>
          <p:nvPr>
            <p:ph type="pic" sz="quarter" idx="20"/>
          </p:nvPr>
        </p:nvSpPr>
        <p:spPr>
          <a:xfrm rot="21159356">
            <a:off x="154145" y="2462776"/>
            <a:ext cx="1514051" cy="113120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860" h="1937641">
                <a:moveTo>
                  <a:pt x="513" y="1"/>
                </a:moveTo>
                <a:lnTo>
                  <a:pt x="1842994" y="26489"/>
                </a:lnTo>
                <a:cubicBezTo>
                  <a:pt x="1847484" y="642571"/>
                  <a:pt x="1854370" y="1321559"/>
                  <a:pt x="1858860" y="1937641"/>
                </a:cubicBezTo>
                <a:lnTo>
                  <a:pt x="21253" y="1901091"/>
                </a:lnTo>
                <a:cubicBezTo>
                  <a:pt x="17163" y="1268868"/>
                  <a:pt x="-3496" y="626766"/>
                  <a:pt x="513" y="1"/>
                </a:cubicBezTo>
                <a:close/>
              </a:path>
            </a:pathLst>
          </a:custGeom>
          <a:solidFill>
            <a:schemeClr val="bg1">
              <a:lumMod val="85000"/>
            </a:schemeClr>
          </a:solidFill>
          <a:ln w="31750">
            <a:solidFill>
              <a:schemeClr val="bg1"/>
            </a:solidFill>
            <a:miter lim="800000"/>
          </a:ln>
        </p:spPr>
        <p:txBody>
          <a:bodyPr wrap="square" anchor="ctr">
            <a:noAutofit/>
          </a:bodyPr>
          <a:lstStyle>
            <a:lvl1pPr algn="ctr">
              <a:defRPr/>
            </a:lvl1pPr>
          </a:lstStyle>
          <a:p>
            <a:endParaRPr lang="en-US"/>
          </a:p>
        </p:txBody>
      </p:sp>
      <p:sp>
        <p:nvSpPr>
          <p:cNvPr id="6" name="Picture Placeholder 26">
            <a:extLst>
              <a:ext uri="{FF2B5EF4-FFF2-40B4-BE49-F238E27FC236}">
                <a16:creationId xmlns:a16="http://schemas.microsoft.com/office/drawing/2014/main" id="{DAE0750B-8FA0-5BBF-1BD5-31D55A262609}"/>
              </a:ext>
            </a:extLst>
          </p:cNvPr>
          <p:cNvSpPr>
            <a:spLocks noGrp="1"/>
          </p:cNvSpPr>
          <p:nvPr>
            <p:ph type="pic" sz="quarter" idx="18"/>
          </p:nvPr>
        </p:nvSpPr>
        <p:spPr>
          <a:xfrm rot="941624">
            <a:off x="5054247" y="4914079"/>
            <a:ext cx="2559440" cy="1737445"/>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1308223 h 1308223"/>
              <a:gd name="connsiteX1" fmla="*/ 0 w 6259590"/>
              <a:gd name="connsiteY1" fmla="*/ 0 h 1308223"/>
              <a:gd name="connsiteX2" fmla="*/ 5970343 w 6259590"/>
              <a:gd name="connsiteY2" fmla="*/ 192780 h 1308223"/>
              <a:gd name="connsiteX3" fmla="*/ 6259591 w 6259590"/>
              <a:gd name="connsiteY3" fmla="*/ 1118954 h 1308223"/>
              <a:gd name="connsiteX4" fmla="*/ 280921 w 6259590"/>
              <a:gd name="connsiteY4" fmla="*/ 1308223 h 1308223"/>
              <a:gd name="connsiteX0" fmla="*/ 280921 w 6259590"/>
              <a:gd name="connsiteY0" fmla="*/ 1368580 h 1368580"/>
              <a:gd name="connsiteX1" fmla="*/ 0 w 6259590"/>
              <a:gd name="connsiteY1" fmla="*/ 60357 h 1368580"/>
              <a:gd name="connsiteX2" fmla="*/ 5546552 w 6259590"/>
              <a:gd name="connsiteY2" fmla="*/ 0 h 1368580"/>
              <a:gd name="connsiteX3" fmla="*/ 6259591 w 6259590"/>
              <a:gd name="connsiteY3" fmla="*/ 1179311 h 1368580"/>
              <a:gd name="connsiteX4" fmla="*/ 280921 w 6259590"/>
              <a:gd name="connsiteY4" fmla="*/ 1368580 h 1368580"/>
              <a:gd name="connsiteX0" fmla="*/ 21998 w 6000667"/>
              <a:gd name="connsiteY0" fmla="*/ 1368580 h 1368580"/>
              <a:gd name="connsiteX1" fmla="*/ 15905 w 6000667"/>
              <a:gd name="connsiteY1" fmla="*/ 219869 h 1368580"/>
              <a:gd name="connsiteX2" fmla="*/ 5287629 w 6000667"/>
              <a:gd name="connsiteY2" fmla="*/ 0 h 1368580"/>
              <a:gd name="connsiteX3" fmla="*/ 6000668 w 6000667"/>
              <a:gd name="connsiteY3" fmla="*/ 1179311 h 1368580"/>
              <a:gd name="connsiteX4" fmla="*/ 21998 w 6000667"/>
              <a:gd name="connsiteY4" fmla="*/ 1368580 h 1368580"/>
              <a:gd name="connsiteX0" fmla="*/ 21998 w 5526295"/>
              <a:gd name="connsiteY0" fmla="*/ 1368580 h 1368580"/>
              <a:gd name="connsiteX1" fmla="*/ 15905 w 5526295"/>
              <a:gd name="connsiteY1" fmla="*/ 219869 h 1368580"/>
              <a:gd name="connsiteX2" fmla="*/ 5287629 w 5526295"/>
              <a:gd name="connsiteY2" fmla="*/ 0 h 1368580"/>
              <a:gd name="connsiteX3" fmla="*/ 5526295 w 5526295"/>
              <a:gd name="connsiteY3" fmla="*/ 1206313 h 1368580"/>
              <a:gd name="connsiteX4" fmla="*/ 21998 w 5526295"/>
              <a:gd name="connsiteY4" fmla="*/ 1368580 h 1368580"/>
              <a:gd name="connsiteX0" fmla="*/ 20938 w 5536514"/>
              <a:gd name="connsiteY0" fmla="*/ 1333734 h 1333734"/>
              <a:gd name="connsiteX1" fmla="*/ 26124 w 5536514"/>
              <a:gd name="connsiteY1" fmla="*/ 219869 h 1333734"/>
              <a:gd name="connsiteX2" fmla="*/ 5297848 w 5536514"/>
              <a:gd name="connsiteY2" fmla="*/ 0 h 1333734"/>
              <a:gd name="connsiteX3" fmla="*/ 5536514 w 5536514"/>
              <a:gd name="connsiteY3" fmla="*/ 1206313 h 1333734"/>
              <a:gd name="connsiteX4" fmla="*/ 20938 w 5536514"/>
              <a:gd name="connsiteY4" fmla="*/ 1333734 h 1333734"/>
              <a:gd name="connsiteX0" fmla="*/ 214831 w 5730407"/>
              <a:gd name="connsiteY0" fmla="*/ 1333734 h 1333734"/>
              <a:gd name="connsiteX1" fmla="*/ 0 w 5730407"/>
              <a:gd name="connsiteY1" fmla="*/ 71124 h 1333734"/>
              <a:gd name="connsiteX2" fmla="*/ 5491741 w 5730407"/>
              <a:gd name="connsiteY2" fmla="*/ 0 h 1333734"/>
              <a:gd name="connsiteX3" fmla="*/ 5730407 w 5730407"/>
              <a:gd name="connsiteY3" fmla="*/ 1206313 h 1333734"/>
              <a:gd name="connsiteX4" fmla="*/ 214831 w 5730407"/>
              <a:gd name="connsiteY4" fmla="*/ 1333734 h 1333734"/>
              <a:gd name="connsiteX0" fmla="*/ 178248 w 5730407"/>
              <a:gd name="connsiteY0" fmla="*/ 1289814 h 1289814"/>
              <a:gd name="connsiteX1" fmla="*/ 0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78248 w 5730407"/>
              <a:gd name="connsiteY0" fmla="*/ 1289814 h 1289814"/>
              <a:gd name="connsiteX1" fmla="*/ 1 w 5730407"/>
              <a:gd name="connsiteY1" fmla="*/ 71124 h 1289814"/>
              <a:gd name="connsiteX2" fmla="*/ 5491741 w 5730407"/>
              <a:gd name="connsiteY2" fmla="*/ 0 h 1289814"/>
              <a:gd name="connsiteX3" fmla="*/ 5730407 w 5730407"/>
              <a:gd name="connsiteY3" fmla="*/ 1206313 h 1289814"/>
              <a:gd name="connsiteX4" fmla="*/ 178248 w 5730407"/>
              <a:gd name="connsiteY4" fmla="*/ 1289814 h 1289814"/>
              <a:gd name="connsiteX0" fmla="*/ 191953 w 5744112"/>
              <a:gd name="connsiteY0" fmla="*/ 1289814 h 1289814"/>
              <a:gd name="connsiteX1" fmla="*/ 0 w 5744112"/>
              <a:gd name="connsiteY1" fmla="*/ 72423 h 1289814"/>
              <a:gd name="connsiteX2" fmla="*/ 5505446 w 5744112"/>
              <a:gd name="connsiteY2" fmla="*/ 0 h 1289814"/>
              <a:gd name="connsiteX3" fmla="*/ 5744112 w 5744112"/>
              <a:gd name="connsiteY3" fmla="*/ 1206313 h 1289814"/>
              <a:gd name="connsiteX4" fmla="*/ 191953 w 5744112"/>
              <a:gd name="connsiteY4" fmla="*/ 1289814 h 1289814"/>
              <a:gd name="connsiteX0" fmla="*/ 191953 w 5744112"/>
              <a:gd name="connsiteY0" fmla="*/ 1298697 h 1298697"/>
              <a:gd name="connsiteX1" fmla="*/ 0 w 5744112"/>
              <a:gd name="connsiteY1" fmla="*/ 81306 h 1298697"/>
              <a:gd name="connsiteX2" fmla="*/ 5520228 w 5744112"/>
              <a:gd name="connsiteY2" fmla="*/ 0 h 1298697"/>
              <a:gd name="connsiteX3" fmla="*/ 5744112 w 5744112"/>
              <a:gd name="connsiteY3" fmla="*/ 1215196 h 1298697"/>
              <a:gd name="connsiteX4" fmla="*/ 191953 w 5744112"/>
              <a:gd name="connsiteY4" fmla="*/ 1298697 h 1298697"/>
              <a:gd name="connsiteX0" fmla="*/ 191953 w 5752887"/>
              <a:gd name="connsiteY0" fmla="*/ 1298697 h 1298697"/>
              <a:gd name="connsiteX1" fmla="*/ 0 w 5752887"/>
              <a:gd name="connsiteY1" fmla="*/ 81306 h 1298697"/>
              <a:gd name="connsiteX2" fmla="*/ 5520228 w 5752887"/>
              <a:gd name="connsiteY2" fmla="*/ 0 h 1298697"/>
              <a:gd name="connsiteX3" fmla="*/ 5752886 w 5752887"/>
              <a:gd name="connsiteY3" fmla="*/ 1216858 h 1298697"/>
              <a:gd name="connsiteX4" fmla="*/ 191953 w 5752887"/>
              <a:gd name="connsiteY4" fmla="*/ 1298697 h 1298697"/>
              <a:gd name="connsiteX0" fmla="*/ 191953 w 5647092"/>
              <a:gd name="connsiteY0" fmla="*/ 1298697 h 1298697"/>
              <a:gd name="connsiteX1" fmla="*/ 0 w 5647092"/>
              <a:gd name="connsiteY1" fmla="*/ 81306 h 1298697"/>
              <a:gd name="connsiteX2" fmla="*/ 5520228 w 5647092"/>
              <a:gd name="connsiteY2" fmla="*/ 0 h 1298697"/>
              <a:gd name="connsiteX3" fmla="*/ 5647091 w 5647092"/>
              <a:gd name="connsiteY3" fmla="*/ 1231872 h 1298697"/>
              <a:gd name="connsiteX4" fmla="*/ 191953 w 5647092"/>
              <a:gd name="connsiteY4" fmla="*/ 1298697 h 1298697"/>
              <a:gd name="connsiteX0" fmla="*/ 191953 w 5710692"/>
              <a:gd name="connsiteY0" fmla="*/ 1298697 h 1298697"/>
              <a:gd name="connsiteX1" fmla="*/ 0 w 5710692"/>
              <a:gd name="connsiteY1" fmla="*/ 81306 h 1298697"/>
              <a:gd name="connsiteX2" fmla="*/ 5520228 w 5710692"/>
              <a:gd name="connsiteY2" fmla="*/ 0 h 1298697"/>
              <a:gd name="connsiteX3" fmla="*/ 5710691 w 5710692"/>
              <a:gd name="connsiteY3" fmla="*/ 1228338 h 1298697"/>
              <a:gd name="connsiteX4" fmla="*/ 191953 w 5710692"/>
              <a:gd name="connsiteY4" fmla="*/ 1298697 h 1298697"/>
              <a:gd name="connsiteX0" fmla="*/ 277191 w 5710692"/>
              <a:gd name="connsiteY0" fmla="*/ 1285630 h 1285630"/>
              <a:gd name="connsiteX1" fmla="*/ 0 w 5710692"/>
              <a:gd name="connsiteY1" fmla="*/ 81306 h 1285630"/>
              <a:gd name="connsiteX2" fmla="*/ 5520228 w 5710692"/>
              <a:gd name="connsiteY2" fmla="*/ 0 h 1285630"/>
              <a:gd name="connsiteX3" fmla="*/ 5710691 w 5710692"/>
              <a:gd name="connsiteY3" fmla="*/ 1228338 h 1285630"/>
              <a:gd name="connsiteX4" fmla="*/ 277191 w 5710692"/>
              <a:gd name="connsiteY4" fmla="*/ 1285630 h 1285630"/>
              <a:gd name="connsiteX0" fmla="*/ 180172 w 5710692"/>
              <a:gd name="connsiteY0" fmla="*/ 1302307 h 1302307"/>
              <a:gd name="connsiteX1" fmla="*/ 0 w 5710692"/>
              <a:gd name="connsiteY1" fmla="*/ 81306 h 1302307"/>
              <a:gd name="connsiteX2" fmla="*/ 5520228 w 5710692"/>
              <a:gd name="connsiteY2" fmla="*/ 0 h 1302307"/>
              <a:gd name="connsiteX3" fmla="*/ 5710691 w 5710692"/>
              <a:gd name="connsiteY3" fmla="*/ 1228338 h 1302307"/>
              <a:gd name="connsiteX4" fmla="*/ 180172 w 5710692"/>
              <a:gd name="connsiteY4" fmla="*/ 1302307 h 1302307"/>
              <a:gd name="connsiteX0" fmla="*/ 180172 w 5710692"/>
              <a:gd name="connsiteY0" fmla="*/ 1314091 h 1314091"/>
              <a:gd name="connsiteX1" fmla="*/ 0 w 5710692"/>
              <a:gd name="connsiteY1" fmla="*/ 93090 h 1314091"/>
              <a:gd name="connsiteX2" fmla="*/ 5671955 w 5710692"/>
              <a:gd name="connsiteY2" fmla="*/ 0 h 1314091"/>
              <a:gd name="connsiteX3" fmla="*/ 5710691 w 5710692"/>
              <a:gd name="connsiteY3" fmla="*/ 1240122 h 1314091"/>
              <a:gd name="connsiteX4" fmla="*/ 180172 w 5710692"/>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4091 h 1314091"/>
              <a:gd name="connsiteX1" fmla="*/ 0 w 5855931"/>
              <a:gd name="connsiteY1" fmla="*/ 93090 h 1314091"/>
              <a:gd name="connsiteX2" fmla="*/ 5671955 w 5855931"/>
              <a:gd name="connsiteY2" fmla="*/ 0 h 1314091"/>
              <a:gd name="connsiteX3" fmla="*/ 5855932 w 5855931"/>
              <a:gd name="connsiteY3" fmla="*/ 1257493 h 1314091"/>
              <a:gd name="connsiteX4" fmla="*/ 180172 w 5855931"/>
              <a:gd name="connsiteY4" fmla="*/ 1314091 h 1314091"/>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80172 w 5855931"/>
              <a:gd name="connsiteY0" fmla="*/ 1312063 h 1312063"/>
              <a:gd name="connsiteX1" fmla="*/ 0 w 5855931"/>
              <a:gd name="connsiteY1" fmla="*/ 91062 h 1312063"/>
              <a:gd name="connsiteX2" fmla="*/ 5650567 w 5855931"/>
              <a:gd name="connsiteY2" fmla="*/ 0 h 1312063"/>
              <a:gd name="connsiteX3" fmla="*/ 5855932 w 5855931"/>
              <a:gd name="connsiteY3" fmla="*/ 1255465 h 1312063"/>
              <a:gd name="connsiteX4" fmla="*/ 180172 w 5855931"/>
              <a:gd name="connsiteY4" fmla="*/ 1312063 h 1312063"/>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 name="connsiteX0" fmla="*/ 148295 w 5855931"/>
              <a:gd name="connsiteY0" fmla="*/ 1338438 h 1338438"/>
              <a:gd name="connsiteX1" fmla="*/ 0 w 5855931"/>
              <a:gd name="connsiteY1" fmla="*/ 91062 h 1338438"/>
              <a:gd name="connsiteX2" fmla="*/ 5650567 w 5855931"/>
              <a:gd name="connsiteY2" fmla="*/ 0 h 1338438"/>
              <a:gd name="connsiteX3" fmla="*/ 5855932 w 5855931"/>
              <a:gd name="connsiteY3" fmla="*/ 1255465 h 1338438"/>
              <a:gd name="connsiteX4" fmla="*/ 148295 w 5855931"/>
              <a:gd name="connsiteY4" fmla="*/ 1338438 h 133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5931" h="1338438">
                <a:moveTo>
                  <a:pt x="148295" y="1338438"/>
                </a:moveTo>
                <a:cubicBezTo>
                  <a:pt x="67763" y="821494"/>
                  <a:pt x="2246" y="219071"/>
                  <a:pt x="0" y="91062"/>
                </a:cubicBezTo>
                <a:lnTo>
                  <a:pt x="5650567" y="0"/>
                </a:lnTo>
                <a:cubicBezTo>
                  <a:pt x="5709903" y="239279"/>
                  <a:pt x="5790858" y="708770"/>
                  <a:pt x="5855932" y="1255465"/>
                </a:cubicBezTo>
                <a:lnTo>
                  <a:pt x="148295" y="1338438"/>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7" name="Picture Placeholder 26">
            <a:extLst>
              <a:ext uri="{FF2B5EF4-FFF2-40B4-BE49-F238E27FC236}">
                <a16:creationId xmlns:a16="http://schemas.microsoft.com/office/drawing/2014/main" id="{F8EDA76C-8571-5728-4081-87FE9F9A3ED4}"/>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8" name="Picture Placeholder 26">
            <a:extLst>
              <a:ext uri="{FF2B5EF4-FFF2-40B4-BE49-F238E27FC236}">
                <a16:creationId xmlns:a16="http://schemas.microsoft.com/office/drawing/2014/main" id="{8DA4E5BD-7C49-EC64-0CCC-A12312C21C21}"/>
              </a:ext>
            </a:extLst>
          </p:cNvPr>
          <p:cNvSpPr>
            <a:spLocks noGrp="1"/>
          </p:cNvSpPr>
          <p:nvPr>
            <p:ph type="pic" sz="quarter" idx="23"/>
          </p:nvPr>
        </p:nvSpPr>
        <p:spPr>
          <a:xfrm>
            <a:off x="1814331" y="710546"/>
            <a:ext cx="2138237" cy="2044579"/>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114 w 2030832"/>
              <a:gd name="connsiteY0" fmla="*/ 0 h 1918098"/>
              <a:gd name="connsiteX1" fmla="*/ 2013732 w 2030832"/>
              <a:gd name="connsiteY1" fmla="*/ 45141 h 1918098"/>
              <a:gd name="connsiteX2" fmla="*/ 2030832 w 2030832"/>
              <a:gd name="connsiteY2" fmla="*/ 1918098 h 1918098"/>
              <a:gd name="connsiteX3" fmla="*/ 94527 w 2030832"/>
              <a:gd name="connsiteY3" fmla="*/ 1900615 h 1918098"/>
              <a:gd name="connsiteX4" fmla="*/ 114 w 2030832"/>
              <a:gd name="connsiteY4" fmla="*/ 0 h 1918098"/>
              <a:gd name="connsiteX0" fmla="*/ 114 w 2030832"/>
              <a:gd name="connsiteY0" fmla="*/ 198133 h 2116231"/>
              <a:gd name="connsiteX1" fmla="*/ 1690117 w 2030832"/>
              <a:gd name="connsiteY1" fmla="*/ 85 h 2116231"/>
              <a:gd name="connsiteX2" fmla="*/ 2030832 w 2030832"/>
              <a:gd name="connsiteY2" fmla="*/ 2116231 h 2116231"/>
              <a:gd name="connsiteX3" fmla="*/ 94527 w 2030832"/>
              <a:gd name="connsiteY3" fmla="*/ 2098748 h 2116231"/>
              <a:gd name="connsiteX4" fmla="*/ 114 w 2030832"/>
              <a:gd name="connsiteY4" fmla="*/ 198133 h 2116231"/>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2030832"/>
              <a:gd name="connsiteY0" fmla="*/ 198048 h 2116146"/>
              <a:gd name="connsiteX1" fmla="*/ 1690117 w 2030832"/>
              <a:gd name="connsiteY1" fmla="*/ 0 h 2116146"/>
              <a:gd name="connsiteX2" fmla="*/ 2030832 w 2030832"/>
              <a:gd name="connsiteY2" fmla="*/ 2116146 h 2116146"/>
              <a:gd name="connsiteX3" fmla="*/ 94527 w 2030832"/>
              <a:gd name="connsiteY3" fmla="*/ 2098663 h 2116146"/>
              <a:gd name="connsiteX4" fmla="*/ 114 w 2030832"/>
              <a:gd name="connsiteY4" fmla="*/ 198048 h 2116146"/>
              <a:gd name="connsiteX0" fmla="*/ 114 w 1690181"/>
              <a:gd name="connsiteY0" fmla="*/ 198048 h 2098663"/>
              <a:gd name="connsiteX1" fmla="*/ 1690117 w 1690181"/>
              <a:gd name="connsiteY1" fmla="*/ 0 h 2098663"/>
              <a:gd name="connsiteX2" fmla="*/ 1468762 w 1690181"/>
              <a:gd name="connsiteY2" fmla="*/ 1690566 h 2098663"/>
              <a:gd name="connsiteX3" fmla="*/ 94527 w 1690181"/>
              <a:gd name="connsiteY3" fmla="*/ 2098663 h 2098663"/>
              <a:gd name="connsiteX4" fmla="*/ 114 w 1690181"/>
              <a:gd name="connsiteY4" fmla="*/ 198048 h 2098663"/>
              <a:gd name="connsiteX0" fmla="*/ 49 w 1690116"/>
              <a:gd name="connsiteY0" fmla="*/ 198048 h 2149327"/>
              <a:gd name="connsiteX1" fmla="*/ 1690052 w 1690116"/>
              <a:gd name="connsiteY1" fmla="*/ 0 h 2149327"/>
              <a:gd name="connsiteX2" fmla="*/ 1468697 w 1690116"/>
              <a:gd name="connsiteY2" fmla="*/ 1690566 h 2149327"/>
              <a:gd name="connsiteX3" fmla="*/ 239238 w 1690116"/>
              <a:gd name="connsiteY3" fmla="*/ 2149327 h 2149327"/>
              <a:gd name="connsiteX4" fmla="*/ 49 w 1690116"/>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937089"/>
              <a:gd name="connsiteY0" fmla="*/ 198048 h 2149327"/>
              <a:gd name="connsiteX1" fmla="*/ 1690052 w 1937089"/>
              <a:gd name="connsiteY1" fmla="*/ 0 h 2149327"/>
              <a:gd name="connsiteX2" fmla="*/ 1937089 w 1937089"/>
              <a:gd name="connsiteY2" fmla="*/ 1913488 h 2149327"/>
              <a:gd name="connsiteX3" fmla="*/ 239238 w 1937089"/>
              <a:gd name="connsiteY3" fmla="*/ 2149327 h 2149327"/>
              <a:gd name="connsiteX4" fmla="*/ 49 w 1937089"/>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851926"/>
              <a:gd name="connsiteY0" fmla="*/ 198048 h 2149327"/>
              <a:gd name="connsiteX1" fmla="*/ 1690052 w 1851926"/>
              <a:gd name="connsiteY1" fmla="*/ 0 h 2149327"/>
              <a:gd name="connsiteX2" fmla="*/ 1851926 w 1851926"/>
              <a:gd name="connsiteY2" fmla="*/ 1903355 h 2149327"/>
              <a:gd name="connsiteX3" fmla="*/ 239238 w 1851926"/>
              <a:gd name="connsiteY3" fmla="*/ 2149327 h 2149327"/>
              <a:gd name="connsiteX4" fmla="*/ 49 w 185192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49 w 1920056"/>
              <a:gd name="connsiteY0" fmla="*/ 198048 h 2149327"/>
              <a:gd name="connsiteX1" fmla="*/ 1690052 w 1920056"/>
              <a:gd name="connsiteY1" fmla="*/ 0 h 2149327"/>
              <a:gd name="connsiteX2" fmla="*/ 1920056 w 1920056"/>
              <a:gd name="connsiteY2" fmla="*/ 1903355 h 2149327"/>
              <a:gd name="connsiteX3" fmla="*/ 239238 w 1920056"/>
              <a:gd name="connsiteY3" fmla="*/ 2149327 h 2149327"/>
              <a:gd name="connsiteX4" fmla="*/ 49 w 1920056"/>
              <a:gd name="connsiteY4" fmla="*/ 198048 h 2149327"/>
              <a:gd name="connsiteX0" fmla="*/ 24 w 1920031"/>
              <a:gd name="connsiteY0" fmla="*/ 198048 h 1903355"/>
              <a:gd name="connsiteX1" fmla="*/ 1690027 w 1920031"/>
              <a:gd name="connsiteY1" fmla="*/ 0 h 1903355"/>
              <a:gd name="connsiteX2" fmla="*/ 1920031 w 1920031"/>
              <a:gd name="connsiteY2" fmla="*/ 1903355 h 1903355"/>
              <a:gd name="connsiteX3" fmla="*/ 503216 w 1920031"/>
              <a:gd name="connsiteY3" fmla="*/ 1754145 h 1903355"/>
              <a:gd name="connsiteX4" fmla="*/ 24 w 1920031"/>
              <a:gd name="connsiteY4" fmla="*/ 198048 h 1903355"/>
              <a:gd name="connsiteX0" fmla="*/ 45 w 1920052"/>
              <a:gd name="connsiteY0" fmla="*/ 198048 h 2149328"/>
              <a:gd name="connsiteX1" fmla="*/ 1690048 w 1920052"/>
              <a:gd name="connsiteY1" fmla="*/ 0 h 2149328"/>
              <a:gd name="connsiteX2" fmla="*/ 1920052 w 1920052"/>
              <a:gd name="connsiteY2" fmla="*/ 1903355 h 2149328"/>
              <a:gd name="connsiteX3" fmla="*/ 256267 w 1920052"/>
              <a:gd name="connsiteY3" fmla="*/ 2149328 h 2149328"/>
              <a:gd name="connsiteX4" fmla="*/ 45 w 1920052"/>
              <a:gd name="connsiteY4" fmla="*/ 198048 h 2149328"/>
              <a:gd name="connsiteX0" fmla="*/ 60 w 1920067"/>
              <a:gd name="connsiteY0" fmla="*/ 198048 h 2149328"/>
              <a:gd name="connsiteX1" fmla="*/ 1690063 w 1920067"/>
              <a:gd name="connsiteY1" fmla="*/ 0 h 2149328"/>
              <a:gd name="connsiteX2" fmla="*/ 1920067 w 1920067"/>
              <a:gd name="connsiteY2" fmla="*/ 1903355 h 2149328"/>
              <a:gd name="connsiteX3" fmla="*/ 256282 w 1920067"/>
              <a:gd name="connsiteY3" fmla="*/ 2149328 h 2149328"/>
              <a:gd name="connsiteX4" fmla="*/ 60 w 1920067"/>
              <a:gd name="connsiteY4" fmla="*/ 198048 h 2149328"/>
              <a:gd name="connsiteX0" fmla="*/ 116488 w 1678814"/>
              <a:gd name="connsiteY0" fmla="*/ 218314 h 2149328"/>
              <a:gd name="connsiteX1" fmla="*/ 1448810 w 1678814"/>
              <a:gd name="connsiteY1" fmla="*/ 0 h 2149328"/>
              <a:gd name="connsiteX2" fmla="*/ 1678814 w 1678814"/>
              <a:gd name="connsiteY2" fmla="*/ 1903355 h 2149328"/>
              <a:gd name="connsiteX3" fmla="*/ 15029 w 1678814"/>
              <a:gd name="connsiteY3" fmla="*/ 2149328 h 2149328"/>
              <a:gd name="connsiteX4" fmla="*/ 116488 w 1678814"/>
              <a:gd name="connsiteY4" fmla="*/ 218314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60 w 1920068"/>
              <a:gd name="connsiteY0" fmla="*/ 187916 h 2149328"/>
              <a:gd name="connsiteX1" fmla="*/ 1690064 w 1920068"/>
              <a:gd name="connsiteY1" fmla="*/ 0 h 2149328"/>
              <a:gd name="connsiteX2" fmla="*/ 1920068 w 1920068"/>
              <a:gd name="connsiteY2" fmla="*/ 1903355 h 2149328"/>
              <a:gd name="connsiteX3" fmla="*/ 256283 w 1920068"/>
              <a:gd name="connsiteY3" fmla="*/ 2149328 h 2149328"/>
              <a:gd name="connsiteX4" fmla="*/ 60 w 1920068"/>
              <a:gd name="connsiteY4" fmla="*/ 187916 h 2149328"/>
              <a:gd name="connsiteX0" fmla="*/ 0 w 1920008"/>
              <a:gd name="connsiteY0" fmla="*/ 187916 h 2149328"/>
              <a:gd name="connsiteX1" fmla="*/ 1690004 w 1920008"/>
              <a:gd name="connsiteY1" fmla="*/ 0 h 2149328"/>
              <a:gd name="connsiteX2" fmla="*/ 1920008 w 1920008"/>
              <a:gd name="connsiteY2" fmla="*/ 1903355 h 2149328"/>
              <a:gd name="connsiteX3" fmla="*/ 256223 w 1920008"/>
              <a:gd name="connsiteY3" fmla="*/ 2149328 h 2149328"/>
              <a:gd name="connsiteX4" fmla="*/ 0 w 1920008"/>
              <a:gd name="connsiteY4" fmla="*/ 187916 h 2149328"/>
              <a:gd name="connsiteX0" fmla="*/ 0 w 1775233"/>
              <a:gd name="connsiteY0" fmla="*/ 187916 h 2149328"/>
              <a:gd name="connsiteX1" fmla="*/ 1545229 w 1775233"/>
              <a:gd name="connsiteY1" fmla="*/ 0 h 2149328"/>
              <a:gd name="connsiteX2" fmla="*/ 1775233 w 1775233"/>
              <a:gd name="connsiteY2" fmla="*/ 1903355 h 2149328"/>
              <a:gd name="connsiteX3" fmla="*/ 111448 w 1775233"/>
              <a:gd name="connsiteY3" fmla="*/ 2149328 h 2149328"/>
              <a:gd name="connsiteX4" fmla="*/ 0 w 1775233"/>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69 w 1894529"/>
              <a:gd name="connsiteY0" fmla="*/ 187916 h 2149328"/>
              <a:gd name="connsiteX1" fmla="*/ 1664525 w 1894529"/>
              <a:gd name="connsiteY1" fmla="*/ 0 h 2149328"/>
              <a:gd name="connsiteX2" fmla="*/ 1894529 w 1894529"/>
              <a:gd name="connsiteY2" fmla="*/ 1903355 h 2149328"/>
              <a:gd name="connsiteX3" fmla="*/ 230744 w 1894529"/>
              <a:gd name="connsiteY3" fmla="*/ 2149328 h 2149328"/>
              <a:gd name="connsiteX4" fmla="*/ 69 w 189452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59 w 1894519"/>
              <a:gd name="connsiteY0" fmla="*/ 187916 h 2149328"/>
              <a:gd name="connsiteX1" fmla="*/ 1664515 w 1894519"/>
              <a:gd name="connsiteY1" fmla="*/ 0 h 2149328"/>
              <a:gd name="connsiteX2" fmla="*/ 1894519 w 1894519"/>
              <a:gd name="connsiteY2" fmla="*/ 1903355 h 2149328"/>
              <a:gd name="connsiteX3" fmla="*/ 230734 w 1894519"/>
              <a:gd name="connsiteY3" fmla="*/ 2149328 h 2149328"/>
              <a:gd name="connsiteX4" fmla="*/ 59 w 1894519"/>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16 h 2149328"/>
              <a:gd name="connsiteX1" fmla="*/ 1664456 w 1894460"/>
              <a:gd name="connsiteY1" fmla="*/ 0 h 2149328"/>
              <a:gd name="connsiteX2" fmla="*/ 1894460 w 1894460"/>
              <a:gd name="connsiteY2" fmla="*/ 1903355 h 2149328"/>
              <a:gd name="connsiteX3" fmla="*/ 230675 w 1894460"/>
              <a:gd name="connsiteY3" fmla="*/ 2149328 h 2149328"/>
              <a:gd name="connsiteX4" fmla="*/ 0 w 1894460"/>
              <a:gd name="connsiteY4" fmla="*/ 187916 h 2149328"/>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7 h 2149379"/>
              <a:gd name="connsiteX1" fmla="*/ 1664456 w 1894460"/>
              <a:gd name="connsiteY1" fmla="*/ 51 h 2149379"/>
              <a:gd name="connsiteX2" fmla="*/ 1894460 w 1894460"/>
              <a:gd name="connsiteY2" fmla="*/ 1903406 h 2149379"/>
              <a:gd name="connsiteX3" fmla="*/ 230675 w 1894460"/>
              <a:gd name="connsiteY3" fmla="*/ 2149379 h 2149379"/>
              <a:gd name="connsiteX4" fmla="*/ 0 w 1894460"/>
              <a:gd name="connsiteY4" fmla="*/ 187967 h 2149379"/>
              <a:gd name="connsiteX0" fmla="*/ 0 w 1894460"/>
              <a:gd name="connsiteY0" fmla="*/ 187962 h 2149374"/>
              <a:gd name="connsiteX1" fmla="*/ 1664456 w 1894460"/>
              <a:gd name="connsiteY1" fmla="*/ 46 h 2149374"/>
              <a:gd name="connsiteX2" fmla="*/ 1894460 w 1894460"/>
              <a:gd name="connsiteY2" fmla="*/ 1903401 h 2149374"/>
              <a:gd name="connsiteX3" fmla="*/ 230675 w 1894460"/>
              <a:gd name="connsiteY3" fmla="*/ 2149374 h 2149374"/>
              <a:gd name="connsiteX4" fmla="*/ 0 w 1894460"/>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2 h 2149374"/>
              <a:gd name="connsiteX1" fmla="*/ 1664474 w 1894478"/>
              <a:gd name="connsiteY1" fmla="*/ 46 h 2149374"/>
              <a:gd name="connsiteX2" fmla="*/ 1894478 w 1894478"/>
              <a:gd name="connsiteY2" fmla="*/ 1903401 h 2149374"/>
              <a:gd name="connsiteX3" fmla="*/ 230693 w 1894478"/>
              <a:gd name="connsiteY3" fmla="*/ 2149374 h 2149374"/>
              <a:gd name="connsiteX4" fmla="*/ 18 w 1894478"/>
              <a:gd name="connsiteY4" fmla="*/ 187962 h 2149374"/>
              <a:gd name="connsiteX0" fmla="*/ 18 w 1894478"/>
              <a:gd name="connsiteY0" fmla="*/ 187961 h 2149373"/>
              <a:gd name="connsiteX1" fmla="*/ 1664474 w 1894478"/>
              <a:gd name="connsiteY1" fmla="*/ 45 h 2149373"/>
              <a:gd name="connsiteX2" fmla="*/ 1894478 w 1894478"/>
              <a:gd name="connsiteY2" fmla="*/ 1903400 h 2149373"/>
              <a:gd name="connsiteX3" fmla="*/ 230693 w 1894478"/>
              <a:gd name="connsiteY3" fmla="*/ 2149373 h 2149373"/>
              <a:gd name="connsiteX4" fmla="*/ 18 w 1894478"/>
              <a:gd name="connsiteY4" fmla="*/ 187961 h 2149373"/>
              <a:gd name="connsiteX0" fmla="*/ 18 w 1894478"/>
              <a:gd name="connsiteY0" fmla="*/ 32510 h 1993922"/>
              <a:gd name="connsiteX1" fmla="*/ 1675373 w 1894478"/>
              <a:gd name="connsiteY1" fmla="*/ 210 h 1993922"/>
              <a:gd name="connsiteX2" fmla="*/ 1894478 w 1894478"/>
              <a:gd name="connsiteY2" fmla="*/ 1747949 h 1993922"/>
              <a:gd name="connsiteX3" fmla="*/ 230693 w 1894478"/>
              <a:gd name="connsiteY3" fmla="*/ 1993922 h 1993922"/>
              <a:gd name="connsiteX4" fmla="*/ 18 w 1894478"/>
              <a:gd name="connsiteY4" fmla="*/ 32510 h 1993922"/>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51 h 1993763"/>
              <a:gd name="connsiteX1" fmla="*/ 1675373 w 1894478"/>
              <a:gd name="connsiteY1" fmla="*/ 51 h 1993763"/>
              <a:gd name="connsiteX2" fmla="*/ 1894478 w 1894478"/>
              <a:gd name="connsiteY2" fmla="*/ 1747790 h 1993763"/>
              <a:gd name="connsiteX3" fmla="*/ 230693 w 1894478"/>
              <a:gd name="connsiteY3" fmla="*/ 1993763 h 1993763"/>
              <a:gd name="connsiteX4" fmla="*/ 18 w 1894478"/>
              <a:gd name="connsiteY4" fmla="*/ 32351 h 1993763"/>
              <a:gd name="connsiteX0" fmla="*/ 18 w 1894478"/>
              <a:gd name="connsiteY0" fmla="*/ 32300 h 1993712"/>
              <a:gd name="connsiteX1" fmla="*/ 1675373 w 1894478"/>
              <a:gd name="connsiteY1" fmla="*/ 0 h 1993712"/>
              <a:gd name="connsiteX2" fmla="*/ 1894478 w 1894478"/>
              <a:gd name="connsiteY2" fmla="*/ 1747739 h 1993712"/>
              <a:gd name="connsiteX3" fmla="*/ 230693 w 1894478"/>
              <a:gd name="connsiteY3" fmla="*/ 1993712 h 1993712"/>
              <a:gd name="connsiteX4" fmla="*/ 18 w 1894478"/>
              <a:gd name="connsiteY4" fmla="*/ 32300 h 1993712"/>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18 w 1894478"/>
              <a:gd name="connsiteY0" fmla="*/ 142528 h 2103940"/>
              <a:gd name="connsiteX1" fmla="*/ 1661749 w 1894478"/>
              <a:gd name="connsiteY1" fmla="*/ 0 h 2103940"/>
              <a:gd name="connsiteX2" fmla="*/ 1894478 w 1894478"/>
              <a:gd name="connsiteY2" fmla="*/ 1857967 h 2103940"/>
              <a:gd name="connsiteX3" fmla="*/ 230693 w 1894478"/>
              <a:gd name="connsiteY3" fmla="*/ 2103940 h 2103940"/>
              <a:gd name="connsiteX4" fmla="*/ 18 w 1894478"/>
              <a:gd name="connsiteY4" fmla="*/ 142528 h 2103940"/>
              <a:gd name="connsiteX0" fmla="*/ 0 w 1894460"/>
              <a:gd name="connsiteY0" fmla="*/ 142528 h 2103940"/>
              <a:gd name="connsiteX1" fmla="*/ 1661731 w 1894460"/>
              <a:gd name="connsiteY1" fmla="*/ 0 h 2103940"/>
              <a:gd name="connsiteX2" fmla="*/ 1894460 w 1894460"/>
              <a:gd name="connsiteY2" fmla="*/ 1857967 h 2103940"/>
              <a:gd name="connsiteX3" fmla="*/ 230675 w 1894460"/>
              <a:gd name="connsiteY3" fmla="*/ 2103940 h 2103940"/>
              <a:gd name="connsiteX4" fmla="*/ 0 w 1894460"/>
              <a:gd name="connsiteY4" fmla="*/ 142528 h 2103940"/>
              <a:gd name="connsiteX0" fmla="*/ 0 w 1820891"/>
              <a:gd name="connsiteY0" fmla="*/ 139286 h 2103940"/>
              <a:gd name="connsiteX1" fmla="*/ 1588162 w 1820891"/>
              <a:gd name="connsiteY1" fmla="*/ 0 h 2103940"/>
              <a:gd name="connsiteX2" fmla="*/ 1820891 w 1820891"/>
              <a:gd name="connsiteY2" fmla="*/ 1857967 h 2103940"/>
              <a:gd name="connsiteX3" fmla="*/ 157106 w 1820891"/>
              <a:gd name="connsiteY3" fmla="*/ 2103940 h 2103940"/>
              <a:gd name="connsiteX4" fmla="*/ 0 w 1820891"/>
              <a:gd name="connsiteY4" fmla="*/ 139286 h 2103940"/>
              <a:gd name="connsiteX0" fmla="*/ 0 w 1842689"/>
              <a:gd name="connsiteY0" fmla="*/ 204126 h 2103940"/>
              <a:gd name="connsiteX1" fmla="*/ 1609960 w 1842689"/>
              <a:gd name="connsiteY1" fmla="*/ 0 h 2103940"/>
              <a:gd name="connsiteX2" fmla="*/ 1842689 w 1842689"/>
              <a:gd name="connsiteY2" fmla="*/ 1857967 h 2103940"/>
              <a:gd name="connsiteX3" fmla="*/ 178904 w 1842689"/>
              <a:gd name="connsiteY3" fmla="*/ 2103940 h 2103940"/>
              <a:gd name="connsiteX4" fmla="*/ 0 w 1842689"/>
              <a:gd name="connsiteY4" fmla="*/ 204126 h 2103940"/>
              <a:gd name="connsiteX0" fmla="*/ 0 w 1842689"/>
              <a:gd name="connsiteY0" fmla="*/ 204126 h 1977502"/>
              <a:gd name="connsiteX1" fmla="*/ 1609960 w 1842689"/>
              <a:gd name="connsiteY1" fmla="*/ 0 h 1977502"/>
              <a:gd name="connsiteX2" fmla="*/ 1842689 w 1842689"/>
              <a:gd name="connsiteY2" fmla="*/ 1857967 h 1977502"/>
              <a:gd name="connsiteX3" fmla="*/ 222500 w 1842689"/>
              <a:gd name="connsiteY3" fmla="*/ 1977502 h 1977502"/>
              <a:gd name="connsiteX4" fmla="*/ 0 w 1842689"/>
              <a:gd name="connsiteY4" fmla="*/ 204126 h 1977502"/>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842689"/>
              <a:gd name="connsiteY0" fmla="*/ 204126 h 2078004"/>
              <a:gd name="connsiteX1" fmla="*/ 1609960 w 1842689"/>
              <a:gd name="connsiteY1" fmla="*/ 0 h 2078004"/>
              <a:gd name="connsiteX2" fmla="*/ 1842689 w 1842689"/>
              <a:gd name="connsiteY2" fmla="*/ 1857967 h 2078004"/>
              <a:gd name="connsiteX3" fmla="*/ 230674 w 1842689"/>
              <a:gd name="connsiteY3" fmla="*/ 2078004 h 2078004"/>
              <a:gd name="connsiteX4" fmla="*/ 0 w 1842689"/>
              <a:gd name="connsiteY4" fmla="*/ 204126 h 2078004"/>
              <a:gd name="connsiteX0" fmla="*/ 0 w 1679203"/>
              <a:gd name="connsiteY0" fmla="*/ 204126 h 2078004"/>
              <a:gd name="connsiteX1" fmla="*/ 1609960 w 1679203"/>
              <a:gd name="connsiteY1" fmla="*/ 0 h 2078004"/>
              <a:gd name="connsiteX2" fmla="*/ 1679203 w 1679203"/>
              <a:gd name="connsiteY2" fmla="*/ 1883903 h 2078004"/>
              <a:gd name="connsiteX3" fmla="*/ 230674 w 1679203"/>
              <a:gd name="connsiteY3" fmla="*/ 2078004 h 2078004"/>
              <a:gd name="connsiteX4" fmla="*/ 0 w 1679203"/>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204126 h 2078004"/>
              <a:gd name="connsiteX1" fmla="*/ 1609960 w 1837239"/>
              <a:gd name="connsiteY1" fmla="*/ 0 h 2078004"/>
              <a:gd name="connsiteX2" fmla="*/ 1837239 w 1837239"/>
              <a:gd name="connsiteY2" fmla="*/ 1851483 h 2078004"/>
              <a:gd name="connsiteX3" fmla="*/ 230674 w 1837239"/>
              <a:gd name="connsiteY3" fmla="*/ 2078004 h 2078004"/>
              <a:gd name="connsiteX4" fmla="*/ 0 w 1837239"/>
              <a:gd name="connsiteY4" fmla="*/ 204126 h 2078004"/>
              <a:gd name="connsiteX0" fmla="*/ 0 w 1837239"/>
              <a:gd name="connsiteY0" fmla="*/ 119834 h 1993712"/>
              <a:gd name="connsiteX1" fmla="*/ 1604511 w 1837239"/>
              <a:gd name="connsiteY1" fmla="*/ 0 h 1993712"/>
              <a:gd name="connsiteX2" fmla="*/ 1837239 w 1837239"/>
              <a:gd name="connsiteY2" fmla="*/ 1767191 h 1993712"/>
              <a:gd name="connsiteX3" fmla="*/ 230674 w 1837239"/>
              <a:gd name="connsiteY3" fmla="*/ 1993712 h 1993712"/>
              <a:gd name="connsiteX4" fmla="*/ 0 w 1837239"/>
              <a:gd name="connsiteY4" fmla="*/ 119834 h 1993712"/>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837239"/>
              <a:gd name="connsiteY0" fmla="*/ 213852 h 2087730"/>
              <a:gd name="connsiteX1" fmla="*/ 1623584 w 1837239"/>
              <a:gd name="connsiteY1" fmla="*/ 0 h 2087730"/>
              <a:gd name="connsiteX2" fmla="*/ 1837239 w 1837239"/>
              <a:gd name="connsiteY2" fmla="*/ 1861209 h 2087730"/>
              <a:gd name="connsiteX3" fmla="*/ 230674 w 1837239"/>
              <a:gd name="connsiteY3" fmla="*/ 2087730 h 2087730"/>
              <a:gd name="connsiteX4" fmla="*/ 0 w 1837239"/>
              <a:gd name="connsiteY4" fmla="*/ 213852 h 2087730"/>
              <a:gd name="connsiteX0" fmla="*/ 0 w 1790918"/>
              <a:gd name="connsiteY0" fmla="*/ 226820 h 2087730"/>
              <a:gd name="connsiteX1" fmla="*/ 1577263 w 1790918"/>
              <a:gd name="connsiteY1" fmla="*/ 0 h 2087730"/>
              <a:gd name="connsiteX2" fmla="*/ 1790918 w 1790918"/>
              <a:gd name="connsiteY2" fmla="*/ 1861209 h 2087730"/>
              <a:gd name="connsiteX3" fmla="*/ 184353 w 1790918"/>
              <a:gd name="connsiteY3" fmla="*/ 2087730 h 2087730"/>
              <a:gd name="connsiteX4" fmla="*/ 0 w 1790918"/>
              <a:gd name="connsiteY4" fmla="*/ 226820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 name="connsiteX0" fmla="*/ 0 w 1812716"/>
              <a:gd name="connsiteY0" fmla="*/ 213852 h 2087730"/>
              <a:gd name="connsiteX1" fmla="*/ 1599061 w 1812716"/>
              <a:gd name="connsiteY1" fmla="*/ 0 h 2087730"/>
              <a:gd name="connsiteX2" fmla="*/ 1812716 w 1812716"/>
              <a:gd name="connsiteY2" fmla="*/ 1861209 h 2087730"/>
              <a:gd name="connsiteX3" fmla="*/ 206151 w 1812716"/>
              <a:gd name="connsiteY3" fmla="*/ 2087730 h 2087730"/>
              <a:gd name="connsiteX4" fmla="*/ 0 w 1812716"/>
              <a:gd name="connsiteY4" fmla="*/ 213852 h 208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716" h="2087730">
                <a:moveTo>
                  <a:pt x="0" y="213852"/>
                </a:moveTo>
                <a:lnTo>
                  <a:pt x="1599061" y="0"/>
                </a:lnTo>
                <a:cubicBezTo>
                  <a:pt x="1707251" y="932225"/>
                  <a:pt x="1748955" y="1289309"/>
                  <a:pt x="1812716" y="1861209"/>
                </a:cubicBezTo>
                <a:cubicBezTo>
                  <a:pt x="1275378" y="1934555"/>
                  <a:pt x="1825219" y="1865252"/>
                  <a:pt x="206151" y="2087730"/>
                </a:cubicBezTo>
                <a:cubicBezTo>
                  <a:pt x="83796" y="1035118"/>
                  <a:pt x="35842" y="545306"/>
                  <a:pt x="0" y="213852"/>
                </a:cubicBez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2" name="Text Placeholder 10">
            <a:extLst>
              <a:ext uri="{FF2B5EF4-FFF2-40B4-BE49-F238E27FC236}">
                <a16:creationId xmlns:a16="http://schemas.microsoft.com/office/drawing/2014/main" id="{5A70951D-A195-625E-88C4-44A43B7B617E}"/>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3879230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ront Cover opt 1c">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E7D570A-D552-FC3B-FEED-B15E32260648}"/>
              </a:ext>
            </a:extLst>
          </p:cNvPr>
          <p:cNvSpPr>
            <a:spLocks noGrp="1"/>
          </p:cNvSpPr>
          <p:nvPr>
            <p:ph type="title" hasCustomPrompt="1"/>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3" name="Picture Placeholder 26">
            <a:extLst>
              <a:ext uri="{FF2B5EF4-FFF2-40B4-BE49-F238E27FC236}">
                <a16:creationId xmlns:a16="http://schemas.microsoft.com/office/drawing/2014/main" id="{14DB706F-C933-F7C7-2975-AA77D9B53BD9}"/>
              </a:ext>
            </a:extLst>
          </p:cNvPr>
          <p:cNvSpPr>
            <a:spLocks noGrp="1"/>
          </p:cNvSpPr>
          <p:nvPr>
            <p:ph type="pic" sz="quarter" idx="17"/>
          </p:nvPr>
        </p:nvSpPr>
        <p:spPr>
          <a:xfrm rot="171018">
            <a:off x="2495651" y="3256954"/>
            <a:ext cx="3138003" cy="305127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5" name="Picture Placeholder 26">
            <a:extLst>
              <a:ext uri="{FF2B5EF4-FFF2-40B4-BE49-F238E27FC236}">
                <a16:creationId xmlns:a16="http://schemas.microsoft.com/office/drawing/2014/main" id="{5577B022-ADAB-1FFA-B6AC-BFF493A44FCE}"/>
              </a:ext>
            </a:extLst>
          </p:cNvPr>
          <p:cNvSpPr>
            <a:spLocks noGrp="1"/>
          </p:cNvSpPr>
          <p:nvPr>
            <p:ph type="pic" sz="quarter" idx="19"/>
          </p:nvPr>
        </p:nvSpPr>
        <p:spPr>
          <a:xfrm rot="21159356">
            <a:off x="1096330" y="2009712"/>
            <a:ext cx="2041929" cy="1684398"/>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640013 w 1946165"/>
              <a:gd name="connsiteY1" fmla="*/ 2258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843251 w 1946165"/>
              <a:gd name="connsiteY1" fmla="*/ 935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843387"/>
              <a:gd name="connsiteY0" fmla="*/ 0 h 1870217"/>
              <a:gd name="connsiteX1" fmla="*/ 1843251 w 1843387"/>
              <a:gd name="connsiteY1" fmla="*/ 93534 h 1870217"/>
              <a:gd name="connsiteX2" fmla="*/ 1744803 w 1843387"/>
              <a:gd name="connsiteY2" fmla="*/ 1764870 h 1870217"/>
              <a:gd name="connsiteX3" fmla="*/ 9860 w 1843387"/>
              <a:gd name="connsiteY3" fmla="*/ 1870217 h 1870217"/>
              <a:gd name="connsiteX4" fmla="*/ 609 w 1843387"/>
              <a:gd name="connsiteY4" fmla="*/ 0 h 1870217"/>
              <a:gd name="connsiteX0" fmla="*/ 609 w 1844479"/>
              <a:gd name="connsiteY0" fmla="*/ 0 h 1892256"/>
              <a:gd name="connsiteX1" fmla="*/ 1843251 w 1844479"/>
              <a:gd name="connsiteY1" fmla="*/ 93534 h 1892256"/>
              <a:gd name="connsiteX2" fmla="*/ 1842631 w 1844479"/>
              <a:gd name="connsiteY2" fmla="*/ 1892256 h 1892256"/>
              <a:gd name="connsiteX3" fmla="*/ 9860 w 1844479"/>
              <a:gd name="connsiteY3" fmla="*/ 1870217 h 1892256"/>
              <a:gd name="connsiteX4" fmla="*/ 609 w 1844479"/>
              <a:gd name="connsiteY4" fmla="*/ 0 h 1892256"/>
              <a:gd name="connsiteX0" fmla="*/ 88315 w 1834619"/>
              <a:gd name="connsiteY0" fmla="*/ 115687 h 1798863"/>
              <a:gd name="connsiteX1" fmla="*/ 1833391 w 1834619"/>
              <a:gd name="connsiteY1" fmla="*/ 141 h 1798863"/>
              <a:gd name="connsiteX2" fmla="*/ 1832771 w 1834619"/>
              <a:gd name="connsiteY2" fmla="*/ 1798863 h 1798863"/>
              <a:gd name="connsiteX3" fmla="*/ 0 w 1834619"/>
              <a:gd name="connsiteY3" fmla="*/ 1776824 h 1798863"/>
              <a:gd name="connsiteX4" fmla="*/ 88315 w 1834619"/>
              <a:gd name="connsiteY4" fmla="*/ 115687 h 1798863"/>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2 h 1810561"/>
              <a:gd name="connsiteX4" fmla="*/ 600 w 1844731"/>
              <a:gd name="connsiteY4" fmla="*/ 0 h 1810561"/>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3 h 1810561"/>
              <a:gd name="connsiteX4" fmla="*/ 600 w 1844731"/>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688" h="1810561">
                <a:moveTo>
                  <a:pt x="557" y="0"/>
                </a:moveTo>
                <a:lnTo>
                  <a:pt x="1843460" y="11839"/>
                </a:lnTo>
                <a:cubicBezTo>
                  <a:pt x="1847950" y="627921"/>
                  <a:pt x="1838350" y="1194479"/>
                  <a:pt x="1842840" y="1810561"/>
                </a:cubicBezTo>
                <a:lnTo>
                  <a:pt x="10069" y="1788523"/>
                </a:lnTo>
                <a:cubicBezTo>
                  <a:pt x="15692" y="988322"/>
                  <a:pt x="-3452" y="626765"/>
                  <a:pt x="557" y="0"/>
                </a:cubicBez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6" name="Picture Placeholder 26">
            <a:extLst>
              <a:ext uri="{FF2B5EF4-FFF2-40B4-BE49-F238E27FC236}">
                <a16:creationId xmlns:a16="http://schemas.microsoft.com/office/drawing/2014/main" id="{B9B86434-7BCA-74BE-75D2-CE54DC96906A}"/>
              </a:ext>
            </a:extLst>
          </p:cNvPr>
          <p:cNvSpPr>
            <a:spLocks noGrp="1"/>
          </p:cNvSpPr>
          <p:nvPr>
            <p:ph type="pic" sz="quarter" idx="21"/>
          </p:nvPr>
        </p:nvSpPr>
        <p:spPr>
          <a:xfrm rot="892421">
            <a:off x="652130" y="395641"/>
            <a:ext cx="1665804" cy="1604154"/>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0 w 2124830"/>
              <a:gd name="connsiteY0" fmla="*/ 450150 h 2013182"/>
              <a:gd name="connsiteX1" fmla="*/ 2124381 w 2124830"/>
              <a:gd name="connsiteY1" fmla="*/ 238 h 2013182"/>
              <a:gd name="connsiteX2" fmla="*/ 2102592 w 2124830"/>
              <a:gd name="connsiteY2" fmla="*/ 2013182 h 2013182"/>
              <a:gd name="connsiteX3" fmla="*/ 206764 w 2124830"/>
              <a:gd name="connsiteY3" fmla="*/ 1949091 h 2013182"/>
              <a:gd name="connsiteX4" fmla="*/ 0 w 2124830"/>
              <a:gd name="connsiteY4" fmla="*/ 450150 h 2013182"/>
              <a:gd name="connsiteX0" fmla="*/ 17720 w 2142550"/>
              <a:gd name="connsiteY0" fmla="*/ 450150 h 2420008"/>
              <a:gd name="connsiteX1" fmla="*/ 2142101 w 2142550"/>
              <a:gd name="connsiteY1" fmla="*/ 238 h 2420008"/>
              <a:gd name="connsiteX2" fmla="*/ 2120312 w 2142550"/>
              <a:gd name="connsiteY2" fmla="*/ 2013182 h 2420008"/>
              <a:gd name="connsiteX3" fmla="*/ 0 w 2142550"/>
              <a:gd name="connsiteY3" fmla="*/ 2420008 h 2420008"/>
              <a:gd name="connsiteX4" fmla="*/ 17720 w 2142550"/>
              <a:gd name="connsiteY4" fmla="*/ 450150 h 2420008"/>
              <a:gd name="connsiteX0" fmla="*/ 17720 w 2142235"/>
              <a:gd name="connsiteY0" fmla="*/ 450150 h 2452711"/>
              <a:gd name="connsiteX1" fmla="*/ 2142101 w 2142235"/>
              <a:gd name="connsiteY1" fmla="*/ 238 h 2452711"/>
              <a:gd name="connsiteX2" fmla="*/ 2042033 w 2142235"/>
              <a:gd name="connsiteY2" fmla="*/ 2452711 h 2452711"/>
              <a:gd name="connsiteX3" fmla="*/ 0 w 2142235"/>
              <a:gd name="connsiteY3" fmla="*/ 2420008 h 2452711"/>
              <a:gd name="connsiteX4" fmla="*/ 17720 w 2142235"/>
              <a:gd name="connsiteY4" fmla="*/ 450150 h 2452711"/>
              <a:gd name="connsiteX0" fmla="*/ 17720 w 2142136"/>
              <a:gd name="connsiteY0" fmla="*/ 450150 h 2420008"/>
              <a:gd name="connsiteX1" fmla="*/ 2142101 w 2142136"/>
              <a:gd name="connsiteY1" fmla="*/ 238 h 2420008"/>
              <a:gd name="connsiteX2" fmla="*/ 1730181 w 2142136"/>
              <a:gd name="connsiteY2" fmla="*/ 2138255 h 2420008"/>
              <a:gd name="connsiteX3" fmla="*/ 0 w 2142136"/>
              <a:gd name="connsiteY3" fmla="*/ 2420008 h 2420008"/>
              <a:gd name="connsiteX4" fmla="*/ 17720 w 2142136"/>
              <a:gd name="connsiteY4" fmla="*/ 450150 h 2420008"/>
              <a:gd name="connsiteX0" fmla="*/ 17720 w 2142158"/>
              <a:gd name="connsiteY0" fmla="*/ 450150 h 2463060"/>
              <a:gd name="connsiteX1" fmla="*/ 2142101 w 2142158"/>
              <a:gd name="connsiteY1" fmla="*/ 238 h 2463060"/>
              <a:gd name="connsiteX2" fmla="*/ 1890741 w 2142158"/>
              <a:gd name="connsiteY2" fmla="*/ 2463060 h 2463060"/>
              <a:gd name="connsiteX3" fmla="*/ 0 w 2142158"/>
              <a:gd name="connsiteY3" fmla="*/ 2420008 h 2463060"/>
              <a:gd name="connsiteX4" fmla="*/ 17720 w 2142158"/>
              <a:gd name="connsiteY4" fmla="*/ 450150 h 2463060"/>
              <a:gd name="connsiteX0" fmla="*/ 17720 w 1986745"/>
              <a:gd name="connsiteY0" fmla="*/ 34657 h 2047567"/>
              <a:gd name="connsiteX1" fmla="*/ 1986605 w 1986745"/>
              <a:gd name="connsiteY1" fmla="*/ 1753 h 2047567"/>
              <a:gd name="connsiteX2" fmla="*/ 1890741 w 1986745"/>
              <a:gd name="connsiteY2" fmla="*/ 2047567 h 2047567"/>
              <a:gd name="connsiteX3" fmla="*/ 0 w 1986745"/>
              <a:gd name="connsiteY3" fmla="*/ 2004515 h 2047567"/>
              <a:gd name="connsiteX4" fmla="*/ 17720 w 1986745"/>
              <a:gd name="connsiteY4" fmla="*/ 34657 h 2047567"/>
              <a:gd name="connsiteX0" fmla="*/ 17720 w 1890741"/>
              <a:gd name="connsiteY0" fmla="*/ 0 h 2012910"/>
              <a:gd name="connsiteX1" fmla="*/ 1857607 w 1890741"/>
              <a:gd name="connsiteY1" fmla="*/ 27253 h 2012910"/>
              <a:gd name="connsiteX2" fmla="*/ 1890741 w 1890741"/>
              <a:gd name="connsiteY2" fmla="*/ 2012910 h 2012910"/>
              <a:gd name="connsiteX3" fmla="*/ 0 w 1890741"/>
              <a:gd name="connsiteY3" fmla="*/ 1969858 h 2012910"/>
              <a:gd name="connsiteX4" fmla="*/ 17720 w 1890741"/>
              <a:gd name="connsiteY4" fmla="*/ 0 h 2012910"/>
              <a:gd name="connsiteX0" fmla="*/ 17720 w 1913565"/>
              <a:gd name="connsiteY0" fmla="*/ 0 h 2012910"/>
              <a:gd name="connsiteX1" fmla="*/ 1913124 w 1913565"/>
              <a:gd name="connsiteY1" fmla="*/ 44842 h 2012910"/>
              <a:gd name="connsiteX2" fmla="*/ 1890741 w 1913565"/>
              <a:gd name="connsiteY2" fmla="*/ 2012910 h 2012910"/>
              <a:gd name="connsiteX3" fmla="*/ 0 w 1913565"/>
              <a:gd name="connsiteY3" fmla="*/ 1969858 h 2012910"/>
              <a:gd name="connsiteX4" fmla="*/ 17720 w 1913565"/>
              <a:gd name="connsiteY4" fmla="*/ 0 h 2012910"/>
              <a:gd name="connsiteX0" fmla="*/ 50192 w 1913565"/>
              <a:gd name="connsiteY0" fmla="*/ 47043 h 1968068"/>
              <a:gd name="connsiteX1" fmla="*/ 1913124 w 1913565"/>
              <a:gd name="connsiteY1" fmla="*/ 0 h 1968068"/>
              <a:gd name="connsiteX2" fmla="*/ 1890741 w 1913565"/>
              <a:gd name="connsiteY2" fmla="*/ 1968068 h 1968068"/>
              <a:gd name="connsiteX3" fmla="*/ 0 w 1913565"/>
              <a:gd name="connsiteY3" fmla="*/ 1925016 h 1968068"/>
              <a:gd name="connsiteX4" fmla="*/ 50192 w 1913565"/>
              <a:gd name="connsiteY4" fmla="*/ 47043 h 1968068"/>
              <a:gd name="connsiteX0" fmla="*/ 56030 w 1913565"/>
              <a:gd name="connsiteY0" fmla="*/ 0 h 2024087"/>
              <a:gd name="connsiteX1" fmla="*/ 1913124 w 1913565"/>
              <a:gd name="connsiteY1" fmla="*/ 56019 h 2024087"/>
              <a:gd name="connsiteX2" fmla="*/ 1890741 w 1913565"/>
              <a:gd name="connsiteY2" fmla="*/ 2024087 h 2024087"/>
              <a:gd name="connsiteX3" fmla="*/ 0 w 1913565"/>
              <a:gd name="connsiteY3" fmla="*/ 1981035 h 2024087"/>
              <a:gd name="connsiteX4" fmla="*/ 56030 w 1913565"/>
              <a:gd name="connsiteY4" fmla="*/ 0 h 2024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65" h="2024087">
                <a:moveTo>
                  <a:pt x="56030" y="0"/>
                </a:moveTo>
                <a:lnTo>
                  <a:pt x="1913124" y="56019"/>
                </a:lnTo>
                <a:cubicBezTo>
                  <a:pt x="1917614" y="672101"/>
                  <a:pt x="1886251" y="1408005"/>
                  <a:pt x="1890741" y="2024087"/>
                </a:cubicBezTo>
                <a:lnTo>
                  <a:pt x="0" y="1981035"/>
                </a:lnTo>
                <a:lnTo>
                  <a:pt x="56030" y="0"/>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7" name="Picture Placeholder 26">
            <a:extLst>
              <a:ext uri="{FF2B5EF4-FFF2-40B4-BE49-F238E27FC236}">
                <a16:creationId xmlns:a16="http://schemas.microsoft.com/office/drawing/2014/main" id="{D00DD02F-9FCD-9A0A-A398-B721805DD718}"/>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2" name="Text Placeholder 10">
            <a:extLst>
              <a:ext uri="{FF2B5EF4-FFF2-40B4-BE49-F238E27FC236}">
                <a16:creationId xmlns:a16="http://schemas.microsoft.com/office/drawing/2014/main" id="{FD01AB66-CA2B-FDAE-D13C-57B2854FE992}"/>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27034112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Front Cover opt 1a">
    <p:spTree>
      <p:nvGrpSpPr>
        <p:cNvPr id="1" name=""/>
        <p:cNvGrpSpPr/>
        <p:nvPr/>
      </p:nvGrpSpPr>
      <p:grpSpPr>
        <a:xfrm>
          <a:off x="0" y="0"/>
          <a:ext cx="0" cy="0"/>
          <a:chOff x="0" y="0"/>
          <a:chExt cx="0" cy="0"/>
        </a:xfrm>
      </p:grpSpPr>
      <p:sp>
        <p:nvSpPr>
          <p:cNvPr id="16" name="Picture Placeholder 26">
            <a:extLst>
              <a:ext uri="{FF2B5EF4-FFF2-40B4-BE49-F238E27FC236}">
                <a16:creationId xmlns:a16="http://schemas.microsoft.com/office/drawing/2014/main" id="{9B374143-FA5C-56E8-7950-F12B84BF8BDD}"/>
              </a:ext>
            </a:extLst>
          </p:cNvPr>
          <p:cNvSpPr>
            <a:spLocks noGrp="1"/>
          </p:cNvSpPr>
          <p:nvPr>
            <p:ph type="pic" sz="quarter" idx="17"/>
          </p:nvPr>
        </p:nvSpPr>
        <p:spPr>
          <a:xfrm rot="171018">
            <a:off x="2495651" y="3256954"/>
            <a:ext cx="3138003" cy="305127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274398 h 3274398"/>
              <a:gd name="connsiteX1" fmla="*/ 1 w 4071713"/>
              <a:gd name="connsiteY1" fmla="*/ 1998240 h 3274398"/>
              <a:gd name="connsiteX2" fmla="*/ 3897811 w 4071713"/>
              <a:gd name="connsiteY2" fmla="*/ 0 h 3274398"/>
              <a:gd name="connsiteX3" fmla="*/ 4071712 w 4071713"/>
              <a:gd name="connsiteY3" fmla="*/ 3209186 h 3274398"/>
              <a:gd name="connsiteX4" fmla="*/ 247602 w 4071713"/>
              <a:gd name="connsiteY4" fmla="*/ 3274398 h 3274398"/>
              <a:gd name="connsiteX0" fmla="*/ 247602 w 4071713"/>
              <a:gd name="connsiteY0" fmla="*/ 3049240 h 3049240"/>
              <a:gd name="connsiteX1" fmla="*/ 1 w 4071713"/>
              <a:gd name="connsiteY1" fmla="*/ 1773082 h 3049240"/>
              <a:gd name="connsiteX2" fmla="*/ 3592423 w 4071713"/>
              <a:gd name="connsiteY2" fmla="*/ 1487 h 3049240"/>
              <a:gd name="connsiteX3" fmla="*/ 4071712 w 4071713"/>
              <a:gd name="connsiteY3" fmla="*/ 2984028 h 3049240"/>
              <a:gd name="connsiteX4" fmla="*/ 247602 w 4071713"/>
              <a:gd name="connsiteY4" fmla="*/ 3049240 h 3049240"/>
              <a:gd name="connsiteX0" fmla="*/ 247602 w 4071713"/>
              <a:gd name="connsiteY0" fmla="*/ 3053663 h 3053663"/>
              <a:gd name="connsiteX1" fmla="*/ 1 w 4071713"/>
              <a:gd name="connsiteY1" fmla="*/ 1777505 h 3053663"/>
              <a:gd name="connsiteX2" fmla="*/ 3592423 w 4071713"/>
              <a:gd name="connsiteY2" fmla="*/ 5910 h 3053663"/>
              <a:gd name="connsiteX3" fmla="*/ 4071712 w 4071713"/>
              <a:gd name="connsiteY3" fmla="*/ 2988451 h 3053663"/>
              <a:gd name="connsiteX4" fmla="*/ 247602 w 4071713"/>
              <a:gd name="connsiteY4" fmla="*/ 3053663 h 3053663"/>
              <a:gd name="connsiteX0" fmla="*/ 247602 w 4071713"/>
              <a:gd name="connsiteY0" fmla="*/ 2375584 h 2375584"/>
              <a:gd name="connsiteX1" fmla="*/ 1 w 4071713"/>
              <a:gd name="connsiteY1" fmla="*/ 1099426 h 2375584"/>
              <a:gd name="connsiteX2" fmla="*/ 3206372 w 4071713"/>
              <a:gd name="connsiteY2" fmla="*/ 164758 h 2375584"/>
              <a:gd name="connsiteX3" fmla="*/ 4071712 w 4071713"/>
              <a:gd name="connsiteY3" fmla="*/ 2310372 h 2375584"/>
              <a:gd name="connsiteX4" fmla="*/ 247602 w 4071713"/>
              <a:gd name="connsiteY4" fmla="*/ 2375584 h 2375584"/>
              <a:gd name="connsiteX0" fmla="*/ 247602 w 6181243"/>
              <a:gd name="connsiteY0" fmla="*/ 2420736 h 2420736"/>
              <a:gd name="connsiteX1" fmla="*/ 1 w 6181243"/>
              <a:gd name="connsiteY1" fmla="*/ 1144578 h 2420736"/>
              <a:gd name="connsiteX2" fmla="*/ 3206372 w 6181243"/>
              <a:gd name="connsiteY2" fmla="*/ 209910 h 2420736"/>
              <a:gd name="connsiteX3" fmla="*/ 6181244 w 6181243"/>
              <a:gd name="connsiteY3" fmla="*/ 2233149 h 2420736"/>
              <a:gd name="connsiteX4" fmla="*/ 247602 w 6181243"/>
              <a:gd name="connsiteY4" fmla="*/ 2420736 h 2420736"/>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301722 h 2301722"/>
              <a:gd name="connsiteX1" fmla="*/ 1 w 6181243"/>
              <a:gd name="connsiteY1" fmla="*/ 1025564 h 2301722"/>
              <a:gd name="connsiteX2" fmla="*/ 5415614 w 6181243"/>
              <a:gd name="connsiteY2" fmla="*/ 295334 h 2301722"/>
              <a:gd name="connsiteX3" fmla="*/ 6181244 w 6181243"/>
              <a:gd name="connsiteY3" fmla="*/ 2114135 h 2301722"/>
              <a:gd name="connsiteX4" fmla="*/ 247602 w 6181243"/>
              <a:gd name="connsiteY4" fmla="*/ 2301722 h 2301722"/>
              <a:gd name="connsiteX0" fmla="*/ 247602 w 6181243"/>
              <a:gd name="connsiteY0" fmla="*/ 2006388 h 2006388"/>
              <a:gd name="connsiteX1" fmla="*/ 1 w 6181243"/>
              <a:gd name="connsiteY1" fmla="*/ 730230 h 2006388"/>
              <a:gd name="connsiteX2" fmla="*/ 5415614 w 6181243"/>
              <a:gd name="connsiteY2" fmla="*/ 0 h 2006388"/>
              <a:gd name="connsiteX3" fmla="*/ 6181244 w 6181243"/>
              <a:gd name="connsiteY3" fmla="*/ 1818801 h 2006388"/>
              <a:gd name="connsiteX4" fmla="*/ 247602 w 6181243"/>
              <a:gd name="connsiteY4" fmla="*/ 2006388 h 2006388"/>
              <a:gd name="connsiteX0" fmla="*/ 247602 w 6181243"/>
              <a:gd name="connsiteY0" fmla="*/ 1549796 h 1549796"/>
              <a:gd name="connsiteX1" fmla="*/ 1 w 6181243"/>
              <a:gd name="connsiteY1" fmla="*/ 273638 h 1549796"/>
              <a:gd name="connsiteX2" fmla="*/ 5923665 w 6181243"/>
              <a:gd name="connsiteY2" fmla="*/ 72763 h 1549796"/>
              <a:gd name="connsiteX3" fmla="*/ 6181244 w 6181243"/>
              <a:gd name="connsiteY3" fmla="*/ 1362209 h 1549796"/>
              <a:gd name="connsiteX4" fmla="*/ 247602 w 6181243"/>
              <a:gd name="connsiteY4" fmla="*/ 1549796 h 1549796"/>
              <a:gd name="connsiteX0" fmla="*/ 247602 w 6181243"/>
              <a:gd name="connsiteY0" fmla="*/ 1528890 h 1528890"/>
              <a:gd name="connsiteX1" fmla="*/ 1 w 6181243"/>
              <a:gd name="connsiteY1" fmla="*/ 252732 h 1528890"/>
              <a:gd name="connsiteX2" fmla="*/ 5923665 w 6181243"/>
              <a:gd name="connsiteY2" fmla="*/ 51857 h 1528890"/>
              <a:gd name="connsiteX3" fmla="*/ 6181244 w 6181243"/>
              <a:gd name="connsiteY3" fmla="*/ 1341303 h 1528890"/>
              <a:gd name="connsiteX4" fmla="*/ 247602 w 6181243"/>
              <a:gd name="connsiteY4" fmla="*/ 1528890 h 1528890"/>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16316 w 5949957"/>
              <a:gd name="connsiteY0" fmla="*/ 1477033 h 1477033"/>
              <a:gd name="connsiteX1" fmla="*/ 120293 w 5949957"/>
              <a:gd name="connsiteY1" fmla="*/ 461907 h 1477033"/>
              <a:gd name="connsiteX2" fmla="*/ 5692379 w 5949957"/>
              <a:gd name="connsiteY2" fmla="*/ 0 h 1477033"/>
              <a:gd name="connsiteX3" fmla="*/ 5949958 w 5949957"/>
              <a:gd name="connsiteY3" fmla="*/ 1289446 h 1477033"/>
              <a:gd name="connsiteX4" fmla="*/ 16316 w 5949957"/>
              <a:gd name="connsiteY4" fmla="*/ 1477033 h 1477033"/>
              <a:gd name="connsiteX0" fmla="*/ 212554 w 6146195"/>
              <a:gd name="connsiteY0" fmla="*/ 1477033 h 1477033"/>
              <a:gd name="connsiteX1" fmla="*/ -1 w 6146195"/>
              <a:gd name="connsiteY1" fmla="*/ 168818 h 1477033"/>
              <a:gd name="connsiteX2" fmla="*/ 5888617 w 6146195"/>
              <a:gd name="connsiteY2" fmla="*/ 0 h 1477033"/>
              <a:gd name="connsiteX3" fmla="*/ 6146196 w 6146195"/>
              <a:gd name="connsiteY3" fmla="*/ 1289446 h 1477033"/>
              <a:gd name="connsiteX4" fmla="*/ 212554 w 6146195"/>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04566"/>
              <a:gd name="connsiteY0" fmla="*/ 1477033 h 1477033"/>
              <a:gd name="connsiteX1" fmla="*/ 0 w 6204566"/>
              <a:gd name="connsiteY1" fmla="*/ 176124 h 1477033"/>
              <a:gd name="connsiteX2" fmla="*/ 5946988 w 6204566"/>
              <a:gd name="connsiteY2" fmla="*/ 0 h 1477033"/>
              <a:gd name="connsiteX3" fmla="*/ 6204567 w 6204566"/>
              <a:gd name="connsiteY3" fmla="*/ 1289446 h 1477033"/>
              <a:gd name="connsiteX4" fmla="*/ 270925 w 6204566"/>
              <a:gd name="connsiteY4" fmla="*/ 1477033 h 1477033"/>
              <a:gd name="connsiteX0" fmla="*/ 270925 w 6221237"/>
              <a:gd name="connsiteY0" fmla="*/ 1477033 h 1477033"/>
              <a:gd name="connsiteX1" fmla="*/ 0 w 6221237"/>
              <a:gd name="connsiteY1" fmla="*/ 176124 h 1477033"/>
              <a:gd name="connsiteX2" fmla="*/ 5946988 w 6221237"/>
              <a:gd name="connsiteY2" fmla="*/ 0 h 1477033"/>
              <a:gd name="connsiteX3" fmla="*/ 6221237 w 6221237"/>
              <a:gd name="connsiteY3" fmla="*/ 1293948 h 1477033"/>
              <a:gd name="connsiteX4" fmla="*/ 270925 w 6221237"/>
              <a:gd name="connsiteY4" fmla="*/ 1477033 h 1477033"/>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21237"/>
              <a:gd name="connsiteY0" fmla="*/ 1474222 h 1474222"/>
              <a:gd name="connsiteX1" fmla="*/ 0 w 6221237"/>
              <a:gd name="connsiteY1" fmla="*/ 176124 h 1474222"/>
              <a:gd name="connsiteX2" fmla="*/ 5946988 w 6221237"/>
              <a:gd name="connsiteY2" fmla="*/ 0 h 1474222"/>
              <a:gd name="connsiteX3" fmla="*/ 6221237 w 6221237"/>
              <a:gd name="connsiteY3" fmla="*/ 1293948 h 1474222"/>
              <a:gd name="connsiteX4" fmla="*/ 277596 w 6221237"/>
              <a:gd name="connsiteY4" fmla="*/ 1474222 h 1474222"/>
              <a:gd name="connsiteX0" fmla="*/ 277596 w 6259590"/>
              <a:gd name="connsiteY0" fmla="*/ 1474222 h 1474222"/>
              <a:gd name="connsiteX1" fmla="*/ 0 w 6259590"/>
              <a:gd name="connsiteY1" fmla="*/ 176124 h 1474222"/>
              <a:gd name="connsiteX2" fmla="*/ 5946988 w 6259590"/>
              <a:gd name="connsiteY2" fmla="*/ 0 h 1474222"/>
              <a:gd name="connsiteX3" fmla="*/ 6259591 w 6259590"/>
              <a:gd name="connsiteY3" fmla="*/ 1295078 h 1474222"/>
              <a:gd name="connsiteX4" fmla="*/ 277596 w 6259590"/>
              <a:gd name="connsiteY4" fmla="*/ 1474222 h 1474222"/>
              <a:gd name="connsiteX0" fmla="*/ 280921 w 6259590"/>
              <a:gd name="connsiteY0" fmla="*/ 1484347 h 1484347"/>
              <a:gd name="connsiteX1" fmla="*/ 0 w 6259590"/>
              <a:gd name="connsiteY1" fmla="*/ 176124 h 1484347"/>
              <a:gd name="connsiteX2" fmla="*/ 5946988 w 6259590"/>
              <a:gd name="connsiteY2" fmla="*/ 0 h 1484347"/>
              <a:gd name="connsiteX3" fmla="*/ 6259591 w 6259590"/>
              <a:gd name="connsiteY3" fmla="*/ 1295078 h 1484347"/>
              <a:gd name="connsiteX4" fmla="*/ 280921 w 6259590"/>
              <a:gd name="connsiteY4" fmla="*/ 1484347 h 1484347"/>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80439 h 2180439"/>
              <a:gd name="connsiteX1" fmla="*/ 0 w 6259590"/>
              <a:gd name="connsiteY1" fmla="*/ 872216 h 2180439"/>
              <a:gd name="connsiteX2" fmla="*/ 2550596 w 6259590"/>
              <a:gd name="connsiteY2" fmla="*/ 0 h 2180439"/>
              <a:gd name="connsiteX3" fmla="*/ 6259591 w 6259590"/>
              <a:gd name="connsiteY3" fmla="*/ 1991170 h 2180439"/>
              <a:gd name="connsiteX4" fmla="*/ 280921 w 6259590"/>
              <a:gd name="connsiteY4" fmla="*/ 2180439 h 2180439"/>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259590"/>
              <a:gd name="connsiteY0" fmla="*/ 2172874 h 2172874"/>
              <a:gd name="connsiteX1" fmla="*/ 0 w 6259590"/>
              <a:gd name="connsiteY1" fmla="*/ 864651 h 2172874"/>
              <a:gd name="connsiteX2" fmla="*/ 2510768 w 6259590"/>
              <a:gd name="connsiteY2" fmla="*/ 0 h 2172874"/>
              <a:gd name="connsiteX3" fmla="*/ 6259591 w 6259590"/>
              <a:gd name="connsiteY3" fmla="*/ 1983605 h 2172874"/>
              <a:gd name="connsiteX4" fmla="*/ 280921 w 6259590"/>
              <a:gd name="connsiteY4" fmla="*/ 2172874 h 2172874"/>
              <a:gd name="connsiteX0" fmla="*/ 280921 w 6671558"/>
              <a:gd name="connsiteY0" fmla="*/ 2172874 h 2172874"/>
              <a:gd name="connsiteX1" fmla="*/ 0 w 6671558"/>
              <a:gd name="connsiteY1" fmla="*/ 864651 h 2172874"/>
              <a:gd name="connsiteX2" fmla="*/ 2510768 w 6671558"/>
              <a:gd name="connsiteY2" fmla="*/ 0 h 2172874"/>
              <a:gd name="connsiteX3" fmla="*/ 6671557 w 6671558"/>
              <a:gd name="connsiteY3" fmla="*/ 1300253 h 2172874"/>
              <a:gd name="connsiteX4" fmla="*/ 280921 w 6671558"/>
              <a:gd name="connsiteY4" fmla="*/ 2172874 h 217287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050455 w 6671558"/>
              <a:gd name="connsiteY0" fmla="*/ 2200064 h 2200064"/>
              <a:gd name="connsiteX1" fmla="*/ 0 w 6671558"/>
              <a:gd name="connsiteY1" fmla="*/ 864651 h 2200064"/>
              <a:gd name="connsiteX2" fmla="*/ 2510768 w 6671558"/>
              <a:gd name="connsiteY2" fmla="*/ 0 h 2200064"/>
              <a:gd name="connsiteX3" fmla="*/ 6671557 w 6671558"/>
              <a:gd name="connsiteY3" fmla="*/ 1300253 h 2200064"/>
              <a:gd name="connsiteX4" fmla="*/ 4050455 w 6671558"/>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743813"/>
              <a:gd name="connsiteY0" fmla="*/ 2200064 h 2200064"/>
              <a:gd name="connsiteX1" fmla="*/ 0 w 6743813"/>
              <a:gd name="connsiteY1" fmla="*/ 889101 h 2200064"/>
              <a:gd name="connsiteX2" fmla="*/ 2583023 w 6743813"/>
              <a:gd name="connsiteY2" fmla="*/ 0 h 2200064"/>
              <a:gd name="connsiteX3" fmla="*/ 6743812 w 6743813"/>
              <a:gd name="connsiteY3" fmla="*/ 1300253 h 2200064"/>
              <a:gd name="connsiteX4" fmla="*/ 4122710 w 6743813"/>
              <a:gd name="connsiteY4" fmla="*/ 2200064 h 2200064"/>
              <a:gd name="connsiteX0" fmla="*/ 4122710 w 6581154"/>
              <a:gd name="connsiteY0" fmla="*/ 2200064 h 2200064"/>
              <a:gd name="connsiteX1" fmla="*/ 0 w 6581154"/>
              <a:gd name="connsiteY1" fmla="*/ 889101 h 2200064"/>
              <a:gd name="connsiteX2" fmla="*/ 2583023 w 6581154"/>
              <a:gd name="connsiteY2" fmla="*/ 0 h 2200064"/>
              <a:gd name="connsiteX3" fmla="*/ 6581154 w 6581154"/>
              <a:gd name="connsiteY3" fmla="*/ 1319227 h 2200064"/>
              <a:gd name="connsiteX4" fmla="*/ 4122710 w 658115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22710 w 6733444"/>
              <a:gd name="connsiteY0" fmla="*/ 2200064 h 2200064"/>
              <a:gd name="connsiteX1" fmla="*/ 0 w 6733444"/>
              <a:gd name="connsiteY1" fmla="*/ 889101 h 2200064"/>
              <a:gd name="connsiteX2" fmla="*/ 2583023 w 6733444"/>
              <a:gd name="connsiteY2" fmla="*/ 0 h 2200064"/>
              <a:gd name="connsiteX3" fmla="*/ 6733443 w 6733444"/>
              <a:gd name="connsiteY3" fmla="*/ 1323675 h 2200064"/>
              <a:gd name="connsiteX4" fmla="*/ 4122710 w 6733444"/>
              <a:gd name="connsiteY4" fmla="*/ 2200064 h 2200064"/>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203562 h 2203562"/>
              <a:gd name="connsiteX1" fmla="*/ 0 w 6733444"/>
              <a:gd name="connsiteY1" fmla="*/ 889101 h 2203562"/>
              <a:gd name="connsiteX2" fmla="*/ 2583023 w 6733444"/>
              <a:gd name="connsiteY2" fmla="*/ 0 h 2203562"/>
              <a:gd name="connsiteX3" fmla="*/ 6733443 w 6733444"/>
              <a:gd name="connsiteY3" fmla="*/ 1323675 h 2203562"/>
              <a:gd name="connsiteX4" fmla="*/ 4192149 w 6733444"/>
              <a:gd name="connsiteY4" fmla="*/ 2203562 h 2203562"/>
              <a:gd name="connsiteX0" fmla="*/ 4192149 w 6733444"/>
              <a:gd name="connsiteY0" fmla="*/ 2158429 h 2158429"/>
              <a:gd name="connsiteX1" fmla="*/ 0 w 6733444"/>
              <a:gd name="connsiteY1" fmla="*/ 843968 h 2158429"/>
              <a:gd name="connsiteX2" fmla="*/ 2665426 w 6733444"/>
              <a:gd name="connsiteY2" fmla="*/ 0 h 2158429"/>
              <a:gd name="connsiteX3" fmla="*/ 6733443 w 6733444"/>
              <a:gd name="connsiteY3" fmla="*/ 1278542 h 2158429"/>
              <a:gd name="connsiteX4" fmla="*/ 4192149 w 6733444"/>
              <a:gd name="connsiteY4" fmla="*/ 2158429 h 2158429"/>
              <a:gd name="connsiteX0" fmla="*/ 4192149 w 6733444"/>
              <a:gd name="connsiteY0" fmla="*/ 2080292 h 2080292"/>
              <a:gd name="connsiteX1" fmla="*/ 0 w 6733444"/>
              <a:gd name="connsiteY1" fmla="*/ 765831 h 2080292"/>
              <a:gd name="connsiteX2" fmla="*/ 3000778 w 6733444"/>
              <a:gd name="connsiteY2" fmla="*/ 0 h 2080292"/>
              <a:gd name="connsiteX3" fmla="*/ 6733443 w 6733444"/>
              <a:gd name="connsiteY3" fmla="*/ 1200405 h 2080292"/>
              <a:gd name="connsiteX4" fmla="*/ 4192149 w 6733444"/>
              <a:gd name="connsiteY4" fmla="*/ 2080292 h 2080292"/>
              <a:gd name="connsiteX0" fmla="*/ 4192149 w 6733444"/>
              <a:gd name="connsiteY0" fmla="*/ 1973866 h 1973866"/>
              <a:gd name="connsiteX1" fmla="*/ 0 w 6733444"/>
              <a:gd name="connsiteY1" fmla="*/ 659405 h 1973866"/>
              <a:gd name="connsiteX2" fmla="*/ 3312686 w 6733444"/>
              <a:gd name="connsiteY2" fmla="*/ 0 h 1973866"/>
              <a:gd name="connsiteX3" fmla="*/ 6733443 w 6733444"/>
              <a:gd name="connsiteY3" fmla="*/ 1093979 h 1973866"/>
              <a:gd name="connsiteX4" fmla="*/ 4192149 w 6733444"/>
              <a:gd name="connsiteY4" fmla="*/ 1973866 h 1973866"/>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203791 h 2203791"/>
              <a:gd name="connsiteX1" fmla="*/ 0 w 6733444"/>
              <a:gd name="connsiteY1" fmla="*/ 889330 h 2203791"/>
              <a:gd name="connsiteX2" fmla="*/ 2596773 w 6733444"/>
              <a:gd name="connsiteY2" fmla="*/ 0 h 2203791"/>
              <a:gd name="connsiteX3" fmla="*/ 6733443 w 6733444"/>
              <a:gd name="connsiteY3" fmla="*/ 1323904 h 2203791"/>
              <a:gd name="connsiteX4" fmla="*/ 4192149 w 6733444"/>
              <a:gd name="connsiteY4" fmla="*/ 2203791 h 2203791"/>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179152 h 2179152"/>
              <a:gd name="connsiteX1" fmla="*/ 0 w 6733444"/>
              <a:gd name="connsiteY1" fmla="*/ 864691 h 2179152"/>
              <a:gd name="connsiteX2" fmla="*/ 2793363 w 6733444"/>
              <a:gd name="connsiteY2" fmla="*/ 0 h 2179152"/>
              <a:gd name="connsiteX3" fmla="*/ 6733443 w 6733444"/>
              <a:gd name="connsiteY3" fmla="*/ 1299265 h 2179152"/>
              <a:gd name="connsiteX4" fmla="*/ 4192149 w 6733444"/>
              <a:gd name="connsiteY4" fmla="*/ 2179152 h 2179152"/>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208087 h 2208087"/>
              <a:gd name="connsiteX1" fmla="*/ 0 w 6733444"/>
              <a:gd name="connsiteY1" fmla="*/ 893626 h 2208087"/>
              <a:gd name="connsiteX2" fmla="*/ 2575469 w 6733444"/>
              <a:gd name="connsiteY2" fmla="*/ 0 h 2208087"/>
              <a:gd name="connsiteX3" fmla="*/ 6733443 w 6733444"/>
              <a:gd name="connsiteY3" fmla="*/ 1328200 h 2208087"/>
              <a:gd name="connsiteX4" fmla="*/ 4192149 w 6733444"/>
              <a:gd name="connsiteY4" fmla="*/ 2208087 h 2208087"/>
              <a:gd name="connsiteX0" fmla="*/ 4192149 w 6733444"/>
              <a:gd name="connsiteY0" fmla="*/ 2196832 h 2196832"/>
              <a:gd name="connsiteX1" fmla="*/ 0 w 6733444"/>
              <a:gd name="connsiteY1" fmla="*/ 882371 h 2196832"/>
              <a:gd name="connsiteX2" fmla="*/ 2597789 w 6733444"/>
              <a:gd name="connsiteY2" fmla="*/ 0 h 2196832"/>
              <a:gd name="connsiteX3" fmla="*/ 6733443 w 6733444"/>
              <a:gd name="connsiteY3" fmla="*/ 1316945 h 2196832"/>
              <a:gd name="connsiteX4" fmla="*/ 4192149 w 6733444"/>
              <a:gd name="connsiteY4" fmla="*/ 2196832 h 2196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3444" h="2196832">
                <a:moveTo>
                  <a:pt x="4192149" y="2196832"/>
                </a:moveTo>
                <a:cubicBezTo>
                  <a:pt x="3479483" y="1962505"/>
                  <a:pt x="1796883" y="1463654"/>
                  <a:pt x="0" y="882371"/>
                </a:cubicBezTo>
                <a:cubicBezTo>
                  <a:pt x="400724" y="737155"/>
                  <a:pt x="2104354" y="165356"/>
                  <a:pt x="2597789" y="0"/>
                </a:cubicBezTo>
                <a:cubicBezTo>
                  <a:pt x="2852402" y="76652"/>
                  <a:pt x="6446286" y="1225687"/>
                  <a:pt x="6733443" y="1316945"/>
                </a:cubicBezTo>
                <a:lnTo>
                  <a:pt x="4192149" y="2196832"/>
                </a:ln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2" name="Title Placeholder 1">
            <a:extLst>
              <a:ext uri="{FF2B5EF4-FFF2-40B4-BE49-F238E27FC236}">
                <a16:creationId xmlns:a16="http://schemas.microsoft.com/office/drawing/2014/main" id="{ED53BE83-9ED4-71B1-DA69-2C170086FBA3}"/>
              </a:ext>
            </a:extLst>
          </p:cNvPr>
          <p:cNvSpPr>
            <a:spLocks noGrp="1"/>
          </p:cNvSpPr>
          <p:nvPr>
            <p:ph type="title" hasCustomPrompt="1"/>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5" name="Picture Placeholder 26">
            <a:extLst>
              <a:ext uri="{FF2B5EF4-FFF2-40B4-BE49-F238E27FC236}">
                <a16:creationId xmlns:a16="http://schemas.microsoft.com/office/drawing/2014/main" id="{1467E47A-F736-DBC9-41E9-833863B480FD}"/>
              </a:ext>
            </a:extLst>
          </p:cNvPr>
          <p:cNvSpPr>
            <a:spLocks noGrp="1"/>
          </p:cNvSpPr>
          <p:nvPr>
            <p:ph type="pic" sz="quarter" idx="20"/>
          </p:nvPr>
        </p:nvSpPr>
        <p:spPr>
          <a:xfrm rot="21159356">
            <a:off x="154145" y="2462776"/>
            <a:ext cx="1514051" cy="1131206"/>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29297"/>
              <a:gd name="connsiteY0" fmla="*/ 0 h 1951904"/>
              <a:gd name="connsiteX1" fmla="*/ 1929065 w 1929297"/>
              <a:gd name="connsiteY1" fmla="*/ 14743 h 1951904"/>
              <a:gd name="connsiteX2" fmla="*/ 1875995 w 1929297"/>
              <a:gd name="connsiteY2" fmla="*/ 1951905 h 1951904"/>
              <a:gd name="connsiteX3" fmla="*/ 9860 w 1929297"/>
              <a:gd name="connsiteY3" fmla="*/ 1870217 h 1951904"/>
              <a:gd name="connsiteX4" fmla="*/ 609 w 1929297"/>
              <a:gd name="connsiteY4" fmla="*/ 0 h 1951904"/>
              <a:gd name="connsiteX0" fmla="*/ 278 w 1928966"/>
              <a:gd name="connsiteY0" fmla="*/ 0 h 1951906"/>
              <a:gd name="connsiteX1" fmla="*/ 1928734 w 1928966"/>
              <a:gd name="connsiteY1" fmla="*/ 14743 h 1951906"/>
              <a:gd name="connsiteX2" fmla="*/ 1875664 w 1928966"/>
              <a:gd name="connsiteY2" fmla="*/ 1951905 h 1951906"/>
              <a:gd name="connsiteX3" fmla="*/ 33121 w 1928966"/>
              <a:gd name="connsiteY3" fmla="*/ 1912869 h 1951906"/>
              <a:gd name="connsiteX4" fmla="*/ 278 w 1928966"/>
              <a:gd name="connsiteY4" fmla="*/ 0 h 1951906"/>
              <a:gd name="connsiteX0" fmla="*/ 375 w 1929063"/>
              <a:gd name="connsiteY0" fmla="*/ 0 h 1951904"/>
              <a:gd name="connsiteX1" fmla="*/ 1928831 w 1929063"/>
              <a:gd name="connsiteY1" fmla="*/ 14743 h 1951904"/>
              <a:gd name="connsiteX2" fmla="*/ 1875761 w 1929063"/>
              <a:gd name="connsiteY2" fmla="*/ 1951905 h 1951904"/>
              <a:gd name="connsiteX3" fmla="*/ 21864 w 1929063"/>
              <a:gd name="connsiteY3" fmla="*/ 1936434 h 1951904"/>
              <a:gd name="connsiteX4" fmla="*/ 375 w 1929063"/>
              <a:gd name="connsiteY4" fmla="*/ 0 h 1951904"/>
              <a:gd name="connsiteX0" fmla="*/ 375 w 1875761"/>
              <a:gd name="connsiteY0" fmla="*/ 0 h 1951906"/>
              <a:gd name="connsiteX1" fmla="*/ 1705199 w 1875761"/>
              <a:gd name="connsiteY1" fmla="*/ 51351 h 1951906"/>
              <a:gd name="connsiteX2" fmla="*/ 1875761 w 1875761"/>
              <a:gd name="connsiteY2" fmla="*/ 1951905 h 1951906"/>
              <a:gd name="connsiteX3" fmla="*/ 21864 w 1875761"/>
              <a:gd name="connsiteY3" fmla="*/ 1936434 h 1951906"/>
              <a:gd name="connsiteX4" fmla="*/ 375 w 1875761"/>
              <a:gd name="connsiteY4" fmla="*/ 0 h 1951906"/>
              <a:gd name="connsiteX0" fmla="*/ 375 w 1875761"/>
              <a:gd name="connsiteY0" fmla="*/ 0 h 1951904"/>
              <a:gd name="connsiteX1" fmla="*/ 1871178 w 1875761"/>
              <a:gd name="connsiteY1" fmla="*/ 42785 h 1951904"/>
              <a:gd name="connsiteX2" fmla="*/ 1875761 w 1875761"/>
              <a:gd name="connsiteY2" fmla="*/ 1951905 h 1951904"/>
              <a:gd name="connsiteX3" fmla="*/ 21864 w 1875761"/>
              <a:gd name="connsiteY3" fmla="*/ 1936434 h 1951904"/>
              <a:gd name="connsiteX4" fmla="*/ 375 w 1875761"/>
              <a:gd name="connsiteY4" fmla="*/ 0 h 1951904"/>
              <a:gd name="connsiteX0" fmla="*/ 375 w 1871365"/>
              <a:gd name="connsiteY0" fmla="*/ 0 h 1951516"/>
              <a:gd name="connsiteX1" fmla="*/ 1871178 w 1871365"/>
              <a:gd name="connsiteY1" fmla="*/ 42785 h 1951516"/>
              <a:gd name="connsiteX2" fmla="*/ 1802380 w 1871365"/>
              <a:gd name="connsiteY2" fmla="*/ 1951515 h 1951516"/>
              <a:gd name="connsiteX3" fmla="*/ 21864 w 1871365"/>
              <a:gd name="connsiteY3" fmla="*/ 1936434 h 1951516"/>
              <a:gd name="connsiteX4" fmla="*/ 375 w 1871365"/>
              <a:gd name="connsiteY4" fmla="*/ 0 h 1951516"/>
              <a:gd name="connsiteX0" fmla="*/ 375 w 1875759"/>
              <a:gd name="connsiteY0" fmla="*/ 0 h 1951908"/>
              <a:gd name="connsiteX1" fmla="*/ 1871178 w 1875759"/>
              <a:gd name="connsiteY1" fmla="*/ 42785 h 1951908"/>
              <a:gd name="connsiteX2" fmla="*/ 1875760 w 1875759"/>
              <a:gd name="connsiteY2" fmla="*/ 1951907 h 1951908"/>
              <a:gd name="connsiteX3" fmla="*/ 21864 w 1875759"/>
              <a:gd name="connsiteY3" fmla="*/ 1936434 h 1951908"/>
              <a:gd name="connsiteX4" fmla="*/ 375 w 1875759"/>
              <a:gd name="connsiteY4" fmla="*/ 0 h 1951908"/>
              <a:gd name="connsiteX0" fmla="*/ 78974 w 1853897"/>
              <a:gd name="connsiteY0" fmla="*/ 0 h 1946645"/>
              <a:gd name="connsiteX1" fmla="*/ 1849315 w 1853897"/>
              <a:gd name="connsiteY1" fmla="*/ 37524 h 1946645"/>
              <a:gd name="connsiteX2" fmla="*/ 1853897 w 1853897"/>
              <a:gd name="connsiteY2" fmla="*/ 1946646 h 1946645"/>
              <a:gd name="connsiteX3" fmla="*/ 1 w 1853897"/>
              <a:gd name="connsiteY3" fmla="*/ 1931173 h 1946645"/>
              <a:gd name="connsiteX4" fmla="*/ 78974 w 1853897"/>
              <a:gd name="connsiteY4" fmla="*/ 0 h 1946645"/>
              <a:gd name="connsiteX0" fmla="*/ 945 w 1857112"/>
              <a:gd name="connsiteY0" fmla="*/ -1 h 1961255"/>
              <a:gd name="connsiteX1" fmla="*/ 1852530 w 1857112"/>
              <a:gd name="connsiteY1" fmla="*/ 52132 h 1961255"/>
              <a:gd name="connsiteX2" fmla="*/ 1857112 w 1857112"/>
              <a:gd name="connsiteY2" fmla="*/ 1961254 h 1961255"/>
              <a:gd name="connsiteX3" fmla="*/ 3216 w 1857112"/>
              <a:gd name="connsiteY3" fmla="*/ 1945781 h 1961255"/>
              <a:gd name="connsiteX4" fmla="*/ 945 w 1857112"/>
              <a:gd name="connsiteY4" fmla="*/ -1 h 1961255"/>
              <a:gd name="connsiteX0" fmla="*/ 18116 w 1853897"/>
              <a:gd name="connsiteY0" fmla="*/ -1 h 1933582"/>
              <a:gd name="connsiteX1" fmla="*/ 1849315 w 1853897"/>
              <a:gd name="connsiteY1" fmla="*/ 24460 h 1933582"/>
              <a:gd name="connsiteX2" fmla="*/ 1853897 w 1853897"/>
              <a:gd name="connsiteY2" fmla="*/ 1933582 h 1933582"/>
              <a:gd name="connsiteX3" fmla="*/ 1 w 1853897"/>
              <a:gd name="connsiteY3" fmla="*/ 1918109 h 1933582"/>
              <a:gd name="connsiteX4" fmla="*/ 18116 w 1853897"/>
              <a:gd name="connsiteY4" fmla="*/ -1 h 1933582"/>
              <a:gd name="connsiteX0" fmla="*/ 529 w 1866613"/>
              <a:gd name="connsiteY0" fmla="*/ 0 h 1947035"/>
              <a:gd name="connsiteX1" fmla="*/ 1862031 w 1866613"/>
              <a:gd name="connsiteY1" fmla="*/ 37913 h 1947035"/>
              <a:gd name="connsiteX2" fmla="*/ 1866613 w 1866613"/>
              <a:gd name="connsiteY2" fmla="*/ 1947035 h 1947035"/>
              <a:gd name="connsiteX3" fmla="*/ 12717 w 1866613"/>
              <a:gd name="connsiteY3" fmla="*/ 1931562 h 1947035"/>
              <a:gd name="connsiteX4" fmla="*/ 529 w 1866613"/>
              <a:gd name="connsiteY4" fmla="*/ 0 h 1947035"/>
              <a:gd name="connsiteX0" fmla="*/ 596 w 1866680"/>
              <a:gd name="connsiteY0" fmla="*/ 0 h 1947035"/>
              <a:gd name="connsiteX1" fmla="*/ 1862098 w 1866680"/>
              <a:gd name="connsiteY1" fmla="*/ 37913 h 1947035"/>
              <a:gd name="connsiteX2" fmla="*/ 1866680 w 1866680"/>
              <a:gd name="connsiteY2" fmla="*/ 1947035 h 1947035"/>
              <a:gd name="connsiteX3" fmla="*/ 10227 w 1866680"/>
              <a:gd name="connsiteY3" fmla="*/ 1835076 h 1947035"/>
              <a:gd name="connsiteX4" fmla="*/ 596 w 1866680"/>
              <a:gd name="connsiteY4" fmla="*/ 0 h 1947035"/>
              <a:gd name="connsiteX0" fmla="*/ 429 w 1866513"/>
              <a:gd name="connsiteY0" fmla="*/ 0 h 1947035"/>
              <a:gd name="connsiteX1" fmla="*/ 1861931 w 1866513"/>
              <a:gd name="connsiteY1" fmla="*/ 37913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00057 w 1866513"/>
              <a:gd name="connsiteY1" fmla="*/ 86804 h 1947035"/>
              <a:gd name="connsiteX2" fmla="*/ 1866513 w 1866513"/>
              <a:gd name="connsiteY2" fmla="*/ 1947035 h 1947035"/>
              <a:gd name="connsiteX3" fmla="*/ 17984 w 1866513"/>
              <a:gd name="connsiteY3" fmla="*/ 1904519 h 1947035"/>
              <a:gd name="connsiteX4" fmla="*/ 429 w 1866513"/>
              <a:gd name="connsiteY4" fmla="*/ 0 h 1947035"/>
              <a:gd name="connsiteX0" fmla="*/ 429 w 1866513"/>
              <a:gd name="connsiteY0" fmla="*/ 0 h 1947035"/>
              <a:gd name="connsiteX1" fmla="*/ 1850647 w 1866513"/>
              <a:gd name="connsiteY1" fmla="*/ 35883 h 1947035"/>
              <a:gd name="connsiteX2" fmla="*/ 1866513 w 1866513"/>
              <a:gd name="connsiteY2" fmla="*/ 1947035 h 1947035"/>
              <a:gd name="connsiteX3" fmla="*/ 17984 w 1866513"/>
              <a:gd name="connsiteY3" fmla="*/ 1904519 h 1947035"/>
              <a:gd name="connsiteX4" fmla="*/ 429 w 1866513"/>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852 w 1866472"/>
              <a:gd name="connsiteY3" fmla="*/ 1873035 h 1947035"/>
              <a:gd name="connsiteX4" fmla="*/ 388 w 1866472"/>
              <a:gd name="connsiteY4" fmla="*/ 0 h 1947035"/>
              <a:gd name="connsiteX0" fmla="*/ 341 w 1866425"/>
              <a:gd name="connsiteY0" fmla="*/ 0 h 1947035"/>
              <a:gd name="connsiteX1" fmla="*/ 1850559 w 1866425"/>
              <a:gd name="connsiteY1" fmla="*/ 35883 h 1947035"/>
              <a:gd name="connsiteX2" fmla="*/ 1866425 w 1866425"/>
              <a:gd name="connsiteY2" fmla="*/ 1947035 h 1947035"/>
              <a:gd name="connsiteX3" fmla="*/ 24992 w 1866425"/>
              <a:gd name="connsiteY3" fmla="*/ 1889792 h 1947035"/>
              <a:gd name="connsiteX4" fmla="*/ 341 w 1866425"/>
              <a:gd name="connsiteY4" fmla="*/ 0 h 1947035"/>
              <a:gd name="connsiteX0" fmla="*/ 303 w 1866387"/>
              <a:gd name="connsiteY0" fmla="*/ 0 h 1947035"/>
              <a:gd name="connsiteX1" fmla="*/ 1850521 w 1866387"/>
              <a:gd name="connsiteY1" fmla="*/ 35883 h 1947035"/>
              <a:gd name="connsiteX2" fmla="*/ 1866387 w 1866387"/>
              <a:gd name="connsiteY2" fmla="*/ 1947035 h 1947035"/>
              <a:gd name="connsiteX3" fmla="*/ 29506 w 1866387"/>
              <a:gd name="connsiteY3" fmla="*/ 1902615 h 1947035"/>
              <a:gd name="connsiteX4" fmla="*/ 303 w 1866387"/>
              <a:gd name="connsiteY4" fmla="*/ 0 h 1947035"/>
              <a:gd name="connsiteX0" fmla="*/ 388 w 1866472"/>
              <a:gd name="connsiteY0" fmla="*/ 0 h 1947035"/>
              <a:gd name="connsiteX1" fmla="*/ 1850606 w 1866472"/>
              <a:gd name="connsiteY1" fmla="*/ 35883 h 1947035"/>
              <a:gd name="connsiteX2" fmla="*/ 1866472 w 1866472"/>
              <a:gd name="connsiteY2" fmla="*/ 1947035 h 1947035"/>
              <a:gd name="connsiteX3" fmla="*/ 20764 w 1866472"/>
              <a:gd name="connsiteY3" fmla="*/ 1905028 h 1947035"/>
              <a:gd name="connsiteX4" fmla="*/ 388 w 1866472"/>
              <a:gd name="connsiteY4" fmla="*/ 0 h 1947035"/>
              <a:gd name="connsiteX0" fmla="*/ 521 w 1866605"/>
              <a:gd name="connsiteY0" fmla="*/ 0 h 1947035"/>
              <a:gd name="connsiteX1" fmla="*/ 1850739 w 1866605"/>
              <a:gd name="connsiteY1" fmla="*/ 35883 h 1947035"/>
              <a:gd name="connsiteX2" fmla="*/ 1866605 w 1866605"/>
              <a:gd name="connsiteY2" fmla="*/ 1947035 h 1947035"/>
              <a:gd name="connsiteX3" fmla="*/ 20897 w 1866605"/>
              <a:gd name="connsiteY3" fmla="*/ 1905028 h 1947035"/>
              <a:gd name="connsiteX4" fmla="*/ 521 w 1866605"/>
              <a:gd name="connsiteY4" fmla="*/ 0 h 1947035"/>
              <a:gd name="connsiteX0" fmla="*/ 14238 w 1846469"/>
              <a:gd name="connsiteY0" fmla="*/ 0 h 1940947"/>
              <a:gd name="connsiteX1" fmla="*/ 1830603 w 1846469"/>
              <a:gd name="connsiteY1" fmla="*/ 29795 h 1940947"/>
              <a:gd name="connsiteX2" fmla="*/ 1846469 w 1846469"/>
              <a:gd name="connsiteY2" fmla="*/ 1940947 h 1940947"/>
              <a:gd name="connsiteX3" fmla="*/ 761 w 1846469"/>
              <a:gd name="connsiteY3" fmla="*/ 1898940 h 1940947"/>
              <a:gd name="connsiteX4" fmla="*/ 14238 w 1846469"/>
              <a:gd name="connsiteY4" fmla="*/ 0 h 1940947"/>
              <a:gd name="connsiteX0" fmla="*/ 779 w 1859126"/>
              <a:gd name="connsiteY0" fmla="*/ 1 h 1937641"/>
              <a:gd name="connsiteX1" fmla="*/ 1843260 w 1859126"/>
              <a:gd name="connsiteY1" fmla="*/ 26489 h 1937641"/>
              <a:gd name="connsiteX2" fmla="*/ 1859126 w 1859126"/>
              <a:gd name="connsiteY2" fmla="*/ 1937641 h 1937641"/>
              <a:gd name="connsiteX3" fmla="*/ 13418 w 1859126"/>
              <a:gd name="connsiteY3" fmla="*/ 1895634 h 1937641"/>
              <a:gd name="connsiteX4" fmla="*/ 779 w 1859126"/>
              <a:gd name="connsiteY4" fmla="*/ 1 h 1937641"/>
              <a:gd name="connsiteX0" fmla="*/ 373 w 1858720"/>
              <a:gd name="connsiteY0" fmla="*/ -1 h 1937639"/>
              <a:gd name="connsiteX1" fmla="*/ 1842854 w 1858720"/>
              <a:gd name="connsiteY1" fmla="*/ 26487 h 1937639"/>
              <a:gd name="connsiteX2" fmla="*/ 1858720 w 1858720"/>
              <a:gd name="connsiteY2" fmla="*/ 1937639 h 1937639"/>
              <a:gd name="connsiteX3" fmla="*/ 30028 w 1858720"/>
              <a:gd name="connsiteY3" fmla="*/ 1866682 h 1937639"/>
              <a:gd name="connsiteX4" fmla="*/ 373 w 1858720"/>
              <a:gd name="connsiteY4" fmla="*/ -1 h 1937639"/>
              <a:gd name="connsiteX0" fmla="*/ 513 w 1858860"/>
              <a:gd name="connsiteY0" fmla="*/ 1 h 1937641"/>
              <a:gd name="connsiteX1" fmla="*/ 1842994 w 1858860"/>
              <a:gd name="connsiteY1" fmla="*/ 26489 h 1937641"/>
              <a:gd name="connsiteX2" fmla="*/ 1858860 w 1858860"/>
              <a:gd name="connsiteY2" fmla="*/ 1937641 h 1937641"/>
              <a:gd name="connsiteX3" fmla="*/ 21253 w 1858860"/>
              <a:gd name="connsiteY3" fmla="*/ 1901091 h 1937641"/>
              <a:gd name="connsiteX4" fmla="*/ 513 w 1858860"/>
              <a:gd name="connsiteY4" fmla="*/ 1 h 1937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860" h="1937641">
                <a:moveTo>
                  <a:pt x="513" y="1"/>
                </a:moveTo>
                <a:lnTo>
                  <a:pt x="1842994" y="26489"/>
                </a:lnTo>
                <a:cubicBezTo>
                  <a:pt x="1847484" y="642571"/>
                  <a:pt x="1854370" y="1321559"/>
                  <a:pt x="1858860" y="1937641"/>
                </a:cubicBezTo>
                <a:lnTo>
                  <a:pt x="21253" y="1901091"/>
                </a:lnTo>
                <a:cubicBezTo>
                  <a:pt x="17163" y="1268868"/>
                  <a:pt x="-3496" y="626766"/>
                  <a:pt x="513" y="1"/>
                </a:cubicBezTo>
                <a:close/>
              </a:path>
            </a:pathLst>
          </a:custGeom>
          <a:solidFill>
            <a:schemeClr val="bg1">
              <a:lumMod val="85000"/>
            </a:schemeClr>
          </a:solidFill>
          <a:ln w="31750">
            <a:solidFill>
              <a:schemeClr val="bg1"/>
            </a:solidFill>
            <a:miter lim="800000"/>
          </a:ln>
        </p:spPr>
        <p:txBody>
          <a:bodyPr wrap="square" anchor="ctr">
            <a:noAutofit/>
          </a:bodyPr>
          <a:lstStyle>
            <a:lvl1pPr algn="ctr">
              <a:defRPr/>
            </a:lvl1pPr>
          </a:lstStyle>
          <a:p>
            <a:endParaRPr lang="en-US"/>
          </a:p>
        </p:txBody>
      </p:sp>
      <p:sp>
        <p:nvSpPr>
          <p:cNvPr id="13" name="Picture Placeholder 26">
            <a:extLst>
              <a:ext uri="{FF2B5EF4-FFF2-40B4-BE49-F238E27FC236}">
                <a16:creationId xmlns:a16="http://schemas.microsoft.com/office/drawing/2014/main" id="{14D515CB-689D-CFF7-1967-26FB2611F5A3}"/>
              </a:ext>
            </a:extLst>
          </p:cNvPr>
          <p:cNvSpPr>
            <a:spLocks noGrp="1"/>
          </p:cNvSpPr>
          <p:nvPr>
            <p:ph type="pic" sz="quarter" idx="21"/>
          </p:nvPr>
        </p:nvSpPr>
        <p:spPr>
          <a:xfrm rot="892421">
            <a:off x="652130" y="395641"/>
            <a:ext cx="1665804" cy="1604154"/>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34331 w 1955236"/>
              <a:gd name="connsiteY0" fmla="*/ 0 h 1985969"/>
              <a:gd name="connsiteX1" fmla="*/ 1932303 w 1955236"/>
              <a:gd name="connsiteY1" fmla="*/ 22876 h 1985969"/>
              <a:gd name="connsiteX2" fmla="*/ 1955236 w 1955236"/>
              <a:gd name="connsiteY2" fmla="*/ 1883385 h 1985969"/>
              <a:gd name="connsiteX3" fmla="*/ 0 w 1955236"/>
              <a:gd name="connsiteY3" fmla="*/ 1985969 h 1985969"/>
              <a:gd name="connsiteX4" fmla="*/ 34331 w 1955236"/>
              <a:gd name="connsiteY4" fmla="*/ 0 h 1985969"/>
              <a:gd name="connsiteX0" fmla="*/ 34331 w 1932558"/>
              <a:gd name="connsiteY0" fmla="*/ 0 h 2043229"/>
              <a:gd name="connsiteX1" fmla="*/ 1932303 w 1932558"/>
              <a:gd name="connsiteY1" fmla="*/ 22876 h 2043229"/>
              <a:gd name="connsiteX2" fmla="*/ 1885113 w 1932558"/>
              <a:gd name="connsiteY2" fmla="*/ 2043229 h 2043229"/>
              <a:gd name="connsiteX3" fmla="*/ 0 w 1932558"/>
              <a:gd name="connsiteY3" fmla="*/ 1985969 h 2043229"/>
              <a:gd name="connsiteX4" fmla="*/ 34331 w 1932558"/>
              <a:gd name="connsiteY4" fmla="*/ 0 h 2043229"/>
              <a:gd name="connsiteX0" fmla="*/ 34331 w 1885113"/>
              <a:gd name="connsiteY0" fmla="*/ 0 h 2043229"/>
              <a:gd name="connsiteX1" fmla="*/ 1782672 w 1885113"/>
              <a:gd name="connsiteY1" fmla="*/ 116309 h 2043229"/>
              <a:gd name="connsiteX2" fmla="*/ 1885113 w 1885113"/>
              <a:gd name="connsiteY2" fmla="*/ 2043229 h 2043229"/>
              <a:gd name="connsiteX3" fmla="*/ 0 w 1885113"/>
              <a:gd name="connsiteY3" fmla="*/ 1985969 h 2043229"/>
              <a:gd name="connsiteX4" fmla="*/ 34331 w 1885113"/>
              <a:gd name="connsiteY4" fmla="*/ 0 h 2043229"/>
              <a:gd name="connsiteX0" fmla="*/ 34331 w 1917957"/>
              <a:gd name="connsiteY0" fmla="*/ 0 h 2043229"/>
              <a:gd name="connsiteX1" fmla="*/ 1917617 w 1917957"/>
              <a:gd name="connsiteY1" fmla="*/ 37116 h 2043229"/>
              <a:gd name="connsiteX2" fmla="*/ 1885113 w 1917957"/>
              <a:gd name="connsiteY2" fmla="*/ 2043229 h 2043229"/>
              <a:gd name="connsiteX3" fmla="*/ 0 w 1917957"/>
              <a:gd name="connsiteY3" fmla="*/ 1985969 h 2043229"/>
              <a:gd name="connsiteX4" fmla="*/ 34331 w 1917957"/>
              <a:gd name="connsiteY4" fmla="*/ 0 h 2043229"/>
              <a:gd name="connsiteX0" fmla="*/ 34331 w 1917699"/>
              <a:gd name="connsiteY0" fmla="*/ 0 h 1985969"/>
              <a:gd name="connsiteX1" fmla="*/ 1917617 w 1917699"/>
              <a:gd name="connsiteY1" fmla="*/ 37116 h 1985969"/>
              <a:gd name="connsiteX2" fmla="*/ 1745944 w 1917699"/>
              <a:gd name="connsiteY2" fmla="*/ 1805051 h 1985969"/>
              <a:gd name="connsiteX3" fmla="*/ 0 w 1917699"/>
              <a:gd name="connsiteY3" fmla="*/ 1985969 h 1985969"/>
              <a:gd name="connsiteX4" fmla="*/ 34331 w 1917699"/>
              <a:gd name="connsiteY4" fmla="*/ 0 h 1985969"/>
              <a:gd name="connsiteX0" fmla="*/ 34331 w 1918066"/>
              <a:gd name="connsiteY0" fmla="*/ 0 h 2050060"/>
              <a:gd name="connsiteX1" fmla="*/ 1917617 w 1918066"/>
              <a:gd name="connsiteY1" fmla="*/ 37116 h 2050060"/>
              <a:gd name="connsiteX2" fmla="*/ 1895828 w 1918066"/>
              <a:gd name="connsiteY2" fmla="*/ 2050060 h 2050060"/>
              <a:gd name="connsiteX3" fmla="*/ 0 w 1918066"/>
              <a:gd name="connsiteY3" fmla="*/ 1985969 h 2050060"/>
              <a:gd name="connsiteX4" fmla="*/ 34331 w 1918066"/>
              <a:gd name="connsiteY4" fmla="*/ 0 h 2050060"/>
              <a:gd name="connsiteX0" fmla="*/ 0 w 2124830"/>
              <a:gd name="connsiteY0" fmla="*/ 450150 h 2013182"/>
              <a:gd name="connsiteX1" fmla="*/ 2124381 w 2124830"/>
              <a:gd name="connsiteY1" fmla="*/ 238 h 2013182"/>
              <a:gd name="connsiteX2" fmla="*/ 2102592 w 2124830"/>
              <a:gd name="connsiteY2" fmla="*/ 2013182 h 2013182"/>
              <a:gd name="connsiteX3" fmla="*/ 206764 w 2124830"/>
              <a:gd name="connsiteY3" fmla="*/ 1949091 h 2013182"/>
              <a:gd name="connsiteX4" fmla="*/ 0 w 2124830"/>
              <a:gd name="connsiteY4" fmla="*/ 450150 h 2013182"/>
              <a:gd name="connsiteX0" fmla="*/ 17720 w 2142550"/>
              <a:gd name="connsiteY0" fmla="*/ 450150 h 2420008"/>
              <a:gd name="connsiteX1" fmla="*/ 2142101 w 2142550"/>
              <a:gd name="connsiteY1" fmla="*/ 238 h 2420008"/>
              <a:gd name="connsiteX2" fmla="*/ 2120312 w 2142550"/>
              <a:gd name="connsiteY2" fmla="*/ 2013182 h 2420008"/>
              <a:gd name="connsiteX3" fmla="*/ 0 w 2142550"/>
              <a:gd name="connsiteY3" fmla="*/ 2420008 h 2420008"/>
              <a:gd name="connsiteX4" fmla="*/ 17720 w 2142550"/>
              <a:gd name="connsiteY4" fmla="*/ 450150 h 2420008"/>
              <a:gd name="connsiteX0" fmla="*/ 17720 w 2142235"/>
              <a:gd name="connsiteY0" fmla="*/ 450150 h 2452711"/>
              <a:gd name="connsiteX1" fmla="*/ 2142101 w 2142235"/>
              <a:gd name="connsiteY1" fmla="*/ 238 h 2452711"/>
              <a:gd name="connsiteX2" fmla="*/ 2042033 w 2142235"/>
              <a:gd name="connsiteY2" fmla="*/ 2452711 h 2452711"/>
              <a:gd name="connsiteX3" fmla="*/ 0 w 2142235"/>
              <a:gd name="connsiteY3" fmla="*/ 2420008 h 2452711"/>
              <a:gd name="connsiteX4" fmla="*/ 17720 w 2142235"/>
              <a:gd name="connsiteY4" fmla="*/ 450150 h 2452711"/>
              <a:gd name="connsiteX0" fmla="*/ 17720 w 2142136"/>
              <a:gd name="connsiteY0" fmla="*/ 450150 h 2420008"/>
              <a:gd name="connsiteX1" fmla="*/ 2142101 w 2142136"/>
              <a:gd name="connsiteY1" fmla="*/ 238 h 2420008"/>
              <a:gd name="connsiteX2" fmla="*/ 1730181 w 2142136"/>
              <a:gd name="connsiteY2" fmla="*/ 2138255 h 2420008"/>
              <a:gd name="connsiteX3" fmla="*/ 0 w 2142136"/>
              <a:gd name="connsiteY3" fmla="*/ 2420008 h 2420008"/>
              <a:gd name="connsiteX4" fmla="*/ 17720 w 2142136"/>
              <a:gd name="connsiteY4" fmla="*/ 450150 h 2420008"/>
              <a:gd name="connsiteX0" fmla="*/ 17720 w 2142158"/>
              <a:gd name="connsiteY0" fmla="*/ 450150 h 2463060"/>
              <a:gd name="connsiteX1" fmla="*/ 2142101 w 2142158"/>
              <a:gd name="connsiteY1" fmla="*/ 238 h 2463060"/>
              <a:gd name="connsiteX2" fmla="*/ 1890741 w 2142158"/>
              <a:gd name="connsiteY2" fmla="*/ 2463060 h 2463060"/>
              <a:gd name="connsiteX3" fmla="*/ 0 w 2142158"/>
              <a:gd name="connsiteY3" fmla="*/ 2420008 h 2463060"/>
              <a:gd name="connsiteX4" fmla="*/ 17720 w 2142158"/>
              <a:gd name="connsiteY4" fmla="*/ 450150 h 2463060"/>
              <a:gd name="connsiteX0" fmla="*/ 17720 w 1986745"/>
              <a:gd name="connsiteY0" fmla="*/ 34657 h 2047567"/>
              <a:gd name="connsiteX1" fmla="*/ 1986605 w 1986745"/>
              <a:gd name="connsiteY1" fmla="*/ 1753 h 2047567"/>
              <a:gd name="connsiteX2" fmla="*/ 1890741 w 1986745"/>
              <a:gd name="connsiteY2" fmla="*/ 2047567 h 2047567"/>
              <a:gd name="connsiteX3" fmla="*/ 0 w 1986745"/>
              <a:gd name="connsiteY3" fmla="*/ 2004515 h 2047567"/>
              <a:gd name="connsiteX4" fmla="*/ 17720 w 1986745"/>
              <a:gd name="connsiteY4" fmla="*/ 34657 h 2047567"/>
              <a:gd name="connsiteX0" fmla="*/ 17720 w 1890741"/>
              <a:gd name="connsiteY0" fmla="*/ 0 h 2012910"/>
              <a:gd name="connsiteX1" fmla="*/ 1857607 w 1890741"/>
              <a:gd name="connsiteY1" fmla="*/ 27253 h 2012910"/>
              <a:gd name="connsiteX2" fmla="*/ 1890741 w 1890741"/>
              <a:gd name="connsiteY2" fmla="*/ 2012910 h 2012910"/>
              <a:gd name="connsiteX3" fmla="*/ 0 w 1890741"/>
              <a:gd name="connsiteY3" fmla="*/ 1969858 h 2012910"/>
              <a:gd name="connsiteX4" fmla="*/ 17720 w 1890741"/>
              <a:gd name="connsiteY4" fmla="*/ 0 h 2012910"/>
              <a:gd name="connsiteX0" fmla="*/ 17720 w 1913565"/>
              <a:gd name="connsiteY0" fmla="*/ 0 h 2012910"/>
              <a:gd name="connsiteX1" fmla="*/ 1913124 w 1913565"/>
              <a:gd name="connsiteY1" fmla="*/ 44842 h 2012910"/>
              <a:gd name="connsiteX2" fmla="*/ 1890741 w 1913565"/>
              <a:gd name="connsiteY2" fmla="*/ 2012910 h 2012910"/>
              <a:gd name="connsiteX3" fmla="*/ 0 w 1913565"/>
              <a:gd name="connsiteY3" fmla="*/ 1969858 h 2012910"/>
              <a:gd name="connsiteX4" fmla="*/ 17720 w 1913565"/>
              <a:gd name="connsiteY4" fmla="*/ 0 h 2012910"/>
              <a:gd name="connsiteX0" fmla="*/ 50192 w 1913565"/>
              <a:gd name="connsiteY0" fmla="*/ 47043 h 1968068"/>
              <a:gd name="connsiteX1" fmla="*/ 1913124 w 1913565"/>
              <a:gd name="connsiteY1" fmla="*/ 0 h 1968068"/>
              <a:gd name="connsiteX2" fmla="*/ 1890741 w 1913565"/>
              <a:gd name="connsiteY2" fmla="*/ 1968068 h 1968068"/>
              <a:gd name="connsiteX3" fmla="*/ 0 w 1913565"/>
              <a:gd name="connsiteY3" fmla="*/ 1925016 h 1968068"/>
              <a:gd name="connsiteX4" fmla="*/ 50192 w 1913565"/>
              <a:gd name="connsiteY4" fmla="*/ 47043 h 1968068"/>
              <a:gd name="connsiteX0" fmla="*/ 56030 w 1913565"/>
              <a:gd name="connsiteY0" fmla="*/ 0 h 2024087"/>
              <a:gd name="connsiteX1" fmla="*/ 1913124 w 1913565"/>
              <a:gd name="connsiteY1" fmla="*/ 56019 h 2024087"/>
              <a:gd name="connsiteX2" fmla="*/ 1890741 w 1913565"/>
              <a:gd name="connsiteY2" fmla="*/ 2024087 h 2024087"/>
              <a:gd name="connsiteX3" fmla="*/ 0 w 1913565"/>
              <a:gd name="connsiteY3" fmla="*/ 1981035 h 2024087"/>
              <a:gd name="connsiteX4" fmla="*/ 56030 w 1913565"/>
              <a:gd name="connsiteY4" fmla="*/ 0 h 2024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65" h="2024087">
                <a:moveTo>
                  <a:pt x="56030" y="0"/>
                </a:moveTo>
                <a:lnTo>
                  <a:pt x="1913124" y="56019"/>
                </a:lnTo>
                <a:cubicBezTo>
                  <a:pt x="1917614" y="672101"/>
                  <a:pt x="1886251" y="1408005"/>
                  <a:pt x="1890741" y="2024087"/>
                </a:cubicBezTo>
                <a:lnTo>
                  <a:pt x="0" y="1981035"/>
                </a:lnTo>
                <a:lnTo>
                  <a:pt x="56030" y="0"/>
                </a:lnTo>
                <a:close/>
              </a:path>
            </a:pathLst>
          </a:custGeom>
          <a:solidFill>
            <a:schemeClr val="bg1">
              <a:lumMod val="85000"/>
            </a:schemeClr>
          </a:solidFill>
          <a:ln w="34925">
            <a:solidFill>
              <a:schemeClr val="bg1"/>
            </a:solidFill>
            <a:miter lim="800000"/>
          </a:ln>
        </p:spPr>
        <p:txBody>
          <a:bodyPr wrap="square" anchor="ctr">
            <a:noAutofit/>
          </a:bodyPr>
          <a:lstStyle>
            <a:lvl1pPr algn="ctr">
              <a:defRPr/>
            </a:lvl1pPr>
          </a:lstStyle>
          <a:p>
            <a:endParaRPr lang="en-US"/>
          </a:p>
        </p:txBody>
      </p:sp>
      <p:sp>
        <p:nvSpPr>
          <p:cNvPr id="14" name="Picture Placeholder 26">
            <a:extLst>
              <a:ext uri="{FF2B5EF4-FFF2-40B4-BE49-F238E27FC236}">
                <a16:creationId xmlns:a16="http://schemas.microsoft.com/office/drawing/2014/main" id="{B94B16AC-B7B5-0819-8194-8BB30CAB378B}"/>
              </a:ext>
            </a:extLst>
          </p:cNvPr>
          <p:cNvSpPr>
            <a:spLocks noGrp="1"/>
          </p:cNvSpPr>
          <p:nvPr>
            <p:ph type="pic" sz="quarter" idx="16"/>
          </p:nvPr>
        </p:nvSpPr>
        <p:spPr>
          <a:xfrm>
            <a:off x="1024443" y="1647992"/>
            <a:ext cx="4411314" cy="4004560"/>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57471 w 4125508"/>
              <a:gd name="connsiteY0" fmla="*/ 0 h 3347083"/>
              <a:gd name="connsiteX1" fmla="*/ 3225399 w 4125508"/>
              <a:gd name="connsiteY1" fmla="*/ 591256 h 3347083"/>
              <a:gd name="connsiteX2" fmla="*/ 4125508 w 4125508"/>
              <a:gd name="connsiteY2" fmla="*/ 2187201 h 3347083"/>
              <a:gd name="connsiteX3" fmla="*/ 2634644 w 4125508"/>
              <a:gd name="connsiteY3" fmla="*/ 3252857 h 3347083"/>
              <a:gd name="connsiteX4" fmla="*/ 0 w 4125508"/>
              <a:gd name="connsiteY4" fmla="*/ 3347083 h 3347083"/>
              <a:gd name="connsiteX5" fmla="*/ 557471 w 4125508"/>
              <a:gd name="connsiteY5" fmla="*/ 0 h 3347083"/>
              <a:gd name="connsiteX0" fmla="*/ 557471 w 4125508"/>
              <a:gd name="connsiteY0" fmla="*/ 0 h 3347083"/>
              <a:gd name="connsiteX1" fmla="*/ 3225399 w 4125508"/>
              <a:gd name="connsiteY1" fmla="*/ 591256 h 3347083"/>
              <a:gd name="connsiteX2" fmla="*/ 4125508 w 4125508"/>
              <a:gd name="connsiteY2" fmla="*/ 2187201 h 3347083"/>
              <a:gd name="connsiteX3" fmla="*/ 3712925 w 4125508"/>
              <a:gd name="connsiteY3" fmla="*/ 3297982 h 3347083"/>
              <a:gd name="connsiteX4" fmla="*/ 0 w 4125508"/>
              <a:gd name="connsiteY4" fmla="*/ 3347083 h 3347083"/>
              <a:gd name="connsiteX5" fmla="*/ 557471 w 4125508"/>
              <a:gd name="connsiteY5" fmla="*/ 0 h 3347083"/>
              <a:gd name="connsiteX0" fmla="*/ 626433 w 4194470"/>
              <a:gd name="connsiteY0" fmla="*/ 0 h 3383824"/>
              <a:gd name="connsiteX1" fmla="*/ 3294361 w 4194470"/>
              <a:gd name="connsiteY1" fmla="*/ 591256 h 3383824"/>
              <a:gd name="connsiteX2" fmla="*/ 4194470 w 4194470"/>
              <a:gd name="connsiteY2" fmla="*/ 2187201 h 3383824"/>
              <a:gd name="connsiteX3" fmla="*/ 3781887 w 4194470"/>
              <a:gd name="connsiteY3" fmla="*/ 3297982 h 3383824"/>
              <a:gd name="connsiteX4" fmla="*/ 0 w 4194470"/>
              <a:gd name="connsiteY4" fmla="*/ 3383824 h 3383824"/>
              <a:gd name="connsiteX5" fmla="*/ 626433 w 4194470"/>
              <a:gd name="connsiteY5" fmla="*/ 0 h 3383824"/>
              <a:gd name="connsiteX0" fmla="*/ 626433 w 4194470"/>
              <a:gd name="connsiteY0" fmla="*/ 0 h 3383824"/>
              <a:gd name="connsiteX1" fmla="*/ 3294361 w 4194470"/>
              <a:gd name="connsiteY1" fmla="*/ 591256 h 3383824"/>
              <a:gd name="connsiteX2" fmla="*/ 4194470 w 4194470"/>
              <a:gd name="connsiteY2" fmla="*/ 2187201 h 3383824"/>
              <a:gd name="connsiteX3" fmla="*/ 3788535 w 4194470"/>
              <a:gd name="connsiteY3" fmla="*/ 3318232 h 3383824"/>
              <a:gd name="connsiteX4" fmla="*/ 0 w 4194470"/>
              <a:gd name="connsiteY4" fmla="*/ 3383824 h 3383824"/>
              <a:gd name="connsiteX5" fmla="*/ 626433 w 4194470"/>
              <a:gd name="connsiteY5" fmla="*/ 0 h 3383824"/>
              <a:gd name="connsiteX0" fmla="*/ 46354 w 4352738"/>
              <a:gd name="connsiteY0" fmla="*/ 0 h 3195666"/>
              <a:gd name="connsiteX1" fmla="*/ 3452629 w 4352738"/>
              <a:gd name="connsiteY1" fmla="*/ 403098 h 3195666"/>
              <a:gd name="connsiteX2" fmla="*/ 4352738 w 4352738"/>
              <a:gd name="connsiteY2" fmla="*/ 1999043 h 3195666"/>
              <a:gd name="connsiteX3" fmla="*/ 3946803 w 4352738"/>
              <a:gd name="connsiteY3" fmla="*/ 3130074 h 3195666"/>
              <a:gd name="connsiteX4" fmla="*/ 158268 w 4352738"/>
              <a:gd name="connsiteY4" fmla="*/ 3195666 h 3195666"/>
              <a:gd name="connsiteX5" fmla="*/ 46354 w 4352738"/>
              <a:gd name="connsiteY5" fmla="*/ 0 h 3195666"/>
              <a:gd name="connsiteX0" fmla="*/ 8743 w 4315127"/>
              <a:gd name="connsiteY0" fmla="*/ 0 h 3195666"/>
              <a:gd name="connsiteX1" fmla="*/ 3415018 w 4315127"/>
              <a:gd name="connsiteY1" fmla="*/ 403098 h 3195666"/>
              <a:gd name="connsiteX2" fmla="*/ 4315127 w 4315127"/>
              <a:gd name="connsiteY2" fmla="*/ 1999043 h 3195666"/>
              <a:gd name="connsiteX3" fmla="*/ 3909192 w 4315127"/>
              <a:gd name="connsiteY3" fmla="*/ 3130074 h 3195666"/>
              <a:gd name="connsiteX4" fmla="*/ 120657 w 4315127"/>
              <a:gd name="connsiteY4" fmla="*/ 3195666 h 3195666"/>
              <a:gd name="connsiteX5" fmla="*/ 8743 w 4315127"/>
              <a:gd name="connsiteY5" fmla="*/ 0 h 3195666"/>
              <a:gd name="connsiteX0" fmla="*/ 1861 w 4196331"/>
              <a:gd name="connsiteY0" fmla="*/ 2792568 h 2792568"/>
              <a:gd name="connsiteX1" fmla="*/ 3296222 w 4196331"/>
              <a:gd name="connsiteY1" fmla="*/ 0 h 2792568"/>
              <a:gd name="connsiteX2" fmla="*/ 4196331 w 4196331"/>
              <a:gd name="connsiteY2" fmla="*/ 1595945 h 2792568"/>
              <a:gd name="connsiteX3" fmla="*/ 3790396 w 4196331"/>
              <a:gd name="connsiteY3" fmla="*/ 2726976 h 2792568"/>
              <a:gd name="connsiteX4" fmla="*/ 1861 w 4196331"/>
              <a:gd name="connsiteY4" fmla="*/ 2792568 h 2792568"/>
              <a:gd name="connsiteX0" fmla="*/ 297110 w 4491580"/>
              <a:gd name="connsiteY0" fmla="*/ 3337428 h 3337428"/>
              <a:gd name="connsiteX1" fmla="*/ 343714 w 4491580"/>
              <a:gd name="connsiteY1" fmla="*/ 0 h 3337428"/>
              <a:gd name="connsiteX2" fmla="*/ 4491580 w 4491580"/>
              <a:gd name="connsiteY2" fmla="*/ 2140805 h 3337428"/>
              <a:gd name="connsiteX3" fmla="*/ 4085645 w 4491580"/>
              <a:gd name="connsiteY3" fmla="*/ 3271836 h 3337428"/>
              <a:gd name="connsiteX4" fmla="*/ 297110 w 4491580"/>
              <a:gd name="connsiteY4" fmla="*/ 3337428 h 3337428"/>
              <a:gd name="connsiteX0" fmla="*/ 23070 w 4217540"/>
              <a:gd name="connsiteY0" fmla="*/ 3337428 h 3337428"/>
              <a:gd name="connsiteX1" fmla="*/ 69674 w 4217540"/>
              <a:gd name="connsiteY1" fmla="*/ 0 h 3337428"/>
              <a:gd name="connsiteX2" fmla="*/ 4217540 w 4217540"/>
              <a:gd name="connsiteY2" fmla="*/ 2140805 h 3337428"/>
              <a:gd name="connsiteX3" fmla="*/ 3811605 w 4217540"/>
              <a:gd name="connsiteY3" fmla="*/ 3271836 h 3337428"/>
              <a:gd name="connsiteX4" fmla="*/ 23070 w 4217540"/>
              <a:gd name="connsiteY4" fmla="*/ 3337428 h 3337428"/>
              <a:gd name="connsiteX0" fmla="*/ 182540 w 4377010"/>
              <a:gd name="connsiteY0" fmla="*/ 3202460 h 3202460"/>
              <a:gd name="connsiteX1" fmla="*/ 1 w 4377010"/>
              <a:gd name="connsiteY1" fmla="*/ 0 h 3202460"/>
              <a:gd name="connsiteX2" fmla="*/ 4377010 w 4377010"/>
              <a:gd name="connsiteY2" fmla="*/ 2005837 h 3202460"/>
              <a:gd name="connsiteX3" fmla="*/ 3971075 w 4377010"/>
              <a:gd name="connsiteY3" fmla="*/ 3136868 h 3202460"/>
              <a:gd name="connsiteX4" fmla="*/ 182540 w 4377010"/>
              <a:gd name="connsiteY4" fmla="*/ 3202460 h 3202460"/>
              <a:gd name="connsiteX0" fmla="*/ 182540 w 3971076"/>
              <a:gd name="connsiteY0" fmla="*/ 3263618 h 3263618"/>
              <a:gd name="connsiteX1" fmla="*/ 1 w 3971076"/>
              <a:gd name="connsiteY1" fmla="*/ 61158 h 3263618"/>
              <a:gd name="connsiteX2" fmla="*/ 3829961 w 3971076"/>
              <a:gd name="connsiteY2" fmla="*/ 0 h 3263618"/>
              <a:gd name="connsiteX3" fmla="*/ 3971075 w 3971076"/>
              <a:gd name="connsiteY3" fmla="*/ 3198026 h 3263618"/>
              <a:gd name="connsiteX4" fmla="*/ 182540 w 3971076"/>
              <a:gd name="connsiteY4" fmla="*/ 3263618 h 3263618"/>
              <a:gd name="connsiteX0" fmla="*/ 182540 w 4019995"/>
              <a:gd name="connsiteY0" fmla="*/ 3263618 h 3263618"/>
              <a:gd name="connsiteX1" fmla="*/ 1 w 4019995"/>
              <a:gd name="connsiteY1" fmla="*/ 61158 h 3263618"/>
              <a:gd name="connsiteX2" fmla="*/ 3829961 w 4019995"/>
              <a:gd name="connsiteY2" fmla="*/ 0 h 3263618"/>
              <a:gd name="connsiteX3" fmla="*/ 4019995 w 4019995"/>
              <a:gd name="connsiteY3" fmla="*/ 3192782 h 3263618"/>
              <a:gd name="connsiteX4" fmla="*/ 182540 w 4019995"/>
              <a:gd name="connsiteY4" fmla="*/ 3263618 h 3263618"/>
              <a:gd name="connsiteX0" fmla="*/ 164746 w 4002201"/>
              <a:gd name="connsiteY0" fmla="*/ 3263618 h 3263618"/>
              <a:gd name="connsiteX1" fmla="*/ 1 w 4002201"/>
              <a:gd name="connsiteY1" fmla="*/ 53661 h 3263618"/>
              <a:gd name="connsiteX2" fmla="*/ 3812167 w 4002201"/>
              <a:gd name="connsiteY2" fmla="*/ 0 h 3263618"/>
              <a:gd name="connsiteX3" fmla="*/ 4002201 w 4002201"/>
              <a:gd name="connsiteY3" fmla="*/ 3192782 h 3263618"/>
              <a:gd name="connsiteX4" fmla="*/ 164746 w 4002201"/>
              <a:gd name="connsiteY4" fmla="*/ 3263618 h 3263618"/>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78624 h 3278624"/>
              <a:gd name="connsiteX1" fmla="*/ 1 w 4002201"/>
              <a:gd name="connsiteY1" fmla="*/ 68667 h 3278624"/>
              <a:gd name="connsiteX2" fmla="*/ 3756598 w 4002201"/>
              <a:gd name="connsiteY2" fmla="*/ 0 h 3278624"/>
              <a:gd name="connsiteX3" fmla="*/ 4002201 w 4002201"/>
              <a:gd name="connsiteY3" fmla="*/ 3207788 h 3278624"/>
              <a:gd name="connsiteX4" fmla="*/ 164746 w 4002201"/>
              <a:gd name="connsiteY4" fmla="*/ 3278624 h 3278624"/>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7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64746 w 4002201"/>
              <a:gd name="connsiteY0" fmla="*/ 3269620 h 3269620"/>
              <a:gd name="connsiteX1" fmla="*/ 1 w 4002201"/>
              <a:gd name="connsiteY1" fmla="*/ 59663 h 3269620"/>
              <a:gd name="connsiteX2" fmla="*/ 3789938 w 4002201"/>
              <a:gd name="connsiteY2" fmla="*/ 0 h 3269620"/>
              <a:gd name="connsiteX3" fmla="*/ 4002201 w 4002201"/>
              <a:gd name="connsiteY3" fmla="*/ 3198784 h 3269620"/>
              <a:gd name="connsiteX4" fmla="*/ 164746 w 4002201"/>
              <a:gd name="connsiteY4" fmla="*/ 3269620 h 3269620"/>
              <a:gd name="connsiteX0" fmla="*/ 190582 w 4028037"/>
              <a:gd name="connsiteY0" fmla="*/ 3269620 h 3269620"/>
              <a:gd name="connsiteX1" fmla="*/ -1 w 4028037"/>
              <a:gd name="connsiteY1" fmla="*/ 50378 h 3269620"/>
              <a:gd name="connsiteX2" fmla="*/ 3815774 w 4028037"/>
              <a:gd name="connsiteY2" fmla="*/ 0 h 3269620"/>
              <a:gd name="connsiteX3" fmla="*/ 4028037 w 4028037"/>
              <a:gd name="connsiteY3" fmla="*/ 3198784 h 3269620"/>
              <a:gd name="connsiteX4" fmla="*/ 190582 w 4028037"/>
              <a:gd name="connsiteY4" fmla="*/ 3269620 h 3269620"/>
              <a:gd name="connsiteX0" fmla="*/ 190582 w 4028037"/>
              <a:gd name="connsiteY0" fmla="*/ 3276369 h 3276369"/>
              <a:gd name="connsiteX1" fmla="*/ -1 w 4028037"/>
              <a:gd name="connsiteY1" fmla="*/ 57127 h 3276369"/>
              <a:gd name="connsiteX2" fmla="*/ 3824953 w 4028037"/>
              <a:gd name="connsiteY2" fmla="*/ 0 h 3276369"/>
              <a:gd name="connsiteX3" fmla="*/ 4028037 w 4028037"/>
              <a:gd name="connsiteY3" fmla="*/ 3205533 h 3276369"/>
              <a:gd name="connsiteX4" fmla="*/ 190582 w 4028037"/>
              <a:gd name="connsiteY4" fmla="*/ 3276369 h 3276369"/>
              <a:gd name="connsiteX0" fmla="*/ 187246 w 4024701"/>
              <a:gd name="connsiteY0" fmla="*/ 3276369 h 3276369"/>
              <a:gd name="connsiteX1" fmla="*/ 0 w 4024701"/>
              <a:gd name="connsiteY1" fmla="*/ 55721 h 3276369"/>
              <a:gd name="connsiteX2" fmla="*/ 3821617 w 4024701"/>
              <a:gd name="connsiteY2" fmla="*/ 0 h 3276369"/>
              <a:gd name="connsiteX3" fmla="*/ 4024701 w 4024701"/>
              <a:gd name="connsiteY3" fmla="*/ 3205533 h 3276369"/>
              <a:gd name="connsiteX4" fmla="*/ 187246 w 4024701"/>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6369 h 3276369"/>
              <a:gd name="connsiteX1" fmla="*/ 0 w 4011357"/>
              <a:gd name="connsiteY1" fmla="*/ 55721 h 3276369"/>
              <a:gd name="connsiteX2" fmla="*/ 3821617 w 4011357"/>
              <a:gd name="connsiteY2" fmla="*/ 0 h 3276369"/>
              <a:gd name="connsiteX3" fmla="*/ 4011356 w 4011357"/>
              <a:gd name="connsiteY3" fmla="*/ 3211157 h 3276369"/>
              <a:gd name="connsiteX4" fmla="*/ 187246 w 4011357"/>
              <a:gd name="connsiteY4" fmla="*/ 3276369 h 3276369"/>
              <a:gd name="connsiteX0" fmla="*/ 187246 w 4011357"/>
              <a:gd name="connsiteY0" fmla="*/ 3277775 h 3277775"/>
              <a:gd name="connsiteX1" fmla="*/ 0 w 4011357"/>
              <a:gd name="connsiteY1" fmla="*/ 57127 h 3277775"/>
              <a:gd name="connsiteX2" fmla="*/ 3824953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7775 h 3277775"/>
              <a:gd name="connsiteX1" fmla="*/ 0 w 4011357"/>
              <a:gd name="connsiteY1" fmla="*/ 57127 h 3277775"/>
              <a:gd name="connsiteX2" fmla="*/ 3824952 w 4011357"/>
              <a:gd name="connsiteY2" fmla="*/ 0 h 3277775"/>
              <a:gd name="connsiteX3" fmla="*/ 4011356 w 4011357"/>
              <a:gd name="connsiteY3" fmla="*/ 3212563 h 3277775"/>
              <a:gd name="connsiteX4" fmla="*/ 187246 w 4011357"/>
              <a:gd name="connsiteY4" fmla="*/ 3277775 h 3277775"/>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87246 w 4011357"/>
              <a:gd name="connsiteY0" fmla="*/ 3274398 h 3274398"/>
              <a:gd name="connsiteX1" fmla="*/ 0 w 4011357"/>
              <a:gd name="connsiteY1" fmla="*/ 53750 h 3274398"/>
              <a:gd name="connsiteX2" fmla="*/ 3837455 w 4011357"/>
              <a:gd name="connsiteY2" fmla="*/ 0 h 3274398"/>
              <a:gd name="connsiteX3" fmla="*/ 4011356 w 4011357"/>
              <a:gd name="connsiteY3" fmla="*/ 3209186 h 3274398"/>
              <a:gd name="connsiteX4" fmla="*/ 187246 w 4011357"/>
              <a:gd name="connsiteY4" fmla="*/ 3274398 h 3274398"/>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78348 w 4011357"/>
              <a:gd name="connsiteY0" fmla="*/ 3278147 h 3278147"/>
              <a:gd name="connsiteX1" fmla="*/ 0 w 4011357"/>
              <a:gd name="connsiteY1" fmla="*/ 53750 h 3278147"/>
              <a:gd name="connsiteX2" fmla="*/ 3837455 w 4011357"/>
              <a:gd name="connsiteY2" fmla="*/ 0 h 3278147"/>
              <a:gd name="connsiteX3" fmla="*/ 4011356 w 4011357"/>
              <a:gd name="connsiteY3" fmla="*/ 3209186 h 3278147"/>
              <a:gd name="connsiteX4" fmla="*/ 178348 w 4011357"/>
              <a:gd name="connsiteY4" fmla="*/ 3278147 h 3278147"/>
              <a:gd name="connsiteX0" fmla="*/ 192802 w 4025811"/>
              <a:gd name="connsiteY0" fmla="*/ 3278147 h 3278147"/>
              <a:gd name="connsiteX1" fmla="*/ 0 w 4025811"/>
              <a:gd name="connsiteY1" fmla="*/ 55998 h 3278147"/>
              <a:gd name="connsiteX2" fmla="*/ 3851909 w 4025811"/>
              <a:gd name="connsiteY2" fmla="*/ 0 h 3278147"/>
              <a:gd name="connsiteX3" fmla="*/ 4025810 w 4025811"/>
              <a:gd name="connsiteY3" fmla="*/ 3209186 h 3278147"/>
              <a:gd name="connsiteX4" fmla="*/ 192802 w 4025811"/>
              <a:gd name="connsiteY4" fmla="*/ 3278147 h 3278147"/>
              <a:gd name="connsiteX0" fmla="*/ 192802 w 4025811"/>
              <a:gd name="connsiteY0" fmla="*/ 3281902 h 3281902"/>
              <a:gd name="connsiteX1" fmla="*/ 0 w 4025811"/>
              <a:gd name="connsiteY1" fmla="*/ 59753 h 3281902"/>
              <a:gd name="connsiteX2" fmla="*/ 3815229 w 4025811"/>
              <a:gd name="connsiteY2" fmla="*/ 0 h 3281902"/>
              <a:gd name="connsiteX3" fmla="*/ 4025810 w 4025811"/>
              <a:gd name="connsiteY3" fmla="*/ 3212941 h 3281902"/>
              <a:gd name="connsiteX4" fmla="*/ 192802 w 4025811"/>
              <a:gd name="connsiteY4" fmla="*/ 3281902 h 3281902"/>
              <a:gd name="connsiteX0" fmla="*/ 192802 w 4025811"/>
              <a:gd name="connsiteY0" fmla="*/ 3280401 h 3280401"/>
              <a:gd name="connsiteX1" fmla="*/ 0 w 4025811"/>
              <a:gd name="connsiteY1" fmla="*/ 58252 h 3280401"/>
              <a:gd name="connsiteX2" fmla="*/ 3820787 w 4025811"/>
              <a:gd name="connsiteY2" fmla="*/ 0 h 3280401"/>
              <a:gd name="connsiteX3" fmla="*/ 4025810 w 4025811"/>
              <a:gd name="connsiteY3" fmla="*/ 3211440 h 3280401"/>
              <a:gd name="connsiteX4" fmla="*/ 192802 w 4025811"/>
              <a:gd name="connsiteY4" fmla="*/ 3280401 h 3280401"/>
              <a:gd name="connsiteX0" fmla="*/ 192802 w 4025811"/>
              <a:gd name="connsiteY0" fmla="*/ 3287525 h 3287525"/>
              <a:gd name="connsiteX1" fmla="*/ 0 w 4025811"/>
              <a:gd name="connsiteY1" fmla="*/ 65376 h 3287525"/>
              <a:gd name="connsiteX2" fmla="*/ 3828576 w 4025811"/>
              <a:gd name="connsiteY2" fmla="*/ 0 h 3287525"/>
              <a:gd name="connsiteX3" fmla="*/ 4025810 w 4025811"/>
              <a:gd name="connsiteY3" fmla="*/ 3218564 h 3287525"/>
              <a:gd name="connsiteX4" fmla="*/ 192802 w 4025811"/>
              <a:gd name="connsiteY4" fmla="*/ 3287525 h 3287525"/>
              <a:gd name="connsiteX0" fmla="*/ 3953822 w 7786831"/>
              <a:gd name="connsiteY0" fmla="*/ 3287525 h 3287525"/>
              <a:gd name="connsiteX1" fmla="*/ 0 w 7786831"/>
              <a:gd name="connsiteY1" fmla="*/ 1664990 h 3287525"/>
              <a:gd name="connsiteX2" fmla="*/ 7589596 w 7786831"/>
              <a:gd name="connsiteY2" fmla="*/ 0 h 3287525"/>
              <a:gd name="connsiteX3" fmla="*/ 7786830 w 7786831"/>
              <a:gd name="connsiteY3" fmla="*/ 3218564 h 3287525"/>
              <a:gd name="connsiteX4" fmla="*/ 3953822 w 7786831"/>
              <a:gd name="connsiteY4" fmla="*/ 3287525 h 3287525"/>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8386768"/>
              <a:gd name="connsiteY0" fmla="*/ 3639164 h 3639164"/>
              <a:gd name="connsiteX1" fmla="*/ 0 w 8386768"/>
              <a:gd name="connsiteY1" fmla="*/ 2016629 h 3639164"/>
              <a:gd name="connsiteX2" fmla="*/ 8386768 w 8386768"/>
              <a:gd name="connsiteY2" fmla="*/ 0 h 3639164"/>
              <a:gd name="connsiteX3" fmla="*/ 7786830 w 8386768"/>
              <a:gd name="connsiteY3" fmla="*/ 3570203 h 3639164"/>
              <a:gd name="connsiteX4" fmla="*/ 3953822 w 8386768"/>
              <a:gd name="connsiteY4" fmla="*/ 3639164 h 3639164"/>
              <a:gd name="connsiteX0" fmla="*/ 3953822 w 13183078"/>
              <a:gd name="connsiteY0" fmla="*/ 4407378 h 4407378"/>
              <a:gd name="connsiteX1" fmla="*/ 0 w 13183078"/>
              <a:gd name="connsiteY1" fmla="*/ 2784843 h 4407378"/>
              <a:gd name="connsiteX2" fmla="*/ 8386768 w 13183078"/>
              <a:gd name="connsiteY2" fmla="*/ 768214 h 4407378"/>
              <a:gd name="connsiteX3" fmla="*/ 13183078 w 13183078"/>
              <a:gd name="connsiteY3" fmla="*/ 1718361 h 4407378"/>
              <a:gd name="connsiteX4" fmla="*/ 3953822 w 13183078"/>
              <a:gd name="connsiteY4" fmla="*/ 4407378 h 440737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86838 h 3786838"/>
              <a:gd name="connsiteX1" fmla="*/ 0 w 13183078"/>
              <a:gd name="connsiteY1" fmla="*/ 2784843 h 3786838"/>
              <a:gd name="connsiteX2" fmla="*/ 8386768 w 13183078"/>
              <a:gd name="connsiteY2" fmla="*/ 768214 h 3786838"/>
              <a:gd name="connsiteX3" fmla="*/ 13183078 w 13183078"/>
              <a:gd name="connsiteY3" fmla="*/ 1718361 h 3786838"/>
              <a:gd name="connsiteX4" fmla="*/ 2747844 w 13183078"/>
              <a:gd name="connsiteY4" fmla="*/ 3786838 h 3786838"/>
              <a:gd name="connsiteX0" fmla="*/ 2747844 w 13183078"/>
              <a:gd name="connsiteY0" fmla="*/ 3761437 h 3761437"/>
              <a:gd name="connsiteX1" fmla="*/ 0 w 13183078"/>
              <a:gd name="connsiteY1" fmla="*/ 2759442 h 3761437"/>
              <a:gd name="connsiteX2" fmla="*/ 7058147 w 13183078"/>
              <a:gd name="connsiteY2" fmla="*/ 811762 h 3761437"/>
              <a:gd name="connsiteX3" fmla="*/ 13183078 w 13183078"/>
              <a:gd name="connsiteY3" fmla="*/ 1692960 h 3761437"/>
              <a:gd name="connsiteX4" fmla="*/ 2747844 w 13183078"/>
              <a:gd name="connsiteY4" fmla="*/ 3761437 h 3761437"/>
              <a:gd name="connsiteX0" fmla="*/ 2747844 w 12978673"/>
              <a:gd name="connsiteY0" fmla="*/ 3163981 h 3163981"/>
              <a:gd name="connsiteX1" fmla="*/ 0 w 12978673"/>
              <a:gd name="connsiteY1" fmla="*/ 2161986 h 3163981"/>
              <a:gd name="connsiteX2" fmla="*/ 7058147 w 12978673"/>
              <a:gd name="connsiteY2" fmla="*/ 214306 h 3163981"/>
              <a:gd name="connsiteX3" fmla="*/ 12978673 w 12978673"/>
              <a:gd name="connsiteY3" fmla="*/ 2226266 h 3163981"/>
              <a:gd name="connsiteX4" fmla="*/ 2747844 w 12978673"/>
              <a:gd name="connsiteY4" fmla="*/ 3163981 h 3163981"/>
              <a:gd name="connsiteX0" fmla="*/ 2747844 w 12978673"/>
              <a:gd name="connsiteY0" fmla="*/ 2949675 h 2949675"/>
              <a:gd name="connsiteX1" fmla="*/ 0 w 12978673"/>
              <a:gd name="connsiteY1" fmla="*/ 1947680 h 2949675"/>
              <a:gd name="connsiteX2" fmla="*/ 7058147 w 12978673"/>
              <a:gd name="connsiteY2" fmla="*/ 0 h 2949675"/>
              <a:gd name="connsiteX3" fmla="*/ 12978673 w 12978673"/>
              <a:gd name="connsiteY3" fmla="*/ 2011960 h 2949675"/>
              <a:gd name="connsiteX4" fmla="*/ 2747844 w 12978673"/>
              <a:gd name="connsiteY4" fmla="*/ 2949675 h 2949675"/>
              <a:gd name="connsiteX0" fmla="*/ 2747844 w 10484954"/>
              <a:gd name="connsiteY0" fmla="*/ 2990153 h 2990153"/>
              <a:gd name="connsiteX1" fmla="*/ 0 w 10484954"/>
              <a:gd name="connsiteY1" fmla="*/ 1988158 h 2990153"/>
              <a:gd name="connsiteX2" fmla="*/ 7058147 w 10484954"/>
              <a:gd name="connsiteY2" fmla="*/ 40478 h 2990153"/>
              <a:gd name="connsiteX3" fmla="*/ 10484954 w 10484954"/>
              <a:gd name="connsiteY3" fmla="*/ 873412 h 2990153"/>
              <a:gd name="connsiteX4" fmla="*/ 2747844 w 10484954"/>
              <a:gd name="connsiteY4" fmla="*/ 2990153 h 2990153"/>
              <a:gd name="connsiteX0" fmla="*/ 2747844 w 8604444"/>
              <a:gd name="connsiteY0" fmla="*/ 2975178 h 2975178"/>
              <a:gd name="connsiteX1" fmla="*/ 0 w 8604444"/>
              <a:gd name="connsiteY1" fmla="*/ 1973183 h 2975178"/>
              <a:gd name="connsiteX2" fmla="*/ 7058147 w 8604444"/>
              <a:gd name="connsiteY2" fmla="*/ 25503 h 2975178"/>
              <a:gd name="connsiteX3" fmla="*/ 8604444 w 8604444"/>
              <a:gd name="connsiteY3" fmla="*/ 913596 h 2975178"/>
              <a:gd name="connsiteX4" fmla="*/ 2747844 w 8604444"/>
              <a:gd name="connsiteY4" fmla="*/ 2975178 h 2975178"/>
              <a:gd name="connsiteX0" fmla="*/ 2747844 w 9565140"/>
              <a:gd name="connsiteY0" fmla="*/ 2970384 h 2970384"/>
              <a:gd name="connsiteX1" fmla="*/ 0 w 9565140"/>
              <a:gd name="connsiteY1" fmla="*/ 1968389 h 2970384"/>
              <a:gd name="connsiteX2" fmla="*/ 7058147 w 9565140"/>
              <a:gd name="connsiteY2" fmla="*/ 20709 h 2970384"/>
              <a:gd name="connsiteX3" fmla="*/ 9565140 w 9565140"/>
              <a:gd name="connsiteY3" fmla="*/ 929486 h 2970384"/>
              <a:gd name="connsiteX4" fmla="*/ 2747844 w 9565140"/>
              <a:gd name="connsiteY4" fmla="*/ 2970384 h 2970384"/>
              <a:gd name="connsiteX0" fmla="*/ 2747844 w 9565140"/>
              <a:gd name="connsiteY0" fmla="*/ 2949675 h 2949675"/>
              <a:gd name="connsiteX1" fmla="*/ 0 w 9565140"/>
              <a:gd name="connsiteY1" fmla="*/ 1947680 h 2949675"/>
              <a:gd name="connsiteX2" fmla="*/ 7058147 w 9565140"/>
              <a:gd name="connsiteY2" fmla="*/ 0 h 2949675"/>
              <a:gd name="connsiteX3" fmla="*/ 9565140 w 9565140"/>
              <a:gd name="connsiteY3" fmla="*/ 908777 h 2949675"/>
              <a:gd name="connsiteX4" fmla="*/ 2747844 w 9565140"/>
              <a:gd name="connsiteY4" fmla="*/ 2949675 h 2949675"/>
              <a:gd name="connsiteX0" fmla="*/ 2747844 w 9565140"/>
              <a:gd name="connsiteY0" fmla="*/ 2956570 h 2956570"/>
              <a:gd name="connsiteX1" fmla="*/ 0 w 9565140"/>
              <a:gd name="connsiteY1" fmla="*/ 1954575 h 2956570"/>
              <a:gd name="connsiteX2" fmla="*/ 7201231 w 9565140"/>
              <a:gd name="connsiteY2" fmla="*/ 0 h 2956570"/>
              <a:gd name="connsiteX3" fmla="*/ 9565140 w 9565140"/>
              <a:gd name="connsiteY3" fmla="*/ 915672 h 2956570"/>
              <a:gd name="connsiteX4" fmla="*/ 2747844 w 9565140"/>
              <a:gd name="connsiteY4" fmla="*/ 2956570 h 2956570"/>
              <a:gd name="connsiteX0" fmla="*/ 2747844 w 9565140"/>
              <a:gd name="connsiteY0" fmla="*/ 2977254 h 2977254"/>
              <a:gd name="connsiteX1" fmla="*/ 0 w 9565140"/>
              <a:gd name="connsiteY1" fmla="*/ 1975259 h 2977254"/>
              <a:gd name="connsiteX2" fmla="*/ 7139909 w 9565140"/>
              <a:gd name="connsiteY2" fmla="*/ 0 h 2977254"/>
              <a:gd name="connsiteX3" fmla="*/ 9565140 w 9565140"/>
              <a:gd name="connsiteY3" fmla="*/ 936356 h 2977254"/>
              <a:gd name="connsiteX4" fmla="*/ 2747844 w 9565140"/>
              <a:gd name="connsiteY4" fmla="*/ 2977254 h 2977254"/>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 name="connsiteX0" fmla="*/ 2502560 w 9565140"/>
              <a:gd name="connsiteY0" fmla="*/ 2928989 h 2928989"/>
              <a:gd name="connsiteX1" fmla="*/ 0 w 9565140"/>
              <a:gd name="connsiteY1" fmla="*/ 1975259 h 2928989"/>
              <a:gd name="connsiteX2" fmla="*/ 7139909 w 9565140"/>
              <a:gd name="connsiteY2" fmla="*/ 0 h 2928989"/>
              <a:gd name="connsiteX3" fmla="*/ 9565140 w 9565140"/>
              <a:gd name="connsiteY3" fmla="*/ 936356 h 2928989"/>
              <a:gd name="connsiteX4" fmla="*/ 2502560 w 9565140"/>
              <a:gd name="connsiteY4" fmla="*/ 2928989 h 2928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5140" h="2928989">
                <a:moveTo>
                  <a:pt x="2502560" y="2928989"/>
                </a:moveTo>
                <a:lnTo>
                  <a:pt x="0" y="1975259"/>
                </a:lnTo>
                <a:lnTo>
                  <a:pt x="7139909" y="0"/>
                </a:lnTo>
                <a:cubicBezTo>
                  <a:pt x="7136157" y="6538"/>
                  <a:pt x="9325877" y="855478"/>
                  <a:pt x="9565140" y="936356"/>
                </a:cubicBezTo>
                <a:lnTo>
                  <a:pt x="2502560" y="2928989"/>
                </a:lnTo>
                <a:close/>
              </a:path>
            </a:pathLst>
          </a:custGeom>
          <a:solidFill>
            <a:schemeClr val="bg1">
              <a:lumMod val="85000"/>
            </a:schemeClr>
          </a:solidFill>
          <a:ln w="34925">
            <a:solidFill>
              <a:schemeClr val="bg1"/>
            </a:solidFill>
          </a:ln>
        </p:spPr>
        <p:txBody>
          <a:bodyPr wrap="square" anchor="ctr">
            <a:noAutofit/>
          </a:bodyPr>
          <a:lstStyle>
            <a:lvl1pPr algn="ctr">
              <a:defRPr/>
            </a:lvl1pPr>
          </a:lstStyle>
          <a:p>
            <a:endParaRPr lang="en-US"/>
          </a:p>
        </p:txBody>
      </p:sp>
      <p:sp>
        <p:nvSpPr>
          <p:cNvPr id="17" name="Picture Placeholder 26">
            <a:extLst>
              <a:ext uri="{FF2B5EF4-FFF2-40B4-BE49-F238E27FC236}">
                <a16:creationId xmlns:a16="http://schemas.microsoft.com/office/drawing/2014/main" id="{2531F623-AE83-42FA-80BF-73D1E4CCF405}"/>
              </a:ext>
            </a:extLst>
          </p:cNvPr>
          <p:cNvSpPr>
            <a:spLocks noGrp="1"/>
          </p:cNvSpPr>
          <p:nvPr>
            <p:ph type="pic" sz="quarter" idx="19"/>
          </p:nvPr>
        </p:nvSpPr>
        <p:spPr>
          <a:xfrm rot="21159356">
            <a:off x="1096330" y="2009712"/>
            <a:ext cx="2041929" cy="1684398"/>
          </a:xfrm>
          <a:custGeom>
            <a:avLst/>
            <a:gdLst>
              <a:gd name="connsiteX0" fmla="*/ 590121 w 4158158"/>
              <a:gd name="connsiteY0" fmla="*/ 0 h 3252857"/>
              <a:gd name="connsiteX1" fmla="*/ 3258049 w 4158158"/>
              <a:gd name="connsiteY1" fmla="*/ 591256 h 3252857"/>
              <a:gd name="connsiteX2" fmla="*/ 4158158 w 4158158"/>
              <a:gd name="connsiteY2" fmla="*/ 2187201 h 3252857"/>
              <a:gd name="connsiteX3" fmla="*/ 2667294 w 4158158"/>
              <a:gd name="connsiteY3" fmla="*/ 3252857 h 3252857"/>
              <a:gd name="connsiteX4" fmla="*/ 0 w 4158158"/>
              <a:gd name="connsiteY4" fmla="*/ 2661602 h 3252857"/>
              <a:gd name="connsiteX0" fmla="*/ 590121 w 3258049"/>
              <a:gd name="connsiteY0" fmla="*/ 0 h 3252857"/>
              <a:gd name="connsiteX1" fmla="*/ 3258049 w 3258049"/>
              <a:gd name="connsiteY1" fmla="*/ 591256 h 3252857"/>
              <a:gd name="connsiteX2" fmla="*/ 2667294 w 3258049"/>
              <a:gd name="connsiteY2" fmla="*/ 3252857 h 3252857"/>
              <a:gd name="connsiteX3" fmla="*/ 0 w 3258049"/>
              <a:gd name="connsiteY3" fmla="*/ 2661602 h 3252857"/>
              <a:gd name="connsiteX4" fmla="*/ 590121 w 3258049"/>
              <a:gd name="connsiteY4" fmla="*/ 0 h 3252857"/>
              <a:gd name="connsiteX0" fmla="*/ 590121 w 2667294"/>
              <a:gd name="connsiteY0" fmla="*/ 0 h 3252857"/>
              <a:gd name="connsiteX1" fmla="*/ 2471027 w 2667294"/>
              <a:gd name="connsiteY1" fmla="*/ 21156 h 3252857"/>
              <a:gd name="connsiteX2" fmla="*/ 2667294 w 2667294"/>
              <a:gd name="connsiteY2" fmla="*/ 3252857 h 3252857"/>
              <a:gd name="connsiteX3" fmla="*/ 0 w 2667294"/>
              <a:gd name="connsiteY3" fmla="*/ 2661602 h 3252857"/>
              <a:gd name="connsiteX4" fmla="*/ 590121 w 2667294"/>
              <a:gd name="connsiteY4" fmla="*/ 0 h 3252857"/>
              <a:gd name="connsiteX0" fmla="*/ 590121 w 2549559"/>
              <a:gd name="connsiteY0" fmla="*/ 0 h 2661602"/>
              <a:gd name="connsiteX1" fmla="*/ 2471027 w 2549559"/>
              <a:gd name="connsiteY1" fmla="*/ 21156 h 2661602"/>
              <a:gd name="connsiteX2" fmla="*/ 2549559 w 2549559"/>
              <a:gd name="connsiteY2" fmla="*/ 1662662 h 2661602"/>
              <a:gd name="connsiteX3" fmla="*/ 0 w 2549559"/>
              <a:gd name="connsiteY3" fmla="*/ 2661602 h 2661602"/>
              <a:gd name="connsiteX4" fmla="*/ 590121 w 2549559"/>
              <a:gd name="connsiteY4" fmla="*/ 0 h 2661602"/>
              <a:gd name="connsiteX0" fmla="*/ 590121 w 2515702"/>
              <a:gd name="connsiteY0" fmla="*/ 0 h 2661602"/>
              <a:gd name="connsiteX1" fmla="*/ 2471027 w 2515702"/>
              <a:gd name="connsiteY1" fmla="*/ 21156 h 2661602"/>
              <a:gd name="connsiteX2" fmla="*/ 2515702 w 2515702"/>
              <a:gd name="connsiteY2" fmla="*/ 1865740 h 2661602"/>
              <a:gd name="connsiteX3" fmla="*/ 0 w 2515702"/>
              <a:gd name="connsiteY3" fmla="*/ 2661602 h 2661602"/>
              <a:gd name="connsiteX4" fmla="*/ 590121 w 2515702"/>
              <a:gd name="connsiteY4" fmla="*/ 0 h 2661602"/>
              <a:gd name="connsiteX0" fmla="*/ 0 w 1925581"/>
              <a:gd name="connsiteY0" fmla="*/ 0 h 1953312"/>
              <a:gd name="connsiteX1" fmla="*/ 1880906 w 1925581"/>
              <a:gd name="connsiteY1" fmla="*/ 21156 h 1953312"/>
              <a:gd name="connsiteX2" fmla="*/ 1925581 w 1925581"/>
              <a:gd name="connsiteY2" fmla="*/ 1865740 h 1953312"/>
              <a:gd name="connsiteX3" fmla="*/ 54345 w 1925581"/>
              <a:gd name="connsiteY3" fmla="*/ 1953312 h 1953312"/>
              <a:gd name="connsiteX4" fmla="*/ 0 w 1925581"/>
              <a:gd name="connsiteY4" fmla="*/ 0 h 1953312"/>
              <a:gd name="connsiteX0" fmla="*/ 0 w 1925581"/>
              <a:gd name="connsiteY0" fmla="*/ 0 h 1912603"/>
              <a:gd name="connsiteX1" fmla="*/ 1880906 w 1925581"/>
              <a:gd name="connsiteY1" fmla="*/ 21156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912110 w 1925581"/>
              <a:gd name="connsiteY1" fmla="*/ 17495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5581"/>
              <a:gd name="connsiteY0" fmla="*/ 0 h 1912603"/>
              <a:gd name="connsiteX1" fmla="*/ 1889438 w 1925581"/>
              <a:gd name="connsiteY1" fmla="*/ 14573 h 1912603"/>
              <a:gd name="connsiteX2" fmla="*/ 1925581 w 1925581"/>
              <a:gd name="connsiteY2" fmla="*/ 1865740 h 1912603"/>
              <a:gd name="connsiteX3" fmla="*/ 36542 w 1925581"/>
              <a:gd name="connsiteY3" fmla="*/ 1912603 h 1912603"/>
              <a:gd name="connsiteX4" fmla="*/ 0 w 1925581"/>
              <a:gd name="connsiteY4" fmla="*/ 0 h 1912603"/>
              <a:gd name="connsiteX0" fmla="*/ 0 w 1922659"/>
              <a:gd name="connsiteY0" fmla="*/ 0 h 1912603"/>
              <a:gd name="connsiteX1" fmla="*/ 1889438 w 1922659"/>
              <a:gd name="connsiteY1" fmla="*/ 14573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912603"/>
              <a:gd name="connsiteX1" fmla="*/ 1897972 w 1922659"/>
              <a:gd name="connsiteY1" fmla="*/ 22876 h 1912603"/>
              <a:gd name="connsiteX2" fmla="*/ 1922659 w 1922659"/>
              <a:gd name="connsiteY2" fmla="*/ 1888413 h 1912603"/>
              <a:gd name="connsiteX3" fmla="*/ 36542 w 1922659"/>
              <a:gd name="connsiteY3" fmla="*/ 1912603 h 1912603"/>
              <a:gd name="connsiteX4" fmla="*/ 0 w 1922659"/>
              <a:gd name="connsiteY4" fmla="*/ 0 h 1912603"/>
              <a:gd name="connsiteX0" fmla="*/ 0 w 1922659"/>
              <a:gd name="connsiteY0" fmla="*/ 0 h 1888413"/>
              <a:gd name="connsiteX1" fmla="*/ 1897972 w 1922659"/>
              <a:gd name="connsiteY1" fmla="*/ 22876 h 1888413"/>
              <a:gd name="connsiteX2" fmla="*/ 1922659 w 1922659"/>
              <a:gd name="connsiteY2" fmla="*/ 1888413 h 1888413"/>
              <a:gd name="connsiteX3" fmla="*/ 27852 w 1922659"/>
              <a:gd name="connsiteY3" fmla="*/ 1868265 h 1888413"/>
              <a:gd name="connsiteX4" fmla="*/ 0 w 1922659"/>
              <a:gd name="connsiteY4" fmla="*/ 0 h 1888413"/>
              <a:gd name="connsiteX0" fmla="*/ 0 w 1898295"/>
              <a:gd name="connsiteY0" fmla="*/ 0 h 1868265"/>
              <a:gd name="connsiteX1" fmla="*/ 1897972 w 1898295"/>
              <a:gd name="connsiteY1" fmla="*/ 22876 h 1868265"/>
              <a:gd name="connsiteX2" fmla="*/ 1863080 w 1898295"/>
              <a:gd name="connsiteY2" fmla="*/ 1866329 h 1868265"/>
              <a:gd name="connsiteX3" fmla="*/ 27852 w 1898295"/>
              <a:gd name="connsiteY3" fmla="*/ 1868265 h 1868265"/>
              <a:gd name="connsiteX4" fmla="*/ 0 w 1898295"/>
              <a:gd name="connsiteY4" fmla="*/ 0 h 1868265"/>
              <a:gd name="connsiteX0" fmla="*/ 0 w 1920905"/>
              <a:gd name="connsiteY0" fmla="*/ 0 h 1883385"/>
              <a:gd name="connsiteX1" fmla="*/ 1897972 w 1920905"/>
              <a:gd name="connsiteY1" fmla="*/ 22876 h 1883385"/>
              <a:gd name="connsiteX2" fmla="*/ 1920905 w 1920905"/>
              <a:gd name="connsiteY2" fmla="*/ 1883385 h 1883385"/>
              <a:gd name="connsiteX3" fmla="*/ 27852 w 1920905"/>
              <a:gd name="connsiteY3" fmla="*/ 1868265 h 1883385"/>
              <a:gd name="connsiteX4" fmla="*/ 0 w 1920905"/>
              <a:gd name="connsiteY4" fmla="*/ 0 h 1883385"/>
              <a:gd name="connsiteX0" fmla="*/ 0 w 1936844"/>
              <a:gd name="connsiteY0" fmla="*/ 0 h 1868751"/>
              <a:gd name="connsiteX1" fmla="*/ 1897972 w 1936844"/>
              <a:gd name="connsiteY1" fmla="*/ 22876 h 1868751"/>
              <a:gd name="connsiteX2" fmla="*/ 1936844 w 1936844"/>
              <a:gd name="connsiteY2" fmla="*/ 1868751 h 1868751"/>
              <a:gd name="connsiteX3" fmla="*/ 27852 w 1936844"/>
              <a:gd name="connsiteY3" fmla="*/ 1868265 h 1868751"/>
              <a:gd name="connsiteX4" fmla="*/ 0 w 1936844"/>
              <a:gd name="connsiteY4" fmla="*/ 0 h 1868751"/>
              <a:gd name="connsiteX0" fmla="*/ 0 w 1942083"/>
              <a:gd name="connsiteY0" fmla="*/ 0 h 1886632"/>
              <a:gd name="connsiteX1" fmla="*/ 1897972 w 1942083"/>
              <a:gd name="connsiteY1" fmla="*/ 22876 h 1886632"/>
              <a:gd name="connsiteX2" fmla="*/ 1942083 w 1942083"/>
              <a:gd name="connsiteY2" fmla="*/ 1886632 h 1886632"/>
              <a:gd name="connsiteX3" fmla="*/ 27852 w 1942083"/>
              <a:gd name="connsiteY3" fmla="*/ 1868265 h 1886632"/>
              <a:gd name="connsiteX4" fmla="*/ 0 w 1942083"/>
              <a:gd name="connsiteY4" fmla="*/ 0 h 1886632"/>
              <a:gd name="connsiteX0" fmla="*/ 3114 w 1945197"/>
              <a:gd name="connsiteY0" fmla="*/ 0 h 1889133"/>
              <a:gd name="connsiteX1" fmla="*/ 1901086 w 1945197"/>
              <a:gd name="connsiteY1" fmla="*/ 22876 h 1889133"/>
              <a:gd name="connsiteX2" fmla="*/ 1945197 w 1945197"/>
              <a:gd name="connsiteY2" fmla="*/ 1886632 h 1889133"/>
              <a:gd name="connsiteX3" fmla="*/ 0 w 1945197"/>
              <a:gd name="connsiteY3" fmla="*/ 1889133 h 1889133"/>
              <a:gd name="connsiteX4" fmla="*/ 3114 w 1945197"/>
              <a:gd name="connsiteY4" fmla="*/ 0 h 1889133"/>
              <a:gd name="connsiteX0" fmla="*/ 0 w 1962350"/>
              <a:gd name="connsiteY0" fmla="*/ 0 h 1900780"/>
              <a:gd name="connsiteX1" fmla="*/ 1918239 w 1962350"/>
              <a:gd name="connsiteY1" fmla="*/ 34523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9417 w 1962350"/>
              <a:gd name="connsiteY1" fmla="*/ 37771 h 1900780"/>
              <a:gd name="connsiteX2" fmla="*/ 1962350 w 1962350"/>
              <a:gd name="connsiteY2" fmla="*/ 1898279 h 1900780"/>
              <a:gd name="connsiteX3" fmla="*/ 17153 w 1962350"/>
              <a:gd name="connsiteY3" fmla="*/ 1900780 h 1900780"/>
              <a:gd name="connsiteX4" fmla="*/ 0 w 1962350"/>
              <a:gd name="connsiteY4" fmla="*/ 0 h 1900780"/>
              <a:gd name="connsiteX0" fmla="*/ 0 w 1962350"/>
              <a:gd name="connsiteY0" fmla="*/ 0 h 1900780"/>
              <a:gd name="connsiteX1" fmla="*/ 1935574 w 1962350"/>
              <a:gd name="connsiteY1" fmla="*/ 31844 h 1900780"/>
              <a:gd name="connsiteX2" fmla="*/ 1962350 w 1962350"/>
              <a:gd name="connsiteY2" fmla="*/ 1898279 h 1900780"/>
              <a:gd name="connsiteX3" fmla="*/ 17153 w 1962350"/>
              <a:gd name="connsiteY3" fmla="*/ 1900780 h 1900780"/>
              <a:gd name="connsiteX4" fmla="*/ 0 w 1962350"/>
              <a:gd name="connsiteY4" fmla="*/ 0 h 1900780"/>
              <a:gd name="connsiteX0" fmla="*/ 0 w 1946839"/>
              <a:gd name="connsiteY0" fmla="*/ 0 h 1917248"/>
              <a:gd name="connsiteX1" fmla="*/ 1935574 w 1946839"/>
              <a:gd name="connsiteY1" fmla="*/ 31844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9634 w 1946839"/>
              <a:gd name="connsiteY1" fmla="*/ 56482 h 1917248"/>
              <a:gd name="connsiteX2" fmla="*/ 1946839 w 1946839"/>
              <a:gd name="connsiteY2" fmla="*/ 1917248 h 1917248"/>
              <a:gd name="connsiteX3" fmla="*/ 17153 w 1946839"/>
              <a:gd name="connsiteY3" fmla="*/ 1900780 h 1917248"/>
              <a:gd name="connsiteX4" fmla="*/ 0 w 1946839"/>
              <a:gd name="connsiteY4" fmla="*/ 0 h 1917248"/>
              <a:gd name="connsiteX0" fmla="*/ 0 w 1946839"/>
              <a:gd name="connsiteY0" fmla="*/ 0 h 1917248"/>
              <a:gd name="connsiteX1" fmla="*/ 1936359 w 1946839"/>
              <a:gd name="connsiteY1" fmla="*/ 45307 h 1917248"/>
              <a:gd name="connsiteX2" fmla="*/ 1946839 w 1946839"/>
              <a:gd name="connsiteY2" fmla="*/ 1917248 h 1917248"/>
              <a:gd name="connsiteX3" fmla="*/ 17153 w 1946839"/>
              <a:gd name="connsiteY3" fmla="*/ 1900780 h 1917248"/>
              <a:gd name="connsiteX4" fmla="*/ 0 w 1946839"/>
              <a:gd name="connsiteY4" fmla="*/ 0 h 1917248"/>
              <a:gd name="connsiteX0" fmla="*/ 12026 w 1929686"/>
              <a:gd name="connsiteY0" fmla="*/ 0 h 1896763"/>
              <a:gd name="connsiteX1" fmla="*/ 1919206 w 1929686"/>
              <a:gd name="connsiteY1" fmla="*/ 24822 h 1896763"/>
              <a:gd name="connsiteX2" fmla="*/ 1929686 w 1929686"/>
              <a:gd name="connsiteY2" fmla="*/ 1896763 h 1896763"/>
              <a:gd name="connsiteX3" fmla="*/ 0 w 1929686"/>
              <a:gd name="connsiteY3" fmla="*/ 1880295 h 1896763"/>
              <a:gd name="connsiteX4" fmla="*/ 12026 w 1929686"/>
              <a:gd name="connsiteY4" fmla="*/ 0 h 1896763"/>
              <a:gd name="connsiteX0" fmla="*/ 599 w 1939820"/>
              <a:gd name="connsiteY0" fmla="*/ -1 h 1884057"/>
              <a:gd name="connsiteX1" fmla="*/ 1929340 w 1939820"/>
              <a:gd name="connsiteY1" fmla="*/ 12116 h 1884057"/>
              <a:gd name="connsiteX2" fmla="*/ 1939820 w 1939820"/>
              <a:gd name="connsiteY2" fmla="*/ 1884057 h 1884057"/>
              <a:gd name="connsiteX3" fmla="*/ 10134 w 1939820"/>
              <a:gd name="connsiteY3" fmla="*/ 1867589 h 1884057"/>
              <a:gd name="connsiteX4" fmla="*/ 599 w 1939820"/>
              <a:gd name="connsiteY4" fmla="*/ -1 h 1884057"/>
              <a:gd name="connsiteX0" fmla="*/ 609 w 1939546"/>
              <a:gd name="connsiteY0" fmla="*/ 0 h 1886685"/>
              <a:gd name="connsiteX1" fmla="*/ 1929066 w 1939546"/>
              <a:gd name="connsiteY1" fmla="*/ 14744 h 1886685"/>
              <a:gd name="connsiteX2" fmla="*/ 1939546 w 1939546"/>
              <a:gd name="connsiteY2" fmla="*/ 1886685 h 1886685"/>
              <a:gd name="connsiteX3" fmla="*/ 9860 w 1939546"/>
              <a:gd name="connsiteY3" fmla="*/ 1870217 h 1886685"/>
              <a:gd name="connsiteX4" fmla="*/ 609 w 1939546"/>
              <a:gd name="connsiteY4" fmla="*/ 0 h 1886685"/>
              <a:gd name="connsiteX0" fmla="*/ 609 w 1946165"/>
              <a:gd name="connsiteY0" fmla="*/ 0 h 1887700"/>
              <a:gd name="connsiteX1" fmla="*/ 1929066 w 1946165"/>
              <a:gd name="connsiteY1" fmla="*/ 1474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929065 w 1946165"/>
              <a:gd name="connsiteY1" fmla="*/ 14743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640013 w 1946165"/>
              <a:gd name="connsiteY1" fmla="*/ 2258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946165"/>
              <a:gd name="connsiteY0" fmla="*/ 0 h 1887700"/>
              <a:gd name="connsiteX1" fmla="*/ 1843251 w 1946165"/>
              <a:gd name="connsiteY1" fmla="*/ 93534 h 1887700"/>
              <a:gd name="connsiteX2" fmla="*/ 1946165 w 1946165"/>
              <a:gd name="connsiteY2" fmla="*/ 1887700 h 1887700"/>
              <a:gd name="connsiteX3" fmla="*/ 9860 w 1946165"/>
              <a:gd name="connsiteY3" fmla="*/ 1870217 h 1887700"/>
              <a:gd name="connsiteX4" fmla="*/ 609 w 1946165"/>
              <a:gd name="connsiteY4" fmla="*/ 0 h 1887700"/>
              <a:gd name="connsiteX0" fmla="*/ 609 w 1843387"/>
              <a:gd name="connsiteY0" fmla="*/ 0 h 1870217"/>
              <a:gd name="connsiteX1" fmla="*/ 1843251 w 1843387"/>
              <a:gd name="connsiteY1" fmla="*/ 93534 h 1870217"/>
              <a:gd name="connsiteX2" fmla="*/ 1744803 w 1843387"/>
              <a:gd name="connsiteY2" fmla="*/ 1764870 h 1870217"/>
              <a:gd name="connsiteX3" fmla="*/ 9860 w 1843387"/>
              <a:gd name="connsiteY3" fmla="*/ 1870217 h 1870217"/>
              <a:gd name="connsiteX4" fmla="*/ 609 w 1843387"/>
              <a:gd name="connsiteY4" fmla="*/ 0 h 1870217"/>
              <a:gd name="connsiteX0" fmla="*/ 609 w 1844479"/>
              <a:gd name="connsiteY0" fmla="*/ 0 h 1892256"/>
              <a:gd name="connsiteX1" fmla="*/ 1843251 w 1844479"/>
              <a:gd name="connsiteY1" fmla="*/ 93534 h 1892256"/>
              <a:gd name="connsiteX2" fmla="*/ 1842631 w 1844479"/>
              <a:gd name="connsiteY2" fmla="*/ 1892256 h 1892256"/>
              <a:gd name="connsiteX3" fmla="*/ 9860 w 1844479"/>
              <a:gd name="connsiteY3" fmla="*/ 1870217 h 1892256"/>
              <a:gd name="connsiteX4" fmla="*/ 609 w 1844479"/>
              <a:gd name="connsiteY4" fmla="*/ 0 h 1892256"/>
              <a:gd name="connsiteX0" fmla="*/ 88315 w 1834619"/>
              <a:gd name="connsiteY0" fmla="*/ 115687 h 1798863"/>
              <a:gd name="connsiteX1" fmla="*/ 1833391 w 1834619"/>
              <a:gd name="connsiteY1" fmla="*/ 141 h 1798863"/>
              <a:gd name="connsiteX2" fmla="*/ 1832771 w 1834619"/>
              <a:gd name="connsiteY2" fmla="*/ 1798863 h 1798863"/>
              <a:gd name="connsiteX3" fmla="*/ 0 w 1834619"/>
              <a:gd name="connsiteY3" fmla="*/ 1776824 h 1798863"/>
              <a:gd name="connsiteX4" fmla="*/ 88315 w 1834619"/>
              <a:gd name="connsiteY4" fmla="*/ 115687 h 1798863"/>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2 h 1810561"/>
              <a:gd name="connsiteX4" fmla="*/ 600 w 1844731"/>
              <a:gd name="connsiteY4" fmla="*/ 0 h 1810561"/>
              <a:gd name="connsiteX0" fmla="*/ 600 w 1844731"/>
              <a:gd name="connsiteY0" fmla="*/ 0 h 1810561"/>
              <a:gd name="connsiteX1" fmla="*/ 1843503 w 1844731"/>
              <a:gd name="connsiteY1" fmla="*/ 11839 h 1810561"/>
              <a:gd name="connsiteX2" fmla="*/ 1842883 w 1844731"/>
              <a:gd name="connsiteY2" fmla="*/ 1810561 h 1810561"/>
              <a:gd name="connsiteX3" fmla="*/ 10112 w 1844731"/>
              <a:gd name="connsiteY3" fmla="*/ 1788523 h 1810561"/>
              <a:gd name="connsiteX4" fmla="*/ 600 w 1844731"/>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 name="connsiteX0" fmla="*/ 557 w 1844688"/>
              <a:gd name="connsiteY0" fmla="*/ 0 h 1810561"/>
              <a:gd name="connsiteX1" fmla="*/ 1843460 w 1844688"/>
              <a:gd name="connsiteY1" fmla="*/ 11839 h 1810561"/>
              <a:gd name="connsiteX2" fmla="*/ 1842840 w 1844688"/>
              <a:gd name="connsiteY2" fmla="*/ 1810561 h 1810561"/>
              <a:gd name="connsiteX3" fmla="*/ 10069 w 1844688"/>
              <a:gd name="connsiteY3" fmla="*/ 1788523 h 1810561"/>
              <a:gd name="connsiteX4" fmla="*/ 557 w 1844688"/>
              <a:gd name="connsiteY4" fmla="*/ 0 h 181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688" h="1810561">
                <a:moveTo>
                  <a:pt x="557" y="0"/>
                </a:moveTo>
                <a:lnTo>
                  <a:pt x="1843460" y="11839"/>
                </a:lnTo>
                <a:cubicBezTo>
                  <a:pt x="1847950" y="627921"/>
                  <a:pt x="1838350" y="1194479"/>
                  <a:pt x="1842840" y="1810561"/>
                </a:cubicBezTo>
                <a:lnTo>
                  <a:pt x="10069" y="1788523"/>
                </a:lnTo>
                <a:cubicBezTo>
                  <a:pt x="15692" y="988322"/>
                  <a:pt x="-3452" y="626765"/>
                  <a:pt x="557" y="0"/>
                </a:cubicBezTo>
                <a:close/>
              </a:path>
            </a:pathLst>
          </a:custGeom>
          <a:solidFill>
            <a:schemeClr val="bg1">
              <a:lumMod val="85000"/>
            </a:schemeClr>
          </a:solidFill>
          <a:ln w="38100">
            <a:solidFill>
              <a:schemeClr val="bg1"/>
            </a:solidFill>
            <a:miter lim="800000"/>
          </a:ln>
        </p:spPr>
        <p:txBody>
          <a:bodyPr wrap="square" anchor="ctr">
            <a:noAutofit/>
          </a:bodyPr>
          <a:lstStyle>
            <a:lvl1pPr algn="ctr">
              <a:defRPr/>
            </a:lvl1pPr>
          </a:lstStyle>
          <a:p>
            <a:endParaRPr lang="en-US"/>
          </a:p>
        </p:txBody>
      </p:sp>
      <p:sp>
        <p:nvSpPr>
          <p:cNvPr id="3" name="Text Placeholder 10">
            <a:extLst>
              <a:ext uri="{FF2B5EF4-FFF2-40B4-BE49-F238E27FC236}">
                <a16:creationId xmlns:a16="http://schemas.microsoft.com/office/drawing/2014/main" id="{21212912-9030-AB51-2D73-D1CC5891B0B4}"/>
              </a:ext>
            </a:extLst>
          </p:cNvPr>
          <p:cNvSpPr>
            <a:spLocks noGrp="1"/>
          </p:cNvSpPr>
          <p:nvPr>
            <p:ph type="body" sz="quarter" idx="24" hasCustomPrompt="1"/>
          </p:nvPr>
        </p:nvSpPr>
        <p:spPr>
          <a:xfrm>
            <a:off x="5580063" y="4176000"/>
            <a:ext cx="6259512" cy="504000"/>
          </a:xfrm>
          <a:prstGeom prst="rect">
            <a:avLst/>
          </a:prstGeom>
        </p:spPr>
        <p:txBody>
          <a:bodyPr anchor="ctr" anchorCtr="0"/>
          <a:lstStyle>
            <a:lvl1pPr>
              <a:defRPr sz="2000">
                <a:solidFill>
                  <a:schemeClr val="bg1"/>
                </a:solidFill>
              </a:defRPr>
            </a:lvl1pPr>
          </a:lstStyle>
          <a:p>
            <a:pPr lvl="0"/>
            <a:r>
              <a:rPr lang="en-US"/>
              <a:t>Click to add text</a:t>
            </a:r>
            <a:endParaRPr lang="en-GB"/>
          </a:p>
        </p:txBody>
      </p:sp>
    </p:spTree>
    <p:extLst>
      <p:ext uri="{BB962C8B-B14F-4D97-AF65-F5344CB8AC3E}">
        <p14:creationId xmlns:p14="http://schemas.microsoft.com/office/powerpoint/2010/main" val="31752447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0680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heme" Target="../theme/theme1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image" Target="../media/image15.jpe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image" Target="../media/image13.png"/><Relationship Id="rId2" Type="http://schemas.openxmlformats.org/officeDocument/2006/relationships/slideLayout" Target="../slideLayouts/slideLayout81.xml"/><Relationship Id="rId16" Type="http://schemas.openxmlformats.org/officeDocument/2006/relationships/theme" Target="../theme/theme1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97.xml"/><Relationship Id="rId7" Type="http://schemas.openxmlformats.org/officeDocument/2006/relationships/image" Target="../media/image10.jpe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theme" Target="../theme/theme12.xml"/><Relationship Id="rId5" Type="http://schemas.openxmlformats.org/officeDocument/2006/relationships/slideLayout" Target="../slideLayouts/slideLayout99.xml"/><Relationship Id="rId4" Type="http://schemas.openxmlformats.org/officeDocument/2006/relationships/slideLayout" Target="../slideLayouts/slideLayout98.xml"/><Relationship Id="rId9" Type="http://schemas.openxmlformats.org/officeDocument/2006/relationships/image" Target="../media/image11.png"/></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5" Type="http://schemas.openxmlformats.org/officeDocument/2006/relationships/slideLayout" Target="../slideLayouts/slideLayout104.xml"/><Relationship Id="rId4" Type="http://schemas.openxmlformats.org/officeDocument/2006/relationships/slideLayout" Target="../slideLayouts/slideLayout1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image" Target="../media/image27.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4" Type="http://schemas.openxmlformats.org/officeDocument/2006/relationships/slideLayout" Target="../slideLayouts/slideLayout122.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6" Type="http://schemas.openxmlformats.org/officeDocument/2006/relationships/theme" Target="../theme/theme1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ags" Target="../tags/tag2.xml"/><Relationship Id="rId4" Type="http://schemas.openxmlformats.org/officeDocument/2006/relationships/slideLayout" Target="../slideLayouts/slideLayout145.xml"/><Relationship Id="rId9" Type="http://schemas.openxmlformats.org/officeDocument/2006/relationships/tags" Target="../tags/tag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10" Type="http://schemas.openxmlformats.org/officeDocument/2006/relationships/tags" Target="../tags/tag45.xml"/><Relationship Id="rId4" Type="http://schemas.openxmlformats.org/officeDocument/2006/relationships/slideLayout" Target="../slideLayouts/slideLayout152.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slideLayout" Target="../slideLayouts/slideLayout159.xml"/><Relationship Id="rId7" Type="http://schemas.openxmlformats.org/officeDocument/2006/relationships/theme" Target="../theme/theme19.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5" Type="http://schemas.openxmlformats.org/officeDocument/2006/relationships/slideLayout" Target="../slideLayouts/slideLayout161.xml"/><Relationship Id="rId4" Type="http://schemas.openxmlformats.org/officeDocument/2006/relationships/slideLayout" Target="../slideLayouts/slideLayout1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2.emf"/><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20.xml.rels><?xml version="1.0" encoding="UTF-8" standalone="yes"?>
<Relationships xmlns="http://schemas.openxmlformats.org/package/2006/relationships"><Relationship Id="rId3" Type="http://schemas.openxmlformats.org/officeDocument/2006/relationships/theme" Target="../theme/theme20.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4" Type="http://schemas.openxmlformats.org/officeDocument/2006/relationships/tags" Target="../tags/tag56.xml"/></Relationships>
</file>

<file path=ppt/slideMasters/_rels/slideMaster3.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Layout" Target="../slideLayouts/slideLayout10.xml"/><Relationship Id="rId7"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6.xml"/><Relationship Id="rId7" Type="http://schemas.openxmlformats.org/officeDocument/2006/relationships/theme" Target="../theme/theme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4.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0.jpeg"/><Relationship Id="rId5" Type="http://schemas.openxmlformats.org/officeDocument/2006/relationships/theme" Target="../theme/theme6.xml"/><Relationship Id="rId4" Type="http://schemas.openxmlformats.org/officeDocument/2006/relationships/slideLayout" Target="../slideLayouts/slideLayout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7.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15.jpe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8.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1.xml"/><Relationship Id="rId7" Type="http://schemas.openxmlformats.org/officeDocument/2006/relationships/image" Target="../media/image17.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image" Target="../media/image10.jpeg"/><Relationship Id="rId5" Type="http://schemas.openxmlformats.org/officeDocument/2006/relationships/theme" Target="../theme/theme9.xml"/><Relationship Id="rId4" Type="http://schemas.openxmlformats.org/officeDocument/2006/relationships/slideLayout" Target="../slideLayouts/slideLayout62.xml"/><Relationship Id="rId9"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D534FE-DD2B-49D4-949A-66B6843C3A1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4" name="Title Placeholder 3">
            <a:extLst>
              <a:ext uri="{FF2B5EF4-FFF2-40B4-BE49-F238E27FC236}">
                <a16:creationId xmlns:a16="http://schemas.microsoft.com/office/drawing/2014/main" id="{2711723D-973D-4F2E-81A5-C08507C46D4D}"/>
              </a:ext>
            </a:extLst>
          </p:cNvPr>
          <p:cNvSpPr>
            <a:spLocks noGrp="1"/>
          </p:cNvSpPr>
          <p:nvPr>
            <p:ph type="title"/>
          </p:nvPr>
        </p:nvSpPr>
        <p:spPr>
          <a:xfrm>
            <a:off x="594000" y="2412000"/>
            <a:ext cx="6840000" cy="1440000"/>
          </a:xfrm>
          <a:prstGeom prst="rect">
            <a:avLst/>
          </a:prstGeom>
        </p:spPr>
        <p:txBody>
          <a:bodyPr vert="horz" lIns="0" tIns="0" rIns="0" bIns="0" rtlCol="0" anchor="b">
            <a:normAutofit/>
          </a:bodyPr>
          <a:lstStyle/>
          <a:p>
            <a:r>
              <a:rPr lang="en-US" dirty="0"/>
              <a:t>Click to edit Master title style</a:t>
            </a:r>
            <a:endParaRPr lang="de-DE" dirty="0"/>
          </a:p>
        </p:txBody>
      </p:sp>
      <p:sp>
        <p:nvSpPr>
          <p:cNvPr id="29" name="Footer Placeholder 28">
            <a:extLst>
              <a:ext uri="{FF2B5EF4-FFF2-40B4-BE49-F238E27FC236}">
                <a16:creationId xmlns:a16="http://schemas.microsoft.com/office/drawing/2014/main" id="{F623724E-FF89-43C5-8DA8-6FCEB5AE2621}"/>
              </a:ext>
            </a:extLst>
          </p:cNvPr>
          <p:cNvSpPr>
            <a:spLocks noGrp="1"/>
          </p:cNvSpPr>
          <p:nvPr>
            <p:ph type="ftr" sz="quarter" idx="3"/>
          </p:nvPr>
        </p:nvSpPr>
        <p:spPr>
          <a:xfrm>
            <a:off x="593999" y="6264000"/>
            <a:ext cx="3960000" cy="594000"/>
          </a:xfrm>
          <a:prstGeom prst="rect">
            <a:avLst/>
          </a:prstGeom>
        </p:spPr>
        <p:txBody>
          <a:bodyPr vert="horz" lIns="0" tIns="0" rIns="0" bIns="0" rtlCol="0" anchor="ctr"/>
          <a:lstStyle>
            <a:lvl1pPr algn="l">
              <a:defRPr sz="1000" b="0">
                <a:solidFill>
                  <a:schemeClr val="bg1"/>
                </a:solidFill>
              </a:defRPr>
            </a:lvl1pPr>
          </a:lstStyle>
          <a:p>
            <a:r>
              <a:rPr lang="en-GB" dirty="0"/>
              <a:t>CMS example slides | February 2024</a:t>
            </a:r>
            <a:endParaRPr lang="de-DE" dirty="0"/>
          </a:p>
        </p:txBody>
      </p:sp>
      <p:sp>
        <p:nvSpPr>
          <p:cNvPr id="37" name="Text Placeholder 36">
            <a:extLst>
              <a:ext uri="{FF2B5EF4-FFF2-40B4-BE49-F238E27FC236}">
                <a16:creationId xmlns:a16="http://schemas.microsoft.com/office/drawing/2014/main" id="{648E95C7-DAA2-4EB1-AEB9-3012840FD1D6}"/>
              </a:ext>
            </a:extLst>
          </p:cNvPr>
          <p:cNvSpPr>
            <a:spLocks noGrp="1"/>
          </p:cNvSpPr>
          <p:nvPr>
            <p:ph type="body" idx="1"/>
          </p:nvPr>
        </p:nvSpPr>
        <p:spPr>
          <a:xfrm>
            <a:off x="594000" y="4212000"/>
            <a:ext cx="6840000" cy="900000"/>
          </a:xfrm>
          <a:prstGeom prst="rect">
            <a:avLst/>
          </a:prstGeom>
        </p:spPr>
        <p:txBody>
          <a:bodyPr vert="horz" lIns="0" tIns="0" rIns="0" bIns="0" rtlCol="0">
            <a:normAutofit/>
          </a:bodyPr>
          <a:lstStyle/>
          <a:p>
            <a:pPr lvl="0"/>
            <a:r>
              <a:rPr lang="en-US" dirty="0"/>
              <a:t>Click to edit Master text styles</a:t>
            </a:r>
          </a:p>
        </p:txBody>
      </p:sp>
      <p:sp>
        <p:nvSpPr>
          <p:cNvPr id="16" name="Date Placeholder 2">
            <a:extLst>
              <a:ext uri="{FF2B5EF4-FFF2-40B4-BE49-F238E27FC236}">
                <a16:creationId xmlns:a16="http://schemas.microsoft.com/office/drawing/2014/main" id="{80FB751C-B523-4414-AB4A-72348A658D96}"/>
              </a:ext>
            </a:extLst>
          </p:cNvPr>
          <p:cNvSpPr>
            <a:spLocks noGrp="1"/>
          </p:cNvSpPr>
          <p:nvPr>
            <p:ph type="dt" sz="half" idx="2"/>
          </p:nvPr>
        </p:nvSpPr>
        <p:spPr>
          <a:xfrm>
            <a:off x="8363795" y="6262688"/>
            <a:ext cx="3240000" cy="594000"/>
          </a:xfrm>
          <a:prstGeom prst="rect">
            <a:avLst/>
          </a:prstGeom>
        </p:spPr>
        <p:txBody>
          <a:bodyPr vert="horz" lIns="0" tIns="0" rIns="0" bIns="0" rtlCol="0" anchor="ctr"/>
          <a:lstStyle>
            <a:lvl1pPr algn="r">
              <a:defRPr sz="1000" b="0">
                <a:solidFill>
                  <a:schemeClr val="bg1"/>
                </a:solidFill>
              </a:defRPr>
            </a:lvl1pPr>
          </a:lstStyle>
          <a:p>
            <a:r>
              <a:rPr lang="de-DE" dirty="0"/>
              <a:t>CMS</a:t>
            </a:r>
            <a:endParaRPr lang="en-GB" dirty="0"/>
          </a:p>
        </p:txBody>
      </p:sp>
      <p:pic>
        <p:nvPicPr>
          <p:cNvPr id="17" name="Picture 17">
            <a:extLst>
              <a:ext uri="{FF2B5EF4-FFF2-40B4-BE49-F238E27FC236}">
                <a16:creationId xmlns:a16="http://schemas.microsoft.com/office/drawing/2014/main" id="{44D5BEF7-BA9B-2C43-B5D7-5B246CECF69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0077490" y="584787"/>
            <a:ext cx="1526339" cy="774910"/>
          </a:xfrm>
          <a:prstGeom prst="rect">
            <a:avLst/>
          </a:prstGeom>
        </p:spPr>
      </p:pic>
      <p:sp>
        <p:nvSpPr>
          <p:cNvPr id="6" name="TextBox 5">
            <a:extLst>
              <a:ext uri="{FF2B5EF4-FFF2-40B4-BE49-F238E27FC236}">
                <a16:creationId xmlns:a16="http://schemas.microsoft.com/office/drawing/2014/main" id="{9CFDA56E-2039-4C17-BEF8-3B167803428B}"/>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7" name="TextBox 6">
            <a:extLst>
              <a:ext uri="{FF2B5EF4-FFF2-40B4-BE49-F238E27FC236}">
                <a16:creationId xmlns:a16="http://schemas.microsoft.com/office/drawing/2014/main" id="{F86B88D0-48AB-420C-6ABB-77DB5DE246FD}"/>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5904372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hf hdr="0"/>
  <p:txStyles>
    <p:titleStyle>
      <a:lvl1pPr algn="l" defTabSz="914400" rtl="0" eaLnBrk="1" latinLnBrk="0" hangingPunct="1">
        <a:lnSpc>
          <a:spcPct val="90000"/>
        </a:lnSpc>
        <a:spcBef>
          <a:spcPct val="0"/>
        </a:spcBef>
        <a:buNone/>
        <a:defRPr sz="3000" b="1"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Symbol" panose="05050102010706020507" pitchFamily="18" charset="2"/>
        <a:buNone/>
        <a:defRPr sz="2000" kern="1200">
          <a:solidFill>
            <a:schemeClr val="bg1"/>
          </a:solidFill>
          <a:latin typeface="+mn-lt"/>
          <a:ea typeface="+mn-ea"/>
          <a:cs typeface="+mn-cs"/>
        </a:defRPr>
      </a:lvl1pPr>
      <a:lvl2pPr marL="628650" indent="-2667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r"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310">
          <p15:clr>
            <a:srgbClr val="F26B43"/>
          </p15:clr>
        </p15:guide>
        <p15:guide id="3" pos="370">
          <p15:clr>
            <a:srgbClr val="F26B43"/>
          </p15:clr>
        </p15:guide>
        <p15:guide id="4" orient="horz" pos="368">
          <p15:clr>
            <a:srgbClr val="F26B43"/>
          </p15:clr>
        </p15:guide>
        <p15:guide id="5" orient="horz" pos="3952">
          <p15:clr>
            <a:srgbClr val="F26B43"/>
          </p15:clr>
        </p15:guide>
        <p15:guide id="6" pos="3840">
          <p15:clr>
            <a:srgbClr val="F26B43"/>
          </p15:clr>
        </p15:guide>
        <p15:guide id="7" orient="horz" pos="1139">
          <p15:clr>
            <a:srgbClr val="F26B43"/>
          </p15:clr>
        </p15:guide>
        <p15:guide id="8" orient="horz" pos="1344">
          <p15:clr>
            <a:srgbClr val="F26B43"/>
          </p15:clr>
        </p15:guide>
        <p15:guide id="9" orient="horz" pos="145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close up of a logo&#10;&#10;Description automatically generated">
            <a:extLst>
              <a:ext uri="{FF2B5EF4-FFF2-40B4-BE49-F238E27FC236}">
                <a16:creationId xmlns:a16="http://schemas.microsoft.com/office/drawing/2014/main" id="{651BB12D-E6BB-23CF-D13A-18A54DB2788C}"/>
              </a:ext>
            </a:extLst>
          </p:cNvPr>
          <p:cNvPicPr>
            <a:picLocks noChangeAspect="1"/>
          </p:cNvPicPr>
          <p:nvPr userDrawn="1"/>
        </p:nvPicPr>
        <p:blipFill>
          <a:blip r:embed="rId19"/>
          <a:stretch>
            <a:fillRect/>
          </a:stretch>
        </p:blipFill>
        <p:spPr>
          <a:xfrm>
            <a:off x="9337236" y="508205"/>
            <a:ext cx="2268024" cy="597719"/>
          </a:xfrm>
          <a:prstGeom prst="rect">
            <a:avLst/>
          </a:prstGeom>
        </p:spPr>
      </p:pic>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9" y="540000"/>
            <a:ext cx="7500173" cy="597719"/>
          </a:xfrm>
          <a:prstGeom prst="rect">
            <a:avLst/>
          </a:prstGeom>
          <a:noFill/>
        </p:spPr>
        <p:txBody>
          <a:bodyPr vert="horz" lIns="91440" tIns="45720" rIns="91440" bIns="45720" rtlCol="0" anchor="ctr">
            <a:noAutofit/>
          </a:bodyPr>
          <a:lstStyle/>
          <a:p>
            <a:r>
              <a:rPr lang="en-US"/>
              <a:t>CLICK TO EDIT MASTER TITLE</a:t>
            </a:r>
            <a:endParaRPr lang="en-GB"/>
          </a:p>
        </p:txBody>
      </p:sp>
      <p:sp>
        <p:nvSpPr>
          <p:cNvPr id="5" name="TextBox 4">
            <a:extLst>
              <a:ext uri="{FF2B5EF4-FFF2-40B4-BE49-F238E27FC236}">
                <a16:creationId xmlns:a16="http://schemas.microsoft.com/office/drawing/2014/main" id="{BE36A49B-3D22-8E30-0EB3-5C78AF385493}"/>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6" name="TextBox 5">
            <a:extLst>
              <a:ext uri="{FF2B5EF4-FFF2-40B4-BE49-F238E27FC236}">
                <a16:creationId xmlns:a16="http://schemas.microsoft.com/office/drawing/2014/main" id="{5CFC67AB-F059-24B9-226A-0E49552FA530}"/>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14860507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8" y="540000"/>
            <a:ext cx="8280000" cy="468000"/>
          </a:xfrm>
          <a:prstGeom prst="rect">
            <a:avLst/>
          </a:prstGeom>
          <a:noFill/>
        </p:spPr>
        <p:txBody>
          <a:bodyPr vert="horz" lIns="91440" tIns="45720" rIns="91440" bIns="45720" rtlCol="0" anchor="t" anchorCtr="0">
            <a:noAutofit/>
          </a:bodyPr>
          <a:lstStyle/>
          <a:p>
            <a:r>
              <a:rPr lang="en-US"/>
              <a:t>CLICK TO EDIT MASTER TITLE</a:t>
            </a:r>
            <a:endParaRPr lang="en-GB"/>
          </a:p>
        </p:txBody>
      </p:sp>
      <p:pic>
        <p:nvPicPr>
          <p:cNvPr id="3" name="Picture 2" descr="A picture containing text, font, graphics, screenshot&#10;&#10;Description automatically generated">
            <a:extLst>
              <a:ext uri="{FF2B5EF4-FFF2-40B4-BE49-F238E27FC236}">
                <a16:creationId xmlns:a16="http://schemas.microsoft.com/office/drawing/2014/main" id="{2AE03428-1EC5-C281-888B-AB3C492B171C}"/>
              </a:ext>
            </a:extLst>
          </p:cNvPr>
          <p:cNvPicPr>
            <a:picLocks noChangeAspect="1"/>
          </p:cNvPicPr>
          <p:nvPr userDrawn="1"/>
        </p:nvPicPr>
        <p:blipFill>
          <a:blip r:embed="rId17"/>
          <a:stretch>
            <a:fillRect/>
          </a:stretch>
        </p:blipFill>
        <p:spPr>
          <a:xfrm>
            <a:off x="9180000" y="360000"/>
            <a:ext cx="2590705" cy="900000"/>
          </a:xfrm>
          <a:prstGeom prst="rect">
            <a:avLst/>
          </a:prstGeom>
        </p:spPr>
      </p:pic>
      <p:sp>
        <p:nvSpPr>
          <p:cNvPr id="5" name="TextBox 4">
            <a:extLst>
              <a:ext uri="{FF2B5EF4-FFF2-40B4-BE49-F238E27FC236}">
                <a16:creationId xmlns:a16="http://schemas.microsoft.com/office/drawing/2014/main" id="{B256E8C8-C555-B19E-A721-9C6F14AFF47B}"/>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6" name="TextBox 5">
            <a:extLst>
              <a:ext uri="{FF2B5EF4-FFF2-40B4-BE49-F238E27FC236}">
                <a16:creationId xmlns:a16="http://schemas.microsoft.com/office/drawing/2014/main" id="{DB6BA5CA-01FF-B460-25F8-C7538CBE3172}"/>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25895402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picture containing orange, amber, peach, red&#10;&#10;Description automatically generated">
            <a:extLst>
              <a:ext uri="{FF2B5EF4-FFF2-40B4-BE49-F238E27FC236}">
                <a16:creationId xmlns:a16="http://schemas.microsoft.com/office/drawing/2014/main" id="{AAEB5872-DD37-7132-932F-C7A3448DE6EE}"/>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pic>
        <p:nvPicPr>
          <p:cNvPr id="6" name="Picture 5">
            <a:extLst>
              <a:ext uri="{FF2B5EF4-FFF2-40B4-BE49-F238E27FC236}">
                <a16:creationId xmlns:a16="http://schemas.microsoft.com/office/drawing/2014/main" id="{7FA9CD7A-BD0F-74AF-F3E0-E11F76E5CB7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180000" y="360000"/>
            <a:ext cx="2590704" cy="900000"/>
          </a:xfrm>
          <a:prstGeom prst="rect">
            <a:avLst/>
          </a:prstGeom>
        </p:spPr>
      </p:pic>
      <p:pic>
        <p:nvPicPr>
          <p:cNvPr id="7" name="Picture 6" descr="A picture containing sketch, diagram, design, art&#10;&#10;Description automatically generated">
            <a:extLst>
              <a:ext uri="{FF2B5EF4-FFF2-40B4-BE49-F238E27FC236}">
                <a16:creationId xmlns:a16="http://schemas.microsoft.com/office/drawing/2014/main" id="{38ED57C7-985F-EFDD-2548-61496EF2118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1140000">
            <a:off x="-259490" y="891596"/>
            <a:ext cx="10496000" cy="5904000"/>
          </a:xfrm>
          <a:prstGeom prst="rect">
            <a:avLst/>
          </a:prstGeom>
        </p:spPr>
      </p:pic>
      <p:sp>
        <p:nvSpPr>
          <p:cNvPr id="5" name="Title Placeholder 1">
            <a:extLst>
              <a:ext uri="{FF2B5EF4-FFF2-40B4-BE49-F238E27FC236}">
                <a16:creationId xmlns:a16="http://schemas.microsoft.com/office/drawing/2014/main" id="{6C1DB867-CA0D-6C0D-79BF-AEC0E69CD0A1}"/>
              </a:ext>
            </a:extLst>
          </p:cNvPr>
          <p:cNvSpPr>
            <a:spLocks noGrp="1"/>
          </p:cNvSpPr>
          <p:nvPr>
            <p:ph type="title"/>
          </p:nvPr>
        </p:nvSpPr>
        <p:spPr>
          <a:xfrm>
            <a:off x="5580000" y="2160000"/>
            <a:ext cx="6259398" cy="1797847"/>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9" name="Text Placeholder 3">
            <a:extLst>
              <a:ext uri="{FF2B5EF4-FFF2-40B4-BE49-F238E27FC236}">
                <a16:creationId xmlns:a16="http://schemas.microsoft.com/office/drawing/2014/main" id="{2DE83171-D24B-8DCA-588D-536351CF97BB}"/>
              </a:ext>
            </a:extLst>
          </p:cNvPr>
          <p:cNvSpPr>
            <a:spLocks noGrp="1"/>
          </p:cNvSpPr>
          <p:nvPr>
            <p:ph type="body" idx="1"/>
          </p:nvPr>
        </p:nvSpPr>
        <p:spPr>
          <a:xfrm>
            <a:off x="5580000" y="4176000"/>
            <a:ext cx="6259398" cy="504948"/>
          </a:xfrm>
          <a:prstGeom prst="rect">
            <a:avLst/>
          </a:prstGeom>
        </p:spPr>
        <p:txBody>
          <a:bodyPr vert="horz" lIns="91440" tIns="45720" rIns="91440" bIns="45720" rtlCol="0" anchor="ctr">
            <a:normAutofit/>
          </a:bodyPr>
          <a:lstStyle/>
          <a:p>
            <a:pPr lvl="0"/>
            <a:endParaRPr lang="en-GB"/>
          </a:p>
        </p:txBody>
      </p:sp>
      <p:sp>
        <p:nvSpPr>
          <p:cNvPr id="8" name="TextBox 7">
            <a:extLst>
              <a:ext uri="{FF2B5EF4-FFF2-40B4-BE49-F238E27FC236}">
                <a16:creationId xmlns:a16="http://schemas.microsoft.com/office/drawing/2014/main" id="{6C1CBEBD-2791-9C14-110D-A9B47DF674FC}"/>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10" name="TextBox 9">
            <a:extLst>
              <a:ext uri="{FF2B5EF4-FFF2-40B4-BE49-F238E27FC236}">
                <a16:creationId xmlns:a16="http://schemas.microsoft.com/office/drawing/2014/main" id="{A254E238-48C6-A41D-85AC-7ABA0616FD34}"/>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97792811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Lst>
  <p:hf sldNum="0" hdr="0" ftr="0" dt="0"/>
  <p:txStyles>
    <p:titleStyle>
      <a:lvl1pPr algn="l" defTabSz="914400" rtl="0" eaLnBrk="1" latinLnBrk="0" hangingPunct="1">
        <a:spcBef>
          <a:spcPct val="0"/>
        </a:spcBef>
        <a:buNone/>
        <a:defRPr sz="45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ct val="20000"/>
        </a:spcBef>
        <a:buFont typeface="Arial" pitchFamily="34" charset="0"/>
        <a:buNone/>
        <a:defRPr sz="2000" kern="1200">
          <a:solidFill>
            <a:schemeClr val="bg1"/>
          </a:solidFill>
          <a:latin typeface="Verdana" panose="020B0604030504040204" pitchFamily="34" charset="0"/>
          <a:ea typeface="Verdana" panose="020B0604030504040204" pitchFamily="34" charset="0"/>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1201" y="349250"/>
            <a:ext cx="1076113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711201" y="1341438"/>
            <a:ext cx="10761135"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
        <p:nvSpPr>
          <p:cNvPr id="1030" name="Rectangle 6"/>
          <p:cNvSpPr>
            <a:spLocks noGrp="1" noChangeArrowheads="1"/>
          </p:cNvSpPr>
          <p:nvPr>
            <p:ph type="sldNum" sz="quarter" idx="4"/>
          </p:nvPr>
        </p:nvSpPr>
        <p:spPr bwMode="auto">
          <a:xfrm>
            <a:off x="10898717" y="6453188"/>
            <a:ext cx="57361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r">
              <a:defRPr sz="750"/>
            </a:lvl1pPr>
          </a:lstStyle>
          <a:p>
            <a:fld id="{6DDE0785-C207-4AB4-9F5B-0D767D51038B}" type="slidenum">
              <a:rPr lang="en-GB" altLang="en-US"/>
              <a:pPr/>
              <a:t>‹#›</a:t>
            </a:fld>
            <a:endParaRPr lang="en-GB" altLang="en-US"/>
          </a:p>
        </p:txBody>
      </p:sp>
      <p:sp>
        <p:nvSpPr>
          <p:cNvPr id="5" name="Footer Placeholder 1">
            <a:extLst>
              <a:ext uri="{FF2B5EF4-FFF2-40B4-BE49-F238E27FC236}">
                <a16:creationId xmlns:a16="http://schemas.microsoft.com/office/drawing/2014/main" id="{1BFD6FB7-507D-8D4C-97C5-CD9995377AFB}"/>
              </a:ext>
            </a:extLst>
          </p:cNvPr>
          <p:cNvSpPr>
            <a:spLocks noGrp="1"/>
          </p:cNvSpPr>
          <p:nvPr>
            <p:ph type="ftr" sz="quarter" idx="3"/>
          </p:nvPr>
        </p:nvSpPr>
        <p:spPr>
          <a:xfrm>
            <a:off x="6562800" y="291600"/>
            <a:ext cx="4215600" cy="136800"/>
          </a:xfrm>
          <a:prstGeom prst="rect">
            <a:avLst/>
          </a:prstGeom>
        </p:spPr>
        <p:txBody>
          <a:bodyPr vert="horz" lIns="0" tIns="0" rIns="0" bIns="0" rtlCol="0" anchor="ctr"/>
          <a:lstStyle>
            <a:lvl1pPr algn="r">
              <a:defRPr sz="750" b="1">
                <a:solidFill>
                  <a:srgbClr val="1E1348"/>
                </a:solidFill>
              </a:defRPr>
            </a:lvl1pPr>
          </a:lstStyle>
          <a:p>
            <a:endParaRPr lang="en-US"/>
          </a:p>
        </p:txBody>
      </p:sp>
      <p:sp>
        <p:nvSpPr>
          <p:cNvPr id="4" name="TextBox 3">
            <a:extLst>
              <a:ext uri="{FF2B5EF4-FFF2-40B4-BE49-F238E27FC236}">
                <a16:creationId xmlns:a16="http://schemas.microsoft.com/office/drawing/2014/main" id="{4B0DC5F0-1A3C-9626-318B-328996ED73D4}"/>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6" name="TextBox 5">
            <a:extLst>
              <a:ext uri="{FF2B5EF4-FFF2-40B4-BE49-F238E27FC236}">
                <a16:creationId xmlns:a16="http://schemas.microsoft.com/office/drawing/2014/main" id="{F2B613B7-DD66-FFD8-9A16-6CCD42A61900}"/>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07198446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Lst>
  <p:hf sldNum="0" hdr="0" dt="0"/>
  <p:txStyles>
    <p:titleStyle>
      <a:lvl1pPr algn="l" rtl="0" eaLnBrk="1" fontAlgn="base" hangingPunct="1">
        <a:spcBef>
          <a:spcPct val="0"/>
        </a:spcBef>
        <a:spcAft>
          <a:spcPct val="0"/>
        </a:spcAft>
        <a:defRPr sz="2100" b="1">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Arial" charset="0"/>
          <a:cs typeface="Arial" charset="0"/>
        </a:defRPr>
      </a:lvl2pPr>
      <a:lvl3pPr algn="l" rtl="0" eaLnBrk="1" fontAlgn="base" hangingPunct="1">
        <a:spcBef>
          <a:spcPct val="0"/>
        </a:spcBef>
        <a:spcAft>
          <a:spcPct val="0"/>
        </a:spcAft>
        <a:defRPr sz="2100" b="1">
          <a:solidFill>
            <a:schemeClr val="tx1"/>
          </a:solidFill>
          <a:latin typeface="Arial" charset="0"/>
          <a:cs typeface="Arial" charset="0"/>
        </a:defRPr>
      </a:lvl3pPr>
      <a:lvl4pPr algn="l" rtl="0" eaLnBrk="1" fontAlgn="base" hangingPunct="1">
        <a:spcBef>
          <a:spcPct val="0"/>
        </a:spcBef>
        <a:spcAft>
          <a:spcPct val="0"/>
        </a:spcAft>
        <a:defRPr sz="2100" b="1">
          <a:solidFill>
            <a:schemeClr val="tx1"/>
          </a:solidFill>
          <a:latin typeface="Arial" charset="0"/>
          <a:cs typeface="Arial" charset="0"/>
        </a:defRPr>
      </a:lvl4pPr>
      <a:lvl5pPr algn="l" rtl="0" eaLnBrk="1" fontAlgn="base" hangingPunct="1">
        <a:spcBef>
          <a:spcPct val="0"/>
        </a:spcBef>
        <a:spcAft>
          <a:spcPct val="0"/>
        </a:spcAft>
        <a:defRPr sz="2100" b="1">
          <a:solidFill>
            <a:schemeClr val="tx1"/>
          </a:solidFill>
          <a:latin typeface="Arial" charset="0"/>
          <a:cs typeface="Arial" charset="0"/>
        </a:defRPr>
      </a:lvl5pPr>
      <a:lvl6pPr marL="342900" algn="l" rtl="0" eaLnBrk="1" fontAlgn="base" hangingPunct="1">
        <a:spcBef>
          <a:spcPct val="0"/>
        </a:spcBef>
        <a:spcAft>
          <a:spcPct val="0"/>
        </a:spcAft>
        <a:defRPr sz="2100" b="1">
          <a:solidFill>
            <a:schemeClr val="tx1"/>
          </a:solidFill>
          <a:latin typeface="Arial" charset="0"/>
          <a:cs typeface="Arial" charset="0"/>
        </a:defRPr>
      </a:lvl6pPr>
      <a:lvl7pPr marL="685800" algn="l" rtl="0" eaLnBrk="1" fontAlgn="base" hangingPunct="1">
        <a:spcBef>
          <a:spcPct val="0"/>
        </a:spcBef>
        <a:spcAft>
          <a:spcPct val="0"/>
        </a:spcAft>
        <a:defRPr sz="2100" b="1">
          <a:solidFill>
            <a:schemeClr val="tx1"/>
          </a:solidFill>
          <a:latin typeface="Arial" charset="0"/>
          <a:cs typeface="Arial" charset="0"/>
        </a:defRPr>
      </a:lvl7pPr>
      <a:lvl8pPr marL="1028700" algn="l" rtl="0" eaLnBrk="1" fontAlgn="base" hangingPunct="1">
        <a:spcBef>
          <a:spcPct val="0"/>
        </a:spcBef>
        <a:spcAft>
          <a:spcPct val="0"/>
        </a:spcAft>
        <a:defRPr sz="2100" b="1">
          <a:solidFill>
            <a:schemeClr val="tx1"/>
          </a:solidFill>
          <a:latin typeface="Arial" charset="0"/>
          <a:cs typeface="Arial" charset="0"/>
        </a:defRPr>
      </a:lvl8pPr>
      <a:lvl9pPr marL="1371600" algn="l" rtl="0" eaLnBrk="1" fontAlgn="base" hangingPunct="1">
        <a:spcBef>
          <a:spcPct val="0"/>
        </a:spcBef>
        <a:spcAft>
          <a:spcPct val="0"/>
        </a:spcAft>
        <a:defRPr sz="2100" b="1">
          <a:solidFill>
            <a:schemeClr val="tx1"/>
          </a:solidFill>
          <a:latin typeface="Arial" charset="0"/>
          <a:cs typeface="Arial" charset="0"/>
        </a:defRPr>
      </a:lvl9pPr>
    </p:titleStyle>
    <p:bodyStyle>
      <a:lvl1pPr algn="l" rtl="0" eaLnBrk="1" fontAlgn="base" hangingPunct="1">
        <a:spcBef>
          <a:spcPct val="20000"/>
        </a:spcBef>
        <a:spcAft>
          <a:spcPct val="0"/>
        </a:spcAft>
        <a:defRPr sz="1650" b="1">
          <a:solidFill>
            <a:schemeClr val="tx1"/>
          </a:solidFill>
          <a:latin typeface="+mn-lt"/>
          <a:ea typeface="+mn-ea"/>
          <a:cs typeface="+mn-cs"/>
        </a:defRPr>
      </a:lvl1pPr>
      <a:lvl2pPr marL="202406" indent="-201216" algn="l" rtl="0" eaLnBrk="1" fontAlgn="base" hangingPunct="1">
        <a:spcBef>
          <a:spcPct val="20000"/>
        </a:spcBef>
        <a:spcAft>
          <a:spcPct val="0"/>
        </a:spcAft>
        <a:buClr>
          <a:schemeClr val="accent1"/>
        </a:buClr>
        <a:buChar char="•"/>
        <a:defRPr sz="1650">
          <a:solidFill>
            <a:schemeClr val="tx1"/>
          </a:solidFill>
          <a:latin typeface="+mn-lt"/>
          <a:cs typeface="+mn-cs"/>
        </a:defRPr>
      </a:lvl2pPr>
      <a:lvl3pPr marL="406004" indent="-202406" algn="l" rtl="0" eaLnBrk="1" fontAlgn="base" hangingPunct="1">
        <a:spcBef>
          <a:spcPct val="0"/>
        </a:spcBef>
        <a:spcAft>
          <a:spcPct val="0"/>
        </a:spcAft>
        <a:buFont typeface="Arial" panose="020B0604020202020204" pitchFamily="34" charset="0"/>
        <a:buChar char="–"/>
        <a:defRPr sz="1500">
          <a:solidFill>
            <a:schemeClr val="tx1"/>
          </a:solidFill>
          <a:latin typeface="+mn-lt"/>
          <a:cs typeface="+mn-cs"/>
        </a:defRPr>
      </a:lvl3pPr>
      <a:lvl4pPr marL="603647" indent="-196454" algn="l" rtl="0" eaLnBrk="1" fontAlgn="base" hangingPunct="1">
        <a:spcBef>
          <a:spcPct val="0"/>
        </a:spcBef>
        <a:spcAft>
          <a:spcPct val="0"/>
        </a:spcAft>
        <a:buChar char="–"/>
        <a:defRPr>
          <a:solidFill>
            <a:schemeClr val="tx1"/>
          </a:solidFill>
          <a:latin typeface="+mn-lt"/>
          <a:cs typeface="+mn-cs"/>
        </a:defRPr>
      </a:lvl4pPr>
      <a:lvl5pPr marL="1556147" indent="-171450" algn="l" rtl="0" eaLnBrk="1" fontAlgn="base" hangingPunct="1">
        <a:spcBef>
          <a:spcPct val="20000"/>
        </a:spcBef>
        <a:spcAft>
          <a:spcPct val="0"/>
        </a:spcAft>
        <a:buChar char="»"/>
        <a:defRPr sz="1500">
          <a:solidFill>
            <a:schemeClr val="tx1"/>
          </a:solidFill>
          <a:latin typeface="+mn-lt"/>
          <a:cs typeface="+mn-cs"/>
        </a:defRPr>
      </a:lvl5pPr>
      <a:lvl6pPr marL="1899047" indent="-171450" algn="l" rtl="0" eaLnBrk="1" fontAlgn="base" hangingPunct="1">
        <a:spcBef>
          <a:spcPct val="20000"/>
        </a:spcBef>
        <a:spcAft>
          <a:spcPct val="0"/>
        </a:spcAft>
        <a:buChar char="»"/>
        <a:defRPr sz="1500">
          <a:solidFill>
            <a:schemeClr val="tx1"/>
          </a:solidFill>
          <a:latin typeface="+mn-lt"/>
          <a:cs typeface="+mn-cs"/>
        </a:defRPr>
      </a:lvl6pPr>
      <a:lvl7pPr marL="2241947" indent="-171450" algn="l" rtl="0" eaLnBrk="1" fontAlgn="base" hangingPunct="1">
        <a:spcBef>
          <a:spcPct val="20000"/>
        </a:spcBef>
        <a:spcAft>
          <a:spcPct val="0"/>
        </a:spcAft>
        <a:buChar char="»"/>
        <a:defRPr sz="1500">
          <a:solidFill>
            <a:schemeClr val="tx1"/>
          </a:solidFill>
          <a:latin typeface="+mn-lt"/>
          <a:cs typeface="+mn-cs"/>
        </a:defRPr>
      </a:lvl7pPr>
      <a:lvl8pPr marL="2584847" indent="-171450" algn="l" rtl="0" eaLnBrk="1" fontAlgn="base" hangingPunct="1">
        <a:spcBef>
          <a:spcPct val="20000"/>
        </a:spcBef>
        <a:spcAft>
          <a:spcPct val="0"/>
        </a:spcAft>
        <a:buChar char="»"/>
        <a:defRPr sz="1500">
          <a:solidFill>
            <a:schemeClr val="tx1"/>
          </a:solidFill>
          <a:latin typeface="+mn-lt"/>
          <a:cs typeface="+mn-cs"/>
        </a:defRPr>
      </a:lvl8pPr>
      <a:lvl9pPr marL="2927747" indent="-171450" algn="l" rtl="0" eaLnBrk="1" fontAlgn="base" hangingPunct="1">
        <a:spcBef>
          <a:spcPct val="20000"/>
        </a:spcBef>
        <a:spcAft>
          <a:spcPct val="0"/>
        </a:spcAft>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2160">
          <p15:clr>
            <a:srgbClr val="F26B43"/>
          </p15:clr>
        </p15:guide>
        <p15:guide id="3" pos="5420">
          <p15:clr>
            <a:srgbClr val="F26B43"/>
          </p15:clr>
        </p15:guide>
        <p15:guide id="4" pos="33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00CCEB9A-43E0-4C36-B75C-1EC24DF02AA3}"/>
              </a:ext>
            </a:extLst>
          </p:cNvPr>
          <p:cNvSpPr>
            <a:spLocks noGrp="1" noChangeArrowheads="1"/>
          </p:cNvSpPr>
          <p:nvPr>
            <p:ph type="title"/>
          </p:nvPr>
        </p:nvSpPr>
        <p:spPr bwMode="auto">
          <a:xfrm>
            <a:off x="588433" y="349250"/>
            <a:ext cx="109728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7" name="Rectangle 3">
            <a:extLst>
              <a:ext uri="{FF2B5EF4-FFF2-40B4-BE49-F238E27FC236}">
                <a16:creationId xmlns:a16="http://schemas.microsoft.com/office/drawing/2014/main" id="{B884B1B2-87DE-47CE-A00E-0EF43CC06215}"/>
              </a:ext>
            </a:extLst>
          </p:cNvPr>
          <p:cNvSpPr>
            <a:spLocks noGrp="1" noChangeArrowheads="1"/>
          </p:cNvSpPr>
          <p:nvPr>
            <p:ph type="body" idx="1"/>
          </p:nvPr>
        </p:nvSpPr>
        <p:spPr bwMode="auto">
          <a:xfrm>
            <a:off x="588433" y="1341438"/>
            <a:ext cx="10972800"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
        <p:nvSpPr>
          <p:cNvPr id="1030" name="Rectangle 6">
            <a:extLst>
              <a:ext uri="{FF2B5EF4-FFF2-40B4-BE49-F238E27FC236}">
                <a16:creationId xmlns:a16="http://schemas.microsoft.com/office/drawing/2014/main" id="{4022A1B1-3ECD-4DB6-8E34-2516E540D4E1}"/>
              </a:ext>
            </a:extLst>
          </p:cNvPr>
          <p:cNvSpPr>
            <a:spLocks noGrp="1" noChangeArrowheads="1"/>
          </p:cNvSpPr>
          <p:nvPr>
            <p:ph type="sldNum" sz="quarter" idx="4"/>
          </p:nvPr>
        </p:nvSpPr>
        <p:spPr bwMode="auto">
          <a:xfrm>
            <a:off x="11055351" y="6453188"/>
            <a:ext cx="573616" cy="2159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000"/>
            </a:lvl1pPr>
          </a:lstStyle>
          <a:p>
            <a:fld id="{3277C6FD-49F1-4F05-AE61-7E6C3412D1B6}" type="slidenum">
              <a:rPr lang="en-GB" altLang="en-US"/>
              <a:pPr/>
              <a:t>‹#›</a:t>
            </a:fld>
            <a:endParaRPr lang="en-GB" altLang="en-US"/>
          </a:p>
        </p:txBody>
      </p:sp>
      <p:sp>
        <p:nvSpPr>
          <p:cNvPr id="2" name="Rectangle 8">
            <a:extLst>
              <a:ext uri="{FF2B5EF4-FFF2-40B4-BE49-F238E27FC236}">
                <a16:creationId xmlns:a16="http://schemas.microsoft.com/office/drawing/2014/main" id="{4CC925E2-147E-414A-B39C-9929F4DE544B}"/>
              </a:ext>
            </a:extLst>
          </p:cNvPr>
          <p:cNvSpPr>
            <a:spLocks noChangeArrowheads="1"/>
          </p:cNvSpPr>
          <p:nvPr/>
        </p:nvSpPr>
        <p:spPr bwMode="auto">
          <a:xfrm>
            <a:off x="711200" y="955675"/>
            <a:ext cx="10771717" cy="61913"/>
          </a:xfrm>
          <a:prstGeom prst="rect">
            <a:avLst/>
          </a:prstGeom>
          <a:solidFill>
            <a:schemeClr val="accent1"/>
          </a:solidFill>
          <a:ln>
            <a:noFill/>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a:p>
        </p:txBody>
      </p:sp>
      <p:pic>
        <p:nvPicPr>
          <p:cNvPr id="3" name="Picture 2">
            <a:extLst>
              <a:ext uri="{FF2B5EF4-FFF2-40B4-BE49-F238E27FC236}">
                <a16:creationId xmlns:a16="http://schemas.microsoft.com/office/drawing/2014/main" id="{62D7CBE9-B4CF-47C1-ADB1-5051D87EAC85}"/>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960101" y="249239"/>
            <a:ext cx="522817"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15A17D3-5C20-51B2-BB4F-9B4A4DD58F68}"/>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7" name="TextBox 6">
            <a:extLst>
              <a:ext uri="{FF2B5EF4-FFF2-40B4-BE49-F238E27FC236}">
                <a16:creationId xmlns:a16="http://schemas.microsoft.com/office/drawing/2014/main" id="{9C9D21F2-E044-417C-C776-C7247472187F}"/>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58572403"/>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Lst>
  <p:hf sldNum="0" hd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cs typeface="Arial" charset="0"/>
        </a:defRPr>
      </a:lvl2pPr>
      <a:lvl3pPr algn="l" rtl="0" eaLnBrk="0" fontAlgn="base" hangingPunct="0">
        <a:spcBef>
          <a:spcPct val="0"/>
        </a:spcBef>
        <a:spcAft>
          <a:spcPct val="0"/>
        </a:spcAft>
        <a:defRPr sz="2800" b="1">
          <a:solidFill>
            <a:schemeClr val="tx1"/>
          </a:solidFill>
          <a:latin typeface="Arial" charset="0"/>
          <a:cs typeface="Arial" charset="0"/>
        </a:defRPr>
      </a:lvl3pPr>
      <a:lvl4pPr algn="l" rtl="0" eaLnBrk="0" fontAlgn="base" hangingPunct="0">
        <a:spcBef>
          <a:spcPct val="0"/>
        </a:spcBef>
        <a:spcAft>
          <a:spcPct val="0"/>
        </a:spcAft>
        <a:defRPr sz="2800" b="1">
          <a:solidFill>
            <a:schemeClr val="tx1"/>
          </a:solidFill>
          <a:latin typeface="Arial" charset="0"/>
          <a:cs typeface="Arial" charset="0"/>
        </a:defRPr>
      </a:lvl4pPr>
      <a:lvl5pPr algn="l" rtl="0" eaLnBrk="0" fontAlgn="base" hangingPunct="0">
        <a:spcBef>
          <a:spcPct val="0"/>
        </a:spcBef>
        <a:spcAft>
          <a:spcPct val="0"/>
        </a:spcAft>
        <a:defRPr sz="2800" b="1">
          <a:solidFill>
            <a:schemeClr val="tx1"/>
          </a:solidFill>
          <a:latin typeface="Arial" charset="0"/>
          <a:cs typeface="Arial" charset="0"/>
        </a:defRPr>
      </a:lvl5pPr>
      <a:lvl6pPr marL="457200" algn="l" rtl="0" fontAlgn="base">
        <a:spcBef>
          <a:spcPct val="0"/>
        </a:spcBef>
        <a:spcAft>
          <a:spcPct val="0"/>
        </a:spcAft>
        <a:defRPr sz="2800" b="1">
          <a:solidFill>
            <a:schemeClr val="tx1"/>
          </a:solidFill>
          <a:latin typeface="Arial" charset="0"/>
          <a:cs typeface="Arial" charset="0"/>
        </a:defRPr>
      </a:lvl6pPr>
      <a:lvl7pPr marL="914400" algn="l" rtl="0" fontAlgn="base">
        <a:spcBef>
          <a:spcPct val="0"/>
        </a:spcBef>
        <a:spcAft>
          <a:spcPct val="0"/>
        </a:spcAft>
        <a:defRPr sz="2800" b="1">
          <a:solidFill>
            <a:schemeClr val="tx1"/>
          </a:solidFill>
          <a:latin typeface="Arial" charset="0"/>
          <a:cs typeface="Arial" charset="0"/>
        </a:defRPr>
      </a:lvl7pPr>
      <a:lvl8pPr marL="1371600" algn="l" rtl="0" fontAlgn="base">
        <a:spcBef>
          <a:spcPct val="0"/>
        </a:spcBef>
        <a:spcAft>
          <a:spcPct val="0"/>
        </a:spcAft>
        <a:defRPr sz="2800" b="1">
          <a:solidFill>
            <a:schemeClr val="tx1"/>
          </a:solidFill>
          <a:latin typeface="Arial" charset="0"/>
          <a:cs typeface="Arial" charset="0"/>
        </a:defRPr>
      </a:lvl8pPr>
      <a:lvl9pPr marL="1828800" algn="l" rtl="0" fontAlgn="base">
        <a:spcBef>
          <a:spcPct val="0"/>
        </a:spcBef>
        <a:spcAft>
          <a:spcPct val="0"/>
        </a:spcAft>
        <a:defRPr sz="2800" b="1">
          <a:solidFill>
            <a:schemeClr val="tx1"/>
          </a:solidFill>
          <a:latin typeface="Arial" charset="0"/>
          <a:cs typeface="Arial" charset="0"/>
        </a:defRPr>
      </a:lvl9pPr>
    </p:titleStyle>
    <p:bodyStyle>
      <a:lvl1pPr algn="l" rtl="0" eaLnBrk="0" fontAlgn="base" hangingPunct="0">
        <a:spcBef>
          <a:spcPct val="20000"/>
        </a:spcBef>
        <a:spcAft>
          <a:spcPct val="0"/>
        </a:spcAft>
        <a:defRPr sz="2200" b="1">
          <a:solidFill>
            <a:schemeClr val="tx1"/>
          </a:solidFill>
          <a:latin typeface="+mn-lt"/>
          <a:ea typeface="+mn-ea"/>
          <a:cs typeface="+mn-cs"/>
        </a:defRPr>
      </a:lvl1pPr>
      <a:lvl2pPr marL="269875" indent="-268288" algn="l" rtl="0" eaLnBrk="0" fontAlgn="base" hangingPunct="0">
        <a:spcBef>
          <a:spcPct val="20000"/>
        </a:spcBef>
        <a:spcAft>
          <a:spcPct val="0"/>
        </a:spcAft>
        <a:buClr>
          <a:schemeClr val="accent1"/>
        </a:buClr>
        <a:buChar char="•"/>
        <a:defRPr sz="2200">
          <a:solidFill>
            <a:schemeClr val="tx1"/>
          </a:solidFill>
          <a:latin typeface="+mn-lt"/>
          <a:cs typeface="+mn-cs"/>
        </a:defRPr>
      </a:lvl2pPr>
      <a:lvl3pPr marL="541338" indent="-269875" algn="l" rtl="0" eaLnBrk="0" fontAlgn="base" hangingPunct="0">
        <a:spcBef>
          <a:spcPct val="0"/>
        </a:spcBef>
        <a:spcAft>
          <a:spcPct val="0"/>
        </a:spcAft>
        <a:buFont typeface="Arial" panose="020B0604020202020204" pitchFamily="34" charset="0"/>
        <a:buChar char="–"/>
        <a:defRPr sz="2000">
          <a:solidFill>
            <a:schemeClr val="tx1"/>
          </a:solidFill>
          <a:latin typeface="+mn-lt"/>
          <a:cs typeface="+mn-cs"/>
        </a:defRPr>
      </a:lvl3pPr>
      <a:lvl4pPr marL="804863" indent="-261938" algn="l" rtl="0" eaLnBrk="0" fontAlgn="base" hangingPunct="0">
        <a:spcBef>
          <a:spcPct val="0"/>
        </a:spcBef>
        <a:spcAft>
          <a:spcPct val="0"/>
        </a:spcAft>
        <a:buChar char="–"/>
        <a:defRPr>
          <a:solidFill>
            <a:schemeClr val="tx1"/>
          </a:solidFill>
          <a:latin typeface="+mn-lt"/>
          <a:cs typeface="+mn-cs"/>
        </a:defRPr>
      </a:lvl4pPr>
      <a:lvl5pPr marL="2074863" indent="-228600" algn="l" rtl="0" eaLnBrk="0" fontAlgn="base" hangingPunct="0">
        <a:spcBef>
          <a:spcPct val="20000"/>
        </a:spcBef>
        <a:spcAft>
          <a:spcPct val="0"/>
        </a:spcAft>
        <a:buChar char="»"/>
        <a:defRPr sz="2000">
          <a:solidFill>
            <a:schemeClr val="tx1"/>
          </a:solidFill>
          <a:latin typeface="+mn-lt"/>
          <a:cs typeface="+mn-cs"/>
        </a:defRPr>
      </a:lvl5pPr>
      <a:lvl6pPr marL="2532063" indent="-228600" algn="l" rtl="0" fontAlgn="base">
        <a:spcBef>
          <a:spcPct val="20000"/>
        </a:spcBef>
        <a:spcAft>
          <a:spcPct val="0"/>
        </a:spcAft>
        <a:buChar char="»"/>
        <a:defRPr sz="2000">
          <a:solidFill>
            <a:schemeClr val="tx1"/>
          </a:solidFill>
          <a:latin typeface="+mn-lt"/>
          <a:cs typeface="+mn-cs"/>
        </a:defRPr>
      </a:lvl6pPr>
      <a:lvl7pPr marL="2989263" indent="-228600" algn="l" rtl="0" fontAlgn="base">
        <a:spcBef>
          <a:spcPct val="20000"/>
        </a:spcBef>
        <a:spcAft>
          <a:spcPct val="0"/>
        </a:spcAft>
        <a:buChar char="»"/>
        <a:defRPr sz="2000">
          <a:solidFill>
            <a:schemeClr val="tx1"/>
          </a:solidFill>
          <a:latin typeface="+mn-lt"/>
          <a:cs typeface="+mn-cs"/>
        </a:defRPr>
      </a:lvl7pPr>
      <a:lvl8pPr marL="3446463" indent="-228600" algn="l" rtl="0" fontAlgn="base">
        <a:spcBef>
          <a:spcPct val="20000"/>
        </a:spcBef>
        <a:spcAft>
          <a:spcPct val="0"/>
        </a:spcAft>
        <a:buChar char="»"/>
        <a:defRPr sz="2000">
          <a:solidFill>
            <a:schemeClr val="tx1"/>
          </a:solidFill>
          <a:latin typeface="+mn-lt"/>
          <a:cs typeface="+mn-cs"/>
        </a:defRPr>
      </a:lvl8pPr>
      <a:lvl9pPr marL="3903663"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1202" y="349250"/>
            <a:ext cx="1076113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711202" y="1341438"/>
            <a:ext cx="10761135"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 </a:t>
            </a:r>
          </a:p>
        </p:txBody>
      </p:sp>
      <p:sp>
        <p:nvSpPr>
          <p:cNvPr id="1030" name="Rectangle 6"/>
          <p:cNvSpPr>
            <a:spLocks noGrp="1" noChangeArrowheads="1"/>
          </p:cNvSpPr>
          <p:nvPr>
            <p:ph type="sldNum" sz="quarter" idx="4"/>
          </p:nvPr>
        </p:nvSpPr>
        <p:spPr bwMode="auto">
          <a:xfrm>
            <a:off x="10898717" y="6453188"/>
            <a:ext cx="57361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r">
              <a:defRPr sz="1000"/>
            </a:lvl1pPr>
          </a:lstStyle>
          <a:p>
            <a:fld id="{6DDE0785-C207-4AB4-9F5B-0D767D51038B}" type="slidenum">
              <a:rPr lang="en-GB" altLang="en-US"/>
              <a:pPr/>
              <a:t>‹#›</a:t>
            </a:fld>
            <a:endParaRPr lang="en-GB" altLang="en-US"/>
          </a:p>
        </p:txBody>
      </p:sp>
      <p:sp>
        <p:nvSpPr>
          <p:cNvPr id="4" name="TextBox 3">
            <a:extLst>
              <a:ext uri="{FF2B5EF4-FFF2-40B4-BE49-F238E27FC236}">
                <a16:creationId xmlns:a16="http://schemas.microsoft.com/office/drawing/2014/main" id="{67F1669A-A6A2-09D7-83D4-159C12ACA829}"/>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262C9962-A8D5-A7EA-212A-2F43F1454072}"/>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215150956"/>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6" r:id="rId7"/>
    <p:sldLayoutId id="2147483827" r:id="rId8"/>
  </p:sldLayoutIdLst>
  <p:txStyles>
    <p:titleStyle>
      <a:lvl1pPr algn="l" rtl="0" eaLnBrk="1" fontAlgn="base" hangingPunct="1">
        <a:spcBef>
          <a:spcPct val="0"/>
        </a:spcBef>
        <a:spcAft>
          <a:spcPct val="0"/>
        </a:spcAft>
        <a:defRPr sz="2800" b="1">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cs typeface="Arial" charset="0"/>
        </a:defRPr>
      </a:lvl2pPr>
      <a:lvl3pPr algn="l" rtl="0" eaLnBrk="1" fontAlgn="base" hangingPunct="1">
        <a:spcBef>
          <a:spcPct val="0"/>
        </a:spcBef>
        <a:spcAft>
          <a:spcPct val="0"/>
        </a:spcAft>
        <a:defRPr sz="2800" b="1">
          <a:solidFill>
            <a:schemeClr val="tx1"/>
          </a:solidFill>
          <a:latin typeface="Arial" charset="0"/>
          <a:cs typeface="Arial" charset="0"/>
        </a:defRPr>
      </a:lvl3pPr>
      <a:lvl4pPr algn="l" rtl="0" eaLnBrk="1" fontAlgn="base" hangingPunct="1">
        <a:spcBef>
          <a:spcPct val="0"/>
        </a:spcBef>
        <a:spcAft>
          <a:spcPct val="0"/>
        </a:spcAft>
        <a:defRPr sz="2800" b="1">
          <a:solidFill>
            <a:schemeClr val="tx1"/>
          </a:solidFill>
          <a:latin typeface="Arial" charset="0"/>
          <a:cs typeface="Arial" charset="0"/>
        </a:defRPr>
      </a:lvl4pPr>
      <a:lvl5pPr algn="l" rtl="0" eaLnBrk="1" fontAlgn="base" hangingPunct="1">
        <a:spcBef>
          <a:spcPct val="0"/>
        </a:spcBef>
        <a:spcAft>
          <a:spcPct val="0"/>
        </a:spcAft>
        <a:defRPr sz="2800" b="1">
          <a:solidFill>
            <a:schemeClr val="tx1"/>
          </a:solidFill>
          <a:latin typeface="Arial" charset="0"/>
          <a:cs typeface="Arial" charset="0"/>
        </a:defRPr>
      </a:lvl5pPr>
      <a:lvl6pPr marL="457189" algn="l" rtl="0" eaLnBrk="1" fontAlgn="base" hangingPunct="1">
        <a:spcBef>
          <a:spcPct val="0"/>
        </a:spcBef>
        <a:spcAft>
          <a:spcPct val="0"/>
        </a:spcAft>
        <a:defRPr sz="2800" b="1">
          <a:solidFill>
            <a:schemeClr val="tx1"/>
          </a:solidFill>
          <a:latin typeface="Arial" charset="0"/>
          <a:cs typeface="Arial" charset="0"/>
        </a:defRPr>
      </a:lvl6pPr>
      <a:lvl7pPr marL="914377" algn="l" rtl="0" eaLnBrk="1" fontAlgn="base" hangingPunct="1">
        <a:spcBef>
          <a:spcPct val="0"/>
        </a:spcBef>
        <a:spcAft>
          <a:spcPct val="0"/>
        </a:spcAft>
        <a:defRPr sz="2800" b="1">
          <a:solidFill>
            <a:schemeClr val="tx1"/>
          </a:solidFill>
          <a:latin typeface="Arial" charset="0"/>
          <a:cs typeface="Arial" charset="0"/>
        </a:defRPr>
      </a:lvl7pPr>
      <a:lvl8pPr marL="1371566" algn="l" rtl="0" eaLnBrk="1" fontAlgn="base" hangingPunct="1">
        <a:spcBef>
          <a:spcPct val="0"/>
        </a:spcBef>
        <a:spcAft>
          <a:spcPct val="0"/>
        </a:spcAft>
        <a:defRPr sz="2800" b="1">
          <a:solidFill>
            <a:schemeClr val="tx1"/>
          </a:solidFill>
          <a:latin typeface="Arial" charset="0"/>
          <a:cs typeface="Arial" charset="0"/>
        </a:defRPr>
      </a:lvl8pPr>
      <a:lvl9pPr marL="1828754" algn="l" rtl="0" eaLnBrk="1" fontAlgn="base" hangingPunct="1">
        <a:spcBef>
          <a:spcPct val="0"/>
        </a:spcBef>
        <a:spcAft>
          <a:spcPct val="0"/>
        </a:spcAft>
        <a:defRPr sz="2800" b="1">
          <a:solidFill>
            <a:schemeClr val="tx1"/>
          </a:solidFill>
          <a:latin typeface="Arial" charset="0"/>
          <a:cs typeface="Arial" charset="0"/>
        </a:defRPr>
      </a:lvl9pPr>
    </p:titleStyle>
    <p:bodyStyle>
      <a:lvl1pPr algn="l" rtl="0" eaLnBrk="1" fontAlgn="base" hangingPunct="1">
        <a:spcBef>
          <a:spcPct val="20000"/>
        </a:spcBef>
        <a:spcAft>
          <a:spcPct val="0"/>
        </a:spcAft>
        <a:defRPr sz="2200" b="1">
          <a:solidFill>
            <a:schemeClr val="tx1"/>
          </a:solidFill>
          <a:latin typeface="+mn-lt"/>
          <a:ea typeface="+mn-ea"/>
          <a:cs typeface="+mn-cs"/>
        </a:defRPr>
      </a:lvl1pPr>
      <a:lvl2pPr marL="269868" indent="-268281" algn="l" rtl="0" eaLnBrk="1" fontAlgn="base" hangingPunct="1">
        <a:spcBef>
          <a:spcPct val="20000"/>
        </a:spcBef>
        <a:spcAft>
          <a:spcPct val="0"/>
        </a:spcAft>
        <a:buClr>
          <a:schemeClr val="accent1"/>
        </a:buClr>
        <a:buChar char="•"/>
        <a:defRPr sz="2200">
          <a:solidFill>
            <a:schemeClr val="tx1"/>
          </a:solidFill>
          <a:latin typeface="+mn-lt"/>
          <a:cs typeface="+mn-cs"/>
        </a:defRPr>
      </a:lvl2pPr>
      <a:lvl3pPr marL="541325" indent="-269868" algn="l" rtl="0" eaLnBrk="1" fontAlgn="base" hangingPunct="1">
        <a:spcBef>
          <a:spcPct val="0"/>
        </a:spcBef>
        <a:spcAft>
          <a:spcPct val="0"/>
        </a:spcAft>
        <a:buFont typeface="Arial" panose="020B0604020202020204" pitchFamily="34" charset="0"/>
        <a:buChar char="–"/>
        <a:defRPr sz="2000">
          <a:solidFill>
            <a:schemeClr val="tx1"/>
          </a:solidFill>
          <a:latin typeface="+mn-lt"/>
          <a:cs typeface="+mn-cs"/>
        </a:defRPr>
      </a:lvl3pPr>
      <a:lvl4pPr marL="804843" indent="-261932" algn="l" rtl="0" eaLnBrk="1" fontAlgn="base" hangingPunct="1">
        <a:spcBef>
          <a:spcPct val="0"/>
        </a:spcBef>
        <a:spcAft>
          <a:spcPct val="0"/>
        </a:spcAft>
        <a:buChar char="–"/>
        <a:defRPr>
          <a:solidFill>
            <a:schemeClr val="tx1"/>
          </a:solidFill>
          <a:latin typeface="+mn-lt"/>
          <a:cs typeface="+mn-cs"/>
        </a:defRPr>
      </a:lvl4pPr>
      <a:lvl5pPr marL="2074811" indent="-228594" algn="l" rtl="0" eaLnBrk="1" fontAlgn="base" hangingPunct="1">
        <a:spcBef>
          <a:spcPct val="20000"/>
        </a:spcBef>
        <a:spcAft>
          <a:spcPct val="0"/>
        </a:spcAft>
        <a:buChar char="»"/>
        <a:defRPr sz="2000">
          <a:solidFill>
            <a:schemeClr val="tx1"/>
          </a:solidFill>
          <a:latin typeface="+mn-lt"/>
          <a:cs typeface="+mn-cs"/>
        </a:defRPr>
      </a:lvl5pPr>
      <a:lvl6pPr marL="2531999" indent="-228594" algn="l" rtl="0" eaLnBrk="1" fontAlgn="base" hangingPunct="1">
        <a:spcBef>
          <a:spcPct val="20000"/>
        </a:spcBef>
        <a:spcAft>
          <a:spcPct val="0"/>
        </a:spcAft>
        <a:buChar char="»"/>
        <a:defRPr sz="2000">
          <a:solidFill>
            <a:schemeClr val="tx1"/>
          </a:solidFill>
          <a:latin typeface="+mn-lt"/>
          <a:cs typeface="+mn-cs"/>
        </a:defRPr>
      </a:lvl6pPr>
      <a:lvl7pPr marL="2989188" indent="-228594" algn="l" rtl="0" eaLnBrk="1" fontAlgn="base" hangingPunct="1">
        <a:spcBef>
          <a:spcPct val="20000"/>
        </a:spcBef>
        <a:spcAft>
          <a:spcPct val="0"/>
        </a:spcAft>
        <a:buChar char="»"/>
        <a:defRPr sz="2000">
          <a:solidFill>
            <a:schemeClr val="tx1"/>
          </a:solidFill>
          <a:latin typeface="+mn-lt"/>
          <a:cs typeface="+mn-cs"/>
        </a:defRPr>
      </a:lvl7pPr>
      <a:lvl8pPr marL="3446377" indent="-228594" algn="l" rtl="0" eaLnBrk="1" fontAlgn="base" hangingPunct="1">
        <a:spcBef>
          <a:spcPct val="20000"/>
        </a:spcBef>
        <a:spcAft>
          <a:spcPct val="0"/>
        </a:spcAft>
        <a:buChar char="»"/>
        <a:defRPr sz="2000">
          <a:solidFill>
            <a:schemeClr val="tx1"/>
          </a:solidFill>
          <a:latin typeface="+mn-lt"/>
          <a:cs typeface="+mn-cs"/>
        </a:defRPr>
      </a:lvl8pPr>
      <a:lvl9pPr marL="3903565" indent="-228594"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p15:clr>
            <a:srgbClr val="F26B43"/>
          </p15:clr>
        </p15:guide>
        <p15:guide id="2" orient="horz" pos="2160">
          <p15:clr>
            <a:srgbClr val="F26B43"/>
          </p15:clr>
        </p15:guide>
        <p15:guide id="3" pos="4065">
          <p15:clr>
            <a:srgbClr val="F26B43"/>
          </p15:clr>
        </p15:guide>
        <p15:guide id="4" pos="24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19300" y="604011"/>
            <a:ext cx="11353399" cy="635000"/>
          </a:xfrm>
          <a:prstGeom prst="rect">
            <a:avLst/>
          </a:prstGeom>
        </p:spPr>
        <p:txBody>
          <a:bodyPr wrap="square" lIns="0" tIns="0" rIns="0" bIns="0">
            <a:spAutoFit/>
          </a:bodyPr>
          <a:lstStyle>
            <a:lvl1pPr>
              <a:defRPr sz="4000" b="1" i="0">
                <a:solidFill>
                  <a:srgbClr val="04043F"/>
                </a:solidFill>
                <a:latin typeface="Arial"/>
                <a:cs typeface="Arial"/>
              </a:defRPr>
            </a:lvl1pPr>
          </a:lstStyle>
          <a:p>
            <a:endParaRPr/>
          </a:p>
        </p:txBody>
      </p:sp>
      <p:sp>
        <p:nvSpPr>
          <p:cNvPr id="3" name="Holder 3"/>
          <p:cNvSpPr>
            <a:spLocks noGrp="1"/>
          </p:cNvSpPr>
          <p:nvPr>
            <p:ph type="body" idx="1"/>
          </p:nvPr>
        </p:nvSpPr>
        <p:spPr>
          <a:xfrm>
            <a:off x="454979" y="2591308"/>
            <a:ext cx="11282041" cy="21056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64020" y="6460716"/>
            <a:ext cx="2635250" cy="139065"/>
          </a:xfrm>
          <a:prstGeom prst="rect">
            <a:avLst/>
          </a:prstGeom>
        </p:spPr>
        <p:txBody>
          <a:bodyPr wrap="square" lIns="0" tIns="0" rIns="0" bIns="0">
            <a:spAutoFit/>
          </a:bodyPr>
          <a:lstStyle>
            <a:lvl1pPr>
              <a:defRPr sz="800" b="0" i="0">
                <a:solidFill>
                  <a:srgbClr val="050540"/>
                </a:solidFill>
                <a:latin typeface="Arial"/>
                <a:cs typeface="Arial"/>
              </a:defRPr>
            </a:lvl1pPr>
          </a:lstStyle>
          <a:p>
            <a:pPr marL="12700">
              <a:lnSpc>
                <a:spcPct val="100000"/>
              </a:lnSpc>
              <a:spcBef>
                <a:spcPts val="25"/>
              </a:spcBef>
            </a:pPr>
            <a:r>
              <a:t>Change your</a:t>
            </a:r>
            <a:r>
              <a:rPr spc="-5"/>
              <a:t> </a:t>
            </a:r>
            <a:r>
              <a:t>presentation</a:t>
            </a:r>
            <a:r>
              <a:rPr spc="5"/>
              <a:t> </a:t>
            </a:r>
            <a:r>
              <a:rPr spc="-5"/>
              <a:t>title</a:t>
            </a:r>
            <a:r>
              <a:rPr spc="5"/>
              <a:t> </a:t>
            </a:r>
            <a:r>
              <a:rPr spc="-5"/>
              <a:t>in</a:t>
            </a:r>
            <a:r>
              <a:rPr spc="5"/>
              <a:t> </a:t>
            </a:r>
            <a:r>
              <a:t>Header</a:t>
            </a:r>
            <a:r>
              <a:rPr spc="-5"/>
              <a:t> </a:t>
            </a:r>
            <a:r>
              <a:t>&amp;</a:t>
            </a:r>
            <a:r>
              <a:rPr spc="5"/>
              <a:t> </a:t>
            </a:r>
            <a:r>
              <a:t>Footer</a:t>
            </a:r>
            <a:r>
              <a:rPr spc="-5"/>
              <a:t> </a:t>
            </a:r>
            <a:r>
              <a:t>section</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4</a:t>
            </a:fld>
            <a:endParaRPr lang="en-US"/>
          </a:p>
        </p:txBody>
      </p:sp>
      <p:sp>
        <p:nvSpPr>
          <p:cNvPr id="6" name="Holder 6"/>
          <p:cNvSpPr>
            <a:spLocks noGrp="1"/>
          </p:cNvSpPr>
          <p:nvPr>
            <p:ph type="sldNum" sz="quarter" idx="7"/>
          </p:nvPr>
        </p:nvSpPr>
        <p:spPr>
          <a:xfrm>
            <a:off x="11552721" y="6411680"/>
            <a:ext cx="257175" cy="196215"/>
          </a:xfrm>
          <a:prstGeom prst="rect">
            <a:avLst/>
          </a:prstGeom>
        </p:spPr>
        <p:txBody>
          <a:bodyPr wrap="square" lIns="0" tIns="0" rIns="0" bIns="0">
            <a:spAutoFit/>
          </a:bodyPr>
          <a:lstStyle>
            <a:lvl1pPr>
              <a:defRPr sz="1200" b="0" i="0">
                <a:solidFill>
                  <a:srgbClr val="04043F"/>
                </a:solidFill>
                <a:latin typeface="Arial"/>
                <a:cs typeface="Arial"/>
              </a:defRPr>
            </a:lvl1pPr>
          </a:lstStyle>
          <a:p>
            <a:pPr marL="38100">
              <a:lnSpc>
                <a:spcPts val="1425"/>
              </a:lnSpc>
            </a:pPr>
            <a:fld id="{81D60167-4931-47E6-BA6A-407CBD079E47}" type="slidenum">
              <a:rPr dirty="0"/>
              <a:t>‹#›</a:t>
            </a:fld>
            <a:endParaRPr/>
          </a:p>
        </p:txBody>
      </p:sp>
      <p:sp>
        <p:nvSpPr>
          <p:cNvPr id="9" name="TextBox 8">
            <a:extLst>
              <a:ext uri="{FF2B5EF4-FFF2-40B4-BE49-F238E27FC236}">
                <a16:creationId xmlns:a16="http://schemas.microsoft.com/office/drawing/2014/main" id="{2A6AFB0F-2E83-FD4B-9544-25054DB23F30}"/>
              </a:ext>
            </a:extLst>
          </p:cNvPr>
          <p:cNvSpPr txBox="1"/>
          <p:nvPr>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10" name="TextBox 9">
            <a:extLst>
              <a:ext uri="{FF2B5EF4-FFF2-40B4-BE49-F238E27FC236}">
                <a16:creationId xmlns:a16="http://schemas.microsoft.com/office/drawing/2014/main" id="{8F4380B2-5273-244B-A250-195E08BEA6A6}"/>
              </a:ext>
            </a:extLst>
          </p:cNvPr>
          <p:cNvSpPr txBox="1"/>
          <p:nvPr>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94211155"/>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9" name="Titelplatzhalter 1" descr="CMSLegal_Cover_Heading"/>
          <p:cNvSpPr>
            <a:spLocks noGrp="1"/>
          </p:cNvSpPr>
          <p:nvPr userDrawn="1">
            <p:ph type="title"/>
          </p:nvPr>
        </p:nvSpPr>
        <p:spPr bwMode="auto">
          <a:xfrm>
            <a:off x="576000" y="1562400"/>
            <a:ext cx="9600000" cy="936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z="2400" baseline="0" noProof="0" dirty="0">
                <a:solidFill>
                  <a:srgbClr val="000000"/>
                </a:solidFill>
                <a:latin typeface="Arial"/>
              </a:rPr>
              <a:t>Heading, Arial 24/28pt.</a:t>
            </a:r>
            <a:endParaRPr lang="en-GB" noProof="0" dirty="0"/>
          </a:p>
        </p:txBody>
      </p:sp>
      <p:sp>
        <p:nvSpPr>
          <p:cNvPr id="6150" name="Textplatzhalter 2" descr="CMSLegal_Cover_SubHeading"/>
          <p:cNvSpPr>
            <a:spLocks noGrp="1"/>
          </p:cNvSpPr>
          <p:nvPr userDrawn="1">
            <p:ph type="body" idx="1"/>
          </p:nvPr>
        </p:nvSpPr>
        <p:spPr bwMode="auto">
          <a:xfrm>
            <a:off x="576000" y="2746800"/>
            <a:ext cx="9600000" cy="93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z="1800" baseline="0" noProof="0" dirty="0">
                <a:solidFill>
                  <a:srgbClr val="000000"/>
                </a:solidFill>
                <a:latin typeface="Arial"/>
              </a:rPr>
              <a:t>Sub-heading, Arial 18/22pt.</a:t>
            </a:r>
            <a:endParaRPr lang="en-GB" noProof="0" dirty="0"/>
          </a:p>
        </p:txBody>
      </p:sp>
      <p:sp>
        <p:nvSpPr>
          <p:cNvPr id="11" name="Rechteck 10" descr="CMSLegal_Wedges_001"/>
          <p:cNvSpPr/>
          <p:nvPr userDrawn="1"/>
        </p:nvSpPr>
        <p:spPr>
          <a:xfrm>
            <a:off x="47244" y="36000"/>
            <a:ext cx="4800" cy="3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 name="TextBox 7" descr="CMSLegal_Cover_Text_Flag_B"/>
          <p:cNvSpPr txBox="1"/>
          <p:nvPr userDrawn="1"/>
        </p:nvSpPr>
        <p:spPr>
          <a:xfrm>
            <a:off x="0" y="0"/>
            <a:ext cx="365760" cy="274320"/>
          </a:xfrm>
          <a:prstGeom prst="rect">
            <a:avLst/>
          </a:prstGeom>
          <a:noFill/>
          <a:ln>
            <a:noFill/>
          </a:ln>
        </p:spPr>
        <p:txBody>
          <a:bodyPr wrap="square" lIns="0" tIns="0" rIns="0" bIns="0" rtlCol="0">
            <a:noAutofit/>
          </a:bodyPr>
          <a:lstStyle/>
          <a:p>
            <a:r>
              <a:rPr lang="en-GB" sz="1300" noProof="0" dirty="0">
                <a:solidFill>
                  <a:srgbClr val="13294A"/>
                </a:solidFill>
                <a:latin typeface="Arial"/>
                <a:cs typeface="Arial" pitchFamily="34" charset="0"/>
              </a:rPr>
              <a:t>    </a:t>
            </a:r>
          </a:p>
        </p:txBody>
      </p:sp>
      <p:sp>
        <p:nvSpPr>
          <p:cNvPr id="12" name="TextBox 11" descr="CMSLegal_Cover_Footer_and_Date"/>
          <p:cNvSpPr txBox="1"/>
          <p:nvPr userDrawn="1">
            <p:custDataLst>
              <p:tags r:id="rId9"/>
            </p:custDataLst>
          </p:nvPr>
        </p:nvSpPr>
        <p:spPr>
          <a:xfrm>
            <a:off x="682777" y="6361655"/>
            <a:ext cx="8640000" cy="594000"/>
          </a:xfrm>
          <a:prstGeom prst="rect">
            <a:avLst/>
          </a:prstGeom>
          <a:noFill/>
          <a:ln>
            <a:noFill/>
          </a:ln>
        </p:spPr>
        <p:txBody>
          <a:bodyPr wrap="square" lIns="0" tIns="0" rIns="0" bIns="0" rtlCol="0" anchor="ctr" anchorCtr="0">
            <a:noAutofit/>
          </a:bodyPr>
          <a:lstStyle/>
          <a:p>
            <a:r>
              <a:rPr lang="en-GB" sz="1000" kern="1560" baseline="0" noProof="0">
                <a:solidFill>
                  <a:srgbClr val="FFFFFF"/>
                </a:solidFill>
                <a:latin typeface="Arial"/>
                <a:cs typeface="Arial" pitchFamily="34" charset="0"/>
              </a:rPr>
              <a:t>13 March 2024</a:t>
            </a:r>
            <a:endParaRPr lang="en-GB" sz="1000" kern="1560" baseline="0" noProof="0" dirty="0">
              <a:solidFill>
                <a:srgbClr val="FFFFFF"/>
              </a:solidFill>
              <a:latin typeface="Arial"/>
              <a:cs typeface="Arial" pitchFamily="34" charset="0"/>
            </a:endParaRPr>
          </a:p>
        </p:txBody>
      </p:sp>
      <p:sp>
        <p:nvSpPr>
          <p:cNvPr id="10" name="Text Placeholder 5">
            <a:extLst>
              <a:ext uri="{FF2B5EF4-FFF2-40B4-BE49-F238E27FC236}">
                <a16:creationId xmlns:a16="http://schemas.microsoft.com/office/drawing/2014/main" id="{31D226F0-99EF-427B-9990-27A7EBBF7582}"/>
              </a:ext>
            </a:extLst>
          </p:cNvPr>
          <p:cNvSpPr txBox="1">
            <a:spLocks/>
          </p:cNvSpPr>
          <p:nvPr userDrawn="1">
            <p:custDataLst>
              <p:tags r:id="rId10"/>
            </p:custDataLst>
          </p:nvPr>
        </p:nvSpPr>
        <p:spPr>
          <a:xfrm>
            <a:off x="594000" y="6264001"/>
            <a:ext cx="3960000" cy="594000"/>
          </a:xfrm>
          <a:prstGeom prst="rect">
            <a:avLst/>
          </a:prstGeom>
        </p:spPr>
        <p:txBody>
          <a:bodyPr anchor="ctr" anchorCtr="0"/>
          <a:lstStyle>
            <a:lvl1pPr marL="342900" indent="-342900" algn="l" rtl="0" eaLnBrk="1" fontAlgn="base" hangingPunct="1">
              <a:spcBef>
                <a:spcPct val="20000"/>
              </a:spcBef>
              <a:spcAft>
                <a:spcPct val="0"/>
              </a:spcAft>
              <a:defRPr lang="de-DE" sz="1000" kern="2200" baseline="0">
                <a:solidFill>
                  <a:srgbClr val="000000"/>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FFFFFF"/>
                </a:solidFill>
              </a:rPr>
              <a:t>13 March 2024</a:t>
            </a:r>
            <a:endParaRPr lang="en-US" dirty="0">
              <a:solidFill>
                <a:srgbClr val="FFFFFF"/>
              </a:solidFill>
            </a:endParaRPr>
          </a:p>
        </p:txBody>
      </p:sp>
      <p:sp>
        <p:nvSpPr>
          <p:cNvPr id="4" name="TextBox 3">
            <a:extLst>
              <a:ext uri="{FF2B5EF4-FFF2-40B4-BE49-F238E27FC236}">
                <a16:creationId xmlns:a16="http://schemas.microsoft.com/office/drawing/2014/main" id="{156653E6-41FB-3CD7-57DB-A054BBAD8711}"/>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2F94BCBF-491C-92A9-00C1-1ECC12083E29}"/>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837036695"/>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Lst>
  <p:hf hdr="0" ftr="0" dt="0"/>
  <p:txStyles>
    <p:titleStyle>
      <a:lvl1pPr algn="l" rtl="0" eaLnBrk="1" fontAlgn="base" hangingPunct="1">
        <a:spcBef>
          <a:spcPct val="0"/>
        </a:spcBef>
        <a:spcAft>
          <a:spcPct val="0"/>
        </a:spcAft>
        <a:defRPr lang="de-DE" sz="4000" kern="2800" baseline="0" smtClean="0">
          <a:solidFill>
            <a:srgbClr val="000000"/>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chemeClr val="bg1"/>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defRPr lang="de-DE" sz="2000" kern="2200" baseline="0" smtClean="0">
          <a:solidFill>
            <a:srgbClr val="000000"/>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defRPr kern="1200">
          <a:solidFill>
            <a:schemeClr val="bg1"/>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196" name="Titelplatzhalter 1"/>
          <p:cNvSpPr>
            <a:spLocks noGrp="1"/>
          </p:cNvSpPr>
          <p:nvPr>
            <p:ph type="title"/>
          </p:nvPr>
        </p:nvSpPr>
        <p:spPr bwMode="auto">
          <a:xfrm>
            <a:off x="576000" y="576000"/>
            <a:ext cx="11040000" cy="90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This is the headline, Arial 32 pt.</a:t>
            </a:r>
            <a:br>
              <a:rPr lang="en-GB" noProof="0" dirty="0"/>
            </a:br>
            <a:r>
              <a:rPr lang="en-GB" noProof="0" dirty="0"/>
              <a:t>This is the second line.</a:t>
            </a:r>
          </a:p>
        </p:txBody>
      </p:sp>
      <p:sp>
        <p:nvSpPr>
          <p:cNvPr id="8197" name="Textplatzhalter 2"/>
          <p:cNvSpPr>
            <a:spLocks noGrp="1"/>
          </p:cNvSpPr>
          <p:nvPr>
            <p:ph type="body" idx="1"/>
          </p:nvPr>
        </p:nvSpPr>
        <p:spPr bwMode="auto">
          <a:xfrm>
            <a:off x="576000" y="1868400"/>
            <a:ext cx="11040000" cy="444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Click to edit Master text styles, Arial 24 </a:t>
            </a:r>
            <a:r>
              <a:rPr lang="en-GB" noProof="0" dirty="0" err="1"/>
              <a:t>pt</a:t>
            </a:r>
            <a:endParaRPr lang="en-GB" noProof="0" dirty="0"/>
          </a:p>
          <a:p>
            <a:pPr lvl="1"/>
            <a:r>
              <a:rPr lang="en-GB" noProof="0" dirty="0"/>
              <a:t>Second level, Arial 22 </a:t>
            </a:r>
            <a:r>
              <a:rPr lang="en-GB" noProof="0" dirty="0" err="1"/>
              <a:t>pt</a:t>
            </a:r>
            <a:endParaRPr lang="en-GB" noProof="0" dirty="0"/>
          </a:p>
          <a:p>
            <a:pPr lvl="2"/>
            <a:r>
              <a:rPr lang="en-GB" noProof="0" dirty="0"/>
              <a:t>Third level,  Arial 20 </a:t>
            </a:r>
            <a:r>
              <a:rPr lang="en-GB" noProof="0" dirty="0" err="1"/>
              <a:t>pt</a:t>
            </a:r>
            <a:endParaRPr lang="en-GB" noProof="0" dirty="0"/>
          </a:p>
          <a:p>
            <a:pPr lvl="3"/>
            <a:r>
              <a:rPr lang="en-GB" noProof="0" dirty="0"/>
              <a:t>Fourth level,  Arial 18 </a:t>
            </a:r>
            <a:r>
              <a:rPr lang="en-GB" noProof="0" dirty="0" err="1"/>
              <a:t>pt</a:t>
            </a:r>
            <a:endParaRPr lang="en-GB" noProof="0" dirty="0"/>
          </a:p>
          <a:p>
            <a:pPr lvl="4"/>
            <a:r>
              <a:rPr lang="en-GB" noProof="0" dirty="0"/>
              <a:t>Fifth level,  Arial 16 </a:t>
            </a:r>
            <a:r>
              <a:rPr lang="en-GB" noProof="0" dirty="0" err="1"/>
              <a:t>pt</a:t>
            </a:r>
            <a:endParaRPr lang="en-GB" noProof="0" dirty="0"/>
          </a:p>
          <a:p>
            <a:pPr lvl="5"/>
            <a:r>
              <a:rPr lang="en-GB" noProof="0" dirty="0"/>
              <a:t>Sixth level,  Arial 16 </a:t>
            </a:r>
            <a:r>
              <a:rPr lang="en-GB" noProof="0" dirty="0" err="1"/>
              <a:t>pt</a:t>
            </a:r>
            <a:endParaRPr lang="en-GB" noProof="0" dirty="0"/>
          </a:p>
          <a:p>
            <a:pPr lvl="6"/>
            <a:r>
              <a:rPr lang="en-GB" noProof="0" dirty="0"/>
              <a:t>Seventh level,  Arial 16 </a:t>
            </a:r>
            <a:r>
              <a:rPr lang="en-GB" noProof="0" dirty="0" err="1"/>
              <a:t>pt</a:t>
            </a:r>
            <a:endParaRPr lang="en-GB" noProof="0" dirty="0"/>
          </a:p>
          <a:p>
            <a:pPr lvl="7"/>
            <a:r>
              <a:rPr lang="en-GB" noProof="0" dirty="0"/>
              <a:t>Eighth level,  Arial 16 </a:t>
            </a:r>
            <a:r>
              <a:rPr lang="en-GB" noProof="0" dirty="0" err="1"/>
              <a:t>pt</a:t>
            </a:r>
            <a:endParaRPr lang="en-GB" noProof="0" dirty="0"/>
          </a:p>
          <a:p>
            <a:pPr lvl="8"/>
            <a:r>
              <a:rPr lang="en-GB" noProof="0" dirty="0"/>
              <a:t>Ninth level,  Arial 16 </a:t>
            </a:r>
            <a:r>
              <a:rPr lang="en-GB" noProof="0" dirty="0" err="1"/>
              <a:t>pt</a:t>
            </a:r>
            <a:endParaRPr lang="en-GB" noProof="0" dirty="0"/>
          </a:p>
        </p:txBody>
      </p:sp>
      <p:sp>
        <p:nvSpPr>
          <p:cNvPr id="8" name="Foliennummernplatzhalter 5" descr="CMSLegal_Footer_SlideNumber"/>
          <p:cNvSpPr>
            <a:spLocks noGrp="1"/>
          </p:cNvSpPr>
          <p:nvPr>
            <p:ph type="sldNum" sz="quarter" idx="4"/>
          </p:nvPr>
        </p:nvSpPr>
        <p:spPr>
          <a:xfrm>
            <a:off x="11538521"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chemeClr val="tx1"/>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7" name="TextBox 6" descr="CMSLegal_Footer_Firm">
            <a:extLst>
              <a:ext uri="{FF2B5EF4-FFF2-40B4-BE49-F238E27FC236}">
                <a16:creationId xmlns:a16="http://schemas.microsoft.com/office/drawing/2014/main" id="{306A83E9-52D9-4A27-B65A-F18C847EA8C8}"/>
              </a:ext>
            </a:extLst>
          </p:cNvPr>
          <p:cNvSpPr txBox="1"/>
          <p:nvPr userDrawn="1">
            <p:custDataLst>
              <p:tags r:id="rId10"/>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
        <p:nvSpPr>
          <p:cNvPr id="2" name="Rectangle 1">
            <a:extLst>
              <a:ext uri="{FF2B5EF4-FFF2-40B4-BE49-F238E27FC236}">
                <a16:creationId xmlns:a16="http://schemas.microsoft.com/office/drawing/2014/main" id="{CB0FE929-CBA4-EF66-6A51-931367DC875F}"/>
              </a:ext>
            </a:extLst>
          </p:cNvPr>
          <p:cNvSpPr/>
          <p:nvPr userDrawn="1"/>
        </p:nvSpPr>
        <p:spPr>
          <a:xfrm>
            <a:off x="0" y="0"/>
            <a:ext cx="12192000" cy="1669002"/>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843DA08B-8F70-D018-EAB2-7CA0B814E33F}"/>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6" name="TextBox 5">
            <a:extLst>
              <a:ext uri="{FF2B5EF4-FFF2-40B4-BE49-F238E27FC236}">
                <a16:creationId xmlns:a16="http://schemas.microsoft.com/office/drawing/2014/main" id="{F17C9AE9-9C22-6370-910F-A2E97069FD21}"/>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89073635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Lst>
  <p:hf hdr="0" ftr="0" dt="0"/>
  <p:txStyles>
    <p:titleStyle>
      <a:lvl1pPr algn="l" rtl="0" eaLnBrk="1" fontAlgn="base" hangingPunct="1">
        <a:lnSpc>
          <a:spcPct val="100000"/>
        </a:lnSpc>
        <a:spcBef>
          <a:spcPct val="0"/>
        </a:spcBef>
        <a:spcAft>
          <a:spcPct val="0"/>
        </a:spcAft>
        <a:defRPr sz="3200" kern="2800" baseline="0">
          <a:solidFill>
            <a:schemeClr val="tx1"/>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196" name="Titelplatzhalter 1"/>
          <p:cNvSpPr>
            <a:spLocks noGrp="1"/>
          </p:cNvSpPr>
          <p:nvPr>
            <p:ph type="title"/>
          </p:nvPr>
        </p:nvSpPr>
        <p:spPr bwMode="auto">
          <a:xfrm>
            <a:off x="576000" y="576000"/>
            <a:ext cx="11040000" cy="90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This is the headline, Arial 32 pt.</a:t>
            </a:r>
            <a:br>
              <a:rPr lang="en-GB" noProof="0" dirty="0"/>
            </a:br>
            <a:r>
              <a:rPr lang="en-GB" noProof="0" dirty="0"/>
              <a:t>This is the second line.</a:t>
            </a:r>
          </a:p>
        </p:txBody>
      </p:sp>
      <p:sp>
        <p:nvSpPr>
          <p:cNvPr id="8197" name="Textplatzhalter 2"/>
          <p:cNvSpPr>
            <a:spLocks noGrp="1"/>
          </p:cNvSpPr>
          <p:nvPr>
            <p:ph type="body" idx="1"/>
          </p:nvPr>
        </p:nvSpPr>
        <p:spPr bwMode="auto">
          <a:xfrm>
            <a:off x="576000" y="1868400"/>
            <a:ext cx="11040000" cy="444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dirty="0"/>
              <a:t>Click to edit Master text styles, Arial 24 </a:t>
            </a:r>
            <a:r>
              <a:rPr lang="en-GB" noProof="0" dirty="0" err="1"/>
              <a:t>pt</a:t>
            </a:r>
            <a:endParaRPr lang="en-GB" noProof="0" dirty="0"/>
          </a:p>
          <a:p>
            <a:pPr lvl="1"/>
            <a:r>
              <a:rPr lang="en-GB" noProof="0" dirty="0"/>
              <a:t>Second level, Arial 22 </a:t>
            </a:r>
            <a:r>
              <a:rPr lang="en-GB" noProof="0" dirty="0" err="1"/>
              <a:t>pt</a:t>
            </a:r>
            <a:endParaRPr lang="en-GB" noProof="0" dirty="0"/>
          </a:p>
          <a:p>
            <a:pPr lvl="2"/>
            <a:r>
              <a:rPr lang="en-GB" noProof="0" dirty="0"/>
              <a:t>Third level,  Arial 20 </a:t>
            </a:r>
            <a:r>
              <a:rPr lang="en-GB" noProof="0" dirty="0" err="1"/>
              <a:t>pt</a:t>
            </a:r>
            <a:endParaRPr lang="en-GB" noProof="0" dirty="0"/>
          </a:p>
          <a:p>
            <a:pPr lvl="3"/>
            <a:r>
              <a:rPr lang="en-GB" noProof="0" dirty="0"/>
              <a:t>Fourth level,  Arial 18 </a:t>
            </a:r>
            <a:r>
              <a:rPr lang="en-GB" noProof="0" dirty="0" err="1"/>
              <a:t>pt</a:t>
            </a:r>
            <a:endParaRPr lang="en-GB" noProof="0" dirty="0"/>
          </a:p>
          <a:p>
            <a:pPr lvl="4"/>
            <a:r>
              <a:rPr lang="en-GB" noProof="0" dirty="0"/>
              <a:t>Fifth level,  Arial 16 </a:t>
            </a:r>
            <a:r>
              <a:rPr lang="en-GB" noProof="0" dirty="0" err="1"/>
              <a:t>pt</a:t>
            </a:r>
            <a:endParaRPr lang="en-GB" noProof="0" dirty="0"/>
          </a:p>
          <a:p>
            <a:pPr lvl="5"/>
            <a:r>
              <a:rPr lang="en-GB" noProof="0" dirty="0"/>
              <a:t>Sixth level,  Arial 16 </a:t>
            </a:r>
            <a:r>
              <a:rPr lang="en-GB" noProof="0" dirty="0" err="1"/>
              <a:t>pt</a:t>
            </a:r>
            <a:endParaRPr lang="en-GB" noProof="0" dirty="0"/>
          </a:p>
          <a:p>
            <a:pPr lvl="6"/>
            <a:r>
              <a:rPr lang="en-GB" noProof="0" dirty="0"/>
              <a:t>Seventh level,  Arial 16 </a:t>
            </a:r>
            <a:r>
              <a:rPr lang="en-GB" noProof="0" dirty="0" err="1"/>
              <a:t>pt</a:t>
            </a:r>
            <a:endParaRPr lang="en-GB" noProof="0" dirty="0"/>
          </a:p>
          <a:p>
            <a:pPr lvl="7"/>
            <a:r>
              <a:rPr lang="en-GB" noProof="0" dirty="0"/>
              <a:t>Eighth level,  Arial 16 </a:t>
            </a:r>
            <a:r>
              <a:rPr lang="en-GB" noProof="0" dirty="0" err="1"/>
              <a:t>pt</a:t>
            </a:r>
            <a:endParaRPr lang="en-GB" noProof="0" dirty="0"/>
          </a:p>
          <a:p>
            <a:pPr lvl="8"/>
            <a:r>
              <a:rPr lang="en-GB" noProof="0" dirty="0"/>
              <a:t>Ninth level,  Arial 16 </a:t>
            </a:r>
            <a:r>
              <a:rPr lang="en-GB" noProof="0" dirty="0" err="1"/>
              <a:t>pt</a:t>
            </a:r>
            <a:endParaRPr lang="en-GB" noProof="0" dirty="0"/>
          </a:p>
        </p:txBody>
      </p:sp>
      <p:sp>
        <p:nvSpPr>
          <p:cNvPr id="8" name="Foliennummernplatzhalter 5" descr="CMSLegal_Footer_SlideNumber"/>
          <p:cNvSpPr>
            <a:spLocks noGrp="1"/>
          </p:cNvSpPr>
          <p:nvPr>
            <p:ph type="sldNum" sz="quarter" idx="4"/>
          </p:nvPr>
        </p:nvSpPr>
        <p:spPr>
          <a:xfrm>
            <a:off x="11497454" y="6264000"/>
            <a:ext cx="288000" cy="594000"/>
          </a:xfrm>
          <a:prstGeom prst="rect">
            <a:avLst/>
          </a:prstGeom>
        </p:spPr>
        <p:txBody>
          <a:bodyPr vert="horz" wrap="square" lIns="0" tIns="0" rIns="0" bIns="0" numCol="1" anchor="ctr" anchorCtr="0" compatLnSpc="1">
            <a:prstTxWarp prst="textNoShape">
              <a:avLst/>
            </a:prstTxWarp>
          </a:bodyPr>
          <a:lstStyle>
            <a:lvl1pPr algn="l">
              <a:defRPr sz="1000">
                <a:solidFill>
                  <a:schemeClr val="tx1"/>
                </a:solidFill>
                <a:latin typeface="Arial" pitchFamily="34" charset="0"/>
                <a:cs typeface="Arial" pitchFamily="34" charset="0"/>
              </a:defRPr>
            </a:lvl1pPr>
          </a:lstStyle>
          <a:p>
            <a:fld id="{C59E9118-33B1-4D54-B9F3-5B7DAEA597CD}" type="slidenum">
              <a:rPr lang="en-GB" smtClean="0"/>
              <a:pPr/>
              <a:t>‹#›</a:t>
            </a:fld>
            <a:endParaRPr lang="en-GB" dirty="0"/>
          </a:p>
        </p:txBody>
      </p:sp>
      <p:sp>
        <p:nvSpPr>
          <p:cNvPr id="13" name="TextBox 12" descr="CMSLegal_Footer_Firm"/>
          <p:cNvSpPr txBox="1"/>
          <p:nvPr userDrawn="1">
            <p:custDataLst>
              <p:tags r:id="rId8"/>
            </p:custDataLst>
          </p:nvPr>
        </p:nvSpPr>
        <p:spPr>
          <a:xfrm>
            <a:off x="6326611"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
        <p:nvSpPr>
          <p:cNvPr id="4" name="TextBox 3">
            <a:extLst>
              <a:ext uri="{FF2B5EF4-FFF2-40B4-BE49-F238E27FC236}">
                <a16:creationId xmlns:a16="http://schemas.microsoft.com/office/drawing/2014/main" id="{23AA958F-5FED-EC33-13C9-61587014B89E}"/>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97A0DD31-C877-DE28-7D43-4520C1CF7888}"/>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77114006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Lst>
  <p:hf hdr="0" ftr="0" dt="0"/>
  <p:txStyles>
    <p:titleStyle>
      <a:lvl1pPr algn="l" rtl="0" eaLnBrk="1" fontAlgn="base" hangingPunct="1">
        <a:lnSpc>
          <a:spcPct val="100000"/>
        </a:lnSpc>
        <a:spcBef>
          <a:spcPct val="0"/>
        </a:spcBef>
        <a:spcAft>
          <a:spcPct val="0"/>
        </a:spcAft>
        <a:defRPr sz="3200" kern="2800" baseline="0">
          <a:solidFill>
            <a:schemeClr val="tx1"/>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E7F1D25-0CB4-9947-BC24-DCFCEED73DCD}"/>
              </a:ext>
            </a:extLst>
          </p:cNvPr>
          <p:cNvPicPr>
            <a:picLocks noChangeAspect="1"/>
          </p:cNvPicPr>
          <p:nvPr userDrawn="1"/>
        </p:nvPicPr>
        <p:blipFill>
          <a:blip r:embed="rId6"/>
          <a:stretch>
            <a:fillRect/>
          </a:stretch>
        </p:blipFill>
        <p:spPr>
          <a:xfrm>
            <a:off x="947738" y="6242704"/>
            <a:ext cx="720459" cy="119067"/>
          </a:xfrm>
          <a:prstGeom prst="rect">
            <a:avLst/>
          </a:prstGeom>
        </p:spPr>
      </p:pic>
      <p:sp>
        <p:nvSpPr>
          <p:cNvPr id="8" name="TextBox 7">
            <a:extLst>
              <a:ext uri="{FF2B5EF4-FFF2-40B4-BE49-F238E27FC236}">
                <a16:creationId xmlns:a16="http://schemas.microsoft.com/office/drawing/2014/main" id="{C19417CE-399A-4444-A8E2-15A8C8ABDB43}"/>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4" name="TextBox 3">
            <a:extLst>
              <a:ext uri="{FF2B5EF4-FFF2-40B4-BE49-F238E27FC236}">
                <a16:creationId xmlns:a16="http://schemas.microsoft.com/office/drawing/2014/main" id="{AB84846E-D51C-8938-FD40-EC8D5D775479}"/>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F5D2B3E2-DE34-8910-F4D3-D6CE73362FF6}"/>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0485361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extBox 12" descr="CMSLegal_Footer_Firm"/>
          <p:cNvSpPr txBox="1"/>
          <p:nvPr userDrawn="1">
            <p:custDataLst>
              <p:tags r:id="rId4"/>
            </p:custDataLst>
          </p:nvPr>
        </p:nvSpPr>
        <p:spPr>
          <a:xfrm>
            <a:off x="8362800" y="6264000"/>
            <a:ext cx="3240000" cy="594000"/>
          </a:xfrm>
          <a:prstGeom prst="rect">
            <a:avLst/>
          </a:prstGeom>
          <a:noFill/>
          <a:ln>
            <a:noFill/>
          </a:ln>
        </p:spPr>
        <p:txBody>
          <a:bodyPr wrap="square" lIns="0" tIns="0" rIns="0" bIns="0" rtlCol="0" anchor="ctr" anchorCtr="0">
            <a:noAutofit/>
          </a:bodyPr>
          <a:lstStyle/>
          <a:p>
            <a:pPr algn="r"/>
            <a:endParaRPr lang="en-GB" sz="1000" noProof="0" dirty="0">
              <a:solidFill>
                <a:schemeClr val="tx1"/>
              </a:solidFill>
              <a:latin typeface="Arial"/>
              <a:cs typeface="Arial" pitchFamily="34" charset="0"/>
            </a:endParaRPr>
          </a:p>
        </p:txBody>
      </p:sp>
      <p:sp>
        <p:nvSpPr>
          <p:cNvPr id="4" name="TextBox 3">
            <a:extLst>
              <a:ext uri="{FF2B5EF4-FFF2-40B4-BE49-F238E27FC236}">
                <a16:creationId xmlns:a16="http://schemas.microsoft.com/office/drawing/2014/main" id="{66CA2F1D-87FC-2AFB-B699-0701811C5613}"/>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45B1B82E-F806-277C-39BB-D7B951822E72}"/>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459079564"/>
      </p:ext>
    </p:extLst>
  </p:cSld>
  <p:clrMap bg1="lt1" tx1="dk1" bg2="lt2" tx2="dk2" accent1="accent1" accent2="accent2" accent3="accent3" accent4="accent4" accent5="accent5" accent6="accent6" hlink="hlink" folHlink="folHlink"/>
  <p:sldLayoutIdLst>
    <p:sldLayoutId id="2147483860" r:id="rId1"/>
    <p:sldLayoutId id="2147483861" r:id="rId2"/>
  </p:sldLayoutIdLst>
  <p:hf hdr="0" ftr="0" dt="0"/>
  <p:txStyles>
    <p:titleStyle>
      <a:lvl1pPr algn="l" rtl="0" eaLnBrk="1" fontAlgn="base" hangingPunct="1">
        <a:spcBef>
          <a:spcPct val="0"/>
        </a:spcBef>
        <a:spcAft>
          <a:spcPct val="0"/>
        </a:spcAft>
        <a:defRPr sz="2400" kern="1200">
          <a:solidFill>
            <a:srgbClr val="13294A"/>
          </a:solidFill>
          <a:latin typeface="Arial" pitchFamily="34" charset="0"/>
          <a:ea typeface="Arial" pitchFamily="-110" charset="0"/>
          <a:cs typeface="Arial" pitchFamily="34" charset="0"/>
        </a:defRPr>
      </a:lvl1pPr>
      <a:lvl2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2pPr>
      <a:lvl3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3pPr>
      <a:lvl4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4pPr>
      <a:lvl5pPr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5pPr>
      <a:lvl6pPr marL="4572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6pPr>
      <a:lvl7pPr marL="9144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7pPr>
      <a:lvl8pPr marL="13716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8pPr>
      <a:lvl9pPr marL="1828800" algn="l" rtl="0" eaLnBrk="1" fontAlgn="base" hangingPunct="1">
        <a:spcBef>
          <a:spcPct val="0"/>
        </a:spcBef>
        <a:spcAft>
          <a:spcPct val="0"/>
        </a:spcAft>
        <a:defRPr sz="2400">
          <a:solidFill>
            <a:srgbClr val="13294A"/>
          </a:solidFill>
          <a:latin typeface="Arial" pitchFamily="-110" charset="0"/>
          <a:ea typeface="Arial" pitchFamily="-110" charset="0"/>
          <a:cs typeface="Arial" pitchFamily="-110" charset="0"/>
        </a:defRPr>
      </a:lvl9pPr>
    </p:titleStyle>
    <p:bodyStyle>
      <a:lvl1pPr marL="342900" indent="-342900" algn="l" rtl="0" eaLnBrk="1" fontAlgn="base" hangingPunct="1">
        <a:spcBef>
          <a:spcPct val="20000"/>
        </a:spcBef>
        <a:spcAft>
          <a:spcPct val="0"/>
        </a:spcAft>
        <a:buFont typeface="Symbol" pitchFamily="-110" charset="2"/>
        <a:buChar char="-"/>
        <a:defRPr sz="2000" kern="1200">
          <a:solidFill>
            <a:srgbClr val="13294A"/>
          </a:solidFill>
          <a:latin typeface="Arial" pitchFamily="34" charset="0"/>
          <a:ea typeface="Arial" pitchFamily="-110" charset="0"/>
          <a:cs typeface="Arial" pitchFamily="34" charset="0"/>
        </a:defRPr>
      </a:lvl1pPr>
      <a:lvl2pPr marL="742950" indent="-285750" algn="l" rtl="0" eaLnBrk="1" fontAlgn="base" hangingPunct="1">
        <a:spcBef>
          <a:spcPct val="20000"/>
        </a:spcBef>
        <a:spcAft>
          <a:spcPct val="0"/>
        </a:spcAft>
        <a:buFont typeface="Arial" charset="0"/>
        <a:buChar char="•"/>
        <a:defRPr kern="1200">
          <a:solidFill>
            <a:srgbClr val="13294A"/>
          </a:solidFill>
          <a:latin typeface="Arial" pitchFamily="34" charset="0"/>
          <a:ea typeface="Arial" pitchFamily="-110" charset="0"/>
          <a:cs typeface="Arial" pitchFamily="34" charset="0"/>
        </a:defRPr>
      </a:lvl2pPr>
      <a:lvl3pPr marL="11430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rgbClr val="13294A"/>
          </a:solidFill>
          <a:latin typeface="Arial" pitchFamily="34" charset="0"/>
          <a:ea typeface="Arial" pitchFamily="-110" charset="0"/>
          <a:cs typeface="Arial" pitchFamily="34" charset="0"/>
        </a:defRPr>
      </a:lvl4pPr>
      <a:lvl5pPr marL="2057400" indent="-228600" algn="l" rtl="0" eaLnBrk="1" fontAlgn="base" hangingPunct="1">
        <a:spcBef>
          <a:spcPct val="20000"/>
        </a:spcBef>
        <a:spcAft>
          <a:spcPct val="0"/>
        </a:spcAft>
        <a:buFont typeface="Symbol" pitchFamily="-110" charset="2"/>
        <a:buChar char="-"/>
        <a:defRPr sz="1600" kern="1200">
          <a:solidFill>
            <a:srgbClr val="13294A"/>
          </a:solidFill>
          <a:latin typeface="Arial" pitchFamily="34" charset="0"/>
          <a:ea typeface="Arial" pitchFamily="-110"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DC595B-C69D-014C-9845-26BD78A07C41}"/>
              </a:ext>
            </a:extLst>
          </p:cNvPr>
          <p:cNvPicPr>
            <a:picLocks noChangeAspect="1"/>
          </p:cNvPicPr>
          <p:nvPr userDrawn="1"/>
        </p:nvPicPr>
        <p:blipFill>
          <a:blip r:embed="rId8"/>
          <a:srcRect/>
          <a:stretch/>
        </p:blipFill>
        <p:spPr>
          <a:xfrm>
            <a:off x="947739" y="6242704"/>
            <a:ext cx="720456" cy="119067"/>
          </a:xfrm>
          <a:prstGeom prst="rect">
            <a:avLst/>
          </a:prstGeom>
        </p:spPr>
      </p:pic>
      <p:sp>
        <p:nvSpPr>
          <p:cNvPr id="13" name="TextBox 12">
            <a:extLst>
              <a:ext uri="{FF2B5EF4-FFF2-40B4-BE49-F238E27FC236}">
                <a16:creationId xmlns:a16="http://schemas.microsoft.com/office/drawing/2014/main" id="{02D310BE-4420-9D4F-8E46-84C08F54B8B7}"/>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rgbClr val="001054"/>
                </a:solidFill>
                <a:latin typeface="Lato Black" panose="020F0502020204030203" pitchFamily="34" charset="77"/>
              </a:rPr>
              <a:t>‹#›</a:t>
            </a:fld>
            <a:endParaRPr lang="en-GB" sz="1200" b="1">
              <a:solidFill>
                <a:srgbClr val="001054"/>
              </a:solidFill>
              <a:latin typeface="Lato Black" panose="020F0502020204030203" pitchFamily="34" charset="77"/>
            </a:endParaRPr>
          </a:p>
        </p:txBody>
      </p:sp>
      <p:sp>
        <p:nvSpPr>
          <p:cNvPr id="4" name="TextBox 3">
            <a:extLst>
              <a:ext uri="{FF2B5EF4-FFF2-40B4-BE49-F238E27FC236}">
                <a16:creationId xmlns:a16="http://schemas.microsoft.com/office/drawing/2014/main" id="{17082E4E-9996-CF17-B3D7-D0FAEFC75461}"/>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E14205A1-7AC5-3CEE-54B6-28D5F2C0FFAC}"/>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420513639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5" r:id="rId3"/>
    <p:sldLayoutId id="2147483676" r:id="rId4"/>
    <p:sldLayoutId id="2147483677" r:id="rId5"/>
    <p:sldLayoutId id="2147483678"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4E7B95C-0889-1C42-BB16-5368CBF0F16E}"/>
              </a:ext>
            </a:extLst>
          </p:cNvPr>
          <p:cNvPicPr>
            <a:picLocks noChangeAspect="1"/>
          </p:cNvPicPr>
          <p:nvPr userDrawn="1"/>
        </p:nvPicPr>
        <p:blipFill>
          <a:blip r:embed="rId8"/>
          <a:stretch>
            <a:fillRect/>
          </a:stretch>
        </p:blipFill>
        <p:spPr>
          <a:xfrm>
            <a:off x="947738" y="6242704"/>
            <a:ext cx="720459" cy="119067"/>
          </a:xfrm>
          <a:prstGeom prst="rect">
            <a:avLst/>
          </a:prstGeom>
        </p:spPr>
      </p:pic>
      <p:sp>
        <p:nvSpPr>
          <p:cNvPr id="8" name="TextBox 7">
            <a:extLst>
              <a:ext uri="{FF2B5EF4-FFF2-40B4-BE49-F238E27FC236}">
                <a16:creationId xmlns:a16="http://schemas.microsoft.com/office/drawing/2014/main" id="{26A40A61-F610-2843-91A2-739B22B8D593}"/>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4" name="TextBox 3">
            <a:extLst>
              <a:ext uri="{FF2B5EF4-FFF2-40B4-BE49-F238E27FC236}">
                <a16:creationId xmlns:a16="http://schemas.microsoft.com/office/drawing/2014/main" id="{A721BA81-CA46-A897-25B2-4DEF42FF0593}"/>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1705BF9D-D834-48BC-DE1B-CE8CD4C18257}"/>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121950297"/>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683" r:id="rId3"/>
    <p:sldLayoutId id="2147483684" r:id="rId4"/>
    <p:sldLayoutId id="2147483685" r:id="rId5"/>
    <p:sldLayoutId id="2147483686"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094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0DE82A-CD8A-6644-A450-CFA3C20C5EC4}"/>
              </a:ext>
            </a:extLst>
          </p:cNvPr>
          <p:cNvPicPr>
            <a:picLocks noChangeAspect="1"/>
          </p:cNvPicPr>
          <p:nvPr userDrawn="1"/>
        </p:nvPicPr>
        <p:blipFill>
          <a:blip r:embed="rId4"/>
          <a:stretch>
            <a:fillRect/>
          </a:stretch>
        </p:blipFill>
        <p:spPr>
          <a:xfrm>
            <a:off x="947738" y="6242704"/>
            <a:ext cx="720459" cy="119067"/>
          </a:xfrm>
          <a:prstGeom prst="rect">
            <a:avLst/>
          </a:prstGeom>
        </p:spPr>
      </p:pic>
      <p:sp>
        <p:nvSpPr>
          <p:cNvPr id="8" name="TextBox 7">
            <a:extLst>
              <a:ext uri="{FF2B5EF4-FFF2-40B4-BE49-F238E27FC236}">
                <a16:creationId xmlns:a16="http://schemas.microsoft.com/office/drawing/2014/main" id="{519BBA21-6DEB-0F4C-8809-9EEA29483A57}"/>
              </a:ext>
            </a:extLst>
          </p:cNvPr>
          <p:cNvSpPr txBox="1"/>
          <p:nvPr userDrawn="1"/>
        </p:nvSpPr>
        <p:spPr>
          <a:xfrm>
            <a:off x="11611825" y="6160696"/>
            <a:ext cx="460906" cy="307841"/>
          </a:xfrm>
          <a:prstGeom prst="rect">
            <a:avLst/>
          </a:prstGeom>
          <a:noFill/>
        </p:spPr>
        <p:txBody>
          <a:bodyPr wrap="square" rtlCol="0">
            <a:spAutoFit/>
          </a:bodyPr>
          <a:lstStyle/>
          <a:p>
            <a:pPr>
              <a:lnSpc>
                <a:spcPts val="1900"/>
              </a:lnSpc>
            </a:pPr>
            <a:fld id="{3BC04005-DCC8-1F4F-ADF5-9675CF6A0802}" type="slidenum">
              <a:rPr lang="en-GB" sz="1200" b="1" smtClean="0">
                <a:solidFill>
                  <a:schemeClr val="bg1"/>
                </a:solidFill>
                <a:latin typeface="Lato Black" panose="020F0502020204030203" pitchFamily="34" charset="77"/>
              </a:rPr>
              <a:t>‹#›</a:t>
            </a:fld>
            <a:endParaRPr lang="en-GB" sz="1200" b="1">
              <a:solidFill>
                <a:schemeClr val="bg1"/>
              </a:solidFill>
              <a:latin typeface="Lato Black" panose="020F0502020204030203" pitchFamily="34" charset="77"/>
            </a:endParaRPr>
          </a:p>
        </p:txBody>
      </p:sp>
      <p:sp>
        <p:nvSpPr>
          <p:cNvPr id="4" name="TextBox 3">
            <a:extLst>
              <a:ext uri="{FF2B5EF4-FFF2-40B4-BE49-F238E27FC236}">
                <a16:creationId xmlns:a16="http://schemas.microsoft.com/office/drawing/2014/main" id="{77EAF3F2-D56C-80F8-6F61-FFF0442F4EC2}"/>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5" name="TextBox 4">
            <a:extLst>
              <a:ext uri="{FF2B5EF4-FFF2-40B4-BE49-F238E27FC236}">
                <a16:creationId xmlns:a16="http://schemas.microsoft.com/office/drawing/2014/main" id="{BC048D33-B38F-E31C-ACEE-CB59851D3E64}"/>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84376413"/>
      </p:ext>
    </p:extLst>
  </p:cSld>
  <p:clrMap bg1="lt1" tx1="dk1" bg2="lt2" tx2="dk2" accent1="accent1" accent2="accent2" accent3="accent3" accent4="accent4" accent5="accent5" accent6="accent6" hlink="hlink" folHlink="folHlink"/>
  <p:sldLayoutIdLst>
    <p:sldLayoutId id="2147483688" r:id="rId1"/>
    <p:sldLayoutId id="214748368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picture containing orange, amber, peach, red&#10;&#10;Description automatically generated">
            <a:extLst>
              <a:ext uri="{FF2B5EF4-FFF2-40B4-BE49-F238E27FC236}">
                <a16:creationId xmlns:a16="http://schemas.microsoft.com/office/drawing/2014/main" id="{BE21F214-0C76-B98C-4C0D-43AED119CB3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pic>
        <p:nvPicPr>
          <p:cNvPr id="3" name="Picture 2" descr="A picture containing sketch, diagram, design, art&#10;&#10;Description automatically generated">
            <a:extLst>
              <a:ext uri="{FF2B5EF4-FFF2-40B4-BE49-F238E27FC236}">
                <a16:creationId xmlns:a16="http://schemas.microsoft.com/office/drawing/2014/main" id="{CACE55EB-00DE-8A7A-D425-40B26A7006E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140000">
            <a:off x="-360000" y="900000"/>
            <a:ext cx="10496000" cy="5904000"/>
          </a:xfrm>
          <a:prstGeom prst="rect">
            <a:avLst/>
          </a:prstGeom>
        </p:spPr>
      </p:pic>
      <p:sp>
        <p:nvSpPr>
          <p:cNvPr id="5" name="Title Placeholder 1">
            <a:extLst>
              <a:ext uri="{FF2B5EF4-FFF2-40B4-BE49-F238E27FC236}">
                <a16:creationId xmlns:a16="http://schemas.microsoft.com/office/drawing/2014/main" id="{F9BA10A8-39BE-452E-888A-5FBFD447D16E}"/>
              </a:ext>
            </a:extLst>
          </p:cNvPr>
          <p:cNvSpPr>
            <a:spLocks noGrp="1"/>
          </p:cNvSpPr>
          <p:nvPr>
            <p:ph type="title"/>
          </p:nvPr>
        </p:nvSpPr>
        <p:spPr>
          <a:xfrm>
            <a:off x="5580000" y="2159999"/>
            <a:ext cx="6120000" cy="1800000"/>
          </a:xfrm>
          <a:prstGeom prst="rect">
            <a:avLst/>
          </a:prstGeom>
          <a:noFill/>
        </p:spPr>
        <p:txBody>
          <a:bodyPr vert="horz" lIns="91440" tIns="45720" rIns="91440" bIns="45720" rtlCol="0" anchor="ctr">
            <a:noAutofit/>
          </a:bodyPr>
          <a:lstStyle/>
          <a:p>
            <a:r>
              <a:rPr lang="en-US"/>
              <a:t>CLICK TO EDIT MASTER TITLE STYLE HERE</a:t>
            </a:r>
            <a:endParaRPr lang="en-GB"/>
          </a:p>
        </p:txBody>
      </p:sp>
      <p:sp>
        <p:nvSpPr>
          <p:cNvPr id="8" name="Text Placeholder 3">
            <a:extLst>
              <a:ext uri="{FF2B5EF4-FFF2-40B4-BE49-F238E27FC236}">
                <a16:creationId xmlns:a16="http://schemas.microsoft.com/office/drawing/2014/main" id="{6B3855FE-6EB6-E608-3144-84055672DF6C}"/>
              </a:ext>
            </a:extLst>
          </p:cNvPr>
          <p:cNvSpPr>
            <a:spLocks noGrp="1"/>
          </p:cNvSpPr>
          <p:nvPr>
            <p:ph type="body" idx="1"/>
          </p:nvPr>
        </p:nvSpPr>
        <p:spPr>
          <a:xfrm>
            <a:off x="5580000" y="4140000"/>
            <a:ext cx="6120000" cy="504948"/>
          </a:xfrm>
          <a:prstGeom prst="rect">
            <a:avLst/>
          </a:prstGeom>
        </p:spPr>
        <p:txBody>
          <a:bodyPr vert="horz" lIns="91440" tIns="45720" rIns="91440" bIns="45720" rtlCol="0" anchor="ctr">
            <a:normAutofit/>
          </a:bodyPr>
          <a:lstStyle/>
          <a:p>
            <a:pPr lvl="0"/>
            <a:endParaRPr lang="en-GB"/>
          </a:p>
        </p:txBody>
      </p:sp>
      <p:pic>
        <p:nvPicPr>
          <p:cNvPr id="6" name="Picture 5">
            <a:extLst>
              <a:ext uri="{FF2B5EF4-FFF2-40B4-BE49-F238E27FC236}">
                <a16:creationId xmlns:a16="http://schemas.microsoft.com/office/drawing/2014/main" id="{05C29DE0-2E2E-9714-3B4D-E5F2B3B03E70}"/>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180000" y="360000"/>
            <a:ext cx="2590704" cy="900000"/>
          </a:xfrm>
          <a:prstGeom prst="rect">
            <a:avLst/>
          </a:prstGeom>
        </p:spPr>
      </p:pic>
      <p:sp>
        <p:nvSpPr>
          <p:cNvPr id="9" name="TextBox 8">
            <a:extLst>
              <a:ext uri="{FF2B5EF4-FFF2-40B4-BE49-F238E27FC236}">
                <a16:creationId xmlns:a16="http://schemas.microsoft.com/office/drawing/2014/main" id="{A5235052-6104-FBEA-B21A-661A548459E1}"/>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10" name="TextBox 9">
            <a:extLst>
              <a:ext uri="{FF2B5EF4-FFF2-40B4-BE49-F238E27FC236}">
                <a16:creationId xmlns:a16="http://schemas.microsoft.com/office/drawing/2014/main" id="{1571EE61-E585-DBA9-2782-FDE0E57D5AD5}"/>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6484870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Lst>
  <p:hf sldNum="0" hdr="0" ftr="0" dt="0"/>
  <p:txStyles>
    <p:titleStyle>
      <a:lvl1pPr algn="l" defTabSz="914400" rtl="0" eaLnBrk="1" latinLnBrk="0" hangingPunct="1">
        <a:spcBef>
          <a:spcPct val="0"/>
        </a:spcBef>
        <a:buNone/>
        <a:defRPr sz="45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ct val="20000"/>
        </a:spcBef>
        <a:buFont typeface="Arial" pitchFamily="34" charset="0"/>
        <a:buNone/>
        <a:defRPr sz="2000" kern="1200">
          <a:solidFill>
            <a:schemeClr val="bg1"/>
          </a:solidFill>
          <a:latin typeface="Verdana" panose="020B0604030504040204" pitchFamily="34" charset="0"/>
          <a:ea typeface="Verdana" panose="020B0604030504040204" pitchFamily="34" charset="0"/>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8" y="540000"/>
            <a:ext cx="8280000" cy="468000"/>
          </a:xfrm>
          <a:prstGeom prst="rect">
            <a:avLst/>
          </a:prstGeom>
          <a:noFill/>
        </p:spPr>
        <p:txBody>
          <a:bodyPr vert="horz" lIns="91440" tIns="45720" rIns="91440" bIns="45720" rtlCol="0" anchor="t" anchorCtr="0">
            <a:noAutofit/>
          </a:bodyPr>
          <a:lstStyle/>
          <a:p>
            <a:r>
              <a:rPr lang="en-US"/>
              <a:t>CLICK TO EDIT MASTER TITLE</a:t>
            </a:r>
            <a:endParaRPr lang="en-GB"/>
          </a:p>
        </p:txBody>
      </p:sp>
      <p:pic>
        <p:nvPicPr>
          <p:cNvPr id="3" name="Picture 2" descr="A picture containing text, font, graphics, screenshot&#10;&#10;Description automatically generated">
            <a:extLst>
              <a:ext uri="{FF2B5EF4-FFF2-40B4-BE49-F238E27FC236}">
                <a16:creationId xmlns:a16="http://schemas.microsoft.com/office/drawing/2014/main" id="{2AE03428-1EC5-C281-888B-AB3C492B171C}"/>
              </a:ext>
            </a:extLst>
          </p:cNvPr>
          <p:cNvPicPr>
            <a:picLocks noChangeAspect="1"/>
          </p:cNvPicPr>
          <p:nvPr userDrawn="1"/>
        </p:nvPicPr>
        <p:blipFill>
          <a:blip r:embed="rId19"/>
          <a:stretch>
            <a:fillRect/>
          </a:stretch>
        </p:blipFill>
        <p:spPr>
          <a:xfrm>
            <a:off x="9180000" y="360000"/>
            <a:ext cx="2590705" cy="900000"/>
          </a:xfrm>
          <a:prstGeom prst="rect">
            <a:avLst/>
          </a:prstGeom>
        </p:spPr>
      </p:pic>
      <p:sp>
        <p:nvSpPr>
          <p:cNvPr id="5" name="TextBox 4">
            <a:extLst>
              <a:ext uri="{FF2B5EF4-FFF2-40B4-BE49-F238E27FC236}">
                <a16:creationId xmlns:a16="http://schemas.microsoft.com/office/drawing/2014/main" id="{835FC3CF-CF32-13C8-753B-9FDE93F33474}"/>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6" name="TextBox 5">
            <a:extLst>
              <a:ext uri="{FF2B5EF4-FFF2-40B4-BE49-F238E27FC236}">
                <a16:creationId xmlns:a16="http://schemas.microsoft.com/office/drawing/2014/main" id="{746B05BA-537A-4C01-925E-3CA0261513D1}"/>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62047152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 close up of a logo&#10;&#10;Description automatically generated">
            <a:extLst>
              <a:ext uri="{FF2B5EF4-FFF2-40B4-BE49-F238E27FC236}">
                <a16:creationId xmlns:a16="http://schemas.microsoft.com/office/drawing/2014/main" id="{651BB12D-E6BB-23CF-D13A-18A54DB2788C}"/>
              </a:ext>
            </a:extLst>
          </p:cNvPr>
          <p:cNvPicPr>
            <a:picLocks noChangeAspect="1"/>
          </p:cNvPicPr>
          <p:nvPr userDrawn="1"/>
        </p:nvPicPr>
        <p:blipFill>
          <a:blip r:embed="rId18"/>
          <a:stretch>
            <a:fillRect/>
          </a:stretch>
        </p:blipFill>
        <p:spPr>
          <a:xfrm>
            <a:off x="9337236" y="508205"/>
            <a:ext cx="2268024" cy="597719"/>
          </a:xfrm>
          <a:prstGeom prst="rect">
            <a:avLst/>
          </a:prstGeom>
        </p:spPr>
      </p:pic>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9" y="540000"/>
            <a:ext cx="7500173" cy="597719"/>
          </a:xfrm>
          <a:prstGeom prst="rect">
            <a:avLst/>
          </a:prstGeom>
          <a:noFill/>
        </p:spPr>
        <p:txBody>
          <a:bodyPr vert="horz" lIns="91440" tIns="45720" rIns="91440" bIns="45720" rtlCol="0" anchor="ctr">
            <a:noAutofit/>
          </a:bodyPr>
          <a:lstStyle/>
          <a:p>
            <a:r>
              <a:rPr lang="en-US"/>
              <a:t>CLICK TO EDIT MASTER TITLE</a:t>
            </a:r>
            <a:endParaRPr lang="en-GB"/>
          </a:p>
        </p:txBody>
      </p:sp>
      <p:sp>
        <p:nvSpPr>
          <p:cNvPr id="5" name="TextBox 4">
            <a:extLst>
              <a:ext uri="{FF2B5EF4-FFF2-40B4-BE49-F238E27FC236}">
                <a16:creationId xmlns:a16="http://schemas.microsoft.com/office/drawing/2014/main" id="{801DF4CA-90F2-8663-117C-CC8E3296C190}"/>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6" name="TextBox 5">
            <a:extLst>
              <a:ext uri="{FF2B5EF4-FFF2-40B4-BE49-F238E27FC236}">
                <a16:creationId xmlns:a16="http://schemas.microsoft.com/office/drawing/2014/main" id="{5FDCB393-E186-9D7B-424D-88A532B84940}"/>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426939314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Lst>
  <p:txStyles>
    <p:titleStyle>
      <a:lvl1pPr algn="l" defTabSz="914400" rtl="0" eaLnBrk="1" latinLnBrk="0" hangingPunct="1">
        <a:lnSpc>
          <a:spcPct val="90000"/>
        </a:lnSpc>
        <a:spcBef>
          <a:spcPct val="0"/>
        </a:spcBef>
        <a:buNone/>
        <a:defRPr sz="3000" b="1" kern="1200">
          <a:gradFill>
            <a:gsLst>
              <a:gs pos="0">
                <a:srgbClr val="FF1B12"/>
              </a:gs>
              <a:gs pos="100000">
                <a:srgbClr val="FF9D1A"/>
              </a:gs>
            </a:gsLst>
            <a:lin ang="3000000" scaled="0"/>
          </a:gra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picture containing orange, amber, peach, red&#10;&#10;Description automatically generated">
            <a:extLst>
              <a:ext uri="{FF2B5EF4-FFF2-40B4-BE49-F238E27FC236}">
                <a16:creationId xmlns:a16="http://schemas.microsoft.com/office/drawing/2014/main" id="{22D179C2-A893-2CFE-86EE-8D65087AD48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654" t="1693" r="1588" b="1627"/>
          <a:stretch/>
        </p:blipFill>
        <p:spPr>
          <a:xfrm>
            <a:off x="0" y="0"/>
            <a:ext cx="12192000" cy="6857999"/>
          </a:xfrm>
          <a:prstGeom prst="rect">
            <a:avLst/>
          </a:prstGeom>
        </p:spPr>
      </p:pic>
      <p:pic>
        <p:nvPicPr>
          <p:cNvPr id="8" name="Picture 7" descr="A black background with white squares&#10;&#10;Description automatically generated">
            <a:extLst>
              <a:ext uri="{FF2B5EF4-FFF2-40B4-BE49-F238E27FC236}">
                <a16:creationId xmlns:a16="http://schemas.microsoft.com/office/drawing/2014/main" id="{23B806AD-0EF6-222E-E484-F039C6A19F39}"/>
              </a:ext>
            </a:extLst>
          </p:cNvPr>
          <p:cNvPicPr>
            <a:picLocks noChangeAspect="1"/>
          </p:cNvPicPr>
          <p:nvPr userDrawn="1"/>
        </p:nvPicPr>
        <p:blipFill rotWithShape="1">
          <a:blip r:embed="rId7">
            <a:alphaModFix amt="70000"/>
            <a:extLst>
              <a:ext uri="{28A0092B-C50C-407E-A947-70E740481C1C}">
                <a14:useLocalDpi xmlns:a14="http://schemas.microsoft.com/office/drawing/2010/main" val="0"/>
              </a:ext>
            </a:extLst>
          </a:blip>
          <a:srcRect l="16294" t="8890" r="43066" b="32380"/>
          <a:stretch/>
        </p:blipFill>
        <p:spPr>
          <a:xfrm rot="20814078">
            <a:off x="6076536" y="-430075"/>
            <a:ext cx="6879925" cy="7077257"/>
          </a:xfrm>
          <a:prstGeom prst="rect">
            <a:avLst/>
          </a:prstGeom>
        </p:spPr>
      </p:pic>
      <p:pic>
        <p:nvPicPr>
          <p:cNvPr id="5" name="Picture 4">
            <a:extLst>
              <a:ext uri="{FF2B5EF4-FFF2-40B4-BE49-F238E27FC236}">
                <a16:creationId xmlns:a16="http://schemas.microsoft.com/office/drawing/2014/main" id="{0320F762-AD45-A13A-2215-AABE1D61E49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180000" y="360000"/>
            <a:ext cx="2590704" cy="900000"/>
          </a:xfrm>
          <a:prstGeom prst="rect">
            <a:avLst/>
          </a:prstGeom>
        </p:spPr>
      </p:pic>
      <p:sp>
        <p:nvSpPr>
          <p:cNvPr id="7" name="Title Placeholder 1">
            <a:extLst>
              <a:ext uri="{FF2B5EF4-FFF2-40B4-BE49-F238E27FC236}">
                <a16:creationId xmlns:a16="http://schemas.microsoft.com/office/drawing/2014/main" id="{1DA9AA89-FDB8-E742-13BE-1807A854801D}"/>
              </a:ext>
            </a:extLst>
          </p:cNvPr>
          <p:cNvSpPr>
            <a:spLocks noGrp="1"/>
          </p:cNvSpPr>
          <p:nvPr>
            <p:ph type="title"/>
          </p:nvPr>
        </p:nvSpPr>
        <p:spPr>
          <a:xfrm>
            <a:off x="719998" y="540000"/>
            <a:ext cx="8280000" cy="468000"/>
          </a:xfrm>
          <a:prstGeom prst="rect">
            <a:avLst/>
          </a:prstGeom>
          <a:noFill/>
        </p:spPr>
        <p:txBody>
          <a:bodyPr vert="horz" lIns="91440" tIns="45720" rIns="91440" bIns="45720" rtlCol="0" anchor="t" anchorCtr="0">
            <a:noAutofit/>
          </a:bodyPr>
          <a:lstStyle/>
          <a:p>
            <a:r>
              <a:rPr lang="en-US"/>
              <a:t>CLICK TO EDIT MASTER TITLE</a:t>
            </a:r>
            <a:endParaRPr lang="en-GB"/>
          </a:p>
        </p:txBody>
      </p:sp>
      <p:pic>
        <p:nvPicPr>
          <p:cNvPr id="3" name="Picture 2" descr="A black background with white squares&#10;&#10;Description automatically generated">
            <a:extLst>
              <a:ext uri="{FF2B5EF4-FFF2-40B4-BE49-F238E27FC236}">
                <a16:creationId xmlns:a16="http://schemas.microsoft.com/office/drawing/2014/main" id="{5B6E72D6-F2CA-D290-7695-F105178B6875}"/>
              </a:ext>
            </a:extLst>
          </p:cNvPr>
          <p:cNvPicPr>
            <a:picLocks noChangeAspect="1"/>
          </p:cNvPicPr>
          <p:nvPr userDrawn="1"/>
        </p:nvPicPr>
        <p:blipFill rotWithShape="1">
          <a:blip r:embed="rId9">
            <a:alphaModFix amt="70000"/>
            <a:extLst>
              <a:ext uri="{28A0092B-C50C-407E-A947-70E740481C1C}">
                <a14:useLocalDpi xmlns:a14="http://schemas.microsoft.com/office/drawing/2010/main" val="0"/>
              </a:ext>
            </a:extLst>
          </a:blip>
          <a:srcRect l="34037" b="25972"/>
          <a:stretch/>
        </p:blipFill>
        <p:spPr>
          <a:xfrm>
            <a:off x="0" y="2257882"/>
            <a:ext cx="8042190" cy="5076825"/>
          </a:xfrm>
          <a:prstGeom prst="rect">
            <a:avLst/>
          </a:prstGeom>
        </p:spPr>
      </p:pic>
      <p:sp>
        <p:nvSpPr>
          <p:cNvPr id="9" name="TextBox 8">
            <a:extLst>
              <a:ext uri="{FF2B5EF4-FFF2-40B4-BE49-F238E27FC236}">
                <a16:creationId xmlns:a16="http://schemas.microsoft.com/office/drawing/2014/main" id="{17E6C86F-172E-EAE0-BE88-4FD0D840B14E}"/>
              </a:ext>
            </a:extLst>
          </p:cNvPr>
          <p:cNvSpPr txBox="1"/>
          <p:nvPr userDrawn="1">
            <p:extLst>
              <p:ext uri="{1162E1C5-73C7-4A58-AE30-91384D911F3F}">
                <p184:classification xmlns:p184="http://schemas.microsoft.com/office/powerpoint/2018/4/main" val="hdr"/>
              </p:ext>
            </p:extLst>
          </p:nvPr>
        </p:nvSpPr>
        <p:spPr>
          <a:xfrm>
            <a:off x="5865813" y="635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
        <p:nvSpPr>
          <p:cNvPr id="10" name="TextBox 9">
            <a:extLst>
              <a:ext uri="{FF2B5EF4-FFF2-40B4-BE49-F238E27FC236}">
                <a16:creationId xmlns:a16="http://schemas.microsoft.com/office/drawing/2014/main" id="{1F6E2536-0FB3-E750-C01B-F27F5DB89B91}"/>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1777838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Lst>
  <p:txStyles>
    <p:titleStyle>
      <a:lvl1pPr algn="l" defTabSz="914400" rtl="0" eaLnBrk="1" latinLnBrk="0" hangingPunct="1">
        <a:lnSpc>
          <a:spcPct val="90000"/>
        </a:lnSpc>
        <a:spcBef>
          <a:spcPct val="0"/>
        </a:spcBef>
        <a:buNone/>
        <a:defRPr sz="30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54555A"/>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2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jpg"/><Relationship Id="rId1" Type="http://schemas.openxmlformats.org/officeDocument/2006/relationships/slideLayout" Target="../slideLayouts/slideLayout131.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emf"/><Relationship Id="rId2" Type="http://schemas.openxmlformats.org/officeDocument/2006/relationships/image" Target="../media/image55.jpg"/><Relationship Id="rId1" Type="http://schemas.openxmlformats.org/officeDocument/2006/relationships/slideLayout" Target="../slideLayouts/slideLayout128.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sv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Layout" Target="../slideLayouts/slideLayout130.xml"/></Relationships>
</file>

<file path=ppt/slides/_rels/slide2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5.jpg"/><Relationship Id="rId1" Type="http://schemas.openxmlformats.org/officeDocument/2006/relationships/slideLayout" Target="../slideLayouts/slideLayout128.xml"/></Relationships>
</file>

<file path=ppt/slides/_rels/slide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8.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4.jpg"/><Relationship Id="rId1" Type="http://schemas.openxmlformats.org/officeDocument/2006/relationships/slideLayout" Target="../slideLayouts/slideLayout130.xml"/></Relationships>
</file>

<file path=ppt/slides/_rels/slide3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63.png"/><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xml"/><Relationship Id="rId1" Type="http://schemas.openxmlformats.org/officeDocument/2006/relationships/slideLayout" Target="../slideLayouts/slideLayout133.xml"/><Relationship Id="rId5" Type="http://schemas.openxmlformats.org/officeDocument/2006/relationships/image" Target="../media/image67.svg"/><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134.xml"/><Relationship Id="rId6" Type="http://schemas.openxmlformats.org/officeDocument/2006/relationships/image" Target="../media/image71.svg"/><Relationship Id="rId11" Type="http://schemas.openxmlformats.org/officeDocument/2006/relationships/image" Target="../media/image74.jpeg"/><Relationship Id="rId5" Type="http://schemas.openxmlformats.org/officeDocument/2006/relationships/image" Target="../media/image70.png"/><Relationship Id="rId10" Type="http://schemas.openxmlformats.org/officeDocument/2006/relationships/image" Target="../media/image67.svg"/><Relationship Id="rId4" Type="http://schemas.openxmlformats.org/officeDocument/2006/relationships/image" Target="../media/image69.svg"/><Relationship Id="rId9" Type="http://schemas.openxmlformats.org/officeDocument/2006/relationships/image" Target="../media/image66.png"/></Relationships>
</file>

<file path=ppt/slides/_rels/slide37.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3.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134.xml"/><Relationship Id="rId6" Type="http://schemas.openxmlformats.org/officeDocument/2006/relationships/image" Target="../media/image78.sv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s>
</file>

<file path=ppt/slides/_rels/slide3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notesSlide" Target="../notesSlides/notesSlide4.xml"/><Relationship Id="rId1" Type="http://schemas.openxmlformats.org/officeDocument/2006/relationships/slideLayout" Target="../slideLayouts/slideLayout134.xml"/><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4.xml"/></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4.xml"/></Relationships>
</file>

<file path=ppt/slides/_rels/slide43.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notesSlide" Target="../notesSlides/notesSlide9.xml"/><Relationship Id="rId5" Type="http://schemas.openxmlformats.org/officeDocument/2006/relationships/tags" Target="../tags/tag69.xml"/><Relationship Id="rId10" Type="http://schemas.openxmlformats.org/officeDocument/2006/relationships/slideLayout" Target="../slideLayouts/slideLayout134.xml"/><Relationship Id="rId4" Type="http://schemas.openxmlformats.org/officeDocument/2006/relationships/tags" Target="../tags/tag68.xml"/><Relationship Id="rId9" Type="http://schemas.openxmlformats.org/officeDocument/2006/relationships/tags" Target="../tags/tag73.xml"/></Relationships>
</file>

<file path=ppt/slides/_rels/slide44.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notesSlide" Target="../notesSlides/notesSlide10.xml"/><Relationship Id="rId1" Type="http://schemas.openxmlformats.org/officeDocument/2006/relationships/slideLayout" Target="../slideLayouts/slideLayout134.xml"/><Relationship Id="rId6" Type="http://schemas.openxmlformats.org/officeDocument/2006/relationships/image" Target="../media/image106.sv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s>
</file>

<file path=ppt/slides/_rels/slide45.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jpeg"/><Relationship Id="rId7" Type="http://schemas.openxmlformats.org/officeDocument/2006/relationships/image" Target="../media/image119.png"/><Relationship Id="rId2" Type="http://schemas.openxmlformats.org/officeDocument/2006/relationships/notesSlide" Target="../notesSlides/notesSlide11.xml"/><Relationship Id="rId1" Type="http://schemas.openxmlformats.org/officeDocument/2006/relationships/slideLayout" Target="../slideLayouts/slideLayout134.xml"/><Relationship Id="rId6" Type="http://schemas.openxmlformats.org/officeDocument/2006/relationships/image" Target="../media/image118.png"/><Relationship Id="rId5" Type="http://schemas.openxmlformats.org/officeDocument/2006/relationships/image" Target="../media/image117.jpeg"/><Relationship Id="rId4" Type="http://schemas.openxmlformats.org/officeDocument/2006/relationships/image" Target="../media/image116.jpeg"/></Relationships>
</file>

<file path=ppt/slides/_rels/slide46.xml.rels><?xml version="1.0" encoding="UTF-8" standalone="yes"?>
<Relationships xmlns="http://schemas.openxmlformats.org/package/2006/relationships"><Relationship Id="rId3" Type="http://schemas.openxmlformats.org/officeDocument/2006/relationships/image" Target="../media/image122.svg"/><Relationship Id="rId7" Type="http://schemas.openxmlformats.org/officeDocument/2006/relationships/image" Target="../media/image126.svg"/><Relationship Id="rId2" Type="http://schemas.openxmlformats.org/officeDocument/2006/relationships/image" Target="../media/image121.png"/><Relationship Id="rId1" Type="http://schemas.openxmlformats.org/officeDocument/2006/relationships/slideLayout" Target="../slideLayouts/slideLayout134.xml"/><Relationship Id="rId6" Type="http://schemas.openxmlformats.org/officeDocument/2006/relationships/image" Target="../media/image125.png"/><Relationship Id="rId5" Type="http://schemas.openxmlformats.org/officeDocument/2006/relationships/image" Target="../media/image124.svg"/><Relationship Id="rId4" Type="http://schemas.openxmlformats.org/officeDocument/2006/relationships/image" Target="../media/image123.png"/></Relationships>
</file>

<file path=ppt/slides/_rels/slide47.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image" Target="../media/image127.jpeg"/><Relationship Id="rId7" Type="http://schemas.openxmlformats.org/officeDocument/2006/relationships/image" Target="../media/image131.jpeg"/><Relationship Id="rId2" Type="http://schemas.openxmlformats.org/officeDocument/2006/relationships/notesSlide" Target="../notesSlides/notesSlide12.xml"/><Relationship Id="rId1" Type="http://schemas.openxmlformats.org/officeDocument/2006/relationships/slideLayout" Target="../slideLayouts/slideLayout134.xml"/><Relationship Id="rId6" Type="http://schemas.openxmlformats.org/officeDocument/2006/relationships/image" Target="../media/image130.jpeg"/><Relationship Id="rId5" Type="http://schemas.openxmlformats.org/officeDocument/2006/relationships/image" Target="../media/image129.jpeg"/><Relationship Id="rId4" Type="http://schemas.openxmlformats.org/officeDocument/2006/relationships/image" Target="../media/image128.jpeg"/></Relationships>
</file>

<file path=ppt/slides/_rels/slide4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3.xml"/><Relationship Id="rId1" Type="http://schemas.openxmlformats.org/officeDocument/2006/relationships/slideLayout" Target="../slideLayouts/slideLayout133.xml"/><Relationship Id="rId6" Type="http://schemas.openxmlformats.org/officeDocument/2006/relationships/image" Target="../media/image67.svg"/><Relationship Id="rId5" Type="http://schemas.openxmlformats.org/officeDocument/2006/relationships/image" Target="../media/image66.png"/><Relationship Id="rId4" Type="http://schemas.microsoft.com/office/2007/relationships/hdphoto" Target="../media/hdphoto1.wdp"/></Relationships>
</file>

<file path=ppt/slides/_rels/slide49.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50.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14.xml"/><Relationship Id="rId1" Type="http://schemas.openxmlformats.org/officeDocument/2006/relationships/slideLayout" Target="../slideLayouts/slideLayout135.xml"/><Relationship Id="rId4" Type="http://schemas.openxmlformats.org/officeDocument/2006/relationships/image" Target="../media/image135.png"/></Relationships>
</file>

<file path=ppt/slides/_rels/slide51.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13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5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7.jpeg"/><Relationship Id="rId1" Type="http://schemas.openxmlformats.org/officeDocument/2006/relationships/slideLayout" Target="../slideLayouts/slideLayout136.xml"/></Relationships>
</file>

<file path=ppt/slides/_rels/slide5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8.png"/><Relationship Id="rId1" Type="http://schemas.openxmlformats.org/officeDocument/2006/relationships/slideLayout" Target="../slideLayouts/slideLayout136.xml"/></Relationships>
</file>

<file path=ppt/slides/_rels/slide5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8.png"/><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8.png"/><Relationship Id="rId1" Type="http://schemas.openxmlformats.org/officeDocument/2006/relationships/slideLayout" Target="../slideLayouts/slideLayout136.xml"/></Relationships>
</file>

<file path=ppt/slides/_rels/slide5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9.jpeg"/><Relationship Id="rId1" Type="http://schemas.openxmlformats.org/officeDocument/2006/relationships/slideLayout" Target="../slideLayouts/slideLayout136.xml"/></Relationships>
</file>

<file path=ppt/slides/_rels/slide58.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png"/><Relationship Id="rId18" Type="http://schemas.openxmlformats.org/officeDocument/2006/relationships/image" Target="../media/image156.png"/><Relationship Id="rId3" Type="http://schemas.openxmlformats.org/officeDocument/2006/relationships/image" Target="../media/image141.png"/><Relationship Id="rId7" Type="http://schemas.openxmlformats.org/officeDocument/2006/relationships/image" Target="../media/image145.png"/><Relationship Id="rId12" Type="http://schemas.openxmlformats.org/officeDocument/2006/relationships/image" Target="../media/image150.png"/><Relationship Id="rId17" Type="http://schemas.openxmlformats.org/officeDocument/2006/relationships/image" Target="../media/image155.png"/><Relationship Id="rId2" Type="http://schemas.openxmlformats.org/officeDocument/2006/relationships/image" Target="../media/image140.jpeg"/><Relationship Id="rId16" Type="http://schemas.openxmlformats.org/officeDocument/2006/relationships/image" Target="../media/image154.png"/><Relationship Id="rId20" Type="http://schemas.openxmlformats.org/officeDocument/2006/relationships/image" Target="../media/image158.jpeg"/><Relationship Id="rId1" Type="http://schemas.openxmlformats.org/officeDocument/2006/relationships/slideLayout" Target="../slideLayouts/slideLayout136.xml"/><Relationship Id="rId6" Type="http://schemas.openxmlformats.org/officeDocument/2006/relationships/image" Target="../media/image144.png"/><Relationship Id="rId11" Type="http://schemas.openxmlformats.org/officeDocument/2006/relationships/image" Target="../media/image149.png"/><Relationship Id="rId5" Type="http://schemas.openxmlformats.org/officeDocument/2006/relationships/image" Target="../media/image143.png"/><Relationship Id="rId15" Type="http://schemas.openxmlformats.org/officeDocument/2006/relationships/image" Target="../media/image153.png"/><Relationship Id="rId10" Type="http://schemas.openxmlformats.org/officeDocument/2006/relationships/image" Target="../media/image148.png"/><Relationship Id="rId19" Type="http://schemas.openxmlformats.org/officeDocument/2006/relationships/image" Target="../media/image157.svg"/><Relationship Id="rId4" Type="http://schemas.openxmlformats.org/officeDocument/2006/relationships/image" Target="../media/image142.png"/><Relationship Id="rId9" Type="http://schemas.openxmlformats.org/officeDocument/2006/relationships/image" Target="../media/image147.png"/><Relationship Id="rId14" Type="http://schemas.openxmlformats.org/officeDocument/2006/relationships/image" Target="../media/image152.png"/></Relationships>
</file>

<file path=ppt/slides/_rels/slide59.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Layout" Target="../slideLayouts/slideLayout136.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60.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37.xml"/></Relationships>
</file>

<file path=ppt/slides/_rels/slide6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jpg"/><Relationship Id="rId1" Type="http://schemas.openxmlformats.org/officeDocument/2006/relationships/slideLayout" Target="../slideLayouts/slideLayout138.xml"/><Relationship Id="rId4" Type="http://schemas.openxmlformats.org/officeDocument/2006/relationships/image" Target="../media/image163.png"/></Relationships>
</file>

<file path=ppt/slides/_rels/slide6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4.jpg"/><Relationship Id="rId1" Type="http://schemas.openxmlformats.org/officeDocument/2006/relationships/slideLayout" Target="../slideLayouts/slideLayout138.xml"/><Relationship Id="rId4" Type="http://schemas.openxmlformats.org/officeDocument/2006/relationships/image" Target="../media/image165.png"/></Relationships>
</file>

<file path=ppt/slides/_rels/slide63.xml.rels><?xml version="1.0" encoding="UTF-8" standalone="yes"?>
<Relationships xmlns="http://schemas.openxmlformats.org/package/2006/relationships"><Relationship Id="rId2" Type="http://schemas.openxmlformats.org/officeDocument/2006/relationships/image" Target="../media/image166.jpg"/><Relationship Id="rId1" Type="http://schemas.openxmlformats.org/officeDocument/2006/relationships/slideLayout" Target="../slideLayouts/slideLayout139.xml"/></Relationships>
</file>

<file path=ppt/slides/_rels/slide64.xml.rels><?xml version="1.0" encoding="UTF-8" standalone="yes"?>
<Relationships xmlns="http://schemas.openxmlformats.org/package/2006/relationships"><Relationship Id="rId2" Type="http://schemas.openxmlformats.org/officeDocument/2006/relationships/image" Target="../media/image161.jpg"/><Relationship Id="rId1" Type="http://schemas.openxmlformats.org/officeDocument/2006/relationships/slideLayout" Target="../slideLayouts/slideLayout139.xml"/></Relationships>
</file>

<file path=ppt/slides/_rels/slide65.xml.rels><?xml version="1.0" encoding="UTF-8" standalone="yes"?>
<Relationships xmlns="http://schemas.openxmlformats.org/package/2006/relationships"><Relationship Id="rId2" Type="http://schemas.openxmlformats.org/officeDocument/2006/relationships/image" Target="../media/image167.jpg"/><Relationship Id="rId1" Type="http://schemas.openxmlformats.org/officeDocument/2006/relationships/slideLayout" Target="../slideLayouts/slideLayout140.xml"/></Relationships>
</file>

<file path=ppt/slides/_rels/slide6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jpg"/><Relationship Id="rId1" Type="http://schemas.openxmlformats.org/officeDocument/2006/relationships/slideLayout" Target="../slideLayouts/slideLayout140.xml"/></Relationships>
</file>

<file path=ppt/slides/_rels/slide6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4.jpg"/><Relationship Id="rId1" Type="http://schemas.openxmlformats.org/officeDocument/2006/relationships/slideLayout" Target="../slideLayouts/slideLayout138.xml"/><Relationship Id="rId4" Type="http://schemas.openxmlformats.org/officeDocument/2006/relationships/image" Target="../media/image168.png"/></Relationships>
</file>

<file path=ppt/slides/_rels/slide6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9.png"/><Relationship Id="rId1" Type="http://schemas.openxmlformats.org/officeDocument/2006/relationships/slideLayout" Target="../slideLayouts/slideLayout141.xml"/></Relationships>
</file>

<file path=ppt/slides/_rels/slide69.xml.rels><?xml version="1.0" encoding="UTF-8" standalone="yes"?>
<Relationships xmlns="http://schemas.openxmlformats.org/package/2006/relationships"><Relationship Id="rId8" Type="http://schemas.openxmlformats.org/officeDocument/2006/relationships/image" Target="../media/image172.jpeg"/><Relationship Id="rId3" Type="http://schemas.openxmlformats.org/officeDocument/2006/relationships/image" Target="../media/image44.jpg"/><Relationship Id="rId7" Type="http://schemas.openxmlformats.org/officeDocument/2006/relationships/image" Target="../media/image171.jpg"/><Relationship Id="rId2" Type="http://schemas.openxmlformats.org/officeDocument/2006/relationships/image" Target="../media/image43.jpg"/><Relationship Id="rId1" Type="http://schemas.openxmlformats.org/officeDocument/2006/relationships/slideLayout" Target="../slideLayouts/slideLayout132.xml"/><Relationship Id="rId6" Type="http://schemas.openxmlformats.org/officeDocument/2006/relationships/image" Target="../media/image170.png"/><Relationship Id="rId5" Type="http://schemas.openxmlformats.org/officeDocument/2006/relationships/image" Target="../media/image46.png"/><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47.png"/></Relationships>
</file>

<file path=ppt/slides/_rels/slide70.xml.rels><?xml version="1.0" encoding="UTF-8" standalone="yes"?>
<Relationships xmlns="http://schemas.openxmlformats.org/package/2006/relationships"><Relationship Id="rId8" Type="http://schemas.openxmlformats.org/officeDocument/2006/relationships/image" Target="../media/image171.jpg"/><Relationship Id="rId3" Type="http://schemas.openxmlformats.org/officeDocument/2006/relationships/image" Target="../media/image44.jpg"/><Relationship Id="rId7" Type="http://schemas.openxmlformats.org/officeDocument/2006/relationships/image" Target="../media/image174.png"/><Relationship Id="rId2" Type="http://schemas.openxmlformats.org/officeDocument/2006/relationships/image" Target="../media/image43.jpg"/><Relationship Id="rId1" Type="http://schemas.openxmlformats.org/officeDocument/2006/relationships/slideLayout" Target="../slideLayouts/slideLayout132.xml"/><Relationship Id="rId6" Type="http://schemas.openxmlformats.org/officeDocument/2006/relationships/image" Target="../media/image173.png"/><Relationship Id="rId11" Type="http://schemas.openxmlformats.org/officeDocument/2006/relationships/image" Target="../media/image177.png"/><Relationship Id="rId5" Type="http://schemas.openxmlformats.org/officeDocument/2006/relationships/image" Target="../media/image46.png"/><Relationship Id="rId10" Type="http://schemas.openxmlformats.org/officeDocument/2006/relationships/image" Target="../media/image176.jpeg"/><Relationship Id="rId4" Type="http://schemas.openxmlformats.org/officeDocument/2006/relationships/image" Target="../media/image45.png"/><Relationship Id="rId9" Type="http://schemas.openxmlformats.org/officeDocument/2006/relationships/image" Target="../media/image175.png"/></Relationships>
</file>

<file path=ppt/slides/_rels/slide7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 Id="rId5" Type="http://schemas.openxmlformats.org/officeDocument/2006/relationships/image" Target="../media/image46.png"/><Relationship Id="rId4"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157.xml"/><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85969C-634E-6690-5EE1-CC89747331A6}"/>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C3E663DC-35CF-78C4-2056-E6C9D02BACBB}"/>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632440FF-6EC2-3B5A-A80E-F5A34B48400A}"/>
              </a:ext>
            </a:extLst>
          </p:cNvPr>
          <p:cNvSpPr/>
          <p:nvPr/>
        </p:nvSpPr>
        <p:spPr>
          <a:xfrm>
            <a:off x="0" y="11572"/>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37C4854D-9D64-254E-B6A1-D80122CE3D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C1A23D48-E234-F9CF-F5A4-4E0FF9D800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69F9968E-5EE0-DFCF-E8C0-633098D95E9C}"/>
              </a:ext>
            </a:extLst>
          </p:cNvPr>
          <p:cNvSpPr txBox="1"/>
          <p:nvPr/>
        </p:nvSpPr>
        <p:spPr>
          <a:xfrm>
            <a:off x="740149" y="2435206"/>
            <a:ext cx="10251440" cy="2431435"/>
          </a:xfrm>
          <a:prstGeom prst="rect">
            <a:avLst/>
          </a:prstGeom>
          <a:noFill/>
        </p:spPr>
        <p:txBody>
          <a:bodyPr wrap="square" lIns="0" rtlCol="0">
            <a:spAutoFit/>
          </a:bodyPr>
          <a:lstStyle/>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vesting in the UK - embrace the</a:t>
            </a:r>
          </a:p>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change</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M&amp;A landscape in the UK and key things to consider</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hen doing deals in the UK</a:t>
            </a:r>
            <a:endPar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00175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0</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deals by </a:t>
            </a:r>
            <a:r>
              <a:rPr lang="en-GB" dirty="0">
                <a:solidFill>
                  <a:prstClr val="black"/>
                </a:solidFill>
              </a:rPr>
              <a:t>Industry 2023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6)</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566C62DC-DEEE-B0CA-0A4D-5889B035FA9E}"/>
              </a:ext>
            </a:extLst>
          </p:cNvPr>
          <p:cNvSpPr txBox="1"/>
          <p:nvPr/>
        </p:nvSpPr>
        <p:spPr>
          <a:xfrm>
            <a:off x="928985" y="6386864"/>
            <a:ext cx="2441474" cy="215444"/>
          </a:xfrm>
          <a:prstGeom prst="rect">
            <a:avLst/>
          </a:prstGeom>
          <a:noFill/>
        </p:spPr>
        <p:txBody>
          <a:bodyPr wrap="square">
            <a:spAutoFit/>
          </a:bodyPr>
          <a:lstStyle/>
          <a:p>
            <a:r>
              <a:rPr lang="en-GB" sz="800" i="1" dirty="0"/>
              <a:t>(6) Market IQ Report 2023 Full.pdf</a:t>
            </a:r>
          </a:p>
        </p:txBody>
      </p:sp>
      <p:pic>
        <p:nvPicPr>
          <p:cNvPr id="4" name="Picture 3">
            <a:extLst>
              <a:ext uri="{FF2B5EF4-FFF2-40B4-BE49-F238E27FC236}">
                <a16:creationId xmlns:a16="http://schemas.microsoft.com/office/drawing/2014/main" id="{9C0AE037-EF85-8DF5-8326-8E69BA7FEC06}"/>
              </a:ext>
            </a:extLst>
          </p:cNvPr>
          <p:cNvPicPr>
            <a:picLocks noChangeAspect="1"/>
          </p:cNvPicPr>
          <p:nvPr/>
        </p:nvPicPr>
        <p:blipFill>
          <a:blip r:embed="rId4"/>
          <a:stretch>
            <a:fillRect/>
          </a:stretch>
        </p:blipFill>
        <p:spPr>
          <a:xfrm>
            <a:off x="3370459" y="2309188"/>
            <a:ext cx="5065217" cy="4293120"/>
          </a:xfrm>
          <a:prstGeom prst="rect">
            <a:avLst/>
          </a:prstGeom>
        </p:spPr>
      </p:pic>
    </p:spTree>
    <p:extLst>
      <p:ext uri="{BB962C8B-B14F-4D97-AF65-F5344CB8AC3E}">
        <p14:creationId xmlns:p14="http://schemas.microsoft.com/office/powerpoint/2010/main" val="236591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1</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op ten deals: UK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7)</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 name="TextBox 12">
            <a:extLst>
              <a:ext uri="{FF2B5EF4-FFF2-40B4-BE49-F238E27FC236}">
                <a16:creationId xmlns:a16="http://schemas.microsoft.com/office/drawing/2014/main" id="{566C62DC-DEEE-B0CA-0A4D-5889B035FA9E}"/>
              </a:ext>
            </a:extLst>
          </p:cNvPr>
          <p:cNvSpPr txBox="1"/>
          <p:nvPr/>
        </p:nvSpPr>
        <p:spPr>
          <a:xfrm>
            <a:off x="928985" y="6386864"/>
            <a:ext cx="2441474" cy="215444"/>
          </a:xfrm>
          <a:prstGeom prst="rect">
            <a:avLst/>
          </a:prstGeom>
          <a:noFill/>
        </p:spPr>
        <p:txBody>
          <a:bodyPr wrap="square">
            <a:spAutoFit/>
          </a:bodyPr>
          <a:lstStyle/>
          <a:p>
            <a:r>
              <a:rPr lang="en-GB" sz="800" i="1" dirty="0"/>
              <a:t>(7) Market IQ Report 2023 Full.pdf</a:t>
            </a:r>
          </a:p>
        </p:txBody>
      </p:sp>
      <p:pic>
        <p:nvPicPr>
          <p:cNvPr id="7" name="Picture 6">
            <a:extLst>
              <a:ext uri="{FF2B5EF4-FFF2-40B4-BE49-F238E27FC236}">
                <a16:creationId xmlns:a16="http://schemas.microsoft.com/office/drawing/2014/main" id="{36192A51-3A49-1D63-8B31-D1E47228F733}"/>
              </a:ext>
            </a:extLst>
          </p:cNvPr>
          <p:cNvPicPr>
            <a:picLocks noChangeAspect="1"/>
          </p:cNvPicPr>
          <p:nvPr/>
        </p:nvPicPr>
        <p:blipFill>
          <a:blip r:embed="rId4"/>
          <a:stretch>
            <a:fillRect/>
          </a:stretch>
        </p:blipFill>
        <p:spPr>
          <a:xfrm>
            <a:off x="3015870" y="2220396"/>
            <a:ext cx="6431410" cy="4323524"/>
          </a:xfrm>
          <a:prstGeom prst="rect">
            <a:avLst/>
          </a:prstGeom>
        </p:spPr>
      </p:pic>
    </p:spTree>
    <p:extLst>
      <p:ext uri="{BB962C8B-B14F-4D97-AF65-F5344CB8AC3E}">
        <p14:creationId xmlns:p14="http://schemas.microsoft.com/office/powerpoint/2010/main" val="1099297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3F5E3-BDEF-679B-FB12-6D06D405F7B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48CF0F6-E68D-DF62-0479-6E6254AAB53D}"/>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209CE02E-486F-906B-80C1-5813CF3E03AF}"/>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5854E017-8D5E-86D7-75FD-9EDDB9704B78}"/>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A20C1BDB-322E-B79C-8F97-DE3D49E4C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4BAEEA21-CBF2-51D0-58B4-AC58690F1E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BEE658E2-4E4F-F77D-99C5-E313CF349AB3}"/>
              </a:ext>
            </a:extLst>
          </p:cNvPr>
          <p:cNvSpPr txBox="1"/>
          <p:nvPr/>
        </p:nvSpPr>
        <p:spPr>
          <a:xfrm>
            <a:off x="740149" y="2346269"/>
            <a:ext cx="10960238" cy="1446550"/>
          </a:xfrm>
          <a:prstGeom prst="rect">
            <a:avLst/>
          </a:prstGeom>
          <a:noFill/>
        </p:spPr>
        <p:txBody>
          <a:bodyPr wrap="square" lIns="0" rtlCol="0">
            <a:spAutoFit/>
          </a:bodyPr>
          <a:lstStyle/>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legal issues to consider for dealmaking in the UK</a:t>
            </a:r>
            <a:endPar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00E7FC1E-58F7-F9C3-FFD9-6F9D3FB25D1C}"/>
              </a:ext>
            </a:extLst>
          </p:cNvPr>
          <p:cNvSpPr txBox="1"/>
          <p:nvPr/>
        </p:nvSpPr>
        <p:spPr>
          <a:xfrm>
            <a:off x="740148" y="4808456"/>
            <a:ext cx="10251440" cy="1569660"/>
          </a:xfrm>
          <a:prstGeom prst="rect">
            <a:avLst/>
          </a:prstGeom>
          <a:noFill/>
        </p:spPr>
        <p:txBody>
          <a:bodyPr wrap="square" lIns="0" numCol="1" rtlCol="0">
            <a:spAutoFit/>
          </a:bodyPr>
          <a:lstStyle/>
          <a:p>
            <a:pPr algn="l"/>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Eva Talmacsi</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UK</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107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3</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87014"/>
            <a:ext cx="11047164" cy="1001011"/>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he UK National Security and Investment Act (NSIA) | </a:t>
            </a:r>
            <a:b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b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Key points</a:t>
            </a:r>
          </a:p>
        </p:txBody>
      </p:sp>
      <p:grpSp>
        <p:nvGrpSpPr>
          <p:cNvPr id="2" name="Group 1">
            <a:extLst>
              <a:ext uri="{FF2B5EF4-FFF2-40B4-BE49-F238E27FC236}">
                <a16:creationId xmlns:a16="http://schemas.microsoft.com/office/drawing/2014/main" id="{240C5FC2-E565-66C3-9BED-26A4E1D53BAD}"/>
              </a:ext>
            </a:extLst>
          </p:cNvPr>
          <p:cNvGrpSpPr/>
          <p:nvPr/>
        </p:nvGrpSpPr>
        <p:grpSpPr>
          <a:xfrm>
            <a:off x="902090" y="2814920"/>
            <a:ext cx="2652768" cy="3967666"/>
            <a:chOff x="588731" y="1891357"/>
            <a:chExt cx="2520000" cy="3823200"/>
          </a:xfrm>
        </p:grpSpPr>
        <p:sp>
          <p:nvSpPr>
            <p:cNvPr id="4" name="Freeform: Shape 3">
              <a:extLst>
                <a:ext uri="{FF2B5EF4-FFF2-40B4-BE49-F238E27FC236}">
                  <a16:creationId xmlns:a16="http://schemas.microsoft.com/office/drawing/2014/main" id="{BBCE0533-48EA-FDB5-21DA-7EF945F29BFD}"/>
                </a:ext>
              </a:extLst>
            </p:cNvPr>
            <p:cNvSpPr/>
            <p:nvPr/>
          </p:nvSpPr>
          <p:spPr>
            <a:xfrm>
              <a:off x="588731"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What?</a:t>
              </a:r>
            </a:p>
          </p:txBody>
        </p:sp>
        <p:sp>
          <p:nvSpPr>
            <p:cNvPr id="9" name="Freeform: Shape 8">
              <a:extLst>
                <a:ext uri="{FF2B5EF4-FFF2-40B4-BE49-F238E27FC236}">
                  <a16:creationId xmlns:a16="http://schemas.microsoft.com/office/drawing/2014/main" id="{4F0061CB-4D19-E773-14E0-2740610811D6}"/>
                </a:ext>
              </a:extLst>
            </p:cNvPr>
            <p:cNvSpPr/>
            <p:nvPr/>
          </p:nvSpPr>
          <p:spPr>
            <a:xfrm>
              <a:off x="588731"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Stand-alone</a:t>
              </a:r>
              <a:r>
                <a:rPr lang="en-GB" sz="1600" b="1" kern="1200" dirty="0">
                  <a:solidFill>
                    <a:schemeClr val="tx1"/>
                  </a:solidFill>
                  <a:latin typeface="Lato" panose="020F0502020204030203" pitchFamily="34" charset="0"/>
                  <a:ea typeface="Lato" panose="020F0502020204030203" pitchFamily="34" charset="0"/>
                  <a:cs typeface="Lato" panose="020F0502020204030203" pitchFamily="34" charset="0"/>
                </a:rPr>
                <a:t>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regime</a:t>
              </a:r>
              <a:r>
                <a:rPr lang="en-GB" sz="1600" b="1" kern="1200" dirty="0">
                  <a:solidFill>
                    <a:schemeClr val="tx1"/>
                  </a:solidFill>
                  <a:latin typeface="Lato" panose="020F0502020204030203" pitchFamily="34" charset="0"/>
                  <a:ea typeface="Lato" panose="020F0502020204030203" pitchFamily="34" charset="0"/>
                  <a:cs typeface="Lato" panose="020F0502020204030203" pitchFamily="34" charset="0"/>
                </a:rPr>
                <a:t> </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for national security screening</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Hybrid:</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mandatory</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and</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voluntary</a:t>
              </a:r>
              <a:r>
                <a:rPr lang="en-GB" sz="1600" b="0" kern="120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notification regime</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No definition of “national security” / opaque process</a:t>
              </a:r>
            </a:p>
            <a:p>
              <a:pPr marL="285750" lvl="1" indent="-285750"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No monetary thresholds</a:t>
              </a:r>
            </a:p>
            <a:p>
              <a:pPr marL="285750" lvl="1" indent="-285750" defTabSz="844550">
                <a:lnSpc>
                  <a:spcPct val="90000"/>
                </a:lnSpc>
                <a:spcBef>
                  <a:spcPct val="0"/>
                </a:spcBef>
                <a:spcAft>
                  <a:spcPts val="600"/>
                </a:spcAft>
                <a:buClr>
                  <a:schemeClr val="tx1"/>
                </a:buClr>
                <a:buFont typeface="Wingdings" panose="05000000000000000000" pitchFamily="2" charset="2"/>
                <a:buChar char="v"/>
              </a:pP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Always assessed case-by-case</a:t>
              </a:r>
              <a:endPar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lvl="1" indent="-171450" algn="l" defTabSz="844550">
                <a:lnSpc>
                  <a:spcPct val="90000"/>
                </a:lnSpc>
                <a:spcBef>
                  <a:spcPct val="0"/>
                </a:spcBef>
                <a:spcAft>
                  <a:spcPts val="600"/>
                </a:spcAft>
                <a:buChar char="•"/>
              </a:pPr>
              <a:endParaRPr lang="en-GB" b="0" kern="1200" dirty="0">
                <a:solidFill>
                  <a:schemeClr val="tx1">
                    <a:lumMod val="75000"/>
                    <a:lumOff val="25000"/>
                  </a:schemeClr>
                </a:solidFill>
              </a:endParaRPr>
            </a:p>
          </p:txBody>
        </p:sp>
      </p:grpSp>
      <p:grpSp>
        <p:nvGrpSpPr>
          <p:cNvPr id="10" name="Group 9">
            <a:extLst>
              <a:ext uri="{FF2B5EF4-FFF2-40B4-BE49-F238E27FC236}">
                <a16:creationId xmlns:a16="http://schemas.microsoft.com/office/drawing/2014/main" id="{F8205642-7E60-5878-F502-C7DDEE0A6518}"/>
              </a:ext>
            </a:extLst>
          </p:cNvPr>
          <p:cNvGrpSpPr/>
          <p:nvPr/>
        </p:nvGrpSpPr>
        <p:grpSpPr>
          <a:xfrm>
            <a:off x="3680335" y="2794472"/>
            <a:ext cx="2520000" cy="3988114"/>
            <a:chOff x="3434320" y="1891357"/>
            <a:chExt cx="2520000" cy="3823200"/>
          </a:xfrm>
        </p:grpSpPr>
        <p:sp>
          <p:nvSpPr>
            <p:cNvPr id="11" name="Freeform: Shape 10">
              <a:extLst>
                <a:ext uri="{FF2B5EF4-FFF2-40B4-BE49-F238E27FC236}">
                  <a16:creationId xmlns:a16="http://schemas.microsoft.com/office/drawing/2014/main" id="{55B21A29-629B-C226-2BCF-F9FCB025D927}"/>
                </a:ext>
              </a:extLst>
            </p:cNvPr>
            <p:cNvSpPr/>
            <p:nvPr/>
          </p:nvSpPr>
          <p:spPr>
            <a:xfrm>
              <a:off x="3434320"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Who?</a:t>
              </a:r>
            </a:p>
          </p:txBody>
        </p:sp>
        <p:sp>
          <p:nvSpPr>
            <p:cNvPr id="12" name="Freeform: Shape 11">
              <a:extLst>
                <a:ext uri="{FF2B5EF4-FFF2-40B4-BE49-F238E27FC236}">
                  <a16:creationId xmlns:a16="http://schemas.microsoft.com/office/drawing/2014/main" id="{A90B8301-EEF5-44CF-DFEA-639E0AB48894}"/>
                </a:ext>
              </a:extLst>
            </p:cNvPr>
            <p:cNvSpPr/>
            <p:nvPr/>
          </p:nvSpPr>
          <p:spPr>
            <a:xfrm>
              <a:off x="3434320"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Investment Security Unit </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ISU</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 within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the </a:t>
              </a:r>
              <a:r>
                <a:rPr lang="en-GB" sz="1600" b="0" u="sng" kern="1200" dirty="0">
                  <a:solidFill>
                    <a:schemeClr val="tx1"/>
                  </a:solidFill>
                  <a:latin typeface="Lato" panose="020F0502020204030203" pitchFamily="34" charset="0"/>
                  <a:ea typeface="Lato" panose="020F0502020204030203" pitchFamily="34" charset="0"/>
                  <a:cs typeface="Lato" panose="020F0502020204030203" pitchFamily="34" charset="0"/>
                </a:rPr>
                <a:t>Cabinet Office</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 screens</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Decisions made by Secretary of State</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dirty="0">
                  <a:latin typeface="Lato" panose="020F0502020204030203" pitchFamily="34" charset="0"/>
                  <a:ea typeface="Lato" panose="020F0502020204030203" pitchFamily="34" charset="0"/>
                  <a:cs typeface="Lato" panose="020F0502020204030203" pitchFamily="34" charset="0"/>
                </a:rPr>
                <a:t>SoS may ‘call in’ transactions within scope of regime</a:t>
              </a:r>
              <a:endPar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Other government departments involved</a:t>
              </a:r>
              <a:endPar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171450" lvl="1" indent="-171450" algn="l" defTabSz="844550">
                <a:lnSpc>
                  <a:spcPct val="90000"/>
                </a:lnSpc>
                <a:spcBef>
                  <a:spcPct val="0"/>
                </a:spcBef>
                <a:spcAft>
                  <a:spcPts val="600"/>
                </a:spcAft>
                <a:buChar char="•"/>
              </a:pPr>
              <a:endParaRPr lang="en-GB" b="0" kern="1200" dirty="0">
                <a:solidFill>
                  <a:schemeClr val="tx1">
                    <a:lumMod val="75000"/>
                    <a:lumOff val="25000"/>
                  </a:schemeClr>
                </a:solidFill>
              </a:endParaRPr>
            </a:p>
          </p:txBody>
        </p:sp>
      </p:grpSp>
      <p:grpSp>
        <p:nvGrpSpPr>
          <p:cNvPr id="14" name="Group 13">
            <a:extLst>
              <a:ext uri="{FF2B5EF4-FFF2-40B4-BE49-F238E27FC236}">
                <a16:creationId xmlns:a16="http://schemas.microsoft.com/office/drawing/2014/main" id="{C07CFD29-FD51-D0C1-8C5D-28EB566AC5EC}"/>
              </a:ext>
            </a:extLst>
          </p:cNvPr>
          <p:cNvGrpSpPr/>
          <p:nvPr/>
        </p:nvGrpSpPr>
        <p:grpSpPr>
          <a:xfrm>
            <a:off x="6444694" y="2788025"/>
            <a:ext cx="2601702" cy="3994561"/>
            <a:chOff x="6279909" y="1891357"/>
            <a:chExt cx="2520000" cy="3823200"/>
          </a:xfrm>
        </p:grpSpPr>
        <p:sp>
          <p:nvSpPr>
            <p:cNvPr id="15" name="Freeform: Shape 14">
              <a:extLst>
                <a:ext uri="{FF2B5EF4-FFF2-40B4-BE49-F238E27FC236}">
                  <a16:creationId xmlns:a16="http://schemas.microsoft.com/office/drawing/2014/main" id="{EC681B0B-1D9C-1678-D243-A10A6F77E47A}"/>
                </a:ext>
              </a:extLst>
            </p:cNvPr>
            <p:cNvSpPr/>
            <p:nvPr/>
          </p:nvSpPr>
          <p:spPr>
            <a:xfrm>
              <a:off x="6279909"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When?</a:t>
              </a:r>
            </a:p>
          </p:txBody>
        </p:sp>
        <p:sp>
          <p:nvSpPr>
            <p:cNvPr id="16" name="Freeform: Shape 15">
              <a:extLst>
                <a:ext uri="{FF2B5EF4-FFF2-40B4-BE49-F238E27FC236}">
                  <a16:creationId xmlns:a16="http://schemas.microsoft.com/office/drawing/2014/main" id="{47C93A0D-1A62-33CC-21F2-DB45F0567E04}"/>
                </a:ext>
              </a:extLst>
            </p:cNvPr>
            <p:cNvSpPr/>
            <p:nvPr/>
          </p:nvSpPr>
          <p:spPr>
            <a:xfrm>
              <a:off x="6279909"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In force since </a:t>
              </a: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4 January 2022</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Applies retrospectively to transactions after 12 November 2020</a:t>
              </a:r>
            </a:p>
          </p:txBody>
        </p:sp>
      </p:grpSp>
      <p:grpSp>
        <p:nvGrpSpPr>
          <p:cNvPr id="17" name="Group 16">
            <a:extLst>
              <a:ext uri="{FF2B5EF4-FFF2-40B4-BE49-F238E27FC236}">
                <a16:creationId xmlns:a16="http://schemas.microsoft.com/office/drawing/2014/main" id="{C951941B-E4A6-2B93-CD11-8FB5ADC12DF1}"/>
              </a:ext>
            </a:extLst>
          </p:cNvPr>
          <p:cNvGrpSpPr/>
          <p:nvPr/>
        </p:nvGrpSpPr>
        <p:grpSpPr>
          <a:xfrm>
            <a:off x="9237825" y="2491485"/>
            <a:ext cx="2559029" cy="4366515"/>
            <a:chOff x="9125497" y="1891357"/>
            <a:chExt cx="2520000" cy="3823200"/>
          </a:xfrm>
        </p:grpSpPr>
        <p:sp>
          <p:nvSpPr>
            <p:cNvPr id="18" name="Freeform: Shape 17">
              <a:extLst>
                <a:ext uri="{FF2B5EF4-FFF2-40B4-BE49-F238E27FC236}">
                  <a16:creationId xmlns:a16="http://schemas.microsoft.com/office/drawing/2014/main" id="{CE45BC5D-65C0-4050-0F70-7012EAAF0376}"/>
                </a:ext>
              </a:extLst>
            </p:cNvPr>
            <p:cNvSpPr/>
            <p:nvPr/>
          </p:nvSpPr>
          <p:spPr>
            <a:xfrm>
              <a:off x="9125497" y="1891357"/>
              <a:ext cx="2520000" cy="547200"/>
            </a:xfrm>
            <a:custGeom>
              <a:avLst/>
              <a:gdLst>
                <a:gd name="connsiteX0" fmla="*/ 0 w 2496130"/>
                <a:gd name="connsiteY0" fmla="*/ 0 h 547200"/>
                <a:gd name="connsiteX1" fmla="*/ 2496130 w 2496130"/>
                <a:gd name="connsiteY1" fmla="*/ 0 h 547200"/>
                <a:gd name="connsiteX2" fmla="*/ 2496130 w 2496130"/>
                <a:gd name="connsiteY2" fmla="*/ 547200 h 547200"/>
                <a:gd name="connsiteX3" fmla="*/ 0 w 2496130"/>
                <a:gd name="connsiteY3" fmla="*/ 547200 h 547200"/>
                <a:gd name="connsiteX4" fmla="*/ 0 w 2496130"/>
                <a:gd name="connsiteY4" fmla="*/ 0 h 5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547200">
                  <a:moveTo>
                    <a:pt x="0" y="0"/>
                  </a:moveTo>
                  <a:lnTo>
                    <a:pt x="2496130" y="0"/>
                  </a:lnTo>
                  <a:lnTo>
                    <a:pt x="2496130" y="547200"/>
                  </a:lnTo>
                  <a:lnTo>
                    <a:pt x="0" y="547200"/>
                  </a:lnTo>
                  <a:lnTo>
                    <a:pt x="0" y="0"/>
                  </a:lnTo>
                  <a:close/>
                </a:path>
              </a:pathLst>
            </a:custGeom>
            <a:solidFill>
              <a:srgbClr val="4472C4"/>
            </a:solidFill>
            <a:ln>
              <a:no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2400" b="1" kern="1200" dirty="0"/>
                <a:t>So what?</a:t>
              </a:r>
            </a:p>
          </p:txBody>
        </p:sp>
        <p:sp>
          <p:nvSpPr>
            <p:cNvPr id="19" name="Freeform: Shape 18">
              <a:extLst>
                <a:ext uri="{FF2B5EF4-FFF2-40B4-BE49-F238E27FC236}">
                  <a16:creationId xmlns:a16="http://schemas.microsoft.com/office/drawing/2014/main" id="{B3664A2A-1ECC-4451-7BB4-97468590FB30}"/>
                </a:ext>
              </a:extLst>
            </p:cNvPr>
            <p:cNvSpPr/>
            <p:nvPr/>
          </p:nvSpPr>
          <p:spPr>
            <a:xfrm>
              <a:off x="9125497" y="2438557"/>
              <a:ext cx="2520000" cy="3276000"/>
            </a:xfrm>
            <a:custGeom>
              <a:avLst/>
              <a:gdLst>
                <a:gd name="connsiteX0" fmla="*/ 0 w 2496130"/>
                <a:gd name="connsiteY0" fmla="*/ 0 h 3696485"/>
                <a:gd name="connsiteX1" fmla="*/ 2496130 w 2496130"/>
                <a:gd name="connsiteY1" fmla="*/ 0 h 3696485"/>
                <a:gd name="connsiteX2" fmla="*/ 2496130 w 2496130"/>
                <a:gd name="connsiteY2" fmla="*/ 3696485 h 3696485"/>
                <a:gd name="connsiteX3" fmla="*/ 0 w 2496130"/>
                <a:gd name="connsiteY3" fmla="*/ 3696485 h 3696485"/>
                <a:gd name="connsiteX4" fmla="*/ 0 w 2496130"/>
                <a:gd name="connsiteY4" fmla="*/ 0 h 369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130" h="3696485">
                  <a:moveTo>
                    <a:pt x="0" y="0"/>
                  </a:moveTo>
                  <a:lnTo>
                    <a:pt x="2496130" y="0"/>
                  </a:lnTo>
                  <a:lnTo>
                    <a:pt x="2496130" y="3696485"/>
                  </a:lnTo>
                  <a:lnTo>
                    <a:pt x="0" y="3696485"/>
                  </a:lnTo>
                  <a:lnTo>
                    <a:pt x="0" y="0"/>
                  </a:lnTo>
                  <a:close/>
                </a:path>
              </a:pathLst>
            </a:custGeom>
            <a:solidFill>
              <a:schemeClr val="tx2">
                <a:alpha val="1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8000" tIns="144000" rIns="108000" bIns="144000" numCol="1" spcCol="1270" anchor="t" anchorCtr="0">
              <a:noAutofit/>
            </a:bodyPr>
            <a:lstStyle/>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b="1" kern="1200" dirty="0">
                  <a:solidFill>
                    <a:srgbClr val="6600FF"/>
                  </a:solidFill>
                  <a:latin typeface="Lato" panose="020F0502020204030203" pitchFamily="34" charset="0"/>
                  <a:ea typeface="Lato" panose="020F0502020204030203" pitchFamily="34" charset="0"/>
                  <a:cs typeface="Lato" panose="020F0502020204030203" pitchFamily="34" charset="0"/>
                </a:rPr>
                <a:t>Wide powers </a:t>
              </a: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to </a:t>
              </a:r>
              <a:r>
                <a:rPr lang="en-GB" sz="1600" b="0" kern="1200" dirty="0">
                  <a:solidFill>
                    <a:schemeClr val="tx1"/>
                  </a:solidFill>
                  <a:latin typeface="Lato" panose="020F0502020204030203" pitchFamily="34" charset="0"/>
                  <a:ea typeface="Lato" panose="020F0502020204030203" pitchFamily="34" charset="0"/>
                  <a:cs typeface="Lato" panose="020F0502020204030203" pitchFamily="34" charset="0"/>
                </a:rPr>
                <a:t>call-in transactions and impose remedies</a:t>
              </a:r>
            </a:p>
            <a:p>
              <a:pPr marL="285750" lvl="1" indent="-285750" algn="l" defTabSz="844550">
                <a:lnSpc>
                  <a:spcPct val="90000"/>
                </a:lnSpc>
                <a:spcBef>
                  <a:spcPct val="0"/>
                </a:spcBef>
                <a:spcAft>
                  <a:spcPts val="600"/>
                </a:spcAft>
                <a:buClr>
                  <a:schemeClr val="tx1"/>
                </a:buClr>
                <a:buFont typeface="Wingdings" panose="05000000000000000000" pitchFamily="2" charset="2"/>
                <a:buChar char="v"/>
              </a:pPr>
              <a:r>
                <a: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rPr>
                <a:t>Consequences </a:t>
              </a:r>
              <a:r>
                <a:rPr lang="en-GB" sz="1600" dirty="0">
                  <a:solidFill>
                    <a:schemeClr val="tx1"/>
                  </a:solidFill>
                  <a:latin typeface="Lato" panose="020F0502020204030203" pitchFamily="34" charset="0"/>
                  <a:ea typeface="Lato" panose="020F0502020204030203" pitchFamily="34" charset="0"/>
                  <a:cs typeface="Lato" panose="020F0502020204030203" pitchFamily="34" charset="0"/>
                </a:rPr>
                <a:t>of not making a mandatory notification:</a:t>
              </a:r>
            </a:p>
            <a:p>
              <a:pPr marL="631825" lvl="2" indent="-273050" defTabSz="844550">
                <a:lnSpc>
                  <a:spcPct val="90000"/>
                </a:lnSpc>
                <a:spcBef>
                  <a:spcPct val="0"/>
                </a:spcBef>
                <a:spcAft>
                  <a:spcPts val="600"/>
                </a:spcAft>
                <a:buFont typeface="Arial" panose="020B0604020202020204" pitchFamily="34" charset="0"/>
                <a:buChar char="•"/>
              </a:pP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Void transactions </a:t>
              </a:r>
            </a:p>
            <a:p>
              <a:pPr marL="631825" lvl="2" indent="-273050" defTabSz="844550">
                <a:lnSpc>
                  <a:spcPct val="90000"/>
                </a:lnSpc>
                <a:spcBef>
                  <a:spcPct val="0"/>
                </a:spcBef>
                <a:spcAft>
                  <a:spcPts val="600"/>
                </a:spcAft>
                <a:buFont typeface="Arial" panose="020B0604020202020204" pitchFamily="34" charset="0"/>
                <a:buChar char="•"/>
              </a:pPr>
              <a:r>
                <a:rPr lang="en-GB" sz="1100" dirty="0">
                  <a:solidFill>
                    <a:schemeClr val="tx1"/>
                  </a:solidFill>
                  <a:latin typeface="Lato" panose="020F0502020204030203" pitchFamily="34" charset="0"/>
                  <a:ea typeface="Lato" panose="020F0502020204030203" pitchFamily="34" charset="0"/>
                  <a:cs typeface="Lato" panose="020F0502020204030203" pitchFamily="34" charset="0"/>
                </a:rPr>
                <a:t>C</a:t>
              </a: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riminal penalties, up to 5 years imprisonment</a:t>
              </a:r>
            </a:p>
            <a:p>
              <a:pPr marL="631825" lvl="2" indent="-273050" defTabSz="844550">
                <a:lnSpc>
                  <a:spcPct val="90000"/>
                </a:lnSpc>
                <a:spcBef>
                  <a:spcPct val="0"/>
                </a:spcBef>
                <a:spcAft>
                  <a:spcPts val="600"/>
                </a:spcAft>
                <a:buFont typeface="Arial" panose="020B0604020202020204" pitchFamily="34" charset="0"/>
                <a:buChar char="•"/>
              </a:pPr>
              <a:r>
                <a:rPr lang="en-GB" sz="1100" dirty="0">
                  <a:solidFill>
                    <a:schemeClr val="tx1"/>
                  </a:solidFill>
                  <a:latin typeface="Lato" panose="020F0502020204030203" pitchFamily="34" charset="0"/>
                  <a:ea typeface="Lato" panose="020F0502020204030203" pitchFamily="34" charset="0"/>
                  <a:cs typeface="Lato" panose="020F0502020204030203" pitchFamily="34" charset="0"/>
                </a:rPr>
                <a:t>Civil/ F</a:t>
              </a: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inancial penalties</a:t>
              </a:r>
              <a:endParaRPr lang="en-GB" sz="11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358775" lvl="2" defTabSz="844550">
                <a:lnSpc>
                  <a:spcPct val="90000"/>
                </a:lnSpc>
                <a:spcBef>
                  <a:spcPct val="0"/>
                </a:spcBef>
                <a:spcAft>
                  <a:spcPts val="600"/>
                </a:spcAft>
              </a:pPr>
              <a:r>
                <a:rPr lang="en-GB" sz="1100" u="sng" dirty="0">
                  <a:solidFill>
                    <a:schemeClr val="tx1"/>
                  </a:solidFill>
                  <a:latin typeface="Lato" panose="020F0502020204030203" pitchFamily="34" charset="0"/>
                  <a:ea typeface="Lato" panose="020F0502020204030203" pitchFamily="34" charset="0"/>
                  <a:cs typeface="Lato" panose="020F0502020204030203" pitchFamily="34" charset="0"/>
                </a:rPr>
                <a:t>Business</a:t>
              </a:r>
              <a:r>
                <a:rPr lang="en-GB" sz="1100" dirty="0">
                  <a:solidFill>
                    <a:schemeClr val="tx1"/>
                  </a:solidFill>
                  <a:latin typeface="Lato" panose="020F0502020204030203" pitchFamily="34" charset="0"/>
                  <a:ea typeface="Lato" panose="020F0502020204030203" pitchFamily="34" charset="0"/>
                  <a:cs typeface="Lato" panose="020F0502020204030203" pitchFamily="34" charset="0"/>
                </a:rPr>
                <a:t>: up to greater of £10 million  or 5% of total worldwide turnover (including business owned/controlled by the offender)</a:t>
              </a:r>
            </a:p>
            <a:p>
              <a:pPr marL="358775" lvl="2" defTabSz="844550">
                <a:lnSpc>
                  <a:spcPct val="90000"/>
                </a:lnSpc>
                <a:spcBef>
                  <a:spcPct val="0"/>
                </a:spcBef>
                <a:spcAft>
                  <a:spcPts val="600"/>
                </a:spcAft>
              </a:pPr>
              <a:r>
                <a:rPr lang="en-GB" sz="1100" u="sng" kern="1200" dirty="0">
                  <a:solidFill>
                    <a:schemeClr val="tx1"/>
                  </a:solidFill>
                  <a:latin typeface="Lato" panose="020F0502020204030203" pitchFamily="34" charset="0"/>
                  <a:ea typeface="Lato" panose="020F0502020204030203" pitchFamily="34" charset="0"/>
                  <a:cs typeface="Lato" panose="020F0502020204030203" pitchFamily="34" charset="0"/>
                </a:rPr>
                <a:t>Individual:</a:t>
              </a:r>
              <a:r>
                <a:rPr lang="en-GB" sz="1100" kern="1200" dirty="0">
                  <a:solidFill>
                    <a:schemeClr val="tx1"/>
                  </a:solidFill>
                  <a:latin typeface="Lato" panose="020F0502020204030203" pitchFamily="34" charset="0"/>
                  <a:ea typeface="Lato" panose="020F0502020204030203" pitchFamily="34" charset="0"/>
                  <a:cs typeface="Lato" panose="020F0502020204030203" pitchFamily="34" charset="0"/>
                </a:rPr>
                <a:t> up to £10 million</a:t>
              </a:r>
            </a:p>
          </p:txBody>
        </p:sp>
      </p:grpSp>
    </p:spTree>
    <p:extLst>
      <p:ext uri="{BB962C8B-B14F-4D97-AF65-F5344CB8AC3E}">
        <p14:creationId xmlns:p14="http://schemas.microsoft.com/office/powerpoint/2010/main" val="2134404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4</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814878"/>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andatory filing?</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 name="Content Placeholder 2">
            <a:extLst>
              <a:ext uri="{FF2B5EF4-FFF2-40B4-BE49-F238E27FC236}">
                <a16:creationId xmlns:a16="http://schemas.microsoft.com/office/drawing/2014/main" id="{DAD86D11-1B97-E509-1AB6-0117CE651F47}"/>
              </a:ext>
            </a:extLst>
          </p:cNvPr>
          <p:cNvSpPr txBox="1">
            <a:spLocks/>
          </p:cNvSpPr>
          <p:nvPr/>
        </p:nvSpPr>
        <p:spPr bwMode="auto">
          <a:xfrm>
            <a:off x="6856655" y="2530161"/>
            <a:ext cx="4787135" cy="39502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895350" indent="-2667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62050" indent="-2667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38275" indent="-276225"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000" b="1" dirty="0">
                <a:solidFill>
                  <a:srgbClr val="6600FF"/>
                </a:solidFill>
                <a:latin typeface="Lato" panose="020F0502020204030203" pitchFamily="34" charset="0"/>
                <a:ea typeface="Lato" panose="020F0502020204030203" pitchFamily="34" charset="0"/>
                <a:cs typeface="Lato" panose="020F0502020204030203" pitchFamily="34" charset="0"/>
              </a:rPr>
              <a:t>Trigger Event?</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Share</a:t>
            </a:r>
            <a:r>
              <a:rPr lang="en-US" sz="1600" dirty="0">
                <a:latin typeface="Lato" panose="020F0502020204030203" pitchFamily="34" charset="0"/>
                <a:ea typeface="Lato" panose="020F0502020204030203" pitchFamily="34" charset="0"/>
                <a:cs typeface="Lato" panose="020F0502020204030203" pitchFamily="34" charset="0"/>
              </a:rPr>
              <a:t> held by acquirer increases to more than 25%, more than 50%, or to 75% or more</a:t>
            </a: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Voting</a:t>
            </a:r>
            <a:r>
              <a:rPr lang="en-US" sz="1600" dirty="0">
                <a:latin typeface="Lato" panose="020F0502020204030203" pitchFamily="34" charset="0"/>
                <a:ea typeface="Lato" panose="020F0502020204030203" pitchFamily="34" charset="0"/>
                <a:cs typeface="Lato" panose="020F0502020204030203" pitchFamily="34" charset="0"/>
              </a:rPr>
              <a:t> rights held by acquirer increases to more than 25%, more than 50% or to 75% or more</a:t>
            </a: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Acquisition</a:t>
            </a:r>
            <a:r>
              <a:rPr lang="en-US" sz="1600" dirty="0">
                <a:latin typeface="Lato" panose="020F0502020204030203" pitchFamily="34" charset="0"/>
                <a:ea typeface="Lato" panose="020F0502020204030203" pitchFamily="34" charset="0"/>
                <a:cs typeface="Lato" panose="020F0502020204030203" pitchFamily="34" charset="0"/>
              </a:rPr>
              <a:t> of voting rights to secure or prevent the passage of any class of resolution</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Minority veto rights – where the holder acquires the right to vote on “</a:t>
            </a:r>
            <a:r>
              <a:rPr lang="en-US" sz="1500" i="1" dirty="0">
                <a:latin typeface="Lato" panose="020F0502020204030203" pitchFamily="34" charset="0"/>
                <a:ea typeface="Lato" panose="020F0502020204030203" pitchFamily="34" charset="0"/>
                <a:cs typeface="Lato" panose="020F0502020204030203" pitchFamily="34" charset="0"/>
              </a:rPr>
              <a:t>all or substantially all matters governing the affairs of the entity</a:t>
            </a:r>
            <a:r>
              <a:rPr lang="en-US" sz="1500" dirty="0">
                <a:latin typeface="Lato" panose="020F0502020204030203" pitchFamily="34" charset="0"/>
                <a:ea typeface="Lato" panose="020F0502020204030203" pitchFamily="34" charset="0"/>
                <a:cs typeface="Lato" panose="020F0502020204030203" pitchFamily="34" charset="0"/>
              </a:rPr>
              <a:t>”</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Excludes contractual veto rights</a:t>
            </a:r>
          </a:p>
          <a:p>
            <a:endParaRPr lang="en-GB" sz="1400" dirty="0"/>
          </a:p>
        </p:txBody>
      </p:sp>
      <p:sp>
        <p:nvSpPr>
          <p:cNvPr id="11" name="Content Placeholder 2">
            <a:extLst>
              <a:ext uri="{FF2B5EF4-FFF2-40B4-BE49-F238E27FC236}">
                <a16:creationId xmlns:a16="http://schemas.microsoft.com/office/drawing/2014/main" id="{722773E0-82F8-1311-6938-A65C81B6B5FC}"/>
              </a:ext>
            </a:extLst>
          </p:cNvPr>
          <p:cNvSpPr txBox="1">
            <a:spLocks/>
          </p:cNvSpPr>
          <p:nvPr/>
        </p:nvSpPr>
        <p:spPr>
          <a:xfrm>
            <a:off x="830011" y="2475843"/>
            <a:ext cx="4934294" cy="3714661"/>
          </a:xfrm>
          <a:prstGeom prst="rect">
            <a:avLst/>
          </a:prstGeom>
        </p:spPr>
        <p:txBody>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000" b="1" dirty="0">
                <a:solidFill>
                  <a:srgbClr val="6600FF"/>
                </a:solidFill>
                <a:latin typeface="Lato" panose="020F0502020204030203" pitchFamily="34" charset="0"/>
                <a:ea typeface="Lato" panose="020F0502020204030203" pitchFamily="34" charset="0"/>
                <a:cs typeface="Lato" panose="020F0502020204030203" pitchFamily="34" charset="0"/>
              </a:rPr>
              <a:t>Is target a Qualifying Entity?</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UK company, limited liability partnership, partnership, unincorporate association, trust, body corporate</a:t>
            </a:r>
          </a:p>
          <a:p>
            <a:pPr>
              <a:buFont typeface="Wingdings" panose="05000000000000000000" pitchFamily="2" charset="2"/>
              <a:buChar char="v"/>
            </a:pPr>
            <a:r>
              <a:rPr lang="en-US" sz="1700" dirty="0">
                <a:latin typeface="Lato" panose="020F0502020204030203" pitchFamily="34" charset="0"/>
                <a:ea typeface="Lato" panose="020F0502020204030203" pitchFamily="34" charset="0"/>
                <a:cs typeface="Lato" panose="020F0502020204030203" pitchFamily="34" charset="0"/>
              </a:rPr>
              <a:t>A foreign entity could be captured</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If they carry on activities in the UK; or </a:t>
            </a:r>
          </a:p>
          <a:p>
            <a:pPr marL="752400" lvl="1" indent="-342000"/>
            <a:r>
              <a:rPr lang="en-US" sz="1500" dirty="0">
                <a:latin typeface="Lato" panose="020F0502020204030203" pitchFamily="34" charset="0"/>
                <a:ea typeface="Lato" panose="020F0502020204030203" pitchFamily="34" charset="0"/>
                <a:cs typeface="Lato" panose="020F0502020204030203" pitchFamily="34" charset="0"/>
              </a:rPr>
              <a:t>Supply goods or services to persons in the UK</a:t>
            </a:r>
          </a:p>
          <a:p>
            <a:pPr>
              <a:buFont typeface="Wingdings" panose="05000000000000000000" pitchFamily="2" charset="2"/>
              <a:buChar char="v"/>
            </a:pPr>
            <a:r>
              <a:rPr lang="en-US" sz="1600" dirty="0">
                <a:latin typeface="Lato" panose="020F0502020204030203" pitchFamily="34" charset="0"/>
                <a:ea typeface="Lato" panose="020F0502020204030203" pitchFamily="34" charset="0"/>
                <a:cs typeface="Lato" panose="020F0502020204030203" pitchFamily="34" charset="0"/>
              </a:rPr>
              <a:t>Asset </a:t>
            </a:r>
            <a:r>
              <a:rPr lang="en-US" sz="1700" dirty="0">
                <a:latin typeface="Lato" panose="020F0502020204030203" pitchFamily="34" charset="0"/>
                <a:ea typeface="Lato" panose="020F0502020204030203" pitchFamily="34" charset="0"/>
                <a:cs typeface="Lato" panose="020F0502020204030203" pitchFamily="34" charset="0"/>
              </a:rPr>
              <a:t>acquisitions</a:t>
            </a:r>
            <a:r>
              <a:rPr lang="en-US" sz="1600" dirty="0">
                <a:latin typeface="Lato" panose="020F0502020204030203" pitchFamily="34" charset="0"/>
                <a:ea typeface="Lato" panose="020F0502020204030203" pitchFamily="34" charset="0"/>
                <a:cs typeface="Lato" panose="020F0502020204030203" pitchFamily="34" charset="0"/>
              </a:rPr>
              <a:t> </a:t>
            </a:r>
            <a:r>
              <a:rPr lang="en-US" sz="1600" b="1" dirty="0">
                <a:solidFill>
                  <a:srgbClr val="6600FF"/>
                </a:solidFill>
                <a:latin typeface="Lato" panose="020F0502020204030203" pitchFamily="34" charset="0"/>
                <a:ea typeface="Lato" panose="020F0502020204030203" pitchFamily="34" charset="0"/>
                <a:cs typeface="Lato" panose="020F0502020204030203" pitchFamily="34" charset="0"/>
              </a:rPr>
              <a:t>not</a:t>
            </a:r>
            <a:r>
              <a:rPr lang="en-US" sz="1600" dirty="0">
                <a:latin typeface="Lato" panose="020F0502020204030203" pitchFamily="34" charset="0"/>
                <a:ea typeface="Lato" panose="020F0502020204030203" pitchFamily="34" charset="0"/>
                <a:cs typeface="Lato" panose="020F0502020204030203" pitchFamily="34" charset="0"/>
              </a:rPr>
              <a:t> captured</a:t>
            </a:r>
          </a:p>
          <a:p>
            <a:endParaRPr lang="en-GB" sz="1400" dirty="0"/>
          </a:p>
        </p:txBody>
      </p:sp>
    </p:spTree>
    <p:extLst>
      <p:ext uri="{BB962C8B-B14F-4D97-AF65-F5344CB8AC3E}">
        <p14:creationId xmlns:p14="http://schemas.microsoft.com/office/powerpoint/2010/main" val="250306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5</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42454"/>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andatory sectors</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2" name="Picture 1">
            <a:extLst>
              <a:ext uri="{FF2B5EF4-FFF2-40B4-BE49-F238E27FC236}">
                <a16:creationId xmlns:a16="http://schemas.microsoft.com/office/drawing/2014/main" id="{1E7D4F8E-5ECA-1655-5B05-4D6A8975DD34}"/>
              </a:ext>
            </a:extLst>
          </p:cNvPr>
          <p:cNvPicPr>
            <a:picLocks noChangeAspect="1"/>
          </p:cNvPicPr>
          <p:nvPr/>
        </p:nvPicPr>
        <p:blipFill rotWithShape="1">
          <a:blip r:embed="rId4"/>
          <a:srcRect b="1791"/>
          <a:stretch/>
        </p:blipFill>
        <p:spPr>
          <a:xfrm>
            <a:off x="910473" y="2307511"/>
            <a:ext cx="10035433" cy="4279252"/>
          </a:xfrm>
          <a:prstGeom prst="rect">
            <a:avLst/>
          </a:prstGeom>
        </p:spPr>
      </p:pic>
    </p:spTree>
    <p:extLst>
      <p:ext uri="{BB962C8B-B14F-4D97-AF65-F5344CB8AC3E}">
        <p14:creationId xmlns:p14="http://schemas.microsoft.com/office/powerpoint/2010/main" val="6447695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6</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6056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Notification process and timescales</a:t>
            </a:r>
          </a:p>
        </p:txBody>
      </p:sp>
      <p:grpSp>
        <p:nvGrpSpPr>
          <p:cNvPr id="2" name="Group 1">
            <a:extLst>
              <a:ext uri="{FF2B5EF4-FFF2-40B4-BE49-F238E27FC236}">
                <a16:creationId xmlns:a16="http://schemas.microsoft.com/office/drawing/2014/main" id="{681926D3-6E7F-2F9B-56BB-89290DC95227}"/>
              </a:ext>
            </a:extLst>
          </p:cNvPr>
          <p:cNvGrpSpPr/>
          <p:nvPr/>
        </p:nvGrpSpPr>
        <p:grpSpPr>
          <a:xfrm>
            <a:off x="860083" y="2311205"/>
            <a:ext cx="8633988" cy="4249018"/>
            <a:chOff x="563431" y="1534219"/>
            <a:chExt cx="11065138" cy="4840841"/>
          </a:xfrm>
        </p:grpSpPr>
        <p:sp>
          <p:nvSpPr>
            <p:cNvPr id="4" name="Rectangle 3">
              <a:extLst>
                <a:ext uri="{FF2B5EF4-FFF2-40B4-BE49-F238E27FC236}">
                  <a16:creationId xmlns:a16="http://schemas.microsoft.com/office/drawing/2014/main" id="{24D11186-3F05-5DCC-B470-70807A1A68F5}"/>
                </a:ext>
              </a:extLst>
            </p:cNvPr>
            <p:cNvSpPr>
              <a:spLocks/>
            </p:cNvSpPr>
            <p:nvPr/>
          </p:nvSpPr>
          <p:spPr>
            <a:xfrm>
              <a:off x="596156" y="2786538"/>
              <a:ext cx="2869483" cy="720000"/>
            </a:xfrm>
            <a:prstGeom prst="rect">
              <a:avLst/>
            </a:prstGeom>
            <a:solidFill>
              <a:srgbClr val="00768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Notification and </a:t>
              </a:r>
              <a:br>
                <a:rPr lang="en-GB" sz="2000" kern="1200" dirty="0"/>
              </a:br>
              <a:r>
                <a:rPr lang="en-GB" sz="2000" kern="1200" dirty="0"/>
                <a:t>initial review</a:t>
              </a:r>
            </a:p>
          </p:txBody>
        </p:sp>
        <p:sp>
          <p:nvSpPr>
            <p:cNvPr id="7" name="Rectangle 6">
              <a:extLst>
                <a:ext uri="{FF2B5EF4-FFF2-40B4-BE49-F238E27FC236}">
                  <a16:creationId xmlns:a16="http://schemas.microsoft.com/office/drawing/2014/main" id="{0D63BE28-E41D-18FA-ED8D-95B3354774B6}"/>
                </a:ext>
              </a:extLst>
            </p:cNvPr>
            <p:cNvSpPr>
              <a:spLocks/>
            </p:cNvSpPr>
            <p:nvPr/>
          </p:nvSpPr>
          <p:spPr>
            <a:xfrm>
              <a:off x="4649335" y="2160378"/>
              <a:ext cx="2869483" cy="720000"/>
            </a:xfrm>
            <a:prstGeom prst="rect">
              <a:avLst/>
            </a:prstGeom>
            <a:solidFill>
              <a:srgbClr val="00768F"/>
            </a:solid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Call-in notice</a:t>
              </a:r>
            </a:p>
          </p:txBody>
        </p:sp>
        <p:sp>
          <p:nvSpPr>
            <p:cNvPr id="9" name="Rectangle 8">
              <a:extLst>
                <a:ext uri="{FF2B5EF4-FFF2-40B4-BE49-F238E27FC236}">
                  <a16:creationId xmlns:a16="http://schemas.microsoft.com/office/drawing/2014/main" id="{3DC95130-7C0F-12EC-03C0-62C8B300B59B}"/>
                </a:ext>
              </a:extLst>
            </p:cNvPr>
            <p:cNvSpPr>
              <a:spLocks/>
            </p:cNvSpPr>
            <p:nvPr/>
          </p:nvSpPr>
          <p:spPr>
            <a:xfrm>
              <a:off x="8699989" y="1534219"/>
              <a:ext cx="2869483" cy="720000"/>
            </a:xfrm>
            <a:prstGeom prst="rect">
              <a:avLst/>
            </a:prstGeom>
            <a:solidFill>
              <a:srgbClr val="11B1E8"/>
            </a:solid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Final notification</a:t>
              </a:r>
            </a:p>
          </p:txBody>
        </p:sp>
        <p:sp>
          <p:nvSpPr>
            <p:cNvPr id="12" name="Rectangle 11">
              <a:extLst>
                <a:ext uri="{FF2B5EF4-FFF2-40B4-BE49-F238E27FC236}">
                  <a16:creationId xmlns:a16="http://schemas.microsoft.com/office/drawing/2014/main" id="{5BA50CD2-EA86-D3BE-FB49-F8E0737D2FEC}"/>
                </a:ext>
              </a:extLst>
            </p:cNvPr>
            <p:cNvSpPr>
              <a:spLocks/>
            </p:cNvSpPr>
            <p:nvPr/>
          </p:nvSpPr>
          <p:spPr>
            <a:xfrm>
              <a:off x="8699989" y="2786538"/>
              <a:ext cx="2869483" cy="720000"/>
            </a:xfrm>
            <a:prstGeom prst="rect">
              <a:avLst/>
            </a:prstGeom>
            <a:solidFill>
              <a:srgbClr val="11B1E8"/>
            </a:solid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Final order</a:t>
              </a:r>
            </a:p>
          </p:txBody>
        </p:sp>
        <p:sp>
          <p:nvSpPr>
            <p:cNvPr id="13" name="Rectangle 12">
              <a:extLst>
                <a:ext uri="{FF2B5EF4-FFF2-40B4-BE49-F238E27FC236}">
                  <a16:creationId xmlns:a16="http://schemas.microsoft.com/office/drawing/2014/main" id="{005FDC10-0F5F-D57E-084E-C6377D6708B0}"/>
                </a:ext>
              </a:extLst>
            </p:cNvPr>
            <p:cNvSpPr>
              <a:spLocks/>
            </p:cNvSpPr>
            <p:nvPr/>
          </p:nvSpPr>
          <p:spPr>
            <a:xfrm>
              <a:off x="4649335" y="3412698"/>
              <a:ext cx="2869483" cy="720000"/>
            </a:xfrm>
            <a:prstGeom prst="rect">
              <a:avLst/>
            </a:prstGeom>
            <a:solidFill>
              <a:srgbClr val="00768F"/>
            </a:solid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44595" tIns="44595" rIns="44595" bIns="44595" numCol="1" spcCol="1270" anchor="ctr" anchorCtr="0">
              <a:noAutofit/>
            </a:bodyPr>
            <a:lstStyle/>
            <a:p>
              <a:pPr marL="0" lvl="0" indent="0" algn="ctr" defTabSz="889000">
                <a:lnSpc>
                  <a:spcPct val="90000"/>
                </a:lnSpc>
                <a:spcBef>
                  <a:spcPct val="0"/>
                </a:spcBef>
                <a:spcAft>
                  <a:spcPct val="35000"/>
                </a:spcAft>
                <a:buNone/>
              </a:pPr>
              <a:r>
                <a:rPr lang="en-GB" sz="2000" kern="1200" dirty="0"/>
                <a:t>No further action</a:t>
              </a:r>
            </a:p>
          </p:txBody>
        </p:sp>
        <p:sp>
          <p:nvSpPr>
            <p:cNvPr id="14" name="TextBox 13">
              <a:extLst>
                <a:ext uri="{FF2B5EF4-FFF2-40B4-BE49-F238E27FC236}">
                  <a16:creationId xmlns:a16="http://schemas.microsoft.com/office/drawing/2014/main" id="{751C263D-07A4-23F2-92A3-42B631C11B73}"/>
                </a:ext>
              </a:extLst>
            </p:cNvPr>
            <p:cNvSpPr txBox="1"/>
            <p:nvPr/>
          </p:nvSpPr>
          <p:spPr>
            <a:xfrm>
              <a:off x="596156" y="4723057"/>
              <a:ext cx="5643943" cy="110235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Initial scree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Assuming notification accepted, max </a:t>
              </a:r>
              <a:r>
                <a:rPr kumimoji="0" lang="en-GB" sz="1400" b="1" i="0" u="none" strike="noStrike" kern="1200" cap="none" spc="0" normalizeH="0" baseline="0" noProof="0" dirty="0">
                  <a:ln>
                    <a:noFill/>
                  </a:ln>
                  <a:effectLst/>
                  <a:uLnTx/>
                  <a:uFillTx/>
                  <a:latin typeface="Arial" pitchFamily="34" charset="0"/>
                  <a:ea typeface="+mn-ea"/>
                  <a:cs typeface="Arial" pitchFamily="34" charset="0"/>
                </a:rPr>
                <a:t>30 working days </a:t>
              </a: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for dec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endParaRPr>
            </a:p>
          </p:txBody>
        </p:sp>
        <p:sp>
          <p:nvSpPr>
            <p:cNvPr id="15" name="TextBox 14">
              <a:extLst>
                <a:ext uri="{FF2B5EF4-FFF2-40B4-BE49-F238E27FC236}">
                  <a16:creationId xmlns:a16="http://schemas.microsoft.com/office/drawing/2014/main" id="{CE58809B-8B9C-99BF-01AC-EF177E6DBB3B}"/>
                </a:ext>
              </a:extLst>
            </p:cNvPr>
            <p:cNvSpPr txBox="1"/>
            <p:nvPr/>
          </p:nvSpPr>
          <p:spPr>
            <a:xfrm>
              <a:off x="6240099" y="4723057"/>
              <a:ext cx="5357902" cy="1102357"/>
            </a:xfrm>
            <a:prstGeom prst="rect">
              <a:avLst/>
            </a:prstGeom>
            <a:noFill/>
            <a:ln>
              <a:noFill/>
            </a:ln>
          </p:spPr>
          <p:txBody>
            <a:bodyPr wrap="square" rtlCol="0">
              <a:spAutoFit/>
            </a:bodyPr>
            <a:lstStyle/>
            <a:p>
              <a:pPr>
                <a:defRPr/>
              </a:pPr>
              <a:r>
                <a:rPr lang="en-GB" sz="1600" b="1" dirty="0">
                  <a:solidFill>
                    <a:schemeClr val="tx2"/>
                  </a:solidFill>
                  <a:latin typeface="Arial" pitchFamily="34" charset="0"/>
                  <a:cs typeface="Arial" pitchFamily="34" charset="0"/>
                </a:rPr>
                <a:t>National security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Detailed review, in up to </a:t>
              </a:r>
              <a:r>
                <a:rPr kumimoji="0" lang="en-GB" sz="1400" b="1" i="0" u="none" strike="noStrike" kern="1200" cap="none" spc="0" normalizeH="0" baseline="0" noProof="0" dirty="0">
                  <a:ln>
                    <a:noFill/>
                  </a:ln>
                  <a:effectLst/>
                  <a:uLnTx/>
                  <a:uFillTx/>
                  <a:latin typeface="Arial" pitchFamily="34" charset="0"/>
                  <a:ea typeface="+mn-ea"/>
                  <a:cs typeface="Arial" pitchFamily="34" charset="0"/>
                </a:rPr>
                <a:t>30 working days</a:t>
              </a:r>
              <a:r>
                <a:rPr kumimoji="0" lang="en-GB" sz="1400" b="0"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rPr>
                <a:t>, which may be extended by a further 45 working days or if more time needed, by agreement between parties.</a:t>
              </a:r>
              <a:endParaRPr kumimoji="0" lang="en-GB" sz="1400" b="1" i="0" u="none" strike="noStrike" kern="1200" cap="none" spc="0" normalizeH="0" baseline="0" noProof="0" dirty="0">
                <a:ln>
                  <a:noFill/>
                </a:ln>
                <a:solidFill>
                  <a:schemeClr val="tx1">
                    <a:lumMod val="75000"/>
                    <a:lumOff val="25000"/>
                  </a:schemeClr>
                </a:solidFill>
                <a:effectLst/>
                <a:uLnTx/>
                <a:uFillTx/>
                <a:latin typeface="Arial" pitchFamily="34" charset="0"/>
                <a:ea typeface="+mn-ea"/>
                <a:cs typeface="Arial" pitchFamily="34" charset="0"/>
              </a:endParaRPr>
            </a:p>
          </p:txBody>
        </p:sp>
        <p:sp>
          <p:nvSpPr>
            <p:cNvPr id="16" name="Right Brace 15">
              <a:extLst>
                <a:ext uri="{FF2B5EF4-FFF2-40B4-BE49-F238E27FC236}">
                  <a16:creationId xmlns:a16="http://schemas.microsoft.com/office/drawing/2014/main" id="{C9B68082-5CD9-DA47-6E31-AC8D26AEE1F6}"/>
                </a:ext>
              </a:extLst>
            </p:cNvPr>
            <p:cNvSpPr/>
            <p:nvPr/>
          </p:nvSpPr>
          <p:spPr>
            <a:xfrm rot="5400000">
              <a:off x="8797893" y="1827699"/>
              <a:ext cx="242313" cy="5357901"/>
            </a:xfrm>
            <a:prstGeom prst="rightBrace">
              <a:avLst/>
            </a:prstGeom>
            <a:ln w="28575">
              <a:solidFill>
                <a:srgbClr val="F0853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Right Brace 16">
              <a:extLst>
                <a:ext uri="{FF2B5EF4-FFF2-40B4-BE49-F238E27FC236}">
                  <a16:creationId xmlns:a16="http://schemas.microsoft.com/office/drawing/2014/main" id="{AB0F93FF-4E5C-EC05-1856-0AD3EAD3F7B5}"/>
                </a:ext>
              </a:extLst>
            </p:cNvPr>
            <p:cNvSpPr/>
            <p:nvPr/>
          </p:nvSpPr>
          <p:spPr>
            <a:xfrm rot="5400000">
              <a:off x="3151794" y="1827698"/>
              <a:ext cx="242314" cy="5357901"/>
            </a:xfrm>
            <a:prstGeom prst="rightBrace">
              <a:avLst/>
            </a:prstGeom>
            <a:ln w="28575">
              <a:solidFill>
                <a:srgbClr val="F0853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8" name="Connector: Elbow 17">
              <a:extLst>
                <a:ext uri="{FF2B5EF4-FFF2-40B4-BE49-F238E27FC236}">
                  <a16:creationId xmlns:a16="http://schemas.microsoft.com/office/drawing/2014/main" id="{A8FA85CA-3CA9-2866-5549-8965EE046388}"/>
                </a:ext>
              </a:extLst>
            </p:cNvPr>
            <p:cNvCxnSpPr>
              <a:stCxn id="4" idx="3"/>
              <a:endCxn id="7" idx="1"/>
            </p:cNvCxnSpPr>
            <p:nvPr/>
          </p:nvCxnSpPr>
          <p:spPr>
            <a:xfrm flipV="1">
              <a:off x="3465639" y="2520378"/>
              <a:ext cx="1183696" cy="626160"/>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CDED631-A0D1-2878-DB61-05CD7342026C}"/>
                </a:ext>
              </a:extLst>
            </p:cNvPr>
            <p:cNvCxnSpPr>
              <a:stCxn id="4" idx="3"/>
              <a:endCxn id="13" idx="1"/>
            </p:cNvCxnSpPr>
            <p:nvPr/>
          </p:nvCxnSpPr>
          <p:spPr>
            <a:xfrm>
              <a:off x="3465639" y="3146538"/>
              <a:ext cx="1183696" cy="626160"/>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C2C003FF-CB21-75E1-C010-A875A4E075B4}"/>
                </a:ext>
              </a:extLst>
            </p:cNvPr>
            <p:cNvCxnSpPr>
              <a:cxnSpLocks/>
              <a:stCxn id="7" idx="3"/>
              <a:endCxn id="9" idx="1"/>
            </p:cNvCxnSpPr>
            <p:nvPr/>
          </p:nvCxnSpPr>
          <p:spPr>
            <a:xfrm flipV="1">
              <a:off x="7518818" y="1894219"/>
              <a:ext cx="1181171" cy="626159"/>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F9957E8-B012-CF01-087C-7CC867ECE872}"/>
                </a:ext>
              </a:extLst>
            </p:cNvPr>
            <p:cNvCxnSpPr>
              <a:cxnSpLocks/>
              <a:stCxn id="7" idx="3"/>
              <a:endCxn id="12" idx="1"/>
            </p:cNvCxnSpPr>
            <p:nvPr/>
          </p:nvCxnSpPr>
          <p:spPr>
            <a:xfrm>
              <a:off x="7518818" y="2520378"/>
              <a:ext cx="1181171" cy="626160"/>
            </a:xfrm>
            <a:prstGeom prst="bentConnector3">
              <a:avLst/>
            </a:prstGeom>
            <a:ln w="25400">
              <a:solidFill>
                <a:srgbClr val="B3B3B3"/>
              </a:solidFill>
            </a:ln>
          </p:spPr>
          <p:style>
            <a:lnRef idx="1">
              <a:schemeClr val="accent1"/>
            </a:lnRef>
            <a:fillRef idx="0">
              <a:schemeClr val="accent1"/>
            </a:fillRef>
            <a:effectRef idx="0">
              <a:schemeClr val="accent1"/>
            </a:effectRef>
            <a:fontRef idx="minor">
              <a:schemeClr val="tx1"/>
            </a:fontRef>
          </p:style>
        </p:cxnSp>
        <p:sp>
          <p:nvSpPr>
            <p:cNvPr id="22" name="Arrow: Pentagon 21">
              <a:extLst>
                <a:ext uri="{FF2B5EF4-FFF2-40B4-BE49-F238E27FC236}">
                  <a16:creationId xmlns:a16="http://schemas.microsoft.com/office/drawing/2014/main" id="{300BDF36-C2F8-1274-2CC6-D1FC29B224E7}"/>
                </a:ext>
              </a:extLst>
            </p:cNvPr>
            <p:cNvSpPr/>
            <p:nvPr/>
          </p:nvSpPr>
          <p:spPr>
            <a:xfrm>
              <a:off x="563431" y="5955723"/>
              <a:ext cx="11065138" cy="419337"/>
            </a:xfrm>
            <a:prstGeom prst="homePlate">
              <a:avLst/>
            </a:prstGeom>
            <a:solidFill>
              <a:srgbClr val="CCDB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accent1"/>
                  </a:solidFill>
                </a:rPr>
                <a:t>Power to request information / compel attendance of witnesses</a:t>
              </a:r>
            </a:p>
          </p:txBody>
        </p:sp>
        <p:grpSp>
          <p:nvGrpSpPr>
            <p:cNvPr id="23" name="Group 22">
              <a:extLst>
                <a:ext uri="{FF2B5EF4-FFF2-40B4-BE49-F238E27FC236}">
                  <a16:creationId xmlns:a16="http://schemas.microsoft.com/office/drawing/2014/main" id="{E39B8F94-A1B5-CA9F-AED7-08281396FA01}"/>
                </a:ext>
              </a:extLst>
            </p:cNvPr>
            <p:cNvGrpSpPr/>
            <p:nvPr/>
          </p:nvGrpSpPr>
          <p:grpSpPr>
            <a:xfrm>
              <a:off x="10931981" y="5967391"/>
              <a:ext cx="621903" cy="396000"/>
              <a:chOff x="10945168" y="5937568"/>
              <a:chExt cx="621903" cy="396000"/>
            </a:xfrm>
          </p:grpSpPr>
          <p:sp>
            <p:nvSpPr>
              <p:cNvPr id="24" name="0025" descr="CMSLegal_Shape_Fill">
                <a:extLst>
                  <a:ext uri="{FF2B5EF4-FFF2-40B4-BE49-F238E27FC236}">
                    <a16:creationId xmlns:a16="http://schemas.microsoft.com/office/drawing/2014/main" id="{56F1D4D2-9A7D-52B7-139D-8D044FAB3C31}"/>
                  </a:ext>
                </a:extLst>
              </p:cNvPr>
              <p:cNvSpPr>
                <a:spLocks noChangeAspect="1"/>
              </p:cNvSpPr>
              <p:nvPr/>
            </p:nvSpPr>
            <p:spPr>
              <a:xfrm>
                <a:off x="11250270" y="5937568"/>
                <a:ext cx="316801" cy="396000"/>
              </a:xfrm>
              <a:prstGeom prst="chevron">
                <a:avLst>
                  <a:gd name="adj" fmla="val 61708"/>
                </a:avLst>
              </a:prstGeom>
              <a:solidFill>
                <a:srgbClr val="6694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endParaRPr>
              </a:p>
            </p:txBody>
          </p:sp>
          <p:sp>
            <p:nvSpPr>
              <p:cNvPr id="25" name="0025" descr="CMSLegal_Shape_Fill">
                <a:extLst>
                  <a:ext uri="{FF2B5EF4-FFF2-40B4-BE49-F238E27FC236}">
                    <a16:creationId xmlns:a16="http://schemas.microsoft.com/office/drawing/2014/main" id="{000CFD6F-FC34-ACCF-E186-70EF886C0AAC}"/>
                  </a:ext>
                </a:extLst>
              </p:cNvPr>
              <p:cNvSpPr>
                <a:spLocks noChangeAspect="1"/>
              </p:cNvSpPr>
              <p:nvPr/>
            </p:nvSpPr>
            <p:spPr>
              <a:xfrm>
                <a:off x="11097719" y="5937568"/>
                <a:ext cx="316801" cy="396000"/>
              </a:xfrm>
              <a:prstGeom prst="chevron">
                <a:avLst>
                  <a:gd name="adj" fmla="val 61708"/>
                </a:avLst>
              </a:prstGeom>
              <a:solidFill>
                <a:srgbClr val="99B8D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endParaRPr>
              </a:p>
            </p:txBody>
          </p:sp>
          <p:sp>
            <p:nvSpPr>
              <p:cNvPr id="26" name="0025" descr="CMSLegal_Shape_Fill">
                <a:extLst>
                  <a:ext uri="{FF2B5EF4-FFF2-40B4-BE49-F238E27FC236}">
                    <a16:creationId xmlns:a16="http://schemas.microsoft.com/office/drawing/2014/main" id="{E458835B-3ADA-165E-BE34-CCDF87F6109A}"/>
                  </a:ext>
                </a:extLst>
              </p:cNvPr>
              <p:cNvSpPr>
                <a:spLocks noChangeAspect="1"/>
              </p:cNvSpPr>
              <p:nvPr/>
            </p:nvSpPr>
            <p:spPr>
              <a:xfrm>
                <a:off x="10945168" y="5937568"/>
                <a:ext cx="316801" cy="396000"/>
              </a:xfrm>
              <a:prstGeom prst="chevron">
                <a:avLst>
                  <a:gd name="adj" fmla="val 61708"/>
                </a:avLst>
              </a:prstGeom>
              <a:solidFill>
                <a:srgbClr val="CCDB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endParaRPr>
              </a:p>
            </p:txBody>
          </p:sp>
        </p:grpSp>
      </p:grpSp>
    </p:spTree>
    <p:extLst>
      <p:ext uri="{BB962C8B-B14F-4D97-AF65-F5344CB8AC3E}">
        <p14:creationId xmlns:p14="http://schemas.microsoft.com/office/powerpoint/2010/main" val="29251557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7</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87719"/>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Remedies</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Text Placeholder 3">
            <a:extLst>
              <a:ext uri="{FF2B5EF4-FFF2-40B4-BE49-F238E27FC236}">
                <a16:creationId xmlns:a16="http://schemas.microsoft.com/office/drawing/2014/main" id="{5C43FC34-F0EA-85C9-36E1-3C017844D0FF}"/>
              </a:ext>
            </a:extLst>
          </p:cNvPr>
          <p:cNvSpPr txBox="1">
            <a:spLocks/>
          </p:cNvSpPr>
          <p:nvPr/>
        </p:nvSpPr>
        <p:spPr bwMode="auto">
          <a:xfrm>
            <a:off x="902090" y="2548267"/>
            <a:ext cx="11040000" cy="3727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ts val="480"/>
              </a:spcBef>
              <a:spcAft>
                <a:spcPct val="0"/>
              </a:spcAft>
              <a:buFont typeface="Symbol" pitchFamily="18"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4400" algn="l" rtl="0" eaLnBrk="1" fontAlgn="base" hangingPunct="1">
              <a:spcBef>
                <a:spcPts val="432"/>
              </a:spcBef>
              <a:spcAft>
                <a:spcPct val="0"/>
              </a:spcAft>
              <a:buFont typeface="Arial" pitchFamily="34"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ts val="384"/>
              </a:spcBef>
              <a:spcAft>
                <a:spcPct val="0"/>
              </a:spcAft>
              <a:buFont typeface="Symbol" pitchFamily="18" charset="2"/>
              <a:buChar char="-"/>
              <a:defRPr sz="2000" kern="1200" baseline="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ts val="384"/>
              </a:spcBef>
              <a:spcAft>
                <a:spcPct val="0"/>
              </a:spcAft>
              <a:buFont typeface="Arial" pitchFamily="34" charset="0"/>
              <a:buChar char="•"/>
              <a:defRPr sz="1800" kern="1200" baseline="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ts val="384"/>
              </a:spcBef>
              <a:spcAft>
                <a:spcPct val="0"/>
              </a:spcAft>
              <a:buFont typeface="Symbol" pitchFamily="18"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a:buFont typeface="Wingdings" panose="05000000000000000000" pitchFamily="2" charset="2"/>
              <a:buChar char="v"/>
            </a:pPr>
            <a:r>
              <a:rPr lang="en-GB" dirty="0">
                <a:latin typeface="Lato" panose="020F0502020204030203" pitchFamily="34" charset="0"/>
                <a:ea typeface="Lato" panose="020F0502020204030203" pitchFamily="34" charset="0"/>
                <a:cs typeface="Lato" panose="020F0502020204030203" pitchFamily="34" charset="0"/>
              </a:rPr>
              <a:t>A final order can </a:t>
            </a:r>
            <a:r>
              <a:rPr lang="en-GB" b="1" dirty="0">
                <a:solidFill>
                  <a:srgbClr val="6600FF"/>
                </a:solidFill>
                <a:latin typeface="Lato" panose="020F0502020204030203" pitchFamily="34" charset="0"/>
                <a:ea typeface="Lato" panose="020F0502020204030203" pitchFamily="34" charset="0"/>
                <a:cs typeface="Lato" panose="020F0502020204030203" pitchFamily="34" charset="0"/>
              </a:rPr>
              <a:t>impose</a:t>
            </a:r>
            <a:r>
              <a:rPr lang="en-GB" dirty="0">
                <a:latin typeface="Lato" panose="020F0502020204030203" pitchFamily="34" charset="0"/>
                <a:ea typeface="Lato" panose="020F0502020204030203" pitchFamily="34" charset="0"/>
                <a:cs typeface="Lato" panose="020F0502020204030203" pitchFamily="34" charset="0"/>
              </a:rPr>
              <a:t> </a:t>
            </a:r>
            <a:r>
              <a:rPr lang="en-GB" b="1" dirty="0">
                <a:solidFill>
                  <a:srgbClr val="6600FF"/>
                </a:solidFill>
                <a:latin typeface="Lato" panose="020F0502020204030203" pitchFamily="34" charset="0"/>
                <a:ea typeface="Lato" panose="020F0502020204030203" pitchFamily="34" charset="0"/>
                <a:cs typeface="Lato" panose="020F0502020204030203" pitchFamily="34" charset="0"/>
              </a:rPr>
              <a:t>any necessary and proportionate </a:t>
            </a:r>
            <a:r>
              <a:rPr lang="en-GB" dirty="0">
                <a:latin typeface="Lato" panose="020F0502020204030203" pitchFamily="34" charset="0"/>
                <a:ea typeface="Lato" panose="020F0502020204030203" pitchFamily="34" charset="0"/>
                <a:cs typeface="Lato" panose="020F0502020204030203" pitchFamily="34" charset="0"/>
              </a:rPr>
              <a:t>remedies to </a:t>
            </a:r>
            <a:r>
              <a:rPr lang="en-GB" b="1" dirty="0">
                <a:solidFill>
                  <a:srgbClr val="6600FF"/>
                </a:solidFill>
                <a:latin typeface="Lato" panose="020F0502020204030203" pitchFamily="34" charset="0"/>
                <a:ea typeface="Lato" panose="020F0502020204030203" pitchFamily="34" charset="0"/>
                <a:cs typeface="Lato" panose="020F0502020204030203" pitchFamily="34" charset="0"/>
              </a:rPr>
              <a:t>prevent, remedy or mitigate</a:t>
            </a:r>
            <a:r>
              <a:rPr lang="en-GB" dirty="0">
                <a:latin typeface="Lato" panose="020F0502020204030203" pitchFamily="34" charset="0"/>
                <a:ea typeface="Lato" panose="020F0502020204030203" pitchFamily="34" charset="0"/>
                <a:cs typeface="Lato" panose="020F0502020204030203" pitchFamily="34" charset="0"/>
              </a:rPr>
              <a:t> a national security risk.</a:t>
            </a:r>
          </a:p>
          <a:p>
            <a:pPr lvl="1"/>
            <a:r>
              <a:rPr lang="en-GB" dirty="0">
                <a:latin typeface="Lato" panose="020F0502020204030203" pitchFamily="34" charset="0"/>
                <a:ea typeface="Lato" panose="020F0502020204030203" pitchFamily="34" charset="0"/>
                <a:cs typeface="Lato" panose="020F0502020204030203" pitchFamily="34" charset="0"/>
              </a:rPr>
              <a:t>Could include e.g. ownership, governance, access rights or disposal / prohibition </a:t>
            </a:r>
          </a:p>
          <a:p>
            <a:pPr lvl="1"/>
            <a:r>
              <a:rPr lang="en-GB" dirty="0">
                <a:latin typeface="Lato" panose="020F0502020204030203" pitchFamily="34" charset="0"/>
                <a:ea typeface="Lato" panose="020F0502020204030203" pitchFamily="34" charset="0"/>
                <a:cs typeface="Lato" panose="020F0502020204030203" pitchFamily="34" charset="0"/>
              </a:rPr>
              <a:t>May combine conditions / voluntary undertakings, formalised in an order.</a:t>
            </a:r>
          </a:p>
          <a:p>
            <a:pPr>
              <a:buFont typeface="Wingdings" panose="05000000000000000000" pitchFamily="2" charset="2"/>
              <a:buChar char="v"/>
            </a:pPr>
            <a:r>
              <a:rPr lang="en-GB" dirty="0">
                <a:latin typeface="Lato" panose="020F0502020204030203" pitchFamily="34" charset="0"/>
                <a:ea typeface="Lato" panose="020F0502020204030203" pitchFamily="34" charset="0"/>
                <a:cs typeface="Lato" panose="020F0502020204030203" pitchFamily="34" charset="0"/>
              </a:rPr>
              <a:t>If national security concerns identified, SoS will consider representations on remedies before making a final order</a:t>
            </a:r>
          </a:p>
          <a:p>
            <a:pPr marL="363600" lvl="1" indent="0">
              <a:buFont typeface="Arial" pitchFamily="34" charset="0"/>
              <a:buNone/>
            </a:pPr>
            <a:endParaRPr lang="en-GB" dirty="0"/>
          </a:p>
          <a:p>
            <a:endParaRPr lang="en-GB" dirty="0"/>
          </a:p>
        </p:txBody>
      </p:sp>
    </p:spTree>
    <p:extLst>
      <p:ext uri="{BB962C8B-B14F-4D97-AF65-F5344CB8AC3E}">
        <p14:creationId xmlns:p14="http://schemas.microsoft.com/office/powerpoint/2010/main" val="29193050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8</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8197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erger Control in the UK – a voluntary regime</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Text Placeholder 3">
            <a:extLst>
              <a:ext uri="{FF2B5EF4-FFF2-40B4-BE49-F238E27FC236}">
                <a16:creationId xmlns:a16="http://schemas.microsoft.com/office/drawing/2014/main" id="{90B2DEE6-B759-4416-10AC-BD8CC97EE9E7}"/>
              </a:ext>
            </a:extLst>
          </p:cNvPr>
          <p:cNvSpPr txBox="1">
            <a:spLocks/>
          </p:cNvSpPr>
          <p:nvPr/>
        </p:nvSpPr>
        <p:spPr bwMode="auto">
          <a:xfrm>
            <a:off x="866914" y="2476140"/>
            <a:ext cx="11040000" cy="3727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ts val="480"/>
              </a:spcBef>
              <a:spcAft>
                <a:spcPct val="0"/>
              </a:spcAft>
              <a:buFont typeface="Symbol" pitchFamily="18"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4400" algn="l" rtl="0" eaLnBrk="1" fontAlgn="base" hangingPunct="1">
              <a:spcBef>
                <a:spcPts val="432"/>
              </a:spcBef>
              <a:spcAft>
                <a:spcPct val="0"/>
              </a:spcAft>
              <a:buFont typeface="Arial" pitchFamily="34"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ts val="384"/>
              </a:spcBef>
              <a:spcAft>
                <a:spcPct val="0"/>
              </a:spcAft>
              <a:buFont typeface="Symbol" pitchFamily="18" charset="2"/>
              <a:buChar char="-"/>
              <a:defRPr sz="2000" kern="1200" baseline="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ts val="384"/>
              </a:spcBef>
              <a:spcAft>
                <a:spcPct val="0"/>
              </a:spcAft>
              <a:buFont typeface="Arial" pitchFamily="34" charset="0"/>
              <a:buChar char="•"/>
              <a:defRPr sz="1800" kern="1200" baseline="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ts val="384"/>
              </a:spcBef>
              <a:spcAft>
                <a:spcPct val="0"/>
              </a:spcAft>
              <a:buFont typeface="Symbol" pitchFamily="18"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a:buFont typeface="Wingdings" panose="05000000000000000000" pitchFamily="2" charset="2"/>
              <a:buChar char="v"/>
            </a:pPr>
            <a:r>
              <a:rPr lang="en-GB" sz="1800" dirty="0">
                <a:latin typeface="Lato" panose="020F0502020204030203" pitchFamily="34" charset="0"/>
                <a:ea typeface="Lato" panose="020F0502020204030203" pitchFamily="34" charset="0"/>
                <a:cs typeface="Lato" panose="020F0502020204030203" pitchFamily="34" charset="0"/>
              </a:rPr>
              <a:t>CMA entitled to review both anticipated and completed mergers where </a:t>
            </a: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either</a:t>
            </a:r>
            <a:r>
              <a:rPr lang="en-GB" sz="1800" dirty="0">
                <a:latin typeface="Lato" panose="020F0502020204030203" pitchFamily="34" charset="0"/>
                <a:ea typeface="Lato" panose="020F0502020204030203" pitchFamily="34" charset="0"/>
                <a:cs typeface="Lato" panose="020F0502020204030203" pitchFamily="34" charset="0"/>
              </a:rPr>
              <a:t>:</a:t>
            </a:r>
          </a:p>
          <a:p>
            <a:pPr lvl="1">
              <a:buClr>
                <a:schemeClr val="tx1"/>
              </a:buClr>
            </a:pP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Turnover Test: </a:t>
            </a:r>
            <a:r>
              <a:rPr lang="en-GB" sz="1600" dirty="0">
                <a:latin typeface="Lato" panose="020F0502020204030203" pitchFamily="34" charset="0"/>
                <a:ea typeface="Lato" panose="020F0502020204030203" pitchFamily="34" charset="0"/>
                <a:cs typeface="Lato" panose="020F0502020204030203" pitchFamily="34" charset="0"/>
              </a:rPr>
              <a:t>UK turnover of Target exceeded </a:t>
            </a: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70m </a:t>
            </a:r>
            <a:r>
              <a:rPr lang="en-GB" sz="1600" dirty="0">
                <a:latin typeface="Lato" panose="020F0502020204030203" pitchFamily="34" charset="0"/>
                <a:ea typeface="Lato" panose="020F0502020204030203" pitchFamily="34" charset="0"/>
                <a:cs typeface="Lato" panose="020F0502020204030203" pitchFamily="34" charset="0"/>
              </a:rPr>
              <a:t>in last financial year </a:t>
            </a:r>
          </a:p>
          <a:p>
            <a:pPr lvl="1">
              <a:buClr>
                <a:schemeClr val="tx1"/>
              </a:buClr>
            </a:pP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Share of Supply Test:</a:t>
            </a:r>
            <a:r>
              <a:rPr lang="en-GB" sz="1600" dirty="0">
                <a:latin typeface="Lato" panose="020F0502020204030203" pitchFamily="34" charset="0"/>
                <a:ea typeface="Lato" panose="020F0502020204030203" pitchFamily="34" charset="0"/>
                <a:cs typeface="Lato" panose="020F0502020204030203" pitchFamily="34" charset="0"/>
              </a:rPr>
              <a:t> Acquirer + Target will jointly account for at least </a:t>
            </a:r>
            <a:r>
              <a:rPr lang="en-GB" sz="1600" b="1" dirty="0">
                <a:solidFill>
                  <a:srgbClr val="6600FF"/>
                </a:solidFill>
                <a:latin typeface="Lato" panose="020F0502020204030203" pitchFamily="34" charset="0"/>
                <a:ea typeface="Lato" panose="020F0502020204030203" pitchFamily="34" charset="0"/>
                <a:cs typeface="Lato" panose="020F0502020204030203" pitchFamily="34" charset="0"/>
              </a:rPr>
              <a:t>25%</a:t>
            </a:r>
            <a:r>
              <a:rPr lang="en-GB" sz="1600" dirty="0">
                <a:latin typeface="Lato" panose="020F0502020204030203" pitchFamily="34" charset="0"/>
                <a:ea typeface="Lato" panose="020F0502020204030203" pitchFamily="34" charset="0"/>
                <a:cs typeface="Lato" panose="020F0502020204030203" pitchFamily="34" charset="0"/>
              </a:rPr>
              <a:t> of goods or services of a particular description supplied in all (or a significant part) of the UK</a:t>
            </a:r>
          </a:p>
          <a:p>
            <a:pPr marL="363600" lvl="1" indent="0">
              <a:spcAft>
                <a:spcPts val="600"/>
              </a:spcAft>
              <a:buClr>
                <a:schemeClr val="tx1"/>
              </a:buClr>
              <a:buNone/>
            </a:pP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NOTE: amended threshold tests included in Digital Markets, Competition and Consumers Bill –2024</a:t>
            </a:r>
          </a:p>
          <a:p>
            <a:pPr>
              <a:buFont typeface="Wingdings" panose="05000000000000000000" pitchFamily="2" charset="2"/>
              <a:buChar char="v"/>
            </a:pPr>
            <a:r>
              <a:rPr lang="en-GB" sz="1800" dirty="0">
                <a:latin typeface="Lato" panose="020F0502020204030203" pitchFamily="34" charset="0"/>
                <a:ea typeface="Lato" panose="020F0502020204030203" pitchFamily="34" charset="0"/>
                <a:cs typeface="Lato" panose="020F0502020204030203" pitchFamily="34" charset="0"/>
              </a:rPr>
              <a:t>Filing is </a:t>
            </a: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voluntary</a:t>
            </a:r>
            <a:r>
              <a:rPr lang="en-GB" sz="1800" dirty="0">
                <a:latin typeface="Lato" panose="020F0502020204030203" pitchFamily="34" charset="0"/>
                <a:ea typeface="Lato" panose="020F0502020204030203" pitchFamily="34" charset="0"/>
                <a:cs typeface="Lato" panose="020F0502020204030203" pitchFamily="34" charset="0"/>
              </a:rPr>
              <a:t> but issues to consider before deciding not file include:</a:t>
            </a:r>
          </a:p>
          <a:p>
            <a:pPr lvl="1"/>
            <a:r>
              <a:rPr lang="en-GB" sz="1600" dirty="0">
                <a:latin typeface="Lato" panose="020F0502020204030203" pitchFamily="34" charset="0"/>
                <a:ea typeface="Lato" panose="020F0502020204030203" pitchFamily="34" charset="0"/>
                <a:cs typeface="Lato" panose="020F0502020204030203" pitchFamily="34" charset="0"/>
              </a:rPr>
              <a:t>What are the competitive overlaps between the parties?</a:t>
            </a:r>
          </a:p>
          <a:p>
            <a:pPr lvl="1"/>
            <a:r>
              <a:rPr lang="en-GB" sz="1600" dirty="0">
                <a:latin typeface="Lato" panose="020F0502020204030203" pitchFamily="34" charset="0"/>
                <a:ea typeface="Lato" panose="020F0502020204030203" pitchFamily="34" charset="0"/>
                <a:cs typeface="Lato" panose="020F0502020204030203" pitchFamily="34" charset="0"/>
              </a:rPr>
              <a:t>Will the transaction receive publicity? Likely complaints?</a:t>
            </a:r>
          </a:p>
          <a:p>
            <a:pPr lvl="1"/>
            <a:r>
              <a:rPr lang="en-GB" sz="1600" dirty="0">
                <a:latin typeface="Lato" panose="020F0502020204030203" pitchFamily="34" charset="0"/>
                <a:ea typeface="Lato" panose="020F0502020204030203" pitchFamily="34" charset="0"/>
                <a:cs typeface="Lato" panose="020F0502020204030203" pitchFamily="34" charset="0"/>
              </a:rPr>
              <a:t>Can you bear the risk of a post-completion investigation</a:t>
            </a:r>
          </a:p>
          <a:p>
            <a:pPr lvl="1"/>
            <a:r>
              <a:rPr lang="en-GB" sz="1600" dirty="0">
                <a:latin typeface="Lato" panose="020F0502020204030203" pitchFamily="34" charset="0"/>
                <a:ea typeface="Lato" panose="020F0502020204030203" pitchFamily="34" charset="0"/>
                <a:cs typeface="Lato" panose="020F0502020204030203" pitchFamily="34" charset="0"/>
              </a:rPr>
              <a:t>What is the deal timing (UK has very long phase I clearance period)</a:t>
            </a:r>
          </a:p>
          <a:p>
            <a:pPr>
              <a:buFont typeface="Wingdings" panose="05000000000000000000" pitchFamily="2" charset="2"/>
              <a:buChar char="v"/>
            </a:pPr>
            <a:r>
              <a:rPr lang="en-GB" sz="1800" dirty="0">
                <a:latin typeface="Lato" panose="020F0502020204030203" pitchFamily="34" charset="0"/>
                <a:ea typeface="Lato" panose="020F0502020204030203" pitchFamily="34" charset="0"/>
                <a:cs typeface="Lato" panose="020F0502020204030203" pitchFamily="34" charset="0"/>
              </a:rPr>
              <a:t>CMA can be ‘creative’ in claiming jurisdiction over deals that it sees as potentially problematic</a:t>
            </a:r>
          </a:p>
          <a:p>
            <a:pPr>
              <a:buFont typeface="Wingdings" panose="05000000000000000000" pitchFamily="2" charset="2"/>
              <a:buChar char="v"/>
            </a:pPr>
            <a:endParaRPr lang="en-GB" sz="1800" dirty="0">
              <a:latin typeface="Lato" panose="020F0502020204030203" pitchFamily="34" charset="0"/>
              <a:ea typeface="Lato" panose="020F0502020204030203" pitchFamily="34" charset="0"/>
              <a:cs typeface="Lato" panose="020F0502020204030203" pitchFamily="34" charset="0"/>
            </a:endParaRPr>
          </a:p>
          <a:p>
            <a:pPr marL="363600" lvl="1" indent="0">
              <a:buFont typeface="Arial" pitchFamily="34" charset="0"/>
              <a:buNone/>
            </a:pPr>
            <a:endParaRPr lang="en-GB" dirty="0"/>
          </a:p>
          <a:p>
            <a:endParaRPr lang="en-GB" dirty="0"/>
          </a:p>
        </p:txBody>
      </p:sp>
    </p:spTree>
    <p:extLst>
      <p:ext uri="{BB962C8B-B14F-4D97-AF65-F5344CB8AC3E}">
        <p14:creationId xmlns:p14="http://schemas.microsoft.com/office/powerpoint/2010/main" val="3645443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19</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7244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erger Control in the UK – the risk of not filing</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 name="Content Placeholder 2">
            <a:extLst>
              <a:ext uri="{FF2B5EF4-FFF2-40B4-BE49-F238E27FC236}">
                <a16:creationId xmlns:a16="http://schemas.microsoft.com/office/drawing/2014/main" id="{DAD86D11-1B97-E509-1AB6-0117CE651F47}"/>
              </a:ext>
            </a:extLst>
          </p:cNvPr>
          <p:cNvSpPr txBox="1">
            <a:spLocks/>
          </p:cNvSpPr>
          <p:nvPr/>
        </p:nvSpPr>
        <p:spPr bwMode="auto">
          <a:xfrm>
            <a:off x="6961231" y="2614110"/>
            <a:ext cx="4787135" cy="39502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895350" indent="-2667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62050" indent="-2667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38275" indent="-276225"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200" b="1" dirty="0">
                <a:solidFill>
                  <a:srgbClr val="6600FF"/>
                </a:solidFill>
              </a:rPr>
              <a:t>Can you avoid it?</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GB" sz="1800" dirty="0"/>
              <a:t>Briefing paper to Mergers Intelligence Committee of CMA prior to completion</a:t>
            </a:r>
          </a:p>
          <a:p>
            <a:pPr>
              <a:buFont typeface="Wingdings" panose="05000000000000000000" pitchFamily="2" charset="2"/>
              <a:buChar char="v"/>
            </a:pPr>
            <a:r>
              <a:rPr lang="en-GB" sz="1800" dirty="0"/>
              <a:t>Get the clock started at completion – issue a press release</a:t>
            </a:r>
          </a:p>
          <a:p>
            <a:pPr>
              <a:buFont typeface="Wingdings" panose="05000000000000000000" pitchFamily="2" charset="2"/>
              <a:buChar char="v"/>
            </a:pPr>
            <a:r>
              <a:rPr lang="en-GB" sz="1800" dirty="0"/>
              <a:t>Parties will need to agree allocation of regulatory risk</a:t>
            </a:r>
          </a:p>
          <a:p>
            <a:pPr>
              <a:buFont typeface="Wingdings" panose="05000000000000000000" pitchFamily="2" charset="2"/>
              <a:buChar char="v"/>
            </a:pPr>
            <a:r>
              <a:rPr lang="en-GB" sz="1800" dirty="0"/>
              <a:t>Alternative structuring options</a:t>
            </a:r>
          </a:p>
          <a:p>
            <a:pPr marL="0" indent="0">
              <a:buNone/>
            </a:pPr>
            <a:endParaRPr lang="en-GB" sz="1400" dirty="0"/>
          </a:p>
        </p:txBody>
      </p:sp>
      <p:sp>
        <p:nvSpPr>
          <p:cNvPr id="11" name="Content Placeholder 2">
            <a:extLst>
              <a:ext uri="{FF2B5EF4-FFF2-40B4-BE49-F238E27FC236}">
                <a16:creationId xmlns:a16="http://schemas.microsoft.com/office/drawing/2014/main" id="{722773E0-82F8-1311-6938-A65C81B6B5FC}"/>
              </a:ext>
            </a:extLst>
          </p:cNvPr>
          <p:cNvSpPr txBox="1">
            <a:spLocks/>
          </p:cNvSpPr>
          <p:nvPr/>
        </p:nvSpPr>
        <p:spPr>
          <a:xfrm>
            <a:off x="830011" y="2571093"/>
            <a:ext cx="4934294" cy="3714661"/>
          </a:xfrm>
          <a:prstGeom prst="rect">
            <a:avLst/>
          </a:prstGeom>
        </p:spPr>
        <p:txBody>
          <a:bodyPr/>
          <a:lstStyle>
            <a:lvl1pPr marL="342900" indent="-342900" algn="l" rtl="0" eaLnBrk="1" fontAlgn="base" hangingPunct="1">
              <a:spcBef>
                <a:spcPct val="20000"/>
              </a:spcBef>
              <a:spcAft>
                <a:spcPct val="0"/>
              </a:spcAft>
              <a:buFont typeface="Symbol" pitchFamily="-110"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5750" algn="l" rtl="0" eaLnBrk="1" fontAlgn="base" hangingPunct="1">
              <a:spcBef>
                <a:spcPct val="20000"/>
              </a:spcBef>
              <a:spcAft>
                <a:spcPct val="0"/>
              </a:spcAft>
              <a:buFont typeface="Arial"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ct val="20000"/>
              </a:spcBef>
              <a:spcAft>
                <a:spcPct val="0"/>
              </a:spcAft>
              <a:buFont typeface="Symbol" pitchFamily="-110" charset="2"/>
              <a:buChar char="-"/>
              <a:defRPr sz="2000" kern="120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ct val="20000"/>
              </a:spcBef>
              <a:spcAft>
                <a:spcPct val="0"/>
              </a:spcAft>
              <a:buFont typeface="Symbol" pitchFamily="-110"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marL="0" indent="0">
              <a:buFont typeface="Symbol" pitchFamily="-110" charset="2"/>
              <a:buNone/>
            </a:pPr>
            <a:r>
              <a:rPr lang="en-US" sz="2200" b="1" dirty="0">
                <a:solidFill>
                  <a:srgbClr val="6600FF"/>
                </a:solidFill>
              </a:rPr>
              <a:t>The reality</a:t>
            </a:r>
          </a:p>
          <a:p>
            <a:pPr marL="0" indent="0">
              <a:buFont typeface="Symbol" pitchFamily="-110" charset="2"/>
              <a:buNone/>
            </a:pPr>
            <a:endParaRPr lang="en-US" sz="1400" b="1" dirty="0">
              <a:solidFill>
                <a:schemeClr val="accent2"/>
              </a:solidFill>
            </a:endParaRPr>
          </a:p>
          <a:p>
            <a:pPr>
              <a:buFont typeface="Wingdings" panose="05000000000000000000" pitchFamily="2" charset="2"/>
              <a:buChar char="v"/>
            </a:pPr>
            <a:r>
              <a:rPr lang="en-GB" sz="1800" dirty="0"/>
              <a:t>CMA actively monitors non-notified deals</a:t>
            </a:r>
            <a:endParaRPr lang="en-US" sz="1800" dirty="0"/>
          </a:p>
          <a:p>
            <a:pPr>
              <a:buFont typeface="Wingdings" panose="05000000000000000000" pitchFamily="2" charset="2"/>
              <a:buChar char="v"/>
            </a:pPr>
            <a:r>
              <a:rPr lang="en-GB" sz="1800" dirty="0"/>
              <a:t>Enquiry letter sent to parties with request for information</a:t>
            </a:r>
          </a:p>
          <a:p>
            <a:pPr>
              <a:buFont typeface="Wingdings" panose="05000000000000000000" pitchFamily="2" charset="2"/>
              <a:buChar char="v"/>
            </a:pPr>
            <a:r>
              <a:rPr lang="en-GB" sz="1800" dirty="0"/>
              <a:t>If investigation launched, CMA will impose a hold-separate order (IEO) preventing any further integration</a:t>
            </a:r>
          </a:p>
          <a:p>
            <a:pPr>
              <a:buFont typeface="Wingdings" panose="05000000000000000000" pitchFamily="2" charset="2"/>
              <a:buChar char="v"/>
            </a:pPr>
            <a:r>
              <a:rPr lang="en-GB" sz="1800" dirty="0"/>
              <a:t>Creates significant practical difficulties</a:t>
            </a:r>
          </a:p>
          <a:p>
            <a:pPr>
              <a:buFont typeface="Wingdings" panose="05000000000000000000" pitchFamily="2" charset="2"/>
              <a:buChar char="v"/>
            </a:pPr>
            <a:r>
              <a:rPr lang="en-GB" sz="1800" dirty="0"/>
              <a:t>If merger found to raise substantive concerns, CMA can order divestment of acquired business</a:t>
            </a:r>
          </a:p>
          <a:p>
            <a:pPr>
              <a:buFont typeface="Wingdings" panose="05000000000000000000" pitchFamily="2" charset="2"/>
              <a:buChar char="v"/>
            </a:pPr>
            <a:endParaRPr lang="en-US" sz="1600" dirty="0"/>
          </a:p>
          <a:p>
            <a:endParaRPr lang="en-GB" sz="1400" dirty="0"/>
          </a:p>
        </p:txBody>
      </p:sp>
    </p:spTree>
    <p:extLst>
      <p:ext uri="{BB962C8B-B14F-4D97-AF65-F5344CB8AC3E}">
        <p14:creationId xmlns:p14="http://schemas.microsoft.com/office/powerpoint/2010/main" val="2347244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FF234-3130-75EF-3C78-62E14F63522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C8E2795-E492-5244-22E1-E5B856B875B6}"/>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7F1EADC2-F0C2-A4CB-FD94-FD4F92EB2459}"/>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E7FAA277-A6B5-9935-4D54-2D03FABFB8BA}"/>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EBAD079A-4D36-D0CE-73D1-F8B6888ED0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A398A899-272F-E786-F927-8084912528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97A21135-842D-185F-E6B2-E773AB652015}"/>
              </a:ext>
            </a:extLst>
          </p:cNvPr>
          <p:cNvSpPr txBox="1"/>
          <p:nvPr/>
        </p:nvSpPr>
        <p:spPr>
          <a:xfrm>
            <a:off x="740149" y="2404144"/>
            <a:ext cx="10251440" cy="769441"/>
          </a:xfrm>
          <a:prstGeom prst="rect">
            <a:avLst/>
          </a:prstGeom>
          <a:noFill/>
        </p:spPr>
        <p:txBody>
          <a:bodyPr wrap="square" lIns="0" rtlCol="0">
            <a:spAutoFit/>
          </a:bodyPr>
          <a:lstStyle/>
          <a:p>
            <a:r>
              <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elcome speech</a:t>
            </a:r>
          </a:p>
        </p:txBody>
      </p:sp>
      <p:sp>
        <p:nvSpPr>
          <p:cNvPr id="2" name="TextBox 1">
            <a:extLst>
              <a:ext uri="{FF2B5EF4-FFF2-40B4-BE49-F238E27FC236}">
                <a16:creationId xmlns:a16="http://schemas.microsoft.com/office/drawing/2014/main" id="{A6ECCFDB-AA1A-31D5-4461-5DCB4459CC8C}"/>
              </a:ext>
            </a:extLst>
          </p:cNvPr>
          <p:cNvSpPr txBox="1"/>
          <p:nvPr/>
        </p:nvSpPr>
        <p:spPr>
          <a:xfrm>
            <a:off x="740148" y="3714174"/>
            <a:ext cx="10251440" cy="2062103"/>
          </a:xfrm>
          <a:prstGeom prst="rect">
            <a:avLst/>
          </a:prstGeom>
          <a:noFill/>
        </p:spPr>
        <p:txBody>
          <a:bodyPr wrap="square" lIns="0" numCol="2" rtlCol="0">
            <a:spAutoFit/>
          </a:bodyPr>
          <a:lstStyle/>
          <a:p>
            <a:pPr algn="l"/>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Andrzej </a:t>
            </a:r>
            <a:r>
              <a:rPr lang="pl-PL" sz="3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ośniak</a:t>
            </a:r>
            <a:br>
              <a:rPr lang="en-US"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3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anaging</a:t>
            </a:r>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 Partner </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l"/>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Poland</a:t>
            </a:r>
          </a:p>
          <a:p>
            <a:pPr algn="l"/>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l"/>
            <a:r>
              <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Jennifer Tyldesley </a:t>
            </a:r>
          </a:p>
          <a:p>
            <a:pPr algn="l"/>
            <a:r>
              <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Minister Counsellor </a:t>
            </a:r>
          </a:p>
          <a:p>
            <a:pPr algn="l"/>
            <a:r>
              <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British Embassy </a:t>
            </a:r>
            <a:r>
              <a:rPr lang="pl-PL"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Warsaw</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870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20</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ax considerations</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graphicFrame>
        <p:nvGraphicFramePr>
          <p:cNvPr id="2" name="Content Placeholder 4">
            <a:extLst>
              <a:ext uri="{FF2B5EF4-FFF2-40B4-BE49-F238E27FC236}">
                <a16:creationId xmlns:a16="http://schemas.microsoft.com/office/drawing/2014/main" id="{2FE87A10-E0F7-4B21-0E8A-200E298B2AA7}"/>
              </a:ext>
            </a:extLst>
          </p:cNvPr>
          <p:cNvGraphicFramePr>
            <a:graphicFrameLocks/>
          </p:cNvGraphicFramePr>
          <p:nvPr>
            <p:extLst>
              <p:ext uri="{D42A27DB-BD31-4B8C-83A1-F6EECF244321}">
                <p14:modId xmlns:p14="http://schemas.microsoft.com/office/powerpoint/2010/main" val="1950612725"/>
              </p:ext>
            </p:extLst>
          </p:nvPr>
        </p:nvGraphicFramePr>
        <p:xfrm>
          <a:off x="1000346" y="2573324"/>
          <a:ext cx="9096240" cy="3818423"/>
        </p:xfrm>
        <a:graphic>
          <a:graphicData uri="http://schemas.openxmlformats.org/drawingml/2006/table">
            <a:tbl>
              <a:tblPr firstRow="1" firstCol="1" bandRow="1">
                <a:tableStyleId>{5C22544A-7EE6-4342-B048-85BDC9FD1C3A}</a:tableStyleId>
              </a:tblPr>
              <a:tblGrid>
                <a:gridCol w="9096240">
                  <a:extLst>
                    <a:ext uri="{9D8B030D-6E8A-4147-A177-3AD203B41FA5}">
                      <a16:colId xmlns:a16="http://schemas.microsoft.com/office/drawing/2014/main" val="76466820"/>
                    </a:ext>
                  </a:extLst>
                </a:gridCol>
              </a:tblGrid>
              <a:tr h="1284820">
                <a:tc>
                  <a:txBody>
                    <a:bodyPr/>
                    <a:lstStyle/>
                    <a:p>
                      <a:pPr>
                        <a:lnSpc>
                          <a:spcPts val="1500"/>
                        </a:lnSpc>
                        <a:spcBef>
                          <a:spcPts val="600"/>
                        </a:spcBef>
                        <a:spcAft>
                          <a:spcPts val="600"/>
                        </a:spcAft>
                      </a:pPr>
                      <a:r>
                        <a:rPr lang="en-GB" sz="1000" kern="100" dirty="0">
                          <a:effectLst/>
                        </a:rPr>
                        <a:t>Share Sale </a:t>
                      </a:r>
                    </a:p>
                    <a:p>
                      <a:pPr marL="171450" indent="-171450">
                        <a:lnSpc>
                          <a:spcPts val="1500"/>
                        </a:lnSpc>
                        <a:spcBef>
                          <a:spcPts val="0"/>
                        </a:spcBef>
                        <a:spcAft>
                          <a:spcPts val="0"/>
                        </a:spcAft>
                        <a:buFont typeface="Wingdings" panose="05000000000000000000" pitchFamily="2" charset="2"/>
                        <a:buChar char="v"/>
                      </a:pPr>
                      <a:r>
                        <a:rPr lang="en-GB" sz="1000" kern="100" dirty="0">
                          <a:effectLst/>
                        </a:rPr>
                        <a:t>Subject to certain exceptions, stamp duty and/or stamp duty reserve tax is payable on a share sale, at the rate of 0.5% of the consideration paid for the shares.</a:t>
                      </a:r>
                    </a:p>
                    <a:p>
                      <a:pPr marL="171450" indent="-171450">
                        <a:lnSpc>
                          <a:spcPts val="1500"/>
                        </a:lnSpc>
                        <a:spcBef>
                          <a:spcPts val="600"/>
                        </a:spcBef>
                        <a:spcAft>
                          <a:spcPts val="600"/>
                        </a:spcAft>
                        <a:buFont typeface="Wingdings" panose="05000000000000000000" pitchFamily="2" charset="2"/>
                        <a:buChar char="v"/>
                      </a:pPr>
                      <a:r>
                        <a:rPr lang="en-GB" sz="1000" kern="100" dirty="0">
                          <a:effectLst/>
                        </a:rPr>
                        <a:t>A copy of the executed stock transfer form must be submitted electronically and payment of the stamp duty made to HMRC. HMRC can then check and confirm that, following due receipt of the stock transfer form and payment, the stock transfer form is treated as duly stamped.</a:t>
                      </a:r>
                      <a:endParaRPr lang="en-GB" sz="1000" kern="100" dirty="0">
                        <a:effectLst/>
                        <a:latin typeface="Calibri" panose="020F0502020204030204" pitchFamily="34" charset="0"/>
                        <a:ea typeface="Calibri" panose="020F0502020204030204" pitchFamily="34" charset="0"/>
                        <a:cs typeface="Arial" panose="020B0604020202020204" pitchFamily="34" charset="0"/>
                      </a:endParaRPr>
                    </a:p>
                  </a:txBody>
                  <a:tcPr marL="59632" marR="59632" marT="0" marB="0">
                    <a:solidFill>
                      <a:srgbClr val="8859E5"/>
                    </a:solidFill>
                  </a:tcPr>
                </a:tc>
                <a:extLst>
                  <a:ext uri="{0D108BD9-81ED-4DB2-BD59-A6C34878D82A}">
                    <a16:rowId xmlns:a16="http://schemas.microsoft.com/office/drawing/2014/main" val="2976518901"/>
                  </a:ext>
                </a:extLst>
              </a:tr>
              <a:tr h="2533603">
                <a:tc>
                  <a:txBody>
                    <a:bodyPr/>
                    <a:lstStyle/>
                    <a:p>
                      <a:pPr>
                        <a:lnSpc>
                          <a:spcPts val="1500"/>
                        </a:lnSpc>
                        <a:spcBef>
                          <a:spcPts val="600"/>
                        </a:spcBef>
                        <a:spcAft>
                          <a:spcPts val="600"/>
                        </a:spcAft>
                      </a:pPr>
                      <a:r>
                        <a:rPr lang="en-GB" sz="1000" kern="100" dirty="0">
                          <a:effectLst/>
                        </a:rPr>
                        <a:t>Asset Sale </a:t>
                      </a:r>
                    </a:p>
                    <a:p>
                      <a:pPr>
                        <a:lnSpc>
                          <a:spcPts val="1500"/>
                        </a:lnSpc>
                        <a:spcBef>
                          <a:spcPts val="600"/>
                        </a:spcBef>
                        <a:spcAft>
                          <a:spcPts val="600"/>
                        </a:spcAft>
                      </a:pPr>
                      <a:r>
                        <a:rPr lang="en-GB" sz="1000" kern="100" dirty="0">
                          <a:effectLst/>
                        </a:rPr>
                        <a:t>Stamp duty land tax is payable on a transfer of real estate. It is charged as a percentage of the amount of consideration paid and allocated to the real estate, at the following rates for commercial real estate (different rates apply to residential real estate):</a:t>
                      </a:r>
                    </a:p>
                    <a:p>
                      <a:pPr marL="542925" indent="-361950">
                        <a:lnSpc>
                          <a:spcPts val="1500"/>
                        </a:lnSpc>
                        <a:spcBef>
                          <a:spcPts val="0"/>
                        </a:spcBef>
                        <a:spcAft>
                          <a:spcPts val="0"/>
                        </a:spcAft>
                        <a:buFont typeface="Arial" panose="020B0604020202020204" pitchFamily="34" charset="0"/>
                        <a:buChar char="•"/>
                      </a:pPr>
                      <a:r>
                        <a:rPr lang="en-GB" sz="900" kern="100" dirty="0">
                          <a:effectLst/>
                        </a:rPr>
                        <a:t>The portion up to GBP150,000: nil.</a:t>
                      </a:r>
                    </a:p>
                    <a:p>
                      <a:pPr marL="542925" indent="-361950">
                        <a:lnSpc>
                          <a:spcPts val="1500"/>
                        </a:lnSpc>
                        <a:spcBef>
                          <a:spcPts val="0"/>
                        </a:spcBef>
                        <a:spcAft>
                          <a:spcPts val="0"/>
                        </a:spcAft>
                        <a:buFont typeface="Arial" panose="020B0604020202020204" pitchFamily="34" charset="0"/>
                        <a:buChar char="•"/>
                      </a:pPr>
                      <a:r>
                        <a:rPr lang="en-GB" sz="900" kern="100" dirty="0">
                          <a:effectLst/>
                        </a:rPr>
                        <a:t>Any portion over GBP150,000 up to GBP250,000: 2%.</a:t>
                      </a:r>
                    </a:p>
                    <a:p>
                      <a:pPr marL="542925" indent="-361950">
                        <a:lnSpc>
                          <a:spcPts val="1500"/>
                        </a:lnSpc>
                        <a:spcBef>
                          <a:spcPts val="0"/>
                        </a:spcBef>
                        <a:spcAft>
                          <a:spcPts val="0"/>
                        </a:spcAft>
                        <a:buFont typeface="Arial" panose="020B0604020202020204" pitchFamily="34" charset="0"/>
                        <a:buChar char="•"/>
                      </a:pPr>
                      <a:r>
                        <a:rPr lang="en-GB" sz="900" kern="100" dirty="0">
                          <a:effectLst/>
                        </a:rPr>
                        <a:t>Any portion over GBP250,000: 5%.</a:t>
                      </a:r>
                    </a:p>
                    <a:p>
                      <a:pPr marL="171450" indent="-171450">
                        <a:lnSpc>
                          <a:spcPts val="1500"/>
                        </a:lnSpc>
                        <a:spcBef>
                          <a:spcPts val="0"/>
                        </a:spcBef>
                        <a:spcAft>
                          <a:spcPts val="0"/>
                        </a:spcAft>
                        <a:buFont typeface="Wingdings" panose="05000000000000000000" pitchFamily="2" charset="2"/>
                        <a:buChar char="v"/>
                      </a:pPr>
                      <a:r>
                        <a:rPr lang="en-GB" sz="1000" kern="100" dirty="0">
                          <a:effectLst/>
                        </a:rPr>
                        <a:t>If a new leasehold interest is granted to a buyer (instead of transferring an existing interest in land), duty is charged on the "net present value" of the rents reserved under the lease (according to a formula set out in the relevant legislation):</a:t>
                      </a:r>
                    </a:p>
                    <a:p>
                      <a:pPr marL="542925" indent="-361950">
                        <a:lnSpc>
                          <a:spcPts val="1500"/>
                        </a:lnSpc>
                        <a:spcBef>
                          <a:spcPts val="0"/>
                        </a:spcBef>
                        <a:spcAft>
                          <a:spcPts val="0"/>
                        </a:spcAft>
                        <a:buFont typeface="Arial" panose="020B0604020202020204" pitchFamily="34" charset="0"/>
                        <a:buChar char="•"/>
                      </a:pPr>
                      <a:r>
                        <a:rPr lang="en-GB" sz="900" kern="100" dirty="0">
                          <a:effectLst/>
                        </a:rPr>
                        <a:t>The </a:t>
                      </a:r>
                      <a:r>
                        <a:rPr lang="en-GB" sz="900" b="1" kern="100" dirty="0">
                          <a:solidFill>
                            <a:schemeClr val="lt1"/>
                          </a:solidFill>
                          <a:effectLst/>
                          <a:latin typeface="+mn-lt"/>
                          <a:ea typeface="+mn-ea"/>
                          <a:cs typeface="+mn-cs"/>
                        </a:rPr>
                        <a:t>portion</a:t>
                      </a:r>
                      <a:r>
                        <a:rPr lang="en-GB" sz="900" kern="100" dirty="0">
                          <a:effectLst/>
                        </a:rPr>
                        <a:t> up to GBP150,000: nil.</a:t>
                      </a:r>
                    </a:p>
                    <a:p>
                      <a:pPr marL="542925" indent="-361950">
                        <a:lnSpc>
                          <a:spcPts val="1500"/>
                        </a:lnSpc>
                        <a:spcBef>
                          <a:spcPts val="0"/>
                        </a:spcBef>
                        <a:spcAft>
                          <a:spcPts val="0"/>
                        </a:spcAft>
                        <a:buFont typeface="Arial" panose="020B0604020202020204" pitchFamily="34" charset="0"/>
                        <a:buChar char="•"/>
                      </a:pPr>
                      <a:r>
                        <a:rPr lang="en-GB" sz="900" kern="100" dirty="0">
                          <a:effectLst/>
                        </a:rPr>
                        <a:t>Any </a:t>
                      </a:r>
                      <a:r>
                        <a:rPr lang="en-GB" sz="900" b="1" kern="100" dirty="0">
                          <a:solidFill>
                            <a:schemeClr val="lt1"/>
                          </a:solidFill>
                          <a:effectLst/>
                          <a:latin typeface="+mn-lt"/>
                          <a:ea typeface="+mn-ea"/>
                          <a:cs typeface="+mn-cs"/>
                        </a:rPr>
                        <a:t>portion</a:t>
                      </a:r>
                      <a:r>
                        <a:rPr lang="en-GB" sz="900" kern="100" dirty="0">
                          <a:effectLst/>
                        </a:rPr>
                        <a:t> over GBP150,000 up to GBP5 million: 1%.</a:t>
                      </a:r>
                    </a:p>
                    <a:p>
                      <a:pPr marL="542925" indent="-361950">
                        <a:lnSpc>
                          <a:spcPts val="1500"/>
                        </a:lnSpc>
                        <a:spcBef>
                          <a:spcPts val="0"/>
                        </a:spcBef>
                        <a:spcAft>
                          <a:spcPts val="0"/>
                        </a:spcAft>
                        <a:buFont typeface="Arial" panose="020B0604020202020204" pitchFamily="34" charset="0"/>
                        <a:buChar char="•"/>
                      </a:pPr>
                      <a:r>
                        <a:rPr lang="en-GB" sz="900" kern="100" dirty="0">
                          <a:effectLst/>
                        </a:rPr>
                        <a:t>Any portion over GBP5 million: 2%</a:t>
                      </a:r>
                    </a:p>
                    <a:p>
                      <a:pPr marL="171450" indent="-171450">
                        <a:lnSpc>
                          <a:spcPts val="1500"/>
                        </a:lnSpc>
                        <a:spcBef>
                          <a:spcPts val="0"/>
                        </a:spcBef>
                        <a:spcAft>
                          <a:spcPts val="0"/>
                        </a:spcAft>
                        <a:buFont typeface="Wingdings" panose="05000000000000000000" pitchFamily="2" charset="2"/>
                        <a:buChar char="v"/>
                      </a:pPr>
                      <a:r>
                        <a:rPr lang="en-GB" sz="1000" kern="100" dirty="0">
                          <a:effectLst/>
                        </a:rPr>
                        <a:t>Stamp duty land tax is also payable on any premium paid on the grant of the lease, at the rates set out above for commercial real estate.</a:t>
                      </a:r>
                      <a:endParaRPr lang="en-GB" sz="1000" kern="100" dirty="0">
                        <a:effectLst/>
                        <a:latin typeface="Calibri" panose="020F0502020204030204" pitchFamily="34" charset="0"/>
                        <a:ea typeface="Calibri" panose="020F0502020204030204" pitchFamily="34" charset="0"/>
                        <a:cs typeface="Arial" panose="020B0604020202020204" pitchFamily="34" charset="0"/>
                      </a:endParaRPr>
                    </a:p>
                  </a:txBody>
                  <a:tcPr marL="59632" marR="59632" marT="0" marB="0">
                    <a:solidFill>
                      <a:srgbClr val="8859E5"/>
                    </a:solidFill>
                  </a:tcPr>
                </a:tc>
                <a:extLst>
                  <a:ext uri="{0D108BD9-81ED-4DB2-BD59-A6C34878D82A}">
                    <a16:rowId xmlns:a16="http://schemas.microsoft.com/office/drawing/2014/main" val="381630464"/>
                  </a:ext>
                </a:extLst>
              </a:tr>
            </a:tbl>
          </a:graphicData>
        </a:graphic>
      </p:graphicFrame>
      <p:sp>
        <p:nvSpPr>
          <p:cNvPr id="4" name="Rectangle 3">
            <a:extLst>
              <a:ext uri="{FF2B5EF4-FFF2-40B4-BE49-F238E27FC236}">
                <a16:creationId xmlns:a16="http://schemas.microsoft.com/office/drawing/2014/main" id="{6E27BCBD-3E54-A2D6-934D-7EDD117A8574}"/>
              </a:ext>
            </a:extLst>
          </p:cNvPr>
          <p:cNvSpPr>
            <a:spLocks noChangeArrowheads="1"/>
          </p:cNvSpPr>
          <p:nvPr/>
        </p:nvSpPr>
        <p:spPr bwMode="auto">
          <a:xfrm>
            <a:off x="920196" y="2278362"/>
            <a:ext cx="48127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1000" baseline="30000" dirty="0">
                <a:latin typeface="Calibri" panose="020F0502020204030204" pitchFamily="34" charset="0"/>
                <a:ea typeface="Calibri" panose="020F0502020204030204" pitchFamily="34" charset="0"/>
                <a:cs typeface="Arial" panose="020B0604020202020204" pitchFamily="34" charset="0"/>
              </a:rPr>
              <a:t>  </a:t>
            </a:r>
            <a:r>
              <a:rPr lang="en-GB" altLang="en-US" sz="1000" dirty="0">
                <a:latin typeface="Calibri" panose="020F0502020204030204" pitchFamily="34" charset="0"/>
                <a:ea typeface="Calibri" panose="020F0502020204030204" pitchFamily="34" charset="0"/>
                <a:cs typeface="Arial" panose="020B0604020202020204" pitchFamily="34" charset="0"/>
              </a:rPr>
              <a:t>The slide shows  current tax rates and subject to potential changes</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05293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21</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8295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Other important developments  -  ESG</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Text Placeholder 3">
            <a:extLst>
              <a:ext uri="{FF2B5EF4-FFF2-40B4-BE49-F238E27FC236}">
                <a16:creationId xmlns:a16="http://schemas.microsoft.com/office/drawing/2014/main" id="{AF6CC187-08AF-4CB7-C0BB-65EB3921E55B}"/>
              </a:ext>
            </a:extLst>
          </p:cNvPr>
          <p:cNvSpPr txBox="1">
            <a:spLocks/>
          </p:cNvSpPr>
          <p:nvPr/>
        </p:nvSpPr>
        <p:spPr bwMode="auto">
          <a:xfrm>
            <a:off x="866914" y="2518574"/>
            <a:ext cx="11040000" cy="3727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spcBef>
                <a:spcPts val="480"/>
              </a:spcBef>
              <a:spcAft>
                <a:spcPct val="0"/>
              </a:spcAft>
              <a:buFont typeface="Symbol" pitchFamily="18" charset="2"/>
              <a:buChar char="-"/>
              <a:defRPr sz="2400" kern="1200">
                <a:solidFill>
                  <a:schemeClr val="tx1"/>
                </a:solidFill>
                <a:latin typeface="Arial" pitchFamily="34" charset="0"/>
                <a:ea typeface="Arial" panose="020B0604020202020204" pitchFamily="34" charset="0"/>
                <a:cs typeface="Arial" pitchFamily="34" charset="0"/>
              </a:defRPr>
            </a:lvl1pPr>
            <a:lvl2pPr marL="648000" indent="-284400" algn="l" rtl="0" eaLnBrk="1" fontAlgn="base" hangingPunct="1">
              <a:spcBef>
                <a:spcPts val="432"/>
              </a:spcBef>
              <a:spcAft>
                <a:spcPct val="0"/>
              </a:spcAft>
              <a:buFont typeface="Arial" pitchFamily="34" charset="0"/>
              <a:buChar char="•"/>
              <a:defRPr sz="2200" kern="1200">
                <a:solidFill>
                  <a:schemeClr val="tx1"/>
                </a:solidFill>
                <a:latin typeface="Arial" pitchFamily="34" charset="0"/>
                <a:ea typeface="Arial" panose="020B0604020202020204" pitchFamily="34" charset="0"/>
                <a:cs typeface="Arial" pitchFamily="34" charset="0"/>
              </a:defRPr>
            </a:lvl2pPr>
            <a:lvl3pPr marL="900000" indent="-228600" algn="l" rtl="0" eaLnBrk="1" fontAlgn="base" hangingPunct="1">
              <a:spcBef>
                <a:spcPts val="384"/>
              </a:spcBef>
              <a:spcAft>
                <a:spcPct val="0"/>
              </a:spcAft>
              <a:buFont typeface="Symbol" pitchFamily="18" charset="2"/>
              <a:buChar char="-"/>
              <a:defRPr sz="2000" kern="1200" baseline="0">
                <a:solidFill>
                  <a:schemeClr val="tx1"/>
                </a:solidFill>
                <a:latin typeface="Arial" pitchFamily="34" charset="0"/>
                <a:ea typeface="Arial" panose="020B0604020202020204" pitchFamily="34" charset="0"/>
                <a:cs typeface="Arial" pitchFamily="34" charset="0"/>
              </a:defRPr>
            </a:lvl3pPr>
            <a:lvl4pPr marL="1152000" indent="-228600" algn="l" rtl="0" eaLnBrk="1" fontAlgn="base" hangingPunct="1">
              <a:spcBef>
                <a:spcPts val="384"/>
              </a:spcBef>
              <a:spcAft>
                <a:spcPct val="0"/>
              </a:spcAft>
              <a:buFont typeface="Arial" pitchFamily="34" charset="0"/>
              <a:buChar char="•"/>
              <a:defRPr sz="1800" kern="1200" baseline="0">
                <a:solidFill>
                  <a:schemeClr val="tx1"/>
                </a:solidFill>
                <a:latin typeface="Arial" pitchFamily="34" charset="0"/>
                <a:ea typeface="Arial" panose="020B0604020202020204" pitchFamily="34" charset="0"/>
                <a:cs typeface="Arial" pitchFamily="34" charset="0"/>
              </a:defRPr>
            </a:lvl4pPr>
            <a:lvl5pPr marL="1404000" indent="-228600" algn="l" rtl="0" eaLnBrk="1" fontAlgn="base" hangingPunct="1">
              <a:spcBef>
                <a:spcPts val="384"/>
              </a:spcBef>
              <a:spcAft>
                <a:spcPct val="0"/>
              </a:spcAft>
              <a:buFont typeface="Symbol" pitchFamily="18" charset="2"/>
              <a:buChar char="-"/>
              <a:defRPr sz="1600" kern="1200">
                <a:solidFill>
                  <a:schemeClr val="tx1"/>
                </a:solidFill>
                <a:latin typeface="Arial" pitchFamily="34" charset="0"/>
                <a:ea typeface="Arial" panose="020B0604020202020204" pitchFamily="34" charset="0"/>
                <a:cs typeface="Arial" pitchFamily="34" charset="0"/>
              </a:defRPr>
            </a:lvl5pPr>
            <a:lvl6pPr marL="1656000" indent="-2304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6pPr>
            <a:lvl7pPr marL="1908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7pPr>
            <a:lvl8pPr marL="2160000" indent="-228600" algn="l" defTabSz="914400" rtl="0" eaLnBrk="1" latinLnBrk="0" hangingPunct="1">
              <a:spcBef>
                <a:spcPct val="200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8pPr>
            <a:lvl9pPr marL="2412000" indent="-228600" algn="l" defTabSz="914400" rtl="0" eaLnBrk="1" latinLnBrk="0" hangingPunct="1">
              <a:spcBef>
                <a:spcPct val="20000"/>
              </a:spcBef>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9pPr>
          </a:lstStyle>
          <a:p>
            <a:pPr>
              <a:spcAft>
                <a:spcPts val="600"/>
              </a:spcAft>
              <a:buFont typeface="Wingdings" panose="05000000000000000000" pitchFamily="2" charset="2"/>
              <a:buChar char="v"/>
            </a:pPr>
            <a:r>
              <a:rPr lang="en-GB" sz="1900" dirty="0">
                <a:latin typeface="Lato" panose="020F0502020204030203" pitchFamily="34" charset="0"/>
                <a:ea typeface="Lato" panose="020F0502020204030203" pitchFamily="34" charset="0"/>
                <a:cs typeface="Lato" panose="020F0502020204030203" pitchFamily="34" charset="0"/>
              </a:rPr>
              <a:t>Increased focus on the part of regulators, investors and customers on environmental, social and corporate governance (ESG) considerations </a:t>
            </a:r>
            <a:r>
              <a:rPr lang="en-GB" sz="1900" b="1" dirty="0">
                <a:latin typeface="Lato" panose="020F0502020204030203" pitchFamily="34" charset="0"/>
                <a:ea typeface="Lato" panose="020F0502020204030203" pitchFamily="34" charset="0"/>
                <a:cs typeface="Lato" panose="020F0502020204030203" pitchFamily="34" charset="0"/>
              </a:rPr>
              <a:t>=&gt;</a:t>
            </a:r>
            <a:r>
              <a:rPr lang="en-GB" sz="1900" dirty="0">
                <a:latin typeface="Lato" panose="020F0502020204030203" pitchFamily="34" charset="0"/>
                <a:ea typeface="Lato" panose="020F0502020204030203" pitchFamily="34" charset="0"/>
                <a:cs typeface="Lato" panose="020F0502020204030203" pitchFamily="34" charset="0"/>
              </a:rPr>
              <a:t>  greater scrutiny by bidders on such matters during their due diligence of targets. (E.g., bidders are examining target companies’ ESG history to assess risks relating to reputation, shareholder activism and potential litigation.) To support their diligence, bidders are increasingly pushing for the inclusion of ESG-specific warranties in sale and purchase agreements.</a:t>
            </a:r>
          </a:p>
          <a:p>
            <a:pPr marL="0" indent="0">
              <a:spcAft>
                <a:spcPts val="600"/>
              </a:spcAft>
              <a:buNone/>
            </a:pPr>
            <a:endParaRPr lang="en-GB" sz="1900" dirty="0">
              <a:latin typeface="Lato" panose="020F0502020204030203" pitchFamily="34" charset="0"/>
              <a:ea typeface="Lato" panose="020F0502020204030203" pitchFamily="34" charset="0"/>
              <a:cs typeface="Lato" panose="020F0502020204030203" pitchFamily="34" charset="0"/>
            </a:endParaRPr>
          </a:p>
          <a:p>
            <a:pPr>
              <a:buFont typeface="Wingdings" panose="05000000000000000000" pitchFamily="2" charset="2"/>
              <a:buChar char="v"/>
            </a:pPr>
            <a:r>
              <a:rPr lang="en-GB" sz="1900" dirty="0">
                <a:latin typeface="Lato" panose="020F0502020204030203" pitchFamily="34" charset="0"/>
                <a:ea typeface="Lato" panose="020F0502020204030203" pitchFamily="34" charset="0"/>
                <a:cs typeface="Lato" panose="020F0502020204030203" pitchFamily="34" charset="0"/>
              </a:rPr>
              <a:t>Negotiations of such warranties with the sell-side may be complicated by the use of transaction insurance as primary recourse for breach of warranties with a low or nominal liability cap for the warranties, as such insurance may be difficult to obtain for ESG-specific warranties. As a minimum, insurers will want to see robust diligence conducted on ESG.</a:t>
            </a:r>
            <a:endParaRPr lang="en-GB" dirty="0"/>
          </a:p>
          <a:p>
            <a:endParaRPr lang="en-GB" dirty="0"/>
          </a:p>
        </p:txBody>
      </p:sp>
    </p:spTree>
    <p:extLst>
      <p:ext uri="{BB962C8B-B14F-4D97-AF65-F5344CB8AC3E}">
        <p14:creationId xmlns:p14="http://schemas.microsoft.com/office/powerpoint/2010/main" val="839231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29B51-7699-ED99-2D4F-3B16072CF9E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088A1A23-0C66-6A9D-390D-4A5B65332E0B}"/>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B54EB34A-90FC-6082-1A01-DB4B96C80A04}"/>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67846799-6746-DEB3-0CA8-A44A79D20924}"/>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A white text on a black background&#10;&#10;Description automatically generated">
            <a:extLst>
              <a:ext uri="{FF2B5EF4-FFF2-40B4-BE49-F238E27FC236}">
                <a16:creationId xmlns:a16="http://schemas.microsoft.com/office/drawing/2014/main" id="{895EAAA2-BFAD-60F8-246E-DD82331B41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80DCA5DB-41C0-FE5D-2D72-0037E1E3A9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AD043053-5DC4-C337-768C-BE1A613D346E}"/>
              </a:ext>
            </a:extLst>
          </p:cNvPr>
          <p:cNvSpPr txBox="1"/>
          <p:nvPr/>
        </p:nvSpPr>
        <p:spPr>
          <a:xfrm>
            <a:off x="740149" y="2346269"/>
            <a:ext cx="10960238" cy="144655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inding, negotiating and ma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n acquisition in the UK</a:t>
            </a:r>
            <a:endParaRPr kumimoji="0" lang="pl-PL"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7D2CAF1B-B8BD-24CA-B471-62357472AB77}"/>
              </a:ext>
            </a:extLst>
          </p:cNvPr>
          <p:cNvSpPr txBox="1"/>
          <p:nvPr/>
        </p:nvSpPr>
        <p:spPr>
          <a:xfrm>
            <a:off x="740148" y="4762156"/>
            <a:ext cx="10251440" cy="1569660"/>
          </a:xfrm>
          <a:prstGeom prst="rect">
            <a:avLst/>
          </a:prstGeom>
          <a:noFill/>
        </p:spPr>
        <p:txBody>
          <a:bodyPr wrap="square" lIns="0"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an Carmon </a:t>
            </a:r>
            <a:b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anaging Director </a:t>
            </a:r>
            <a:b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helsea Corporate</a:t>
            </a:r>
          </a:p>
        </p:txBody>
      </p:sp>
    </p:spTree>
    <p:extLst>
      <p:ext uri="{BB962C8B-B14F-4D97-AF65-F5344CB8AC3E}">
        <p14:creationId xmlns:p14="http://schemas.microsoft.com/office/powerpoint/2010/main" val="3005852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g object 16">
            <a:extLst>
              <a:ext uri="{FF2B5EF4-FFF2-40B4-BE49-F238E27FC236}">
                <a16:creationId xmlns:a16="http://schemas.microsoft.com/office/drawing/2014/main" id="{B7392E8A-84CB-2CBF-5613-82D33FAED4C7}"/>
              </a:ext>
            </a:extLst>
          </p:cNvPr>
          <p:cNvSpPr>
            <a:spLocks noGrp="1" noRot="1" noMove="1" noResize="1" noEditPoints="1" noAdjustHandles="1" noChangeArrowheads="1" noChangeShapeType="1"/>
          </p:cNvSpPr>
          <p:nvPr/>
        </p:nvSpPr>
        <p:spPr>
          <a:xfrm>
            <a:off x="428" y="385"/>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B5A75"/>
          </a:solidFill>
        </p:spPr>
        <p:txBody>
          <a:bodyPr wrap="square" lIns="0" tIns="0" rIns="0" bIns="0" rtlCol="0"/>
          <a:lstStyle/>
          <a:p>
            <a:endParaRPr sz="1092" dirty="0"/>
          </a:p>
        </p:txBody>
      </p:sp>
      <p:sp>
        <p:nvSpPr>
          <p:cNvPr id="6" name="bg object 18">
            <a:extLst>
              <a:ext uri="{FF2B5EF4-FFF2-40B4-BE49-F238E27FC236}">
                <a16:creationId xmlns:a16="http://schemas.microsoft.com/office/drawing/2014/main" id="{D62B1F35-17B7-CC96-C6A2-40D3C4B36496}"/>
              </a:ext>
            </a:extLst>
          </p:cNvPr>
          <p:cNvSpPr/>
          <p:nvPr/>
        </p:nvSpPr>
        <p:spPr>
          <a:xfrm>
            <a:off x="4376998" y="13552"/>
            <a:ext cx="7814885" cy="6844523"/>
          </a:xfrm>
          <a:custGeom>
            <a:avLst/>
            <a:gdLst/>
            <a:ahLst/>
            <a:cxnLst/>
            <a:rect l="l" t="t" r="r" b="b"/>
            <a:pathLst>
              <a:path w="12887325" h="11287125">
                <a:moveTo>
                  <a:pt x="12886811" y="0"/>
                </a:moveTo>
                <a:lnTo>
                  <a:pt x="4731887" y="0"/>
                </a:lnTo>
                <a:lnTo>
                  <a:pt x="0" y="5874166"/>
                </a:lnTo>
                <a:lnTo>
                  <a:pt x="3887198" y="11286843"/>
                </a:lnTo>
                <a:lnTo>
                  <a:pt x="12886811" y="11286843"/>
                </a:lnTo>
                <a:lnTo>
                  <a:pt x="12886811" y="0"/>
                </a:lnTo>
                <a:close/>
              </a:path>
            </a:pathLst>
          </a:custGeom>
          <a:blipFill>
            <a:blip r:embed="rId2"/>
            <a:srcRect/>
            <a:stretch>
              <a:fillRect l="-9342" r="-22036"/>
            </a:stretch>
          </a:blipFill>
        </p:spPr>
        <p:txBody>
          <a:bodyPr wrap="square" lIns="0" tIns="0" rIns="0" bIns="0" rtlCol="0"/>
          <a:lstStyle/>
          <a:p>
            <a:endParaRPr sz="1092" dirty="0"/>
          </a:p>
        </p:txBody>
      </p:sp>
      <p:sp>
        <p:nvSpPr>
          <p:cNvPr id="9" name="bg object 18">
            <a:extLst>
              <a:ext uri="{FF2B5EF4-FFF2-40B4-BE49-F238E27FC236}">
                <a16:creationId xmlns:a16="http://schemas.microsoft.com/office/drawing/2014/main" id="{9CECE873-2A1B-78AA-EA03-BF150F110E9F}"/>
              </a:ext>
            </a:extLst>
          </p:cNvPr>
          <p:cNvSpPr>
            <a:spLocks noGrp="1" noRot="1" noMove="1" noResize="1" noEditPoints="1" noAdjustHandles="1" noChangeArrowheads="1" noChangeShapeType="1"/>
          </p:cNvSpPr>
          <p:nvPr/>
        </p:nvSpPr>
        <p:spPr>
          <a:xfrm>
            <a:off x="4376998" y="13552"/>
            <a:ext cx="7814885" cy="6844523"/>
          </a:xfrm>
          <a:custGeom>
            <a:avLst/>
            <a:gdLst/>
            <a:ahLst/>
            <a:cxnLst/>
            <a:rect l="l" t="t" r="r" b="b"/>
            <a:pathLst>
              <a:path w="12887325" h="11287125">
                <a:moveTo>
                  <a:pt x="12886811" y="0"/>
                </a:moveTo>
                <a:lnTo>
                  <a:pt x="4731887" y="0"/>
                </a:lnTo>
                <a:lnTo>
                  <a:pt x="0" y="5874166"/>
                </a:lnTo>
                <a:lnTo>
                  <a:pt x="3887198" y="11286843"/>
                </a:lnTo>
                <a:lnTo>
                  <a:pt x="12886811" y="11286843"/>
                </a:lnTo>
                <a:lnTo>
                  <a:pt x="12886811" y="0"/>
                </a:lnTo>
                <a:close/>
              </a:path>
            </a:pathLst>
          </a:custGeom>
          <a:solidFill>
            <a:srgbClr val="000000">
              <a:alpha val="29998"/>
            </a:srgbClr>
          </a:solidFill>
        </p:spPr>
        <p:txBody>
          <a:bodyPr wrap="square" lIns="0" tIns="0" rIns="0" bIns="0" rtlCol="0"/>
          <a:lstStyle/>
          <a:p>
            <a:endParaRPr sz="1092"/>
          </a:p>
        </p:txBody>
      </p:sp>
      <p:pic>
        <p:nvPicPr>
          <p:cNvPr id="2" name="Picture 1">
            <a:extLst>
              <a:ext uri="{FF2B5EF4-FFF2-40B4-BE49-F238E27FC236}">
                <a16:creationId xmlns:a16="http://schemas.microsoft.com/office/drawing/2014/main" id="{F7E5E082-A5AF-1994-AD5B-906192477359}"/>
              </a:ext>
            </a:extLst>
          </p:cNvPr>
          <p:cNvPicPr/>
          <p:nvPr/>
        </p:nvPicPr>
        <p:blipFill>
          <a:blip r:embed="rId3"/>
          <a:stretch>
            <a:fillRect/>
          </a:stretch>
        </p:blipFill>
        <p:spPr>
          <a:xfrm>
            <a:off x="705968" y="2991862"/>
            <a:ext cx="3169953" cy="1037213"/>
          </a:xfrm>
          <a:prstGeom prst="rect">
            <a:avLst/>
          </a:prstGeom>
        </p:spPr>
      </p:pic>
      <p:sp>
        <p:nvSpPr>
          <p:cNvPr id="3" name="Rectangle 1">
            <a:extLst>
              <a:ext uri="{FF2B5EF4-FFF2-40B4-BE49-F238E27FC236}">
                <a16:creationId xmlns:a16="http://schemas.microsoft.com/office/drawing/2014/main" id="{226C0AFB-DB42-DFE6-5657-11CE34961818}"/>
              </a:ext>
            </a:extLst>
          </p:cNvPr>
          <p:cNvSpPr>
            <a:spLocks noChangeArrowheads="1"/>
          </p:cNvSpPr>
          <p:nvPr/>
        </p:nvSpPr>
        <p:spPr bwMode="auto">
          <a:xfrm>
            <a:off x="428" y="-112025"/>
            <a:ext cx="112046" cy="224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5449" tIns="27725" rIns="55449" bIns="27725" numCol="1" anchor="ctr" anchorCtr="0" compatLnSpc="1">
            <a:prstTxWarp prst="textNoShape">
              <a:avLst/>
            </a:prstTxWarp>
            <a:spAutoFit/>
          </a:bodyPr>
          <a:lstStyle/>
          <a:p>
            <a:endParaRPr lang="en-GB" sz="1092"/>
          </a:p>
        </p:txBody>
      </p:sp>
      <p:sp>
        <p:nvSpPr>
          <p:cNvPr id="7" name="Rectangle 2">
            <a:extLst>
              <a:ext uri="{FF2B5EF4-FFF2-40B4-BE49-F238E27FC236}">
                <a16:creationId xmlns:a16="http://schemas.microsoft.com/office/drawing/2014/main" id="{F7E58F23-7C06-A0B5-5823-D6AB1799B837}"/>
              </a:ext>
            </a:extLst>
          </p:cNvPr>
          <p:cNvSpPr>
            <a:spLocks noChangeArrowheads="1"/>
          </p:cNvSpPr>
          <p:nvPr/>
        </p:nvSpPr>
        <p:spPr bwMode="auto">
          <a:xfrm>
            <a:off x="92844" y="-19610"/>
            <a:ext cx="112046" cy="224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5449" tIns="27725" rIns="55449" bIns="27725" numCol="1" anchor="ctr" anchorCtr="0" compatLnSpc="1">
            <a:prstTxWarp prst="textNoShape">
              <a:avLst/>
            </a:prstTxWarp>
            <a:spAutoFit/>
          </a:bodyPr>
          <a:lstStyle/>
          <a:p>
            <a:endParaRPr lang="en-GB" sz="1092"/>
          </a:p>
        </p:txBody>
      </p:sp>
      <p:sp>
        <p:nvSpPr>
          <p:cNvPr id="11" name="Rectangle 3">
            <a:extLst>
              <a:ext uri="{FF2B5EF4-FFF2-40B4-BE49-F238E27FC236}">
                <a16:creationId xmlns:a16="http://schemas.microsoft.com/office/drawing/2014/main" id="{E8C07E84-18D8-FA39-EB6E-8F1877CFE6FB}"/>
              </a:ext>
            </a:extLst>
          </p:cNvPr>
          <p:cNvSpPr>
            <a:spLocks noChangeArrowheads="1"/>
          </p:cNvSpPr>
          <p:nvPr/>
        </p:nvSpPr>
        <p:spPr bwMode="auto">
          <a:xfrm>
            <a:off x="185259" y="72806"/>
            <a:ext cx="112046" cy="224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5449" tIns="27725" rIns="55449" bIns="27725" numCol="1" anchor="ctr" anchorCtr="0" compatLnSpc="1">
            <a:prstTxWarp prst="textNoShape">
              <a:avLst/>
            </a:prstTxWarp>
            <a:spAutoFit/>
          </a:bodyPr>
          <a:lstStyle/>
          <a:p>
            <a:endParaRPr lang="en-GB" sz="1092"/>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a:picLocks noGrp="1" noRot="1" noMove="1" noResize="1" noEditPoints="1" noAdjustHandles="1" noChangeArrowheads="1" noChangeShapeType="1" noCrop="1"/>
          </p:cNvPicPr>
          <p:nvPr/>
        </p:nvPicPr>
        <p:blipFill>
          <a:blip r:embed="rId2" cstate="print"/>
          <a:stretch>
            <a:fillRect/>
          </a:stretch>
        </p:blipFill>
        <p:spPr>
          <a:xfrm>
            <a:off x="10483542" y="5821979"/>
            <a:ext cx="1230802" cy="315559"/>
          </a:xfrm>
          <a:prstGeom prst="rect">
            <a:avLst/>
          </a:prstGeom>
        </p:spPr>
      </p:pic>
      <p:sp>
        <p:nvSpPr>
          <p:cNvPr id="3" name="object 3"/>
          <p:cNvSpPr>
            <a:spLocks noGrp="1" noRot="1" noMove="1" noResize="1" noEditPoints="1" noAdjustHandles="1" noChangeArrowheads="1" noChangeShapeType="1"/>
          </p:cNvSpPr>
          <p:nvPr/>
        </p:nvSpPr>
        <p:spPr>
          <a:xfrm>
            <a:off x="476644" y="6373365"/>
            <a:ext cx="11238880" cy="0"/>
          </a:xfrm>
          <a:custGeom>
            <a:avLst/>
            <a:gdLst/>
            <a:ahLst/>
            <a:cxnLst/>
            <a:rect l="l" t="t" r="r" b="b"/>
            <a:pathLst>
              <a:path w="18533745">
                <a:moveTo>
                  <a:pt x="0" y="0"/>
                </a:moveTo>
                <a:lnTo>
                  <a:pt x="18533467" y="0"/>
                </a:lnTo>
              </a:path>
            </a:pathLst>
          </a:custGeom>
          <a:ln w="26177">
            <a:solidFill>
              <a:srgbClr val="00CCFF"/>
            </a:solidFill>
          </a:ln>
        </p:spPr>
        <p:txBody>
          <a:bodyPr wrap="square" lIns="0" tIns="0" rIns="0" bIns="0" rtlCol="0"/>
          <a:lstStyle/>
          <a:p>
            <a:endParaRPr sz="1092"/>
          </a:p>
        </p:txBody>
      </p:sp>
      <p:sp>
        <p:nvSpPr>
          <p:cNvPr id="13" name="object 13"/>
          <p:cNvSpPr>
            <a:spLocks noGrp="1" noRot="1" noMove="1" noResize="1" noEditPoints="1" noAdjustHandles="1" noChangeArrowheads="1" noChangeShapeType="1"/>
          </p:cNvSpPr>
          <p:nvPr/>
        </p:nvSpPr>
        <p:spPr>
          <a:xfrm>
            <a:off x="476644" y="484153"/>
            <a:ext cx="11238880" cy="0"/>
          </a:xfrm>
          <a:custGeom>
            <a:avLst/>
            <a:gdLst/>
            <a:ahLst/>
            <a:cxnLst/>
            <a:rect l="l" t="t" r="r" b="b"/>
            <a:pathLst>
              <a:path w="18533745">
                <a:moveTo>
                  <a:pt x="0" y="0"/>
                </a:moveTo>
                <a:lnTo>
                  <a:pt x="18533467" y="0"/>
                </a:lnTo>
              </a:path>
            </a:pathLst>
          </a:custGeom>
          <a:ln w="26177">
            <a:solidFill>
              <a:srgbClr val="00CCFF"/>
            </a:solidFill>
          </a:ln>
        </p:spPr>
        <p:txBody>
          <a:bodyPr wrap="square" lIns="0" tIns="0" rIns="0" bIns="0" rtlCol="0"/>
          <a:lstStyle/>
          <a:p>
            <a:endParaRPr sz="1092"/>
          </a:p>
        </p:txBody>
      </p:sp>
      <p:pic>
        <p:nvPicPr>
          <p:cNvPr id="34" name="Graphic 33">
            <a:extLst>
              <a:ext uri="{FF2B5EF4-FFF2-40B4-BE49-F238E27FC236}">
                <a16:creationId xmlns:a16="http://schemas.microsoft.com/office/drawing/2014/main" id="{4E99E7EF-8FCB-09C1-5193-3A909E75E995}"/>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551" y="589156"/>
            <a:ext cx="2241076" cy="600701"/>
          </a:xfrm>
          <a:prstGeom prst="rect">
            <a:avLst/>
          </a:prstGeom>
        </p:spPr>
      </p:pic>
      <p:pic>
        <p:nvPicPr>
          <p:cNvPr id="11" name="object 8">
            <a:extLst>
              <a:ext uri="{FF2B5EF4-FFF2-40B4-BE49-F238E27FC236}">
                <a16:creationId xmlns:a16="http://schemas.microsoft.com/office/drawing/2014/main" id="{D349C57F-9F90-773E-CE77-99EC422317D8}"/>
              </a:ext>
            </a:extLst>
          </p:cNvPr>
          <p:cNvPicPr/>
          <p:nvPr/>
        </p:nvPicPr>
        <p:blipFill>
          <a:blip r:embed="rId5" cstate="print">
            <a:extLst>
              <a:ext uri="{28A0092B-C50C-407E-A947-70E740481C1C}">
                <a14:useLocalDpi xmlns:a14="http://schemas.microsoft.com/office/drawing/2010/main" val="0"/>
              </a:ext>
            </a:extLst>
          </a:blip>
          <a:srcRect/>
          <a:stretch/>
        </p:blipFill>
        <p:spPr>
          <a:xfrm>
            <a:off x="1210018" y="2042175"/>
            <a:ext cx="4647873" cy="2743007"/>
          </a:xfrm>
          <a:prstGeom prst="rect">
            <a:avLst/>
          </a:prstGeom>
        </p:spPr>
      </p:pic>
      <p:pic>
        <p:nvPicPr>
          <p:cNvPr id="12" name="object 11">
            <a:extLst>
              <a:ext uri="{FF2B5EF4-FFF2-40B4-BE49-F238E27FC236}">
                <a16:creationId xmlns:a16="http://schemas.microsoft.com/office/drawing/2014/main" id="{E67AF7D1-4628-2FB6-0FA2-BB4106EE9747}"/>
              </a:ext>
            </a:extLst>
          </p:cNvPr>
          <p:cNvPicPr/>
          <p:nvPr/>
        </p:nvPicPr>
        <p:blipFill>
          <a:blip r:embed="rId6" cstate="print">
            <a:extLst>
              <a:ext uri="{28A0092B-C50C-407E-A947-70E740481C1C}">
                <a14:useLocalDpi xmlns:a14="http://schemas.microsoft.com/office/drawing/2010/main" val="0"/>
              </a:ext>
            </a:extLst>
          </a:blip>
          <a:srcRect/>
          <a:stretch/>
        </p:blipFill>
        <p:spPr>
          <a:xfrm>
            <a:off x="5866121" y="2042175"/>
            <a:ext cx="4647873" cy="2743007"/>
          </a:xfrm>
          <a:prstGeom prst="rect">
            <a:avLst/>
          </a:prstGeom>
        </p:spPr>
      </p:pic>
      <p:sp>
        <p:nvSpPr>
          <p:cNvPr id="14" name="object 9">
            <a:extLst>
              <a:ext uri="{FF2B5EF4-FFF2-40B4-BE49-F238E27FC236}">
                <a16:creationId xmlns:a16="http://schemas.microsoft.com/office/drawing/2014/main" id="{BBAE9196-F270-D910-6A81-A20A244D7520}"/>
              </a:ext>
            </a:extLst>
          </p:cNvPr>
          <p:cNvSpPr txBox="1">
            <a:spLocks noGrp="1" noRot="1" noMove="1" noResize="1" noEditPoints="1" noAdjustHandles="1" noChangeArrowheads="1" noChangeShapeType="1"/>
          </p:cNvSpPr>
          <p:nvPr/>
        </p:nvSpPr>
        <p:spPr>
          <a:xfrm>
            <a:off x="1202317" y="4960094"/>
            <a:ext cx="1924415" cy="419894"/>
          </a:xfrm>
          <a:prstGeom prst="rect">
            <a:avLst/>
          </a:prstGeom>
        </p:spPr>
        <p:txBody>
          <a:bodyPr vert="horz" wrap="square" lIns="0" tIns="9242" rIns="0" bIns="0" rtlCol="0">
            <a:spAutoFit/>
          </a:bodyPr>
          <a:lstStyle/>
          <a:p>
            <a:pPr marL="7701">
              <a:spcBef>
                <a:spcPts val="73"/>
              </a:spcBef>
            </a:pPr>
            <a:r>
              <a:rPr lang="en-GB" sz="1486" b="1" dirty="0">
                <a:solidFill>
                  <a:srgbClr val="0B5B75"/>
                </a:solidFill>
                <a:latin typeface="Helvetica"/>
                <a:cs typeface="Helvetica"/>
              </a:rPr>
              <a:t>Ran Carmon</a:t>
            </a:r>
            <a:endParaRPr sz="1486" dirty="0">
              <a:latin typeface="Helvetica"/>
              <a:cs typeface="Helvetica"/>
            </a:endParaRPr>
          </a:p>
          <a:p>
            <a:pPr marL="7701">
              <a:spcBef>
                <a:spcPts val="21"/>
              </a:spcBef>
            </a:pPr>
            <a:r>
              <a:rPr lang="en-GB" sz="1182" b="1" dirty="0">
                <a:solidFill>
                  <a:srgbClr val="00CCFF"/>
                </a:solidFill>
                <a:latin typeface="Helvetica"/>
                <a:cs typeface="Helvetica"/>
              </a:rPr>
              <a:t>Chief Executive Officer</a:t>
            </a:r>
            <a:endParaRPr sz="1182" dirty="0">
              <a:latin typeface="Helvetica"/>
              <a:cs typeface="Helvetica"/>
            </a:endParaRPr>
          </a:p>
        </p:txBody>
      </p:sp>
      <p:sp>
        <p:nvSpPr>
          <p:cNvPr id="15" name="object 12">
            <a:extLst>
              <a:ext uri="{FF2B5EF4-FFF2-40B4-BE49-F238E27FC236}">
                <a16:creationId xmlns:a16="http://schemas.microsoft.com/office/drawing/2014/main" id="{441EA703-4F7E-3F31-2693-04389F6B9AAF}"/>
              </a:ext>
            </a:extLst>
          </p:cNvPr>
          <p:cNvSpPr txBox="1"/>
          <p:nvPr/>
        </p:nvSpPr>
        <p:spPr>
          <a:xfrm>
            <a:off x="5866121" y="4960094"/>
            <a:ext cx="2151171" cy="419894"/>
          </a:xfrm>
          <a:prstGeom prst="rect">
            <a:avLst/>
          </a:prstGeom>
        </p:spPr>
        <p:txBody>
          <a:bodyPr vert="horz" wrap="square" lIns="0" tIns="9242" rIns="0" bIns="0" rtlCol="0">
            <a:spAutoFit/>
          </a:bodyPr>
          <a:lstStyle/>
          <a:p>
            <a:pPr marL="7701">
              <a:spcBef>
                <a:spcPts val="73"/>
              </a:spcBef>
            </a:pPr>
            <a:r>
              <a:rPr lang="en-GB" sz="1486" b="1" dirty="0">
                <a:solidFill>
                  <a:srgbClr val="0B5B75"/>
                </a:solidFill>
                <a:latin typeface="Helvetica"/>
                <a:cs typeface="Helvetica"/>
              </a:rPr>
              <a:t>Thomas Biley</a:t>
            </a:r>
            <a:endParaRPr sz="1486" dirty="0">
              <a:latin typeface="Helvetica"/>
              <a:cs typeface="Helvetica"/>
            </a:endParaRPr>
          </a:p>
          <a:p>
            <a:pPr marL="7701">
              <a:spcBef>
                <a:spcPts val="21"/>
              </a:spcBef>
            </a:pPr>
            <a:r>
              <a:rPr lang="en-GB" sz="1182" b="1" dirty="0">
                <a:solidFill>
                  <a:srgbClr val="00CCFF"/>
                </a:solidFill>
                <a:latin typeface="Helvetica"/>
                <a:cs typeface="Helvetica"/>
              </a:rPr>
              <a:t>Chief Finance Officer</a:t>
            </a:r>
            <a:endParaRPr sz="1182" dirty="0">
              <a:latin typeface="Helvetica"/>
              <a:cs typeface="Helvetica"/>
            </a:endParaRPr>
          </a:p>
        </p:txBody>
      </p:sp>
      <p:pic>
        <p:nvPicPr>
          <p:cNvPr id="22" name="Picture 21">
            <a:extLst>
              <a:ext uri="{FF2B5EF4-FFF2-40B4-BE49-F238E27FC236}">
                <a16:creationId xmlns:a16="http://schemas.microsoft.com/office/drawing/2014/main" id="{58B27859-2244-B646-38C9-8E9079941D76}"/>
              </a:ext>
            </a:extLst>
          </p:cNvPr>
          <p:cNvPicPr/>
          <p:nvPr/>
        </p:nvPicPr>
        <p:blipFill>
          <a:blip r:embed="rId7"/>
          <a:stretch>
            <a:fillRect/>
          </a:stretch>
        </p:blipFill>
        <p:spPr>
          <a:xfrm>
            <a:off x="1202317" y="5607060"/>
            <a:ext cx="1478544" cy="399240"/>
          </a:xfrm>
          <a:prstGeom prst="rect">
            <a:avLst/>
          </a:prstGeom>
        </p:spPr>
      </p:pic>
    </p:spTree>
    <p:extLst>
      <p:ext uri="{BB962C8B-B14F-4D97-AF65-F5344CB8AC3E}">
        <p14:creationId xmlns:p14="http://schemas.microsoft.com/office/powerpoint/2010/main" val="3737264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B5A75"/>
        </a:solidFill>
        <a:effectLst/>
      </p:bgPr>
    </p:bg>
    <p:spTree>
      <p:nvGrpSpPr>
        <p:cNvPr id="1" name=""/>
        <p:cNvGrpSpPr/>
        <p:nvPr/>
      </p:nvGrpSpPr>
      <p:grpSpPr>
        <a:xfrm>
          <a:off x="0" y="0"/>
          <a:ext cx="0" cy="0"/>
          <a:chOff x="0" y="0"/>
          <a:chExt cx="0" cy="0"/>
        </a:xfrm>
      </p:grpSpPr>
      <p:pic>
        <p:nvPicPr>
          <p:cNvPr id="3" name="object 3"/>
          <p:cNvPicPr>
            <a:picLocks noGrp="1" noRot="1" noMove="1" noResize="1" noEditPoints="1" noAdjustHandles="1" noChangeArrowheads="1" noChangeShapeType="1" noCrop="1"/>
          </p:cNvPicPr>
          <p:nvPr/>
        </p:nvPicPr>
        <p:blipFill>
          <a:blip r:embed="rId2" cstate="print"/>
          <a:stretch>
            <a:fillRect/>
          </a:stretch>
        </p:blipFill>
        <p:spPr>
          <a:xfrm>
            <a:off x="6096000" y="476210"/>
            <a:ext cx="5619355" cy="5905091"/>
          </a:xfrm>
          <a:prstGeom prst="rect">
            <a:avLst/>
          </a:prstGeom>
        </p:spPr>
      </p:pic>
      <p:pic>
        <p:nvPicPr>
          <p:cNvPr id="4" name="object 4"/>
          <p:cNvPicPr>
            <a:picLocks noGrp="1" noRot="1" noMove="1" noResize="1" noEditPoints="1" noAdjustHandles="1" noChangeArrowheads="1" noChangeShapeType="1" noCrop="1"/>
          </p:cNvPicPr>
          <p:nvPr/>
        </p:nvPicPr>
        <p:blipFill>
          <a:blip r:embed="rId3" cstate="print"/>
          <a:stretch>
            <a:fillRect/>
          </a:stretch>
        </p:blipFill>
        <p:spPr>
          <a:xfrm>
            <a:off x="10159715" y="5824141"/>
            <a:ext cx="1230797" cy="320087"/>
          </a:xfrm>
          <a:prstGeom prst="rect">
            <a:avLst/>
          </a:prstGeom>
        </p:spPr>
      </p:pic>
      <p:sp>
        <p:nvSpPr>
          <p:cNvPr id="5" name="object 5"/>
          <p:cNvSpPr>
            <a:spLocks noGrp="1" noRot="1" noMove="1" noResize="1" noEditPoints="1" noAdjustHandles="1" noChangeArrowheads="1" noChangeShapeType="1"/>
          </p:cNvSpPr>
          <p:nvPr/>
        </p:nvSpPr>
        <p:spPr>
          <a:xfrm>
            <a:off x="476644" y="476216"/>
            <a:ext cx="5619632" cy="5905350"/>
          </a:xfrm>
          <a:custGeom>
            <a:avLst/>
            <a:gdLst/>
            <a:ahLst/>
            <a:cxnLst/>
            <a:rect l="l" t="t" r="r" b="b"/>
            <a:pathLst>
              <a:path w="9267190" h="9738360">
                <a:moveTo>
                  <a:pt x="9266733" y="0"/>
                </a:moveTo>
                <a:lnTo>
                  <a:pt x="0" y="0"/>
                </a:lnTo>
                <a:lnTo>
                  <a:pt x="0" y="9737923"/>
                </a:lnTo>
                <a:lnTo>
                  <a:pt x="9266733" y="9737923"/>
                </a:lnTo>
                <a:lnTo>
                  <a:pt x="9266733" y="0"/>
                </a:lnTo>
                <a:close/>
              </a:path>
            </a:pathLst>
          </a:custGeom>
          <a:solidFill>
            <a:srgbClr val="0B5A75"/>
          </a:solidFill>
        </p:spPr>
        <p:txBody>
          <a:bodyPr wrap="square" lIns="0" tIns="0" rIns="0" bIns="0" rtlCol="0"/>
          <a:lstStyle/>
          <a:p>
            <a:endParaRPr sz="1092" dirty="0"/>
          </a:p>
        </p:txBody>
      </p:sp>
      <p:sp>
        <p:nvSpPr>
          <p:cNvPr id="2" name="object 3">
            <a:extLst>
              <a:ext uri="{FF2B5EF4-FFF2-40B4-BE49-F238E27FC236}">
                <a16:creationId xmlns:a16="http://schemas.microsoft.com/office/drawing/2014/main" id="{BC1EEF42-24A7-6D07-C5A4-2A107E2C100F}"/>
              </a:ext>
            </a:extLst>
          </p:cNvPr>
          <p:cNvSpPr txBox="1"/>
          <p:nvPr/>
        </p:nvSpPr>
        <p:spPr>
          <a:xfrm>
            <a:off x="1161774" y="2817680"/>
            <a:ext cx="3547600" cy="1154530"/>
          </a:xfrm>
          <a:prstGeom prst="rect">
            <a:avLst/>
          </a:prstGeom>
        </p:spPr>
        <p:txBody>
          <a:bodyPr vert="horz" wrap="square" lIns="0" tIns="10397" rIns="0" bIns="0" rtlCol="0">
            <a:spAutoFit/>
          </a:bodyPr>
          <a:lstStyle/>
          <a:p>
            <a:pPr marL="7701">
              <a:spcBef>
                <a:spcPts val="82"/>
              </a:spcBef>
            </a:pPr>
            <a:r>
              <a:rPr lang="en-GB" sz="3578" b="1" spc="-6" dirty="0">
                <a:solidFill>
                  <a:srgbClr val="01CCFF"/>
                </a:solidFill>
                <a:latin typeface="Helvetica"/>
                <a:cs typeface="Helvetica"/>
              </a:rPr>
              <a:t>Question</a:t>
            </a:r>
            <a:endParaRPr sz="3578" dirty="0">
              <a:solidFill>
                <a:srgbClr val="01CCFF"/>
              </a:solidFill>
              <a:latin typeface="Helvetica"/>
              <a:cs typeface="Helvetica"/>
            </a:endParaRPr>
          </a:p>
          <a:p>
            <a:pPr marL="7701" marR="3081">
              <a:lnSpc>
                <a:spcPct val="126800"/>
              </a:lnSpc>
              <a:spcBef>
                <a:spcPts val="2322"/>
              </a:spcBef>
            </a:pPr>
            <a:r>
              <a:rPr lang="en-GB" sz="1698" b="1" dirty="0">
                <a:solidFill>
                  <a:schemeClr val="bg1"/>
                </a:solidFill>
                <a:latin typeface="Helvetica"/>
                <a:cs typeface="Helvetica"/>
              </a:rPr>
              <a:t>Who has bought a business?</a:t>
            </a:r>
            <a:endParaRPr sz="1698" b="1" dirty="0">
              <a:solidFill>
                <a:schemeClr val="bg1"/>
              </a:solidFill>
              <a:latin typeface="Helvetica"/>
              <a:cs typeface="Helvetica"/>
            </a:endParaRPr>
          </a:p>
        </p:txBody>
      </p:sp>
    </p:spTree>
    <p:extLst>
      <p:ext uri="{BB962C8B-B14F-4D97-AF65-F5344CB8AC3E}">
        <p14:creationId xmlns:p14="http://schemas.microsoft.com/office/powerpoint/2010/main" val="4353776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a:spLocks noGrp="1" noRot="1" noMove="1" noResize="1" noEditPoints="1" noAdjustHandles="1" noChangeArrowheads="1" noChangeShapeType="1"/>
          </p:cNvSpPr>
          <p:nvPr/>
        </p:nvSpPr>
        <p:spPr>
          <a:xfrm>
            <a:off x="6572217" y="6373365"/>
            <a:ext cx="5143307" cy="0"/>
          </a:xfrm>
          <a:custGeom>
            <a:avLst/>
            <a:gdLst/>
            <a:ahLst/>
            <a:cxnLst/>
            <a:rect l="l" t="t" r="r" b="b"/>
            <a:pathLst>
              <a:path w="8481694">
                <a:moveTo>
                  <a:pt x="0" y="0"/>
                </a:moveTo>
                <a:lnTo>
                  <a:pt x="8481417" y="0"/>
                </a:lnTo>
              </a:path>
            </a:pathLst>
          </a:custGeom>
          <a:ln w="26177">
            <a:solidFill>
              <a:srgbClr val="00CCFF"/>
            </a:solidFill>
          </a:ln>
        </p:spPr>
        <p:txBody>
          <a:bodyPr wrap="square" lIns="0" tIns="0" rIns="0" bIns="0" rtlCol="0"/>
          <a:lstStyle/>
          <a:p>
            <a:endParaRPr sz="1092"/>
          </a:p>
        </p:txBody>
      </p:sp>
      <p:pic>
        <p:nvPicPr>
          <p:cNvPr id="3" name="object 3"/>
          <p:cNvPicPr>
            <a:picLocks noGrp="1" noRot="1" noMove="1" noResize="1" noEditPoints="1" noAdjustHandles="1" noChangeArrowheads="1" noChangeShapeType="1" noCrop="1"/>
          </p:cNvPicPr>
          <p:nvPr/>
        </p:nvPicPr>
        <p:blipFill>
          <a:blip r:embed="rId2" cstate="print"/>
          <a:stretch>
            <a:fillRect/>
          </a:stretch>
        </p:blipFill>
        <p:spPr>
          <a:xfrm>
            <a:off x="10483542" y="5821979"/>
            <a:ext cx="1230802" cy="315559"/>
          </a:xfrm>
          <a:prstGeom prst="rect">
            <a:avLst/>
          </a:prstGeom>
        </p:spPr>
      </p:pic>
      <p:sp>
        <p:nvSpPr>
          <p:cNvPr id="6" name="object 6"/>
          <p:cNvSpPr>
            <a:spLocks noGrp="1" noRot="1" noMove="1" noResize="1" noEditPoints="1" noAdjustHandles="1" noChangeArrowheads="1" noChangeShapeType="1"/>
          </p:cNvSpPr>
          <p:nvPr/>
        </p:nvSpPr>
        <p:spPr>
          <a:xfrm>
            <a:off x="6508721" y="484153"/>
            <a:ext cx="5143307" cy="0"/>
          </a:xfrm>
          <a:custGeom>
            <a:avLst/>
            <a:gdLst/>
            <a:ahLst/>
            <a:cxnLst/>
            <a:rect l="l" t="t" r="r" b="b"/>
            <a:pathLst>
              <a:path w="8481694">
                <a:moveTo>
                  <a:pt x="0" y="0"/>
                </a:moveTo>
                <a:lnTo>
                  <a:pt x="8481417" y="0"/>
                </a:lnTo>
              </a:path>
            </a:pathLst>
          </a:custGeom>
          <a:ln w="26177">
            <a:solidFill>
              <a:srgbClr val="00CCFF"/>
            </a:solidFill>
          </a:ln>
        </p:spPr>
        <p:txBody>
          <a:bodyPr wrap="square" lIns="0" tIns="0" rIns="0" bIns="0" rtlCol="0"/>
          <a:lstStyle/>
          <a:p>
            <a:endParaRPr sz="1092"/>
          </a:p>
        </p:txBody>
      </p:sp>
      <p:sp>
        <p:nvSpPr>
          <p:cNvPr id="7" name="object 7"/>
          <p:cNvSpPr>
            <a:spLocks noGrp="1" noRot="1" noMove="1" noResize="1" noEditPoints="1" noAdjustHandles="1" noChangeArrowheads="1" noChangeShapeType="1"/>
          </p:cNvSpPr>
          <p:nvPr/>
        </p:nvSpPr>
        <p:spPr>
          <a:xfrm>
            <a:off x="6508721" y="2500137"/>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8" name="object 8"/>
          <p:cNvSpPr>
            <a:spLocks noGrp="1" noRot="1" noMove="1" noResize="1" noEditPoints="1" noAdjustHandles="1" noChangeArrowheads="1" noChangeShapeType="1"/>
          </p:cNvSpPr>
          <p:nvPr/>
        </p:nvSpPr>
        <p:spPr>
          <a:xfrm>
            <a:off x="6508721" y="2804915"/>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9" name="object 9"/>
          <p:cNvSpPr>
            <a:spLocks noGrp="1" noRot="1" noMove="1" noResize="1" noEditPoints="1" noAdjustHandles="1" noChangeArrowheads="1" noChangeShapeType="1"/>
          </p:cNvSpPr>
          <p:nvPr/>
        </p:nvSpPr>
        <p:spPr>
          <a:xfrm>
            <a:off x="6508721" y="3109694"/>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10" name="object 10"/>
          <p:cNvSpPr>
            <a:spLocks noGrp="1" noRot="1" noMove="1" noResize="1" noEditPoints="1" noAdjustHandles="1" noChangeArrowheads="1" noChangeShapeType="1"/>
          </p:cNvSpPr>
          <p:nvPr/>
        </p:nvSpPr>
        <p:spPr>
          <a:xfrm>
            <a:off x="6508721" y="3414472"/>
            <a:ext cx="5041650" cy="0"/>
          </a:xfrm>
          <a:custGeom>
            <a:avLst/>
            <a:gdLst/>
            <a:ahLst/>
            <a:cxnLst/>
            <a:rect l="l" t="t" r="r" b="b"/>
            <a:pathLst>
              <a:path w="8314055">
                <a:moveTo>
                  <a:pt x="0" y="0"/>
                </a:moveTo>
                <a:lnTo>
                  <a:pt x="8313882" y="0"/>
                </a:lnTo>
              </a:path>
            </a:pathLst>
          </a:custGeom>
          <a:ln w="15706">
            <a:solidFill>
              <a:srgbClr val="00CCFF"/>
            </a:solidFill>
          </a:ln>
        </p:spPr>
        <p:txBody>
          <a:bodyPr wrap="square" lIns="0" tIns="0" rIns="0" bIns="0" rtlCol="0"/>
          <a:lstStyle/>
          <a:p>
            <a:endParaRPr sz="1092"/>
          </a:p>
        </p:txBody>
      </p:sp>
      <p:sp>
        <p:nvSpPr>
          <p:cNvPr id="14" name="object 14"/>
          <p:cNvSpPr txBox="1"/>
          <p:nvPr/>
        </p:nvSpPr>
        <p:spPr>
          <a:xfrm>
            <a:off x="6501019" y="2576944"/>
            <a:ext cx="3858347" cy="764223"/>
          </a:xfrm>
          <a:prstGeom prst="rect">
            <a:avLst/>
          </a:prstGeom>
        </p:spPr>
        <p:txBody>
          <a:bodyPr vert="horz" wrap="square" lIns="0" tIns="9627" rIns="0" bIns="0" rtlCol="0">
            <a:spAutoFit/>
          </a:bodyPr>
          <a:lstStyle/>
          <a:p>
            <a:pPr marL="7701">
              <a:spcBef>
                <a:spcPts val="76"/>
              </a:spcBef>
            </a:pPr>
            <a:r>
              <a:rPr lang="en-GB" sz="1182" dirty="0">
                <a:latin typeface="Helvetica"/>
                <a:cs typeface="Helvetica"/>
              </a:rPr>
              <a:t>Deal origination and negotiations</a:t>
            </a:r>
            <a:endParaRPr sz="1182" dirty="0">
              <a:latin typeface="Helvetica"/>
              <a:cs typeface="Helvetica"/>
            </a:endParaRPr>
          </a:p>
          <a:p>
            <a:pPr marL="7701" marR="510979">
              <a:lnSpc>
                <a:spcPct val="169100"/>
              </a:lnSpc>
              <a:spcBef>
                <a:spcPts val="3"/>
              </a:spcBef>
            </a:pPr>
            <a:r>
              <a:rPr lang="en-GB" sz="1182" dirty="0">
                <a:latin typeface="Helvetica"/>
                <a:cs typeface="Helvetica"/>
              </a:rPr>
              <a:t>The UK market post Brexit and COVID</a:t>
            </a:r>
          </a:p>
          <a:p>
            <a:pPr marL="7701" marR="510979">
              <a:lnSpc>
                <a:spcPct val="169100"/>
              </a:lnSpc>
              <a:spcBef>
                <a:spcPts val="3"/>
              </a:spcBef>
            </a:pPr>
            <a:r>
              <a:rPr lang="en-GB" sz="1182" dirty="0">
                <a:latin typeface="Helvetica"/>
                <a:cs typeface="Helvetica"/>
              </a:rPr>
              <a:t>Checklist for initial due diligence</a:t>
            </a:r>
            <a:endParaRPr sz="1182" dirty="0">
              <a:latin typeface="Helvetica"/>
              <a:cs typeface="Helvetica"/>
            </a:endParaRPr>
          </a:p>
        </p:txBody>
      </p:sp>
      <p:sp>
        <p:nvSpPr>
          <p:cNvPr id="15" name="object 15"/>
          <p:cNvSpPr txBox="1">
            <a:spLocks noGrp="1" noRot="1" noMove="1" noResize="1" noEditPoints="1" noAdjustHandles="1" noChangeArrowheads="1" noChangeShapeType="1"/>
          </p:cNvSpPr>
          <p:nvPr/>
        </p:nvSpPr>
        <p:spPr>
          <a:xfrm>
            <a:off x="6501020" y="1840018"/>
            <a:ext cx="2695246" cy="284274"/>
          </a:xfrm>
          <a:prstGeom prst="rect">
            <a:avLst/>
          </a:prstGeom>
        </p:spPr>
        <p:txBody>
          <a:bodyPr vert="horz" wrap="square" lIns="0" tIns="8856" rIns="0" bIns="0" rtlCol="0">
            <a:spAutoFit/>
          </a:bodyPr>
          <a:lstStyle/>
          <a:p>
            <a:pPr marL="7701">
              <a:spcBef>
                <a:spcPts val="69"/>
              </a:spcBef>
            </a:pPr>
            <a:r>
              <a:rPr lang="en-GB" sz="1789" b="1" dirty="0">
                <a:solidFill>
                  <a:srgbClr val="00CCFF"/>
                </a:solidFill>
                <a:latin typeface="Helvetica" pitchFamily="2" charset="0"/>
                <a:cs typeface="Arial"/>
              </a:rPr>
              <a:t>Topics covered today</a:t>
            </a:r>
            <a:r>
              <a:rPr sz="1789" b="1" spc="-39" dirty="0">
                <a:solidFill>
                  <a:srgbClr val="00CCFF"/>
                </a:solidFill>
                <a:latin typeface="Helvetica" pitchFamily="2" charset="0"/>
                <a:cs typeface="Arial"/>
              </a:rPr>
              <a:t>:</a:t>
            </a:r>
            <a:endParaRPr sz="1789" b="1" dirty="0">
              <a:latin typeface="Helvetica" pitchFamily="2" charset="0"/>
              <a:cs typeface="Arial"/>
            </a:endParaRPr>
          </a:p>
        </p:txBody>
      </p:sp>
      <p:sp>
        <p:nvSpPr>
          <p:cNvPr id="17" name="object 17"/>
          <p:cNvSpPr>
            <a:spLocks noGrp="1" noRot="1" noMove="1" noResize="1" noEditPoints="1" noAdjustHandles="1" noChangeArrowheads="1" noChangeShapeType="1"/>
          </p:cNvSpPr>
          <p:nvPr/>
        </p:nvSpPr>
        <p:spPr>
          <a:xfrm>
            <a:off x="428" y="0"/>
            <a:ext cx="5528757" cy="6857615"/>
          </a:xfrm>
          <a:custGeom>
            <a:avLst/>
            <a:gdLst/>
            <a:ahLst/>
            <a:cxnLst/>
            <a:rect l="l" t="t" r="r" b="b"/>
            <a:pathLst>
              <a:path w="9117330" h="11308715">
                <a:moveTo>
                  <a:pt x="4385405" y="0"/>
                </a:moveTo>
                <a:lnTo>
                  <a:pt x="0" y="0"/>
                </a:lnTo>
                <a:lnTo>
                  <a:pt x="0" y="11308556"/>
                </a:lnTo>
                <a:lnTo>
                  <a:pt x="5214500" y="11308556"/>
                </a:lnTo>
                <a:lnTo>
                  <a:pt x="9117293" y="5874166"/>
                </a:lnTo>
                <a:lnTo>
                  <a:pt x="4385405" y="0"/>
                </a:lnTo>
                <a:close/>
              </a:path>
            </a:pathLst>
          </a:custGeom>
          <a:solidFill>
            <a:srgbClr val="00CCFF"/>
          </a:solidFill>
        </p:spPr>
        <p:txBody>
          <a:bodyPr wrap="square" lIns="0" tIns="0" rIns="0" bIns="0" rtlCol="0"/>
          <a:lstStyle/>
          <a:p>
            <a:endParaRPr sz="1092"/>
          </a:p>
        </p:txBody>
      </p:sp>
      <p:pic>
        <p:nvPicPr>
          <p:cNvPr id="23" name="Picture 22">
            <a:extLst>
              <a:ext uri="{FF2B5EF4-FFF2-40B4-BE49-F238E27FC236}">
                <a16:creationId xmlns:a16="http://schemas.microsoft.com/office/drawing/2014/main" id="{33A7974C-863E-FDF4-2778-B9E1286208E0}"/>
              </a:ext>
            </a:extLst>
          </p:cNvPr>
          <p:cNvPicPr>
            <a:picLocks noGrp="1" noRot="1" noChangeAspect="1" noMove="1" noResize="1" noEditPoints="1" noAdjustHandles="1" noChangeArrowheads="1" noChangeShapeType="1" noCrop="1"/>
          </p:cNvPicPr>
          <p:nvPr/>
        </p:nvPicPr>
        <p:blipFill>
          <a:blip r:embed="rId3"/>
          <a:stretch>
            <a:fillRect/>
          </a:stretch>
        </p:blipFill>
        <p:spPr>
          <a:xfrm>
            <a:off x="628630" y="5687787"/>
            <a:ext cx="1665603" cy="449751"/>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a:spLocks noGrp="1" noRot="1" noMove="1" noResize="1" noEditPoints="1" noAdjustHandles="1" noChangeArrowheads="1" noChangeShapeType="1"/>
          </p:cNvSpPr>
          <p:nvPr/>
        </p:nvSpPr>
        <p:spPr>
          <a:xfrm>
            <a:off x="5996132" y="0"/>
            <a:ext cx="6195689" cy="6857615"/>
          </a:xfrm>
          <a:custGeom>
            <a:avLst/>
            <a:gdLst/>
            <a:ahLst/>
            <a:cxnLst/>
            <a:rect l="l" t="t" r="r" b="b"/>
            <a:pathLst>
              <a:path w="10217150" h="11308715">
                <a:moveTo>
                  <a:pt x="10216736" y="0"/>
                </a:moveTo>
                <a:lnTo>
                  <a:pt x="4731887" y="0"/>
                </a:lnTo>
                <a:lnTo>
                  <a:pt x="0" y="5874166"/>
                </a:lnTo>
                <a:lnTo>
                  <a:pt x="3902792" y="11308556"/>
                </a:lnTo>
                <a:lnTo>
                  <a:pt x="10216736" y="11308556"/>
                </a:lnTo>
                <a:lnTo>
                  <a:pt x="10216736" y="0"/>
                </a:lnTo>
                <a:close/>
              </a:path>
            </a:pathLst>
          </a:custGeom>
          <a:solidFill>
            <a:srgbClr val="00CCFF"/>
          </a:solidFill>
        </p:spPr>
        <p:txBody>
          <a:bodyPr wrap="square" lIns="0" tIns="0" rIns="0" bIns="0" rtlCol="0"/>
          <a:lstStyle/>
          <a:p>
            <a:endParaRPr sz="1092"/>
          </a:p>
        </p:txBody>
      </p:sp>
      <p:sp>
        <p:nvSpPr>
          <p:cNvPr id="3" name="object 3"/>
          <p:cNvSpPr txBox="1"/>
          <p:nvPr/>
        </p:nvSpPr>
        <p:spPr>
          <a:xfrm>
            <a:off x="483050" y="2468354"/>
            <a:ext cx="3547600" cy="2906099"/>
          </a:xfrm>
          <a:prstGeom prst="rect">
            <a:avLst/>
          </a:prstGeom>
        </p:spPr>
        <p:txBody>
          <a:bodyPr vert="horz" wrap="square" lIns="0" tIns="10397" rIns="0" bIns="0" rtlCol="0">
            <a:spAutoFit/>
          </a:bodyPr>
          <a:lstStyle/>
          <a:p>
            <a:pPr marL="7701">
              <a:spcBef>
                <a:spcPts val="82"/>
              </a:spcBef>
            </a:pPr>
            <a:r>
              <a:rPr lang="en-GB" sz="3578" b="1" spc="-6" dirty="0">
                <a:solidFill>
                  <a:srgbClr val="0B5B75"/>
                </a:solidFill>
                <a:latin typeface="Helvetica"/>
                <a:cs typeface="Helvetica"/>
              </a:rPr>
              <a:t>Deal origination </a:t>
            </a:r>
            <a:r>
              <a:rPr lang="en-GB" sz="3578" b="1" spc="-6" dirty="0">
                <a:solidFill>
                  <a:srgbClr val="01CCFF"/>
                </a:solidFill>
                <a:latin typeface="Helvetica"/>
                <a:cs typeface="Helvetica"/>
              </a:rPr>
              <a:t>and negotiation</a:t>
            </a:r>
            <a:endParaRPr sz="3578" dirty="0">
              <a:solidFill>
                <a:srgbClr val="01CCFF"/>
              </a:solidFill>
              <a:latin typeface="Helvetica"/>
              <a:cs typeface="Helvetica"/>
            </a:endParaRPr>
          </a:p>
          <a:p>
            <a:pPr marL="215636" marR="3081" indent="-207935">
              <a:spcBef>
                <a:spcPts val="2322"/>
              </a:spcBef>
              <a:buClr>
                <a:srgbClr val="01CCFF"/>
              </a:buClr>
              <a:buFont typeface="Helvetica" pitchFamily="2" charset="0"/>
              <a:buChar char="‣"/>
            </a:pPr>
            <a:r>
              <a:rPr lang="en-GB" sz="1182" dirty="0">
                <a:latin typeface="Helvetica"/>
                <a:cs typeface="Helvetica"/>
              </a:rPr>
              <a:t>How to find UK deals</a:t>
            </a:r>
          </a:p>
          <a:p>
            <a:pPr marL="215636" marR="3081" indent="-207935">
              <a:spcBef>
                <a:spcPts val="2322"/>
              </a:spcBef>
              <a:buClr>
                <a:srgbClr val="01CCFF"/>
              </a:buClr>
              <a:buFont typeface="Helvetica" pitchFamily="2" charset="0"/>
              <a:buChar char="‣"/>
            </a:pPr>
            <a:r>
              <a:rPr lang="en-GB" sz="1182" dirty="0">
                <a:latin typeface="Helvetica"/>
                <a:cs typeface="Helvetica"/>
              </a:rPr>
              <a:t>The difference between ‘on market’ and ‘off market’ opportunities</a:t>
            </a:r>
          </a:p>
          <a:p>
            <a:pPr marL="215636" marR="3081" indent="-207935">
              <a:spcBef>
                <a:spcPts val="2322"/>
              </a:spcBef>
              <a:buClr>
                <a:srgbClr val="01CCFF"/>
              </a:buClr>
              <a:buFont typeface="Helvetica" pitchFamily="2" charset="0"/>
              <a:buChar char="‣"/>
            </a:pPr>
            <a:r>
              <a:rPr lang="en-GB" sz="1182" dirty="0">
                <a:latin typeface="Helvetica"/>
                <a:cs typeface="Helvetica"/>
              </a:rPr>
              <a:t>Why 80% of the deals we do never come to market?</a:t>
            </a:r>
            <a:endParaRPr sz="1182" dirty="0">
              <a:latin typeface="Helvetica"/>
              <a:cs typeface="Helvetica"/>
            </a:endParaRPr>
          </a:p>
        </p:txBody>
      </p:sp>
      <p:sp>
        <p:nvSpPr>
          <p:cNvPr id="4" name="object 4"/>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316">
              <a:spcBef>
                <a:spcPts val="82"/>
              </a:spcBef>
            </a:pPr>
            <a:r>
              <a:rPr spc="-15" dirty="0">
                <a:solidFill>
                  <a:srgbClr val="FFFFFF"/>
                </a:solidFill>
              </a:rPr>
              <a:t>01</a:t>
            </a:r>
          </a:p>
        </p:txBody>
      </p:sp>
      <p:sp>
        <p:nvSpPr>
          <p:cNvPr id="5" name="object 5"/>
          <p:cNvSpPr txBox="1">
            <a:spLocks/>
          </p:cNvSpPr>
          <p:nvPr/>
        </p:nvSpPr>
        <p:spPr>
          <a:xfrm>
            <a:off x="468943" y="589157"/>
            <a:ext cx="3181777" cy="191630"/>
          </a:xfrm>
          <a:prstGeom prst="rect">
            <a:avLst/>
          </a:prstGeom>
        </p:spPr>
        <p:txBody>
          <a:bodyPr vert="horz" wrap="square" lIns="0" tIns="9627" rIns="0" bIns="0" rtlCol="0">
            <a:spAutoFit/>
          </a:bodyPr>
          <a:lstStyle/>
          <a:p>
            <a:pPr marL="7701">
              <a:spcBef>
                <a:spcPts val="76"/>
              </a:spcBef>
            </a:pPr>
            <a:r>
              <a:rPr sz="1182" b="1" spc="-58" dirty="0">
                <a:latin typeface="Helvetica" pitchFamily="2" charset="0"/>
                <a:cs typeface="Arial"/>
              </a:rPr>
              <a:t>Buy</a:t>
            </a:r>
            <a:r>
              <a:rPr sz="1182" b="1" spc="-73" dirty="0">
                <a:latin typeface="Helvetica" pitchFamily="2" charset="0"/>
                <a:cs typeface="Arial"/>
              </a:rPr>
              <a:t> </a:t>
            </a:r>
            <a:r>
              <a:rPr sz="1182" b="1" spc="-24" dirty="0">
                <a:latin typeface="Helvetica" pitchFamily="2" charset="0"/>
                <a:cs typeface="Arial"/>
              </a:rPr>
              <a:t>a</a:t>
            </a:r>
            <a:r>
              <a:rPr sz="1182" b="1" spc="-73" dirty="0">
                <a:latin typeface="Helvetica" pitchFamily="2" charset="0"/>
                <a:cs typeface="Arial"/>
              </a:rPr>
              <a:t> </a:t>
            </a:r>
            <a:r>
              <a:rPr sz="1182" b="1" spc="-69" dirty="0">
                <a:latin typeface="Helvetica" pitchFamily="2" charset="0"/>
                <a:cs typeface="Arial"/>
              </a:rPr>
              <a:t>business</a:t>
            </a:r>
            <a:r>
              <a:rPr sz="1182" b="1" spc="-73" dirty="0">
                <a:latin typeface="Helvetica" pitchFamily="2" charset="0"/>
                <a:cs typeface="Arial"/>
              </a:rPr>
              <a:t> </a:t>
            </a:r>
            <a:r>
              <a:rPr sz="1182" b="1" spc="-12" dirty="0">
                <a:latin typeface="Helvetica" pitchFamily="2" charset="0"/>
                <a:cs typeface="Arial"/>
              </a:rPr>
              <a:t>workshop</a:t>
            </a:r>
            <a:r>
              <a:rPr lang="en-GB" sz="1182" b="1" spc="-12" dirty="0">
                <a:latin typeface="Helvetica" pitchFamily="2" charset="0"/>
                <a:cs typeface="Arial"/>
              </a:rPr>
              <a:t> – Warsaw 2024</a:t>
            </a:r>
            <a:endParaRPr sz="1182" b="1" dirty="0">
              <a:latin typeface="Helvetica" pitchFamily="2" charset="0"/>
              <a:cs typeface="Arial"/>
            </a:endParaRPr>
          </a:p>
        </p:txBody>
      </p:sp>
      <p:sp>
        <p:nvSpPr>
          <p:cNvPr id="6" name="object 6"/>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rgbClr val="0B5B75"/>
                </a:solidFill>
                <a:latin typeface="Helvetica"/>
                <a:cs typeface="Helvetica"/>
              </a:rPr>
              <a:t>Department for Business and Trade</a:t>
            </a:r>
            <a:endParaRPr sz="1577" dirty="0">
              <a:latin typeface="Helvetica"/>
              <a:cs typeface="Helvetica"/>
            </a:endParaRPr>
          </a:p>
        </p:txBody>
      </p:sp>
      <p:pic>
        <p:nvPicPr>
          <p:cNvPr id="7" name="object 7"/>
          <p:cNvPicPr>
            <a:picLocks noGrp="1" noRot="1" noMove="1" noResize="1" noEditPoints="1" noAdjustHandles="1" noChangeArrowheads="1" noChangeShapeType="1" noCrop="1"/>
          </p:cNvPicPr>
          <p:nvPr/>
        </p:nvPicPr>
        <p:blipFill>
          <a:blip r:embed="rId2" cstate="print"/>
          <a:stretch>
            <a:fillRect/>
          </a:stretch>
        </p:blipFill>
        <p:spPr>
          <a:xfrm>
            <a:off x="10483542" y="6095572"/>
            <a:ext cx="1230802" cy="335119"/>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noRot="1" noMove="1" noResize="1" noEditPoints="1" noAdjustHandles="1" noChangeArrowheads="1" noChangeShapeType="1"/>
          </p:cNvSpPr>
          <p:nvPr/>
        </p:nvSpPr>
        <p:spPr>
          <a:xfrm>
            <a:off x="468943" y="589157"/>
            <a:ext cx="3007114" cy="191630"/>
          </a:xfrm>
          <a:prstGeom prst="rect">
            <a:avLst/>
          </a:prstGeom>
        </p:spPr>
        <p:txBody>
          <a:bodyPr vert="horz" wrap="square" lIns="0" tIns="9627" rIns="0" bIns="0" rtlCol="0">
            <a:spAutoFit/>
          </a:bodyPr>
          <a:lstStyle/>
          <a:p>
            <a:pPr marL="7701">
              <a:spcBef>
                <a:spcPts val="76"/>
              </a:spcBef>
            </a:pPr>
            <a:r>
              <a:rPr sz="1182" b="1" spc="-58" dirty="0">
                <a:solidFill>
                  <a:srgbClr val="FFFFFF"/>
                </a:solidFill>
                <a:latin typeface="Helvetica" pitchFamily="2" charset="0"/>
                <a:cs typeface="Arial"/>
              </a:rPr>
              <a:t>Buy</a:t>
            </a:r>
            <a:r>
              <a:rPr sz="1182" b="1" spc="-73" dirty="0">
                <a:solidFill>
                  <a:srgbClr val="FFFFFF"/>
                </a:solidFill>
                <a:latin typeface="Helvetica" pitchFamily="2" charset="0"/>
                <a:cs typeface="Arial"/>
              </a:rPr>
              <a:t> </a:t>
            </a:r>
            <a:r>
              <a:rPr sz="1182" b="1" spc="-24" dirty="0">
                <a:solidFill>
                  <a:srgbClr val="FFFFFF"/>
                </a:solidFill>
                <a:latin typeface="Helvetica" pitchFamily="2" charset="0"/>
                <a:cs typeface="Arial"/>
              </a:rPr>
              <a:t>a</a:t>
            </a:r>
            <a:r>
              <a:rPr sz="1182" b="1" spc="-73" dirty="0">
                <a:solidFill>
                  <a:srgbClr val="FFFFFF"/>
                </a:solidFill>
                <a:latin typeface="Helvetica" pitchFamily="2" charset="0"/>
                <a:cs typeface="Arial"/>
              </a:rPr>
              <a:t> </a:t>
            </a:r>
            <a:r>
              <a:rPr sz="1182" b="1" spc="-69" dirty="0">
                <a:solidFill>
                  <a:srgbClr val="FFFFFF"/>
                </a:solidFill>
                <a:latin typeface="Helvetica" pitchFamily="2" charset="0"/>
                <a:cs typeface="Arial"/>
              </a:rPr>
              <a:t>business</a:t>
            </a:r>
            <a:r>
              <a:rPr sz="1182" b="1" spc="-73" dirty="0">
                <a:solidFill>
                  <a:srgbClr val="FFFFFF"/>
                </a:solidFill>
                <a:latin typeface="Helvetica" pitchFamily="2" charset="0"/>
                <a:cs typeface="Arial"/>
              </a:rPr>
              <a:t> </a:t>
            </a:r>
            <a:r>
              <a:rPr sz="1182" b="1" spc="-12" dirty="0">
                <a:solidFill>
                  <a:srgbClr val="FFFFFF"/>
                </a:solidFill>
                <a:latin typeface="Helvetica" pitchFamily="2" charset="0"/>
                <a:cs typeface="Arial"/>
              </a:rPr>
              <a:t>workshop</a:t>
            </a:r>
            <a:r>
              <a:rPr lang="en-GB" sz="1182" b="1" spc="-12" dirty="0">
                <a:solidFill>
                  <a:srgbClr val="FFFFFF"/>
                </a:solidFill>
                <a:latin typeface="Helvetica" pitchFamily="2" charset="0"/>
                <a:cs typeface="Arial"/>
              </a:rPr>
              <a:t> – Warsaw 2024</a:t>
            </a:r>
            <a:endParaRPr sz="1182" b="1" dirty="0">
              <a:latin typeface="Helvetica" pitchFamily="2" charset="0"/>
              <a:cs typeface="Arial"/>
            </a:endParaRPr>
          </a:p>
        </p:txBody>
      </p:sp>
      <p:sp>
        <p:nvSpPr>
          <p:cNvPr id="3" name="object 3"/>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chemeClr val="bg1"/>
                </a:solidFill>
                <a:latin typeface="Helvetica"/>
                <a:cs typeface="Helvetica"/>
              </a:rPr>
              <a:t>Department for Business and Trade</a:t>
            </a:r>
            <a:endParaRPr lang="en-GB" sz="1577" dirty="0">
              <a:solidFill>
                <a:schemeClr val="bg1"/>
              </a:solidFill>
              <a:latin typeface="Helvetica"/>
              <a:cs typeface="Helvetica"/>
            </a:endParaRPr>
          </a:p>
        </p:txBody>
      </p:sp>
      <p:sp>
        <p:nvSpPr>
          <p:cNvPr id="4" name="object 4"/>
          <p:cNvSpPr txBox="1"/>
          <p:nvPr/>
        </p:nvSpPr>
        <p:spPr>
          <a:xfrm>
            <a:off x="6664381" y="1988032"/>
            <a:ext cx="5109009" cy="3097416"/>
          </a:xfrm>
          <a:prstGeom prst="rect">
            <a:avLst/>
          </a:prstGeom>
        </p:spPr>
        <p:txBody>
          <a:bodyPr vert="horz" wrap="square" lIns="0" tIns="98962" rIns="0" bIns="0" rtlCol="0">
            <a:spAutoFit/>
          </a:bodyPr>
          <a:lstStyle/>
          <a:p>
            <a:pPr marL="7701" marR="1375064">
              <a:lnSpc>
                <a:spcPts val="3602"/>
              </a:lnSpc>
              <a:spcBef>
                <a:spcPts val="779"/>
              </a:spcBef>
            </a:pPr>
            <a:r>
              <a:rPr lang="en-GB" sz="3578" b="1" spc="-30" dirty="0">
                <a:solidFill>
                  <a:srgbClr val="0B5B75"/>
                </a:solidFill>
                <a:latin typeface="Helvetica"/>
                <a:cs typeface="Helvetica"/>
              </a:rPr>
              <a:t>The UK market </a:t>
            </a:r>
            <a:r>
              <a:rPr lang="en-GB" sz="3578" b="1" spc="-30" dirty="0">
                <a:solidFill>
                  <a:srgbClr val="00CCFF"/>
                </a:solidFill>
                <a:latin typeface="Helvetica"/>
                <a:cs typeface="Helvetica"/>
              </a:rPr>
              <a:t>post Brexit &amp; COVID</a:t>
            </a:r>
            <a:endParaRPr sz="3578" dirty="0">
              <a:solidFill>
                <a:srgbClr val="00CCFF"/>
              </a:solidFill>
              <a:latin typeface="Helvetica"/>
              <a:cs typeface="Helvetica"/>
            </a:endParaRPr>
          </a:p>
          <a:p>
            <a:pPr marL="215636" marR="3081" indent="-207935">
              <a:spcBef>
                <a:spcPts val="2313"/>
              </a:spcBef>
              <a:buClr>
                <a:srgbClr val="00CCFF"/>
              </a:buClr>
              <a:buFont typeface="Helvetica" pitchFamily="2" charset="0"/>
              <a:buChar char="‣"/>
            </a:pPr>
            <a:r>
              <a:rPr lang="en-GB" sz="1182" dirty="0">
                <a:latin typeface="Helvetica"/>
                <a:cs typeface="Helvetica"/>
              </a:rPr>
              <a:t>The lending landscape</a:t>
            </a:r>
          </a:p>
          <a:p>
            <a:pPr marL="215636" marR="3081" indent="-207935">
              <a:spcBef>
                <a:spcPts val="2313"/>
              </a:spcBef>
              <a:buClr>
                <a:srgbClr val="00CCFF"/>
              </a:buClr>
              <a:buFont typeface="Helvetica" pitchFamily="2" charset="0"/>
              <a:buChar char="‣"/>
            </a:pPr>
            <a:r>
              <a:rPr lang="en-GB" sz="1182" dirty="0">
                <a:latin typeface="Helvetica"/>
                <a:cs typeface="Helvetica"/>
              </a:rPr>
              <a:t>Baby boomers are becoming appropriate targets</a:t>
            </a:r>
          </a:p>
          <a:p>
            <a:pPr marL="215636" marR="3081" indent="-207935">
              <a:spcBef>
                <a:spcPts val="2313"/>
              </a:spcBef>
              <a:buClr>
                <a:srgbClr val="00CCFF"/>
              </a:buClr>
              <a:buFont typeface="Helvetica" pitchFamily="2" charset="0"/>
              <a:buChar char="‣"/>
            </a:pPr>
            <a:r>
              <a:rPr lang="en-GB" sz="1182" dirty="0">
                <a:latin typeface="Helvetica"/>
                <a:cs typeface="Helvetica"/>
              </a:rPr>
              <a:t>UK businesses have become more open to being acquired by eastern European companies.</a:t>
            </a:r>
            <a:endParaRPr sz="1182" dirty="0">
              <a:latin typeface="Helvetica"/>
              <a:cs typeface="Helvetica"/>
            </a:endParaRPr>
          </a:p>
        </p:txBody>
      </p:sp>
      <p:sp>
        <p:nvSpPr>
          <p:cNvPr id="5" name="object 5"/>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701">
              <a:spcBef>
                <a:spcPts val="82"/>
              </a:spcBef>
            </a:pPr>
            <a:r>
              <a:rPr spc="-15" dirty="0"/>
              <a:t>02</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a:spLocks noGrp="1" noRot="1" noMove="1" noResize="1" noEditPoints="1" noAdjustHandles="1" noChangeArrowheads="1" noChangeShapeType="1"/>
          </p:cNvSpPr>
          <p:nvPr/>
        </p:nvSpPr>
        <p:spPr>
          <a:xfrm>
            <a:off x="5996132" y="0"/>
            <a:ext cx="6195689" cy="6857615"/>
          </a:xfrm>
          <a:custGeom>
            <a:avLst/>
            <a:gdLst/>
            <a:ahLst/>
            <a:cxnLst/>
            <a:rect l="l" t="t" r="r" b="b"/>
            <a:pathLst>
              <a:path w="10217150" h="11308715">
                <a:moveTo>
                  <a:pt x="10216736" y="0"/>
                </a:moveTo>
                <a:lnTo>
                  <a:pt x="4731887" y="0"/>
                </a:lnTo>
                <a:lnTo>
                  <a:pt x="0" y="5874166"/>
                </a:lnTo>
                <a:lnTo>
                  <a:pt x="3902792" y="11308556"/>
                </a:lnTo>
                <a:lnTo>
                  <a:pt x="10216736" y="11308556"/>
                </a:lnTo>
                <a:lnTo>
                  <a:pt x="10216736" y="0"/>
                </a:lnTo>
                <a:close/>
              </a:path>
            </a:pathLst>
          </a:custGeom>
          <a:solidFill>
            <a:srgbClr val="00CCFF"/>
          </a:solidFill>
        </p:spPr>
        <p:txBody>
          <a:bodyPr wrap="square" lIns="0" tIns="0" rIns="0" bIns="0" rtlCol="0"/>
          <a:lstStyle/>
          <a:p>
            <a:endParaRPr sz="1092"/>
          </a:p>
        </p:txBody>
      </p:sp>
      <p:sp>
        <p:nvSpPr>
          <p:cNvPr id="5" name="object 5"/>
          <p:cNvSpPr txBox="1"/>
          <p:nvPr/>
        </p:nvSpPr>
        <p:spPr>
          <a:xfrm>
            <a:off x="468438" y="2302441"/>
            <a:ext cx="4884740" cy="4017411"/>
          </a:xfrm>
          <a:prstGeom prst="rect">
            <a:avLst/>
          </a:prstGeom>
        </p:spPr>
        <p:txBody>
          <a:bodyPr vert="horz" wrap="square" lIns="0" tIns="98962" rIns="0" bIns="0" rtlCol="0">
            <a:spAutoFit/>
          </a:bodyPr>
          <a:lstStyle/>
          <a:p>
            <a:pPr marL="7701" marR="1282263">
              <a:lnSpc>
                <a:spcPts val="3602"/>
              </a:lnSpc>
              <a:spcBef>
                <a:spcPts val="779"/>
              </a:spcBef>
            </a:pPr>
            <a:r>
              <a:rPr lang="en-GB" sz="3578" b="1" spc="-6" dirty="0">
                <a:solidFill>
                  <a:srgbClr val="0B5B75"/>
                </a:solidFill>
                <a:latin typeface="Helvetica"/>
                <a:cs typeface="Helvetica"/>
              </a:rPr>
              <a:t>Checklist for </a:t>
            </a:r>
            <a:r>
              <a:rPr lang="en-GB" sz="3578" b="1" spc="-6" dirty="0">
                <a:solidFill>
                  <a:srgbClr val="00CCFF"/>
                </a:solidFill>
                <a:latin typeface="Helvetica"/>
                <a:cs typeface="Helvetica"/>
              </a:rPr>
              <a:t>initial DD</a:t>
            </a:r>
          </a:p>
          <a:p>
            <a:pPr marL="215636" indent="-207935">
              <a:spcBef>
                <a:spcPts val="1455"/>
              </a:spcBef>
              <a:buClr>
                <a:srgbClr val="00CCFF"/>
              </a:buClr>
              <a:buFont typeface="Helvetica" pitchFamily="2" charset="0"/>
              <a:buChar char="‣"/>
            </a:pPr>
            <a:r>
              <a:rPr lang="en-GB" sz="1182" dirty="0">
                <a:latin typeface="Helvetica"/>
                <a:cs typeface="Helvetica"/>
              </a:rPr>
              <a:t>Deal checklist</a:t>
            </a:r>
          </a:p>
          <a:p>
            <a:pPr marL="215636" indent="-207935">
              <a:spcBef>
                <a:spcPts val="1455"/>
              </a:spcBef>
              <a:buClr>
                <a:srgbClr val="00CCFF"/>
              </a:buClr>
              <a:buFont typeface="Helvetica" pitchFamily="2" charset="0"/>
              <a:buChar char="‣"/>
            </a:pPr>
            <a:r>
              <a:rPr lang="en-GB" sz="1182" dirty="0">
                <a:latin typeface="Helvetica"/>
                <a:cs typeface="Helvetica"/>
              </a:rPr>
              <a:t>Staff</a:t>
            </a:r>
          </a:p>
          <a:p>
            <a:pPr marL="215636" indent="-207935">
              <a:spcBef>
                <a:spcPts val="1455"/>
              </a:spcBef>
              <a:buClr>
                <a:srgbClr val="00CCFF"/>
              </a:buClr>
              <a:buFont typeface="Helvetica" pitchFamily="2" charset="0"/>
              <a:buChar char="‣"/>
            </a:pPr>
            <a:r>
              <a:rPr lang="en-GB" sz="1182" dirty="0">
                <a:latin typeface="Helvetica"/>
                <a:cs typeface="Helvetica"/>
              </a:rPr>
              <a:t>Target company &amp; additional information</a:t>
            </a:r>
          </a:p>
          <a:p>
            <a:pPr marL="215636" indent="-207935">
              <a:spcBef>
                <a:spcPts val="1455"/>
              </a:spcBef>
              <a:buClr>
                <a:srgbClr val="00CCFF"/>
              </a:buClr>
              <a:buFont typeface="Helvetica" pitchFamily="2" charset="0"/>
              <a:buChar char="‣"/>
            </a:pPr>
            <a:r>
              <a:rPr lang="en-GB" sz="1182" dirty="0">
                <a:latin typeface="Helvetica"/>
                <a:cs typeface="Helvetica"/>
              </a:rPr>
              <a:t>Clients</a:t>
            </a:r>
          </a:p>
          <a:p>
            <a:pPr marL="215636" indent="-207935">
              <a:spcBef>
                <a:spcPts val="1455"/>
              </a:spcBef>
              <a:buClr>
                <a:srgbClr val="00CCFF"/>
              </a:buClr>
              <a:buFont typeface="Helvetica" pitchFamily="2" charset="0"/>
              <a:buChar char="‣"/>
            </a:pPr>
            <a:r>
              <a:rPr lang="en-GB" sz="1182" dirty="0">
                <a:latin typeface="Helvetica"/>
                <a:cs typeface="Helvetica"/>
              </a:rPr>
              <a:t>Funding profile</a:t>
            </a:r>
          </a:p>
          <a:p>
            <a:pPr marL="215636" indent="-207935">
              <a:spcBef>
                <a:spcPts val="1455"/>
              </a:spcBef>
              <a:buClr>
                <a:srgbClr val="00CCFF"/>
              </a:buClr>
              <a:buFont typeface="Helvetica" pitchFamily="2" charset="0"/>
              <a:buChar char="‣"/>
            </a:pPr>
            <a:r>
              <a:rPr lang="en-GB" sz="1182" dirty="0">
                <a:latin typeface="Helvetica"/>
                <a:cs typeface="Helvetica"/>
              </a:rPr>
              <a:t>Transaction</a:t>
            </a:r>
          </a:p>
          <a:p>
            <a:pPr marL="215636" indent="-207935">
              <a:spcBef>
                <a:spcPts val="1455"/>
              </a:spcBef>
              <a:buClr>
                <a:srgbClr val="00CCFF"/>
              </a:buClr>
              <a:buFont typeface="Helvetica" pitchFamily="2" charset="0"/>
              <a:buChar char="‣"/>
            </a:pPr>
            <a:r>
              <a:rPr lang="en-GB" sz="1182" dirty="0">
                <a:latin typeface="Helvetica"/>
                <a:cs typeface="Helvetica"/>
              </a:rPr>
              <a:t>Documentation</a:t>
            </a:r>
          </a:p>
          <a:p>
            <a:pPr marL="215636" indent="-207935">
              <a:spcBef>
                <a:spcPts val="1455"/>
              </a:spcBef>
              <a:buClr>
                <a:srgbClr val="00CCFF"/>
              </a:buClr>
              <a:buFont typeface="Helvetica" pitchFamily="2" charset="0"/>
              <a:buChar char="‣"/>
            </a:pPr>
            <a:r>
              <a:rPr lang="en-GB" sz="1182" dirty="0">
                <a:latin typeface="Helvetica"/>
                <a:cs typeface="Helvetica"/>
              </a:rPr>
              <a:t>Working capital</a:t>
            </a:r>
            <a:endParaRPr sz="1182" dirty="0">
              <a:latin typeface="Helvetica"/>
              <a:cs typeface="Helvetica"/>
            </a:endParaRPr>
          </a:p>
        </p:txBody>
      </p:sp>
      <p:sp>
        <p:nvSpPr>
          <p:cNvPr id="6" name="object 6"/>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316">
              <a:spcBef>
                <a:spcPts val="82"/>
              </a:spcBef>
            </a:pPr>
            <a:r>
              <a:rPr spc="-15" dirty="0">
                <a:solidFill>
                  <a:srgbClr val="FFFFFF"/>
                </a:solidFill>
              </a:rPr>
              <a:t>0</a:t>
            </a:r>
            <a:r>
              <a:rPr lang="en-GB" spc="-15" dirty="0">
                <a:solidFill>
                  <a:srgbClr val="FFFFFF"/>
                </a:solidFill>
              </a:rPr>
              <a:t>3</a:t>
            </a:r>
            <a:endParaRPr spc="-15" dirty="0">
              <a:solidFill>
                <a:srgbClr val="FFFFFF"/>
              </a:solidFill>
            </a:endParaRPr>
          </a:p>
        </p:txBody>
      </p:sp>
      <p:pic>
        <p:nvPicPr>
          <p:cNvPr id="7" name="object 7"/>
          <p:cNvPicPr>
            <a:picLocks noGrp="1" noRot="1" noMove="1" noResize="1" noEditPoints="1" noAdjustHandles="1" noChangeArrowheads="1" noChangeShapeType="1" noCrop="1"/>
          </p:cNvPicPr>
          <p:nvPr/>
        </p:nvPicPr>
        <p:blipFill>
          <a:blip r:embed="rId2" cstate="print"/>
          <a:stretch>
            <a:fillRect/>
          </a:stretch>
        </p:blipFill>
        <p:spPr>
          <a:xfrm>
            <a:off x="10483542" y="6095572"/>
            <a:ext cx="1230802" cy="335119"/>
          </a:xfrm>
          <a:prstGeom prst="rect">
            <a:avLst/>
          </a:prstGeom>
        </p:spPr>
      </p:pic>
      <p:sp>
        <p:nvSpPr>
          <p:cNvPr id="10" name="object 5">
            <a:extLst>
              <a:ext uri="{FF2B5EF4-FFF2-40B4-BE49-F238E27FC236}">
                <a16:creationId xmlns:a16="http://schemas.microsoft.com/office/drawing/2014/main" id="{2DECDEA2-88B8-000A-B5E6-17652BE032A1}"/>
              </a:ext>
            </a:extLst>
          </p:cNvPr>
          <p:cNvSpPr txBox="1">
            <a:spLocks/>
          </p:cNvSpPr>
          <p:nvPr/>
        </p:nvSpPr>
        <p:spPr>
          <a:xfrm>
            <a:off x="468943" y="589157"/>
            <a:ext cx="3181777" cy="191630"/>
          </a:xfrm>
          <a:prstGeom prst="rect">
            <a:avLst/>
          </a:prstGeom>
        </p:spPr>
        <p:txBody>
          <a:bodyPr vert="horz" wrap="square" lIns="0" tIns="9627" rIns="0" bIns="0" rtlCol="0">
            <a:spAutoFit/>
          </a:bodyPr>
          <a:lstStyle/>
          <a:p>
            <a:pPr marL="7701">
              <a:spcBef>
                <a:spcPts val="76"/>
              </a:spcBef>
            </a:pPr>
            <a:r>
              <a:rPr sz="1182" b="1" spc="-58" dirty="0">
                <a:latin typeface="Helvetica" pitchFamily="2" charset="0"/>
                <a:cs typeface="Arial"/>
              </a:rPr>
              <a:t>Buy</a:t>
            </a:r>
            <a:r>
              <a:rPr sz="1182" b="1" spc="-73" dirty="0">
                <a:latin typeface="Helvetica" pitchFamily="2" charset="0"/>
                <a:cs typeface="Arial"/>
              </a:rPr>
              <a:t> </a:t>
            </a:r>
            <a:r>
              <a:rPr sz="1182" b="1" spc="-24" dirty="0">
                <a:latin typeface="Helvetica" pitchFamily="2" charset="0"/>
                <a:cs typeface="Arial"/>
              </a:rPr>
              <a:t>a</a:t>
            </a:r>
            <a:r>
              <a:rPr sz="1182" b="1" spc="-73" dirty="0">
                <a:latin typeface="Helvetica" pitchFamily="2" charset="0"/>
                <a:cs typeface="Arial"/>
              </a:rPr>
              <a:t> </a:t>
            </a:r>
            <a:r>
              <a:rPr sz="1182" b="1" spc="-69" dirty="0">
                <a:latin typeface="Helvetica" pitchFamily="2" charset="0"/>
                <a:cs typeface="Arial"/>
              </a:rPr>
              <a:t>business</a:t>
            </a:r>
            <a:r>
              <a:rPr sz="1182" b="1" spc="-73" dirty="0">
                <a:latin typeface="Helvetica" pitchFamily="2" charset="0"/>
                <a:cs typeface="Arial"/>
              </a:rPr>
              <a:t> </a:t>
            </a:r>
            <a:r>
              <a:rPr sz="1182" b="1" spc="-12" dirty="0">
                <a:latin typeface="Helvetica" pitchFamily="2" charset="0"/>
                <a:cs typeface="Arial"/>
              </a:rPr>
              <a:t>workshop</a:t>
            </a:r>
            <a:r>
              <a:rPr lang="en-GB" sz="1182" b="1" spc="-12" dirty="0">
                <a:latin typeface="Helvetica" pitchFamily="2" charset="0"/>
                <a:cs typeface="Arial"/>
              </a:rPr>
              <a:t> – Warsaw 2024</a:t>
            </a:r>
            <a:endParaRPr sz="1182" b="1" dirty="0">
              <a:latin typeface="Helvetica" pitchFamily="2" charset="0"/>
              <a:cs typeface="Arial"/>
            </a:endParaRPr>
          </a:p>
        </p:txBody>
      </p:sp>
      <p:sp>
        <p:nvSpPr>
          <p:cNvPr id="11" name="object 6">
            <a:extLst>
              <a:ext uri="{FF2B5EF4-FFF2-40B4-BE49-F238E27FC236}">
                <a16:creationId xmlns:a16="http://schemas.microsoft.com/office/drawing/2014/main" id="{FE28D094-FDA5-8D3A-F06D-13E2827A3995}"/>
              </a:ext>
            </a:extLst>
          </p:cNvPr>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rgbClr val="0B5B75"/>
                </a:solidFill>
                <a:latin typeface="Helvetica"/>
                <a:cs typeface="Helvetica"/>
              </a:rPr>
              <a:t>Department for Business and Trade</a:t>
            </a:r>
            <a:endParaRPr sz="1577" dirty="0">
              <a:latin typeface="Helvetica"/>
              <a:cs typeface="Helvetic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F4A65-D9EF-F413-DC64-FE825AF0C261}"/>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E530EEC-730C-02A2-90BF-7DE0BE97C44C}"/>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B4D18959-4DC7-778A-C0B0-0D491FECAF56}"/>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C596305C-5CF4-375D-9252-D93F453EBE7C}"/>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AACDBE5A-47C7-2928-FAB2-25B07E1219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1D5BB88F-3A14-A0FB-1FCA-E27BAB2068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45F40C28-F308-4EEC-634A-2CD82C3E339B}"/>
              </a:ext>
            </a:extLst>
          </p:cNvPr>
          <p:cNvSpPr txBox="1"/>
          <p:nvPr/>
        </p:nvSpPr>
        <p:spPr>
          <a:xfrm>
            <a:off x="740149" y="2404144"/>
            <a:ext cx="10960238" cy="2123658"/>
          </a:xfrm>
          <a:prstGeom prst="rect">
            <a:avLst/>
          </a:prstGeom>
          <a:noFill/>
        </p:spPr>
        <p:txBody>
          <a:bodyPr wrap="square" lIns="0" rtlCol="0">
            <a:spAutoFit/>
          </a:bodyPr>
          <a:lstStyle/>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mp;A landscape in the UK and key legal issues to consider when doing deals </a:t>
            </a:r>
          </a:p>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 the UK</a:t>
            </a:r>
            <a:endPar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06BBEA4-D67C-D0AA-216E-6B82A0DA862A}"/>
              </a:ext>
            </a:extLst>
          </p:cNvPr>
          <p:cNvSpPr txBox="1"/>
          <p:nvPr/>
        </p:nvSpPr>
        <p:spPr>
          <a:xfrm>
            <a:off x="740148" y="4808456"/>
            <a:ext cx="10251440" cy="1569660"/>
          </a:xfrm>
          <a:prstGeom prst="rect">
            <a:avLst/>
          </a:prstGeom>
          <a:noFill/>
        </p:spPr>
        <p:txBody>
          <a:bodyPr wrap="square" lIns="0" numCol="1" rtlCol="0">
            <a:spAutoFit/>
          </a:bodyPr>
          <a:lstStyle/>
          <a:p>
            <a:pPr algn="l"/>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Eva Talmacsi</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a:t>
            </a:r>
            <a:b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32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UK</a:t>
            </a:r>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9043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noRot="1" noMove="1" noResize="1" noEditPoints="1" noAdjustHandles="1" noChangeArrowheads="1" noChangeShapeType="1"/>
          </p:cNvSpPr>
          <p:nvPr/>
        </p:nvSpPr>
        <p:spPr>
          <a:xfrm>
            <a:off x="468943" y="589157"/>
            <a:ext cx="3007114" cy="191630"/>
          </a:xfrm>
          <a:prstGeom prst="rect">
            <a:avLst/>
          </a:prstGeom>
        </p:spPr>
        <p:txBody>
          <a:bodyPr vert="horz" wrap="square" lIns="0" tIns="9627" rIns="0" bIns="0" rtlCol="0">
            <a:spAutoFit/>
          </a:bodyPr>
          <a:lstStyle/>
          <a:p>
            <a:pPr marL="7701">
              <a:spcBef>
                <a:spcPts val="76"/>
              </a:spcBef>
            </a:pPr>
            <a:r>
              <a:rPr sz="1182" b="1" spc="-58" dirty="0">
                <a:solidFill>
                  <a:srgbClr val="FFFFFF"/>
                </a:solidFill>
                <a:latin typeface="Helvetica" pitchFamily="2" charset="0"/>
                <a:cs typeface="Arial"/>
              </a:rPr>
              <a:t>Buy</a:t>
            </a:r>
            <a:r>
              <a:rPr sz="1182" b="1" spc="-73" dirty="0">
                <a:solidFill>
                  <a:srgbClr val="FFFFFF"/>
                </a:solidFill>
                <a:latin typeface="Helvetica" pitchFamily="2" charset="0"/>
                <a:cs typeface="Arial"/>
              </a:rPr>
              <a:t> </a:t>
            </a:r>
            <a:r>
              <a:rPr sz="1182" b="1" spc="-24" dirty="0">
                <a:solidFill>
                  <a:srgbClr val="FFFFFF"/>
                </a:solidFill>
                <a:latin typeface="Helvetica" pitchFamily="2" charset="0"/>
                <a:cs typeface="Arial"/>
              </a:rPr>
              <a:t>a</a:t>
            </a:r>
            <a:r>
              <a:rPr sz="1182" b="1" spc="-73" dirty="0">
                <a:solidFill>
                  <a:srgbClr val="FFFFFF"/>
                </a:solidFill>
                <a:latin typeface="Helvetica" pitchFamily="2" charset="0"/>
                <a:cs typeface="Arial"/>
              </a:rPr>
              <a:t> </a:t>
            </a:r>
            <a:r>
              <a:rPr sz="1182" b="1" spc="-69" dirty="0">
                <a:solidFill>
                  <a:srgbClr val="FFFFFF"/>
                </a:solidFill>
                <a:latin typeface="Helvetica" pitchFamily="2" charset="0"/>
                <a:cs typeface="Arial"/>
              </a:rPr>
              <a:t>business</a:t>
            </a:r>
            <a:r>
              <a:rPr sz="1182" b="1" spc="-73" dirty="0">
                <a:solidFill>
                  <a:srgbClr val="FFFFFF"/>
                </a:solidFill>
                <a:latin typeface="Helvetica" pitchFamily="2" charset="0"/>
                <a:cs typeface="Arial"/>
              </a:rPr>
              <a:t> </a:t>
            </a:r>
            <a:r>
              <a:rPr sz="1182" b="1" spc="-12" dirty="0">
                <a:solidFill>
                  <a:srgbClr val="FFFFFF"/>
                </a:solidFill>
                <a:latin typeface="Helvetica" pitchFamily="2" charset="0"/>
                <a:cs typeface="Arial"/>
              </a:rPr>
              <a:t>workshop</a:t>
            </a:r>
            <a:r>
              <a:rPr lang="en-GB" sz="1182" b="1" spc="-12" dirty="0">
                <a:solidFill>
                  <a:srgbClr val="FFFFFF"/>
                </a:solidFill>
                <a:latin typeface="Helvetica" pitchFamily="2" charset="0"/>
                <a:cs typeface="Arial"/>
              </a:rPr>
              <a:t> – Warsaw 2024</a:t>
            </a:r>
            <a:endParaRPr sz="1182" b="1" dirty="0">
              <a:latin typeface="Helvetica" pitchFamily="2" charset="0"/>
              <a:cs typeface="Arial"/>
            </a:endParaRPr>
          </a:p>
        </p:txBody>
      </p:sp>
      <p:sp>
        <p:nvSpPr>
          <p:cNvPr id="3" name="object 3"/>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chemeClr val="bg1"/>
                </a:solidFill>
                <a:latin typeface="Helvetica"/>
                <a:cs typeface="Helvetica"/>
              </a:rPr>
              <a:t>Department for Business and Trade</a:t>
            </a:r>
            <a:endParaRPr lang="en-GB" sz="1577" dirty="0">
              <a:solidFill>
                <a:schemeClr val="bg1"/>
              </a:solidFill>
              <a:latin typeface="Helvetica"/>
              <a:cs typeface="Helvetica"/>
            </a:endParaRPr>
          </a:p>
        </p:txBody>
      </p:sp>
      <p:sp>
        <p:nvSpPr>
          <p:cNvPr id="4" name="object 4"/>
          <p:cNvSpPr txBox="1"/>
          <p:nvPr/>
        </p:nvSpPr>
        <p:spPr>
          <a:xfrm>
            <a:off x="6664381" y="473542"/>
            <a:ext cx="5109009" cy="6032193"/>
          </a:xfrm>
          <a:prstGeom prst="rect">
            <a:avLst/>
          </a:prstGeom>
        </p:spPr>
        <p:txBody>
          <a:bodyPr vert="horz" wrap="square" lIns="0" tIns="98962" rIns="0" bIns="0" rtlCol="0">
            <a:spAutoFit/>
          </a:bodyPr>
          <a:lstStyle/>
          <a:p>
            <a:pPr marL="7701" marR="1375064">
              <a:lnSpc>
                <a:spcPts val="3602"/>
              </a:lnSpc>
              <a:spcBef>
                <a:spcPts val="779"/>
              </a:spcBef>
            </a:pPr>
            <a:r>
              <a:rPr lang="en-GB" sz="3578" b="1" spc="-30" dirty="0">
                <a:solidFill>
                  <a:srgbClr val="0B5B75"/>
                </a:solidFill>
                <a:latin typeface="Helvetica"/>
                <a:cs typeface="Helvetica"/>
              </a:rPr>
              <a:t>Additional</a:t>
            </a:r>
          </a:p>
          <a:p>
            <a:pPr marL="7701" marR="1375064">
              <a:lnSpc>
                <a:spcPts val="3602"/>
              </a:lnSpc>
              <a:spcBef>
                <a:spcPts val="779"/>
              </a:spcBef>
            </a:pPr>
            <a:r>
              <a:rPr lang="en-GB" sz="3578" b="1" spc="-30" dirty="0">
                <a:solidFill>
                  <a:srgbClr val="00CCFF"/>
                </a:solidFill>
                <a:latin typeface="Helvetica"/>
                <a:cs typeface="Helvetica"/>
              </a:rPr>
              <a:t>Questions</a:t>
            </a:r>
            <a:endParaRPr sz="3578" dirty="0">
              <a:solidFill>
                <a:srgbClr val="00CCFF"/>
              </a:solidFill>
              <a:latin typeface="Helvetica"/>
              <a:cs typeface="Helvetica"/>
            </a:endParaRPr>
          </a:p>
          <a:p>
            <a:pPr marL="215636" marR="3081" indent="-207935">
              <a:spcBef>
                <a:spcPts val="2313"/>
              </a:spcBef>
              <a:buClr>
                <a:srgbClr val="00CCFF"/>
              </a:buClr>
              <a:buFont typeface="Helvetica" pitchFamily="2" charset="0"/>
              <a:buChar char="‣"/>
            </a:pPr>
            <a:r>
              <a:rPr lang="en-GB" sz="1182" dirty="0">
                <a:latin typeface="Helvetica"/>
                <a:cs typeface="Helvetica"/>
              </a:rPr>
              <a:t>Details of any relatives or personal connections of the shareholders or directors transacting or providing services to, or customer of the business?</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Does the owner also own competing businesses, customers, or suppliers?</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Is the company, or are the directors subject to ongoing litigation?</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Is there a lease on the building, and if so, does it allow for a sublet? Is there a dilapidation clause in the lease?</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Does the business require any specific licence to operate?</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When does the current lease end? Is there an option of renewal or break clause?</a:t>
            </a:r>
          </a:p>
          <a:p>
            <a:pPr marL="215636" marR="3081" indent="-207935">
              <a:spcBef>
                <a:spcPts val="2313"/>
              </a:spcBef>
              <a:buClr>
                <a:srgbClr val="00CCFF"/>
              </a:buClr>
              <a:buFont typeface="Helvetica" pitchFamily="2" charset="0"/>
              <a:buChar char="‣"/>
            </a:pPr>
            <a:r>
              <a:rPr lang="en-GB" sz="1182" dirty="0">
                <a:solidFill>
                  <a:srgbClr val="231F20"/>
                </a:solidFill>
                <a:latin typeface="Helvetica"/>
                <a:cs typeface="Helvetica"/>
              </a:rPr>
              <a:t>Does the business hold any stock? If so, is there any aging inventory over 90 days? If so, how much of the stock is older than 90 days?</a:t>
            </a:r>
          </a:p>
          <a:p>
            <a:pPr marL="215636" marR="3081" indent="-207935">
              <a:spcBef>
                <a:spcPts val="2313"/>
              </a:spcBef>
              <a:buClr>
                <a:srgbClr val="00CCFF"/>
              </a:buClr>
              <a:buFont typeface="Helvetica" pitchFamily="2" charset="0"/>
              <a:buChar char="‣"/>
            </a:pPr>
            <a:endParaRPr lang="en-GB" sz="1182" dirty="0">
              <a:solidFill>
                <a:srgbClr val="231F20"/>
              </a:solidFill>
              <a:latin typeface="Helvetica"/>
              <a:cs typeface="Helvetica"/>
            </a:endParaRPr>
          </a:p>
        </p:txBody>
      </p:sp>
      <p:sp>
        <p:nvSpPr>
          <p:cNvPr id="5" name="object 5"/>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701">
              <a:spcBef>
                <a:spcPts val="82"/>
              </a:spcBef>
            </a:pPr>
            <a:r>
              <a:rPr spc="-15" dirty="0"/>
              <a:t>0</a:t>
            </a:r>
            <a:r>
              <a:rPr lang="en-GB" spc="-15" dirty="0"/>
              <a:t>4</a:t>
            </a:r>
            <a:endParaRPr spc="-15" dirty="0"/>
          </a:p>
        </p:txBody>
      </p:sp>
    </p:spTree>
    <p:extLst>
      <p:ext uri="{BB962C8B-B14F-4D97-AF65-F5344CB8AC3E}">
        <p14:creationId xmlns:p14="http://schemas.microsoft.com/office/powerpoint/2010/main" val="399663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a:spLocks noGrp="1" noRot="1" noMove="1" noResize="1" noEditPoints="1" noAdjustHandles="1" noChangeArrowheads="1" noChangeShapeType="1"/>
          </p:cNvSpPr>
          <p:nvPr/>
        </p:nvSpPr>
        <p:spPr>
          <a:xfrm>
            <a:off x="5996132" y="0"/>
            <a:ext cx="6195689" cy="6857615"/>
          </a:xfrm>
          <a:custGeom>
            <a:avLst/>
            <a:gdLst/>
            <a:ahLst/>
            <a:cxnLst/>
            <a:rect l="l" t="t" r="r" b="b"/>
            <a:pathLst>
              <a:path w="10217150" h="11308715">
                <a:moveTo>
                  <a:pt x="10216736" y="0"/>
                </a:moveTo>
                <a:lnTo>
                  <a:pt x="4731887" y="0"/>
                </a:lnTo>
                <a:lnTo>
                  <a:pt x="0" y="5874166"/>
                </a:lnTo>
                <a:lnTo>
                  <a:pt x="3902792" y="11308556"/>
                </a:lnTo>
                <a:lnTo>
                  <a:pt x="10216736" y="11308556"/>
                </a:lnTo>
                <a:lnTo>
                  <a:pt x="10216736" y="0"/>
                </a:lnTo>
                <a:close/>
              </a:path>
            </a:pathLst>
          </a:custGeom>
          <a:solidFill>
            <a:srgbClr val="00CCFF"/>
          </a:solidFill>
        </p:spPr>
        <p:txBody>
          <a:bodyPr wrap="square" lIns="0" tIns="0" rIns="0" bIns="0" rtlCol="0"/>
          <a:lstStyle/>
          <a:p>
            <a:endParaRPr sz="1092"/>
          </a:p>
        </p:txBody>
      </p:sp>
      <p:sp>
        <p:nvSpPr>
          <p:cNvPr id="5" name="object 5"/>
          <p:cNvSpPr txBox="1"/>
          <p:nvPr/>
        </p:nvSpPr>
        <p:spPr>
          <a:xfrm>
            <a:off x="468943" y="1501609"/>
            <a:ext cx="4884740" cy="5201005"/>
          </a:xfrm>
          <a:prstGeom prst="rect">
            <a:avLst/>
          </a:prstGeom>
        </p:spPr>
        <p:txBody>
          <a:bodyPr vert="horz" wrap="square" lIns="0" tIns="98962" rIns="0" bIns="0" rtlCol="0">
            <a:spAutoFit/>
          </a:bodyPr>
          <a:lstStyle/>
          <a:p>
            <a:pPr marL="7701" marR="1282263">
              <a:lnSpc>
                <a:spcPts val="3602"/>
              </a:lnSpc>
              <a:spcBef>
                <a:spcPts val="779"/>
              </a:spcBef>
            </a:pPr>
            <a:r>
              <a:rPr lang="en-GB" sz="3578" b="1" spc="-6" dirty="0">
                <a:solidFill>
                  <a:srgbClr val="0B5B75"/>
                </a:solidFill>
                <a:latin typeface="Helvetica"/>
                <a:cs typeface="Helvetica"/>
              </a:rPr>
              <a:t>Additional</a:t>
            </a:r>
          </a:p>
          <a:p>
            <a:pPr marL="7701" marR="1282263">
              <a:lnSpc>
                <a:spcPts val="3602"/>
              </a:lnSpc>
              <a:spcBef>
                <a:spcPts val="779"/>
              </a:spcBef>
            </a:pPr>
            <a:r>
              <a:rPr lang="en-GB" sz="3578" b="1" spc="-6" dirty="0">
                <a:solidFill>
                  <a:srgbClr val="00CCFF"/>
                </a:solidFill>
                <a:latin typeface="Helvetica"/>
                <a:cs typeface="Helvetica"/>
              </a:rPr>
              <a:t>Questions</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Can the business support more sales? If so, at what point would you have to recruit additional members of staff to handle the growth?</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Have you got up to date management accounts, and accounts from the last 3 years? Including a present balance sheet and profit and loss.</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What debt is to be settled on completion, and what debt is to be taken over by the buyer?</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Will the change of ownership impact lending, clients, or staff in anyway? Are there any change of ownership clauses in existing contracts?</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Is there any debt in the target? Does the business require invoice discounting? If so, what level, and with whom?</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Is the target in administration? If so, is there an IP involved?</a:t>
            </a:r>
          </a:p>
          <a:p>
            <a:pPr marL="215636" indent="-207935">
              <a:spcBef>
                <a:spcPts val="1455"/>
              </a:spcBef>
              <a:buClr>
                <a:srgbClr val="00CCFF"/>
              </a:buClr>
              <a:buFont typeface="Helvetica" pitchFamily="2" charset="0"/>
              <a:buChar char="‣"/>
            </a:pPr>
            <a:r>
              <a:rPr lang="en-GB" sz="1182" dirty="0">
                <a:solidFill>
                  <a:srgbClr val="231F20"/>
                </a:solidFill>
                <a:latin typeface="Helvetica"/>
                <a:cs typeface="Helvetica"/>
              </a:rPr>
              <a:t>Are there any CCJs, mortgages, security or personal guarantees against the target?</a:t>
            </a:r>
            <a:endParaRPr lang="en-GB" sz="1182" dirty="0">
              <a:latin typeface="Helvetica"/>
              <a:cs typeface="Helvetica"/>
            </a:endParaRPr>
          </a:p>
        </p:txBody>
      </p:sp>
      <p:sp>
        <p:nvSpPr>
          <p:cNvPr id="6" name="object 6"/>
          <p:cNvSpPr txBox="1">
            <a:spLocks noGrp="1" noRot="1" noMove="1" noResize="1" noEditPoints="1" noAdjustHandles="1" noChangeArrowheads="1" noChangeShapeType="1"/>
          </p:cNvSpPr>
          <p:nvPr>
            <p:ph type="title"/>
          </p:nvPr>
        </p:nvSpPr>
        <p:spPr>
          <a:prstGeom prst="rect">
            <a:avLst/>
          </a:prstGeom>
        </p:spPr>
        <p:txBody>
          <a:bodyPr vert="horz" wrap="square" lIns="0" tIns="10397" rIns="0" bIns="0" rtlCol="0">
            <a:spAutoFit/>
          </a:bodyPr>
          <a:lstStyle/>
          <a:p>
            <a:pPr marL="7316">
              <a:spcBef>
                <a:spcPts val="82"/>
              </a:spcBef>
            </a:pPr>
            <a:r>
              <a:rPr spc="-15" dirty="0">
                <a:solidFill>
                  <a:srgbClr val="FFFFFF"/>
                </a:solidFill>
              </a:rPr>
              <a:t>0</a:t>
            </a:r>
            <a:r>
              <a:rPr lang="en-GB" spc="-15" dirty="0">
                <a:solidFill>
                  <a:srgbClr val="FFFFFF"/>
                </a:solidFill>
              </a:rPr>
              <a:t>5</a:t>
            </a:r>
            <a:endParaRPr spc="-15" dirty="0">
              <a:solidFill>
                <a:srgbClr val="FFFFFF"/>
              </a:solidFill>
            </a:endParaRPr>
          </a:p>
        </p:txBody>
      </p:sp>
      <p:pic>
        <p:nvPicPr>
          <p:cNvPr id="7" name="object 7"/>
          <p:cNvPicPr>
            <a:picLocks noGrp="1" noRot="1" noMove="1" noResize="1" noEditPoints="1" noAdjustHandles="1" noChangeArrowheads="1" noChangeShapeType="1" noCrop="1"/>
          </p:cNvPicPr>
          <p:nvPr/>
        </p:nvPicPr>
        <p:blipFill>
          <a:blip r:embed="rId2" cstate="print"/>
          <a:stretch>
            <a:fillRect/>
          </a:stretch>
        </p:blipFill>
        <p:spPr>
          <a:xfrm>
            <a:off x="10483542" y="6095572"/>
            <a:ext cx="1230802" cy="335119"/>
          </a:xfrm>
          <a:prstGeom prst="rect">
            <a:avLst/>
          </a:prstGeom>
        </p:spPr>
      </p:pic>
      <p:sp>
        <p:nvSpPr>
          <p:cNvPr id="10" name="object 5">
            <a:extLst>
              <a:ext uri="{FF2B5EF4-FFF2-40B4-BE49-F238E27FC236}">
                <a16:creationId xmlns:a16="http://schemas.microsoft.com/office/drawing/2014/main" id="{2DECDEA2-88B8-000A-B5E6-17652BE032A1}"/>
              </a:ext>
            </a:extLst>
          </p:cNvPr>
          <p:cNvSpPr txBox="1">
            <a:spLocks/>
          </p:cNvSpPr>
          <p:nvPr/>
        </p:nvSpPr>
        <p:spPr>
          <a:xfrm>
            <a:off x="468943" y="589157"/>
            <a:ext cx="3181777" cy="191630"/>
          </a:xfrm>
          <a:prstGeom prst="rect">
            <a:avLst/>
          </a:prstGeom>
        </p:spPr>
        <p:txBody>
          <a:bodyPr vert="horz" wrap="square" lIns="0" tIns="9627" rIns="0" bIns="0" rtlCol="0">
            <a:spAutoFit/>
          </a:bodyPr>
          <a:lstStyle/>
          <a:p>
            <a:pPr marL="7701">
              <a:spcBef>
                <a:spcPts val="76"/>
              </a:spcBef>
            </a:pPr>
            <a:r>
              <a:rPr sz="1182" b="1" spc="-58" dirty="0">
                <a:latin typeface="Helvetica" pitchFamily="2" charset="0"/>
                <a:cs typeface="Arial"/>
              </a:rPr>
              <a:t>Buy</a:t>
            </a:r>
            <a:r>
              <a:rPr sz="1182" b="1" spc="-73" dirty="0">
                <a:latin typeface="Helvetica" pitchFamily="2" charset="0"/>
                <a:cs typeface="Arial"/>
              </a:rPr>
              <a:t> </a:t>
            </a:r>
            <a:r>
              <a:rPr sz="1182" b="1" spc="-24" dirty="0">
                <a:latin typeface="Helvetica" pitchFamily="2" charset="0"/>
                <a:cs typeface="Arial"/>
              </a:rPr>
              <a:t>a</a:t>
            </a:r>
            <a:r>
              <a:rPr sz="1182" b="1" spc="-73" dirty="0">
                <a:latin typeface="Helvetica" pitchFamily="2" charset="0"/>
                <a:cs typeface="Arial"/>
              </a:rPr>
              <a:t> </a:t>
            </a:r>
            <a:r>
              <a:rPr sz="1182" b="1" spc="-69" dirty="0">
                <a:latin typeface="Helvetica" pitchFamily="2" charset="0"/>
                <a:cs typeface="Arial"/>
              </a:rPr>
              <a:t>business</a:t>
            </a:r>
            <a:r>
              <a:rPr sz="1182" b="1" spc="-73" dirty="0">
                <a:latin typeface="Helvetica" pitchFamily="2" charset="0"/>
                <a:cs typeface="Arial"/>
              </a:rPr>
              <a:t> </a:t>
            </a:r>
            <a:r>
              <a:rPr sz="1182" b="1" spc="-12" dirty="0">
                <a:latin typeface="Helvetica" pitchFamily="2" charset="0"/>
                <a:cs typeface="Arial"/>
              </a:rPr>
              <a:t>workshop</a:t>
            </a:r>
            <a:r>
              <a:rPr lang="en-GB" sz="1182" b="1" spc="-12" dirty="0">
                <a:latin typeface="Helvetica" pitchFamily="2" charset="0"/>
                <a:cs typeface="Arial"/>
              </a:rPr>
              <a:t> – Warsaw 2024</a:t>
            </a:r>
            <a:endParaRPr sz="1182" b="1" dirty="0">
              <a:latin typeface="Helvetica" pitchFamily="2" charset="0"/>
              <a:cs typeface="Arial"/>
            </a:endParaRPr>
          </a:p>
        </p:txBody>
      </p:sp>
      <p:sp>
        <p:nvSpPr>
          <p:cNvPr id="11" name="object 6">
            <a:extLst>
              <a:ext uri="{FF2B5EF4-FFF2-40B4-BE49-F238E27FC236}">
                <a16:creationId xmlns:a16="http://schemas.microsoft.com/office/drawing/2014/main" id="{FE28D094-FDA5-8D3A-F06D-13E2827A3995}"/>
              </a:ext>
            </a:extLst>
          </p:cNvPr>
          <p:cNvSpPr txBox="1"/>
          <p:nvPr/>
        </p:nvSpPr>
        <p:spPr>
          <a:xfrm>
            <a:off x="468943" y="893936"/>
            <a:ext cx="2774390" cy="489661"/>
          </a:xfrm>
          <a:prstGeom prst="rect">
            <a:avLst/>
          </a:prstGeom>
        </p:spPr>
        <p:txBody>
          <a:bodyPr vert="horz" wrap="square" lIns="0" tIns="27725" rIns="0" bIns="0" rtlCol="0">
            <a:spAutoFit/>
          </a:bodyPr>
          <a:lstStyle/>
          <a:p>
            <a:pPr marL="7701" marR="3081">
              <a:lnSpc>
                <a:spcPts val="1801"/>
              </a:lnSpc>
              <a:spcBef>
                <a:spcPts val="218"/>
              </a:spcBef>
            </a:pPr>
            <a:r>
              <a:rPr lang="en-GB" sz="1577" b="1" dirty="0">
                <a:solidFill>
                  <a:srgbClr val="0B5B75"/>
                </a:solidFill>
                <a:latin typeface="Helvetica"/>
                <a:cs typeface="Helvetica"/>
              </a:rPr>
              <a:t>Department for Business and Trade</a:t>
            </a:r>
            <a:endParaRPr sz="1577" dirty="0">
              <a:latin typeface="Helvetica"/>
              <a:cs typeface="Helvetica"/>
            </a:endParaRPr>
          </a:p>
        </p:txBody>
      </p:sp>
    </p:spTree>
    <p:extLst>
      <p:ext uri="{BB962C8B-B14F-4D97-AF65-F5344CB8AC3E}">
        <p14:creationId xmlns:p14="http://schemas.microsoft.com/office/powerpoint/2010/main" val="484823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B5A75"/>
        </a:solidFill>
        <a:effectLst/>
      </p:bgPr>
    </p:bg>
    <p:spTree>
      <p:nvGrpSpPr>
        <p:cNvPr id="1" name=""/>
        <p:cNvGrpSpPr/>
        <p:nvPr/>
      </p:nvGrpSpPr>
      <p:grpSpPr>
        <a:xfrm>
          <a:off x="0" y="0"/>
          <a:ext cx="0" cy="0"/>
          <a:chOff x="0" y="0"/>
          <a:chExt cx="0" cy="0"/>
        </a:xfrm>
      </p:grpSpPr>
      <p:pic>
        <p:nvPicPr>
          <p:cNvPr id="3" name="object 3"/>
          <p:cNvPicPr>
            <a:picLocks noGrp="1" noRot="1" noMove="1" noResize="1" noEditPoints="1" noAdjustHandles="1" noChangeArrowheads="1" noChangeShapeType="1" noCrop="1"/>
          </p:cNvPicPr>
          <p:nvPr/>
        </p:nvPicPr>
        <p:blipFill>
          <a:blip r:embed="rId2" cstate="print"/>
          <a:stretch>
            <a:fillRect/>
          </a:stretch>
        </p:blipFill>
        <p:spPr>
          <a:xfrm>
            <a:off x="6096000" y="476204"/>
            <a:ext cx="5619355" cy="5905098"/>
          </a:xfrm>
          <a:prstGeom prst="rect">
            <a:avLst/>
          </a:prstGeom>
        </p:spPr>
      </p:pic>
      <p:sp>
        <p:nvSpPr>
          <p:cNvPr id="4" name="object 4"/>
          <p:cNvSpPr>
            <a:spLocks noGrp="1" noRot="1" noMove="1" noResize="1" noEditPoints="1" noAdjustHandles="1" noChangeArrowheads="1" noChangeShapeType="1"/>
          </p:cNvSpPr>
          <p:nvPr/>
        </p:nvSpPr>
        <p:spPr>
          <a:xfrm>
            <a:off x="476644" y="476216"/>
            <a:ext cx="5619632" cy="5905350"/>
          </a:xfrm>
          <a:custGeom>
            <a:avLst/>
            <a:gdLst/>
            <a:ahLst/>
            <a:cxnLst/>
            <a:rect l="l" t="t" r="r" b="b"/>
            <a:pathLst>
              <a:path w="9267190" h="9738360">
                <a:moveTo>
                  <a:pt x="9266733" y="0"/>
                </a:moveTo>
                <a:lnTo>
                  <a:pt x="0" y="0"/>
                </a:lnTo>
                <a:lnTo>
                  <a:pt x="0" y="9737923"/>
                </a:lnTo>
                <a:lnTo>
                  <a:pt x="9266733" y="9737923"/>
                </a:lnTo>
                <a:lnTo>
                  <a:pt x="9266733" y="0"/>
                </a:lnTo>
                <a:close/>
              </a:path>
            </a:pathLst>
          </a:custGeom>
          <a:solidFill>
            <a:srgbClr val="0B5A75"/>
          </a:solidFill>
        </p:spPr>
        <p:txBody>
          <a:bodyPr wrap="square" lIns="0" tIns="0" rIns="0" bIns="0" rtlCol="0"/>
          <a:lstStyle/>
          <a:p>
            <a:endParaRPr sz="1092" dirty="0"/>
          </a:p>
        </p:txBody>
      </p:sp>
      <p:pic>
        <p:nvPicPr>
          <p:cNvPr id="6" name="object 6"/>
          <p:cNvPicPr>
            <a:picLocks noGrp="1" noRot="1" noMove="1" noResize="1" noEditPoints="1" noAdjustHandles="1" noChangeArrowheads="1" noChangeShapeType="1" noCrop="1"/>
          </p:cNvPicPr>
          <p:nvPr/>
        </p:nvPicPr>
        <p:blipFill>
          <a:blip r:embed="rId3" cstate="print"/>
          <a:stretch>
            <a:fillRect/>
          </a:stretch>
        </p:blipFill>
        <p:spPr>
          <a:xfrm>
            <a:off x="10159715" y="5809842"/>
            <a:ext cx="1230797" cy="335117"/>
          </a:xfrm>
          <a:prstGeom prst="rect">
            <a:avLst/>
          </a:prstGeom>
        </p:spPr>
      </p:pic>
      <p:sp>
        <p:nvSpPr>
          <p:cNvPr id="2" name="object 15">
            <a:extLst>
              <a:ext uri="{FF2B5EF4-FFF2-40B4-BE49-F238E27FC236}">
                <a16:creationId xmlns:a16="http://schemas.microsoft.com/office/drawing/2014/main" id="{DD0D4955-0CA5-D3DB-383A-864DFB05CBBB}"/>
              </a:ext>
            </a:extLst>
          </p:cNvPr>
          <p:cNvSpPr txBox="1"/>
          <p:nvPr/>
        </p:nvSpPr>
        <p:spPr>
          <a:xfrm>
            <a:off x="1030777" y="2872980"/>
            <a:ext cx="2938717" cy="1112086"/>
          </a:xfrm>
          <a:prstGeom prst="rect">
            <a:avLst/>
          </a:prstGeom>
        </p:spPr>
        <p:txBody>
          <a:bodyPr vert="horz" wrap="square" lIns="0" tIns="10782" rIns="0" bIns="0" rtlCol="0">
            <a:spAutoFit/>
          </a:bodyPr>
          <a:lstStyle/>
          <a:p>
            <a:pPr marL="7701">
              <a:spcBef>
                <a:spcPts val="85"/>
              </a:spcBef>
            </a:pPr>
            <a:r>
              <a:rPr lang="en-GB" sz="3578" b="1" spc="-36" dirty="0">
                <a:solidFill>
                  <a:srgbClr val="FFFFFF"/>
                </a:solidFill>
                <a:latin typeface="Helvetica" pitchFamily="2" charset="0"/>
                <a:cs typeface="Arial"/>
              </a:rPr>
              <a:t>Any </a:t>
            </a:r>
            <a:r>
              <a:rPr lang="en-GB" sz="3578" b="1" spc="-36" dirty="0">
                <a:solidFill>
                  <a:srgbClr val="00CCFF"/>
                </a:solidFill>
                <a:latin typeface="Helvetica" pitchFamily="2" charset="0"/>
                <a:cs typeface="Arial"/>
              </a:rPr>
              <a:t>questions?</a:t>
            </a:r>
            <a:endParaRPr sz="3578" b="1" dirty="0">
              <a:solidFill>
                <a:srgbClr val="00CCFF"/>
              </a:solidFill>
              <a:latin typeface="Helvetica" pitchFamily="2" charset="0"/>
              <a:cs typeface="Aria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a:spLocks noGrp="1" noRot="1" noMove="1" noResize="1" noEditPoints="1" noAdjustHandles="1" noChangeArrowheads="1" noChangeShapeType="1"/>
          </p:cNvSpPr>
          <p:nvPr/>
        </p:nvSpPr>
        <p:spPr>
          <a:xfrm>
            <a:off x="428" y="0"/>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CCFF"/>
          </a:solidFill>
        </p:spPr>
        <p:txBody>
          <a:bodyPr wrap="square" lIns="0" tIns="0" rIns="0" bIns="0" rtlCol="0"/>
          <a:lstStyle/>
          <a:p>
            <a:endParaRPr sz="1092"/>
          </a:p>
        </p:txBody>
      </p:sp>
      <p:sp>
        <p:nvSpPr>
          <p:cNvPr id="4" name="object 4"/>
          <p:cNvSpPr>
            <a:spLocks noGrp="1" noRot="1" noMove="1" noResize="1" noEditPoints="1" noAdjustHandles="1" noChangeArrowheads="1" noChangeShapeType="1"/>
          </p:cNvSpPr>
          <p:nvPr/>
        </p:nvSpPr>
        <p:spPr>
          <a:xfrm>
            <a:off x="428" y="0"/>
            <a:ext cx="7814885" cy="6857615"/>
          </a:xfrm>
          <a:custGeom>
            <a:avLst/>
            <a:gdLst/>
            <a:ahLst/>
            <a:cxnLst/>
            <a:rect l="l" t="t" r="r" b="b"/>
            <a:pathLst>
              <a:path w="12887325" h="11308715">
                <a:moveTo>
                  <a:pt x="8154924" y="0"/>
                </a:moveTo>
                <a:lnTo>
                  <a:pt x="0" y="0"/>
                </a:lnTo>
                <a:lnTo>
                  <a:pt x="0" y="11308556"/>
                </a:lnTo>
                <a:lnTo>
                  <a:pt x="8984019" y="11308556"/>
                </a:lnTo>
                <a:lnTo>
                  <a:pt x="12886811" y="5874166"/>
                </a:lnTo>
                <a:lnTo>
                  <a:pt x="8154924" y="0"/>
                </a:lnTo>
                <a:close/>
              </a:path>
            </a:pathLst>
          </a:custGeom>
          <a:solidFill>
            <a:srgbClr val="0B5B75"/>
          </a:solidFill>
        </p:spPr>
        <p:txBody>
          <a:bodyPr wrap="square" lIns="0" tIns="0" rIns="0" bIns="0" rtlCol="0"/>
          <a:lstStyle/>
          <a:p>
            <a:endParaRPr sz="1092" dirty="0"/>
          </a:p>
        </p:txBody>
      </p:sp>
      <p:pic>
        <p:nvPicPr>
          <p:cNvPr id="13" name="object 13"/>
          <p:cNvPicPr>
            <a:picLocks noGrp="1" noRot="1" noMove="1" noResize="1" noEditPoints="1" noAdjustHandles="1" noChangeArrowheads="1" noChangeShapeType="1" noCrop="1"/>
          </p:cNvPicPr>
          <p:nvPr/>
        </p:nvPicPr>
        <p:blipFill>
          <a:blip r:embed="rId2" cstate="print"/>
          <a:stretch>
            <a:fillRect/>
          </a:stretch>
        </p:blipFill>
        <p:spPr>
          <a:xfrm>
            <a:off x="10483542" y="6038426"/>
            <a:ext cx="1230802" cy="335119"/>
          </a:xfrm>
          <a:prstGeom prst="rect">
            <a:avLst/>
          </a:prstGeom>
        </p:spPr>
      </p:pic>
      <p:sp>
        <p:nvSpPr>
          <p:cNvPr id="15" name="object 15"/>
          <p:cNvSpPr txBox="1">
            <a:spLocks noGrp="1" noRot="1" noMove="1" noResize="1" noEditPoints="1" noAdjustHandles="1" noChangeArrowheads="1" noChangeShapeType="1"/>
          </p:cNvSpPr>
          <p:nvPr/>
        </p:nvSpPr>
        <p:spPr>
          <a:xfrm>
            <a:off x="8775627" y="3217897"/>
            <a:ext cx="2938717" cy="561487"/>
          </a:xfrm>
          <a:prstGeom prst="rect">
            <a:avLst/>
          </a:prstGeom>
        </p:spPr>
        <p:txBody>
          <a:bodyPr vert="horz" wrap="square" lIns="0" tIns="10782" rIns="0" bIns="0" rtlCol="0">
            <a:spAutoFit/>
          </a:bodyPr>
          <a:lstStyle/>
          <a:p>
            <a:pPr marL="7701">
              <a:spcBef>
                <a:spcPts val="85"/>
              </a:spcBef>
            </a:pPr>
            <a:r>
              <a:rPr lang="en-GB" sz="3578" b="1" spc="-36" dirty="0">
                <a:solidFill>
                  <a:srgbClr val="FFFFFF"/>
                </a:solidFill>
                <a:latin typeface="Helvetica" pitchFamily="2" charset="0"/>
                <a:cs typeface="Arial"/>
              </a:rPr>
              <a:t>Thank you </a:t>
            </a:r>
            <a:endParaRPr sz="3578" b="1" dirty="0">
              <a:latin typeface="Helvetica" pitchFamily="2" charset="0"/>
              <a:cs typeface="Arial"/>
            </a:endParaRPr>
          </a:p>
        </p:txBody>
      </p:sp>
      <p:pic>
        <p:nvPicPr>
          <p:cNvPr id="16" name="Picture 15">
            <a:extLst>
              <a:ext uri="{FF2B5EF4-FFF2-40B4-BE49-F238E27FC236}">
                <a16:creationId xmlns:a16="http://schemas.microsoft.com/office/drawing/2014/main" id="{FC7B4937-3BB0-940A-C7FB-187F4DC42133}"/>
              </a:ext>
            </a:extLst>
          </p:cNvPr>
          <p:cNvPicPr>
            <a:picLocks noGrp="1" noRot="1" noChangeAspect="1" noMove="1" noResize="1" noEditPoints="1" noAdjustHandles="1" noChangeArrowheads="1" noChangeShapeType="1" noCrop="1"/>
          </p:cNvPicPr>
          <p:nvPr/>
        </p:nvPicPr>
        <p:blipFill>
          <a:blip r:embed="rId3"/>
          <a:stretch>
            <a:fillRect/>
          </a:stretch>
        </p:blipFill>
        <p:spPr>
          <a:xfrm>
            <a:off x="503114" y="5926919"/>
            <a:ext cx="1665603" cy="449751"/>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A1EA-B149-CB68-0725-A656F4081AAC}"/>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CDDEEAAF-3420-FAFC-CDDD-95F364941041}"/>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62ACD03A-BC71-5879-4855-B7DFFA2140AA}"/>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79CAD49B-4542-75F7-A185-B9A546BC807E}"/>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A white text on a black background&#10;&#10;Description automatically generated">
            <a:extLst>
              <a:ext uri="{FF2B5EF4-FFF2-40B4-BE49-F238E27FC236}">
                <a16:creationId xmlns:a16="http://schemas.microsoft.com/office/drawing/2014/main" id="{7865363B-E135-95BB-7AEA-D1D430E20E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9F579F51-1417-773A-ED6E-A6A5E64CD1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ED99898E-77C7-775A-F75B-77F0C4009A05}"/>
              </a:ext>
            </a:extLst>
          </p:cNvPr>
          <p:cNvSpPr txBox="1"/>
          <p:nvPr/>
        </p:nvSpPr>
        <p:spPr>
          <a:xfrm>
            <a:off x="740149" y="2265244"/>
            <a:ext cx="10960238" cy="212365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inancing international expansion with Polish International Development Fund</a:t>
            </a:r>
            <a:endParaRPr kumimoji="0" lang="pl-PL"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7A99E98-A478-A3F0-FF86-3249B767A010}"/>
              </a:ext>
            </a:extLst>
          </p:cNvPr>
          <p:cNvSpPr txBox="1"/>
          <p:nvPr/>
        </p:nvSpPr>
        <p:spPr>
          <a:xfrm>
            <a:off x="740148" y="4669556"/>
            <a:ext cx="10251440" cy="1569660"/>
          </a:xfrm>
          <a:prstGeom prst="rect">
            <a:avLst/>
          </a:prstGeom>
          <a:noFill/>
        </p:spPr>
        <p:txBody>
          <a:bodyPr wrap="square" lIns="0"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iotr </a:t>
            </a:r>
            <a:r>
              <a:rPr kumimoji="0" lang="en-GB" sz="3200" b="0"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uba</a:t>
            </a:r>
            <a:br>
              <a:rPr lang="en-GB"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IO</a:t>
            </a:r>
            <a:b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olish International Development Fund</a:t>
            </a:r>
          </a:p>
        </p:txBody>
      </p:sp>
    </p:spTree>
    <p:extLst>
      <p:ext uri="{BB962C8B-B14F-4D97-AF65-F5344CB8AC3E}">
        <p14:creationId xmlns:p14="http://schemas.microsoft.com/office/powerpoint/2010/main" val="825685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ymbol zastępczy obrazu 4">
            <a:extLst>
              <a:ext uri="{FF2B5EF4-FFF2-40B4-BE49-F238E27FC236}">
                <a16:creationId xmlns:a16="http://schemas.microsoft.com/office/drawing/2014/main" id="{8752AA55-83B6-6E43-825B-D001D2F43FD3}"/>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32" name="Opacity"/>
          <p:cNvSpPr/>
          <p:nvPr/>
        </p:nvSpPr>
        <p:spPr>
          <a:xfrm>
            <a:off x="317500" y="310515"/>
            <a:ext cx="11557000" cy="6219825"/>
          </a:xfrm>
          <a:prstGeom prst="rect">
            <a:avLst/>
          </a:prstGeom>
          <a:gradFill>
            <a:gsLst>
              <a:gs pos="0">
                <a:srgbClr val="0C7492"/>
              </a:gs>
              <a:gs pos="100000">
                <a:srgbClr val="0C7492">
                  <a:alpha val="41000"/>
                </a:srgbClr>
              </a:gs>
            </a:gsLst>
            <a:lin ang="3600000" scaled="0"/>
          </a:gradFill>
          <a:ln w="12700">
            <a:miter lim="400000"/>
          </a:ln>
        </p:spPr>
        <p:txBody>
          <a:bodyPr lIns="25400" tIns="25400" rIns="25400" bIns="25400" anchor="ctr"/>
          <a:lstStyle/>
          <a:p>
            <a:pPr>
              <a:defRPr sz="3200" b="0">
                <a:solidFill>
                  <a:srgbClr val="FFFFFF"/>
                </a:solidFill>
                <a:latin typeface="Helvetica Light"/>
                <a:ea typeface="Helvetica Light"/>
                <a:cs typeface="Helvetica Light"/>
                <a:sym typeface="Helvetica Light"/>
              </a:defRPr>
            </a:pPr>
            <a:endParaRPr sz="1600" dirty="0">
              <a:latin typeface="+mj-lt"/>
            </a:endParaRPr>
          </a:p>
        </p:txBody>
      </p:sp>
      <p:sp>
        <p:nvSpPr>
          <p:cNvPr id="7" name="Be.Pro…">
            <a:extLst>
              <a:ext uri="{FF2B5EF4-FFF2-40B4-BE49-F238E27FC236}">
                <a16:creationId xmlns:a16="http://schemas.microsoft.com/office/drawing/2014/main" id="{E8A0E4E0-0632-6E42-9F56-ECAB80490F9A}"/>
              </a:ext>
            </a:extLst>
          </p:cNvPr>
          <p:cNvSpPr txBox="1"/>
          <p:nvPr/>
        </p:nvSpPr>
        <p:spPr>
          <a:xfrm>
            <a:off x="1182359" y="3624067"/>
            <a:ext cx="8381519" cy="9746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t">
            <a:spAutoFit/>
          </a:bodyPr>
          <a:lstStyle/>
          <a:p>
            <a:pPr algn="l">
              <a:defRPr sz="6000" b="0">
                <a:solidFill>
                  <a:srgbClr val="FFFFFF"/>
                </a:solidFill>
                <a:latin typeface="Roboto Black"/>
                <a:ea typeface="Roboto Black"/>
                <a:cs typeface="Roboto Black"/>
                <a:sym typeface="Roboto Black"/>
              </a:defRPr>
            </a:pPr>
            <a:r>
              <a:rPr lang="en-GB" sz="3000" dirty="0">
                <a:effectLst>
                  <a:outerShdw blurRad="50800" dist="38100" dir="2700000" algn="tl" rotWithShape="0">
                    <a:prstClr val="black">
                      <a:alpha val="40000"/>
                    </a:prstClr>
                  </a:outerShdw>
                </a:effectLst>
                <a:latin typeface="Novel Pro" pitchFamily="2" charset="0"/>
              </a:rPr>
              <a:t>Polish International Development Fund</a:t>
            </a:r>
          </a:p>
          <a:p>
            <a:pPr algn="l">
              <a:defRPr sz="6000" b="0">
                <a:solidFill>
                  <a:srgbClr val="FFFFFF"/>
                </a:solidFill>
                <a:latin typeface="Roboto Black"/>
                <a:ea typeface="Roboto Black"/>
                <a:cs typeface="Roboto Black"/>
                <a:sym typeface="Roboto Black"/>
              </a:defRPr>
            </a:pPr>
            <a:endParaRPr lang="en-GB" sz="3000" dirty="0">
              <a:effectLst>
                <a:outerShdw blurRad="50800" dist="38100" dir="2700000" algn="tl" rotWithShape="0">
                  <a:prstClr val="black">
                    <a:alpha val="40000"/>
                  </a:prstClr>
                </a:outerShdw>
              </a:effectLst>
              <a:latin typeface="Novel Pro" pitchFamily="2" charset="0"/>
            </a:endParaRPr>
          </a:p>
        </p:txBody>
      </p:sp>
      <p:sp>
        <p:nvSpPr>
          <p:cNvPr id="8" name="Line">
            <a:extLst>
              <a:ext uri="{FF2B5EF4-FFF2-40B4-BE49-F238E27FC236}">
                <a16:creationId xmlns:a16="http://schemas.microsoft.com/office/drawing/2014/main" id="{7773A3E0-487E-694C-AA50-623756ED16DC}"/>
              </a:ext>
            </a:extLst>
          </p:cNvPr>
          <p:cNvSpPr/>
          <p:nvPr/>
        </p:nvSpPr>
        <p:spPr>
          <a:xfrm>
            <a:off x="1182359" y="5066449"/>
            <a:ext cx="286064" cy="0"/>
          </a:xfrm>
          <a:prstGeom prst="line">
            <a:avLst/>
          </a:prstGeom>
          <a:ln w="25400">
            <a:solidFill>
              <a:srgbClr val="F7F9FF"/>
            </a:solidFill>
            <a:miter lim="400000"/>
          </a:ln>
        </p:spPr>
        <p:txBody>
          <a:bodyPr lIns="25400" tIns="25400" rIns="25400" bIns="25400" anchor="ctr"/>
          <a:lstStyle/>
          <a:p>
            <a:pPr>
              <a:defRPr sz="3200" b="0">
                <a:latin typeface="Helvetica Light"/>
                <a:ea typeface="Helvetica Light"/>
                <a:cs typeface="Helvetica Light"/>
                <a:sym typeface="Helvetica Light"/>
              </a:defRPr>
            </a:pPr>
            <a:endParaRPr sz="1600" dirty="0">
              <a:latin typeface="+mj-lt"/>
            </a:endParaRPr>
          </a:p>
        </p:txBody>
      </p:sp>
      <p:pic>
        <p:nvPicPr>
          <p:cNvPr id="9" name="Grafika 8">
            <a:extLst>
              <a:ext uri="{FF2B5EF4-FFF2-40B4-BE49-F238E27FC236}">
                <a16:creationId xmlns:a16="http://schemas.microsoft.com/office/drawing/2014/main" id="{BC23D564-9950-BD45-A192-011EB4A57FA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3942" y="1828378"/>
            <a:ext cx="5292336" cy="1829693"/>
          </a:xfrm>
          <a:prstGeom prst="rect">
            <a:avLst/>
          </a:prstGeom>
          <a:effectLst>
            <a:outerShdw blurRad="88900" dist="127000" dir="2700000" algn="tl" rotWithShape="0">
              <a:prstClr val="black">
                <a:alpha val="20000"/>
              </a:prstClr>
            </a:outerShdw>
          </a:effectLst>
        </p:spPr>
      </p:pic>
      <p:sp>
        <p:nvSpPr>
          <p:cNvPr id="10" name="Be.Pro…">
            <a:extLst>
              <a:ext uri="{FF2B5EF4-FFF2-40B4-BE49-F238E27FC236}">
                <a16:creationId xmlns:a16="http://schemas.microsoft.com/office/drawing/2014/main" id="{C6D04FDC-8995-C34F-AD40-966AF77742DF}"/>
              </a:ext>
            </a:extLst>
          </p:cNvPr>
          <p:cNvSpPr txBox="1"/>
          <p:nvPr/>
        </p:nvSpPr>
        <p:spPr>
          <a:xfrm>
            <a:off x="1182359" y="4288130"/>
            <a:ext cx="8915798" cy="4559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b">
            <a:spAutoFit/>
          </a:bodyPr>
          <a:lstStyle/>
          <a:p>
            <a:pPr algn="l">
              <a:lnSpc>
                <a:spcPct val="150000"/>
              </a:lnSpc>
              <a:defRPr sz="3300" b="0">
                <a:solidFill>
                  <a:srgbClr val="FFFFFF"/>
                </a:solidFill>
                <a:latin typeface="Roboto"/>
                <a:ea typeface="Roboto"/>
                <a:cs typeface="Roboto"/>
                <a:sym typeface="Roboto"/>
              </a:defRPr>
            </a:pPr>
            <a:r>
              <a:rPr lang="pl-PL" sz="2000" dirty="0">
                <a:effectLst>
                  <a:outerShdw blurRad="50800" dist="38100" dir="2700000" algn="tl" rotWithShape="0">
                    <a:prstClr val="black">
                      <a:alpha val="40000"/>
                    </a:prstClr>
                  </a:outerShdw>
                </a:effectLst>
                <a:latin typeface="Novel Pro XLight" pitchFamily="2" charset="0"/>
              </a:rPr>
              <a:t>P</a:t>
            </a:r>
            <a:r>
              <a:rPr lang="en-US" sz="2000" dirty="0" err="1">
                <a:effectLst>
                  <a:outerShdw blurRad="50800" dist="38100" dir="2700000" algn="tl" rotWithShape="0">
                    <a:prstClr val="black">
                      <a:alpha val="40000"/>
                    </a:prstClr>
                  </a:outerShdw>
                </a:effectLst>
                <a:latin typeface="Novel Pro XLight" pitchFamily="2" charset="0"/>
              </a:rPr>
              <a:t>rovid</a:t>
            </a:r>
            <a:r>
              <a:rPr lang="pl-PL" sz="2000" dirty="0" err="1">
                <a:effectLst>
                  <a:outerShdw blurRad="50800" dist="38100" dir="2700000" algn="tl" rotWithShape="0">
                    <a:prstClr val="black">
                      <a:alpha val="40000"/>
                    </a:prstClr>
                  </a:outerShdw>
                </a:effectLst>
                <a:latin typeface="Novel Pro XLight" pitchFamily="2" charset="0"/>
              </a:rPr>
              <a:t>ing</a:t>
            </a:r>
            <a:r>
              <a:rPr lang="en-US" sz="2000" dirty="0">
                <a:effectLst>
                  <a:outerShdw blurRad="50800" dist="38100" dir="2700000" algn="tl" rotWithShape="0">
                    <a:prstClr val="black">
                      <a:alpha val="40000"/>
                    </a:prstClr>
                  </a:outerShdw>
                </a:effectLst>
                <a:latin typeface="Novel Pro XLight" pitchFamily="2" charset="0"/>
              </a:rPr>
              <a:t> co-financing for foreign investments </a:t>
            </a:r>
            <a:r>
              <a:rPr lang="pl-PL" sz="2000" dirty="0">
                <a:effectLst>
                  <a:outerShdw blurRad="50800" dist="38100" dir="2700000" algn="tl" rotWithShape="0">
                    <a:prstClr val="black">
                      <a:alpha val="40000"/>
                    </a:prstClr>
                  </a:outerShdw>
                </a:effectLst>
                <a:latin typeface="Novel Pro XLight" pitchFamily="2" charset="0"/>
              </a:rPr>
              <a:t>from</a:t>
            </a:r>
            <a:r>
              <a:rPr lang="en-US" sz="2000" dirty="0">
                <a:effectLst>
                  <a:outerShdw blurRad="50800" dist="38100" dir="2700000" algn="tl" rotWithShape="0">
                    <a:prstClr val="black">
                      <a:alpha val="40000"/>
                    </a:prstClr>
                  </a:outerShdw>
                </a:effectLst>
                <a:latin typeface="Novel Pro XLight" pitchFamily="2" charset="0"/>
              </a:rPr>
              <a:t> Polish companies </a:t>
            </a:r>
          </a:p>
        </p:txBody>
      </p:sp>
      <p:sp>
        <p:nvSpPr>
          <p:cNvPr id="4" name="Be.Pro…">
            <a:extLst>
              <a:ext uri="{FF2B5EF4-FFF2-40B4-BE49-F238E27FC236}">
                <a16:creationId xmlns:a16="http://schemas.microsoft.com/office/drawing/2014/main" id="{C56EE075-A8F0-CBE9-254F-16EA35796DB8}"/>
              </a:ext>
            </a:extLst>
          </p:cNvPr>
          <p:cNvSpPr txBox="1"/>
          <p:nvPr/>
        </p:nvSpPr>
        <p:spPr>
          <a:xfrm>
            <a:off x="1182359" y="5534564"/>
            <a:ext cx="6286139" cy="28129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19050" tIns="19050" rIns="19050" bIns="19050" anchor="b">
            <a:spAutoFit/>
          </a:bodyPr>
          <a:lstStyle/>
          <a:p>
            <a:pPr algn="l">
              <a:lnSpc>
                <a:spcPct val="150000"/>
              </a:lnSpc>
              <a:defRPr sz="3300" b="0">
                <a:solidFill>
                  <a:srgbClr val="FFFFFF"/>
                </a:solidFill>
                <a:latin typeface="Roboto"/>
                <a:ea typeface="Roboto"/>
                <a:cs typeface="Roboto"/>
                <a:sym typeface="Roboto"/>
              </a:defRPr>
            </a:pPr>
            <a:r>
              <a:rPr lang="en-GB" sz="1200" dirty="0">
                <a:solidFill>
                  <a:schemeClr val="bg1"/>
                </a:solidFill>
                <a:latin typeface="Novel Pro XLight" pitchFamily="2" charset="0"/>
              </a:rPr>
              <a:t>Warsaw, </a:t>
            </a:r>
            <a:r>
              <a:rPr lang="pl-PL" sz="1200" dirty="0" err="1">
                <a:solidFill>
                  <a:schemeClr val="bg1"/>
                </a:solidFill>
                <a:latin typeface="Novel Pro XLight" pitchFamily="2" charset="0"/>
              </a:rPr>
              <a:t>April</a:t>
            </a:r>
            <a:r>
              <a:rPr lang="en-GB" sz="1200" dirty="0">
                <a:solidFill>
                  <a:schemeClr val="bg1"/>
                </a:solidFill>
                <a:latin typeface="Novel Pro XLight" pitchFamily="2" charset="0"/>
              </a:rPr>
              <a:t> 202</a:t>
            </a:r>
            <a:r>
              <a:rPr lang="pl-PL" sz="1200" dirty="0">
                <a:solidFill>
                  <a:schemeClr val="bg1"/>
                </a:solidFill>
                <a:latin typeface="Novel Pro XLight" pitchFamily="2" charset="0"/>
              </a:rPr>
              <a:t>4</a:t>
            </a:r>
            <a:endParaRPr lang="en-GB" sz="1200" dirty="0">
              <a:solidFill>
                <a:schemeClr val="bg1"/>
              </a:solidFill>
              <a:latin typeface="Novel Pro XLight" pitchFamily="2" charset="0"/>
            </a:endParaRPr>
          </a:p>
        </p:txBody>
      </p:sp>
    </p:spTree>
    <p:extLst>
      <p:ext uri="{BB962C8B-B14F-4D97-AF65-F5344CB8AC3E}">
        <p14:creationId xmlns:p14="http://schemas.microsoft.com/office/powerpoint/2010/main" val="203141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 name="Slide Number"/>
          <p:cNvSpPr txBox="1">
            <a:spLocks noGrp="1"/>
          </p:cNvSpPr>
          <p:nvPr>
            <p:ph type="sldNum" sz="quarter" idx="2"/>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36</a:t>
            </a:fld>
            <a:endParaRPr/>
          </a:p>
        </p:txBody>
      </p:sp>
      <p:sp>
        <p:nvSpPr>
          <p:cNvPr id="34" name="Prostokąt 33">
            <a:extLst>
              <a:ext uri="{FF2B5EF4-FFF2-40B4-BE49-F238E27FC236}">
                <a16:creationId xmlns:a16="http://schemas.microsoft.com/office/drawing/2014/main" id="{17E10454-1602-404C-963D-F506126F7473}"/>
              </a:ext>
            </a:extLst>
          </p:cNvPr>
          <p:cNvSpPr/>
          <p:nvPr/>
        </p:nvSpPr>
        <p:spPr>
          <a:xfrm>
            <a:off x="6459417" y="3661427"/>
            <a:ext cx="5626566" cy="1315104"/>
          </a:xfrm>
          <a:prstGeom prst="rect">
            <a:avLst/>
          </a:prstGeom>
        </p:spPr>
        <p:txBody>
          <a:bodyPr wrap="square" lIns="45720" tIns="22860" rIns="45720" bIns="22860" anchor="ctr">
            <a:spAutoFit/>
          </a:bodyPr>
          <a:lstStyle/>
          <a:p>
            <a:pPr algn="l">
              <a:lnSpc>
                <a:spcPct val="120000"/>
              </a:lnSpc>
            </a:pPr>
            <a:r>
              <a:rPr lang="en-GB" sz="1400" dirty="0">
                <a:solidFill>
                  <a:schemeClr val="tx2"/>
                </a:solidFill>
                <a:latin typeface="Novel Pro Light"/>
                <a:ea typeface="Roboto"/>
                <a:cs typeface="Roboto"/>
              </a:rPr>
              <a:t>The first fund was launched in 2016 and has completed its investment period. The latter started in 2023. In total, both funds have already invested or committed to invest </a:t>
            </a:r>
            <a:r>
              <a:rPr lang="pl-PL" sz="1400" dirty="0" err="1">
                <a:solidFill>
                  <a:srgbClr val="C00000"/>
                </a:solidFill>
                <a:latin typeface="Novel Pro Light"/>
                <a:ea typeface="Roboto"/>
                <a:cs typeface="Roboto"/>
              </a:rPr>
              <a:t>more</a:t>
            </a:r>
            <a:r>
              <a:rPr lang="pl-PL" sz="1400" dirty="0">
                <a:solidFill>
                  <a:srgbClr val="C00000"/>
                </a:solidFill>
                <a:latin typeface="Novel Pro Light"/>
                <a:ea typeface="Roboto"/>
                <a:cs typeface="Roboto"/>
              </a:rPr>
              <a:t> </a:t>
            </a:r>
            <a:r>
              <a:rPr lang="pl-PL" sz="1400" dirty="0" err="1">
                <a:solidFill>
                  <a:srgbClr val="C00000"/>
                </a:solidFill>
                <a:latin typeface="Novel Pro Light"/>
                <a:ea typeface="Roboto"/>
                <a:cs typeface="Roboto"/>
              </a:rPr>
              <a:t>than</a:t>
            </a:r>
            <a:r>
              <a:rPr lang="pl-PL" sz="1400" dirty="0">
                <a:solidFill>
                  <a:srgbClr val="C00000"/>
                </a:solidFill>
                <a:latin typeface="Novel Pro Light"/>
                <a:ea typeface="Roboto"/>
                <a:cs typeface="Roboto"/>
              </a:rPr>
              <a:t> €</a:t>
            </a:r>
            <a:r>
              <a:rPr lang="en-GB" sz="1400" dirty="0">
                <a:solidFill>
                  <a:srgbClr val="C00000"/>
                </a:solidFill>
                <a:latin typeface="Novel Pro Light"/>
                <a:ea typeface="Roboto"/>
                <a:cs typeface="Roboto"/>
              </a:rPr>
              <a:t>200</a:t>
            </a:r>
            <a:r>
              <a:rPr lang="pl-PL" sz="1400" dirty="0">
                <a:solidFill>
                  <a:srgbClr val="C00000"/>
                </a:solidFill>
                <a:latin typeface="Novel Pro Light"/>
                <a:ea typeface="Roboto"/>
                <a:cs typeface="Roboto"/>
              </a:rPr>
              <a:t> </a:t>
            </a:r>
            <a:r>
              <a:rPr lang="pl-PL" sz="1400" dirty="0" err="1">
                <a:solidFill>
                  <a:srgbClr val="C00000"/>
                </a:solidFill>
                <a:latin typeface="Novel Pro Light"/>
                <a:ea typeface="Roboto"/>
                <a:cs typeface="Roboto"/>
              </a:rPr>
              <a:t>million</a:t>
            </a:r>
            <a:r>
              <a:rPr lang="en-GB" sz="1400" dirty="0">
                <a:solidFill>
                  <a:srgbClr val="C00000"/>
                </a:solidFill>
                <a:latin typeface="Novel Pro Light"/>
                <a:ea typeface="Roboto"/>
                <a:cs typeface="Roboto"/>
              </a:rPr>
              <a:t> </a:t>
            </a:r>
            <a:r>
              <a:rPr lang="en-GB" sz="1400" dirty="0">
                <a:solidFill>
                  <a:schemeClr val="tx2"/>
                </a:solidFill>
                <a:latin typeface="Novel Pro Light"/>
                <a:ea typeface="Roboto"/>
                <a:cs typeface="Roboto"/>
              </a:rPr>
              <a:t>in foreign projects conducted by Polish companies. To date, </a:t>
            </a:r>
            <a:br>
              <a:rPr lang="pl-PL" sz="1400" dirty="0">
                <a:solidFill>
                  <a:schemeClr val="tx2"/>
                </a:solidFill>
                <a:latin typeface="Novel Pro Light"/>
                <a:ea typeface="Roboto"/>
                <a:cs typeface="Roboto"/>
              </a:rPr>
            </a:br>
            <a:r>
              <a:rPr lang="pl-PL" sz="1400" dirty="0">
                <a:solidFill>
                  <a:schemeClr val="tx2"/>
                </a:solidFill>
                <a:latin typeface="Novel Pro Light"/>
                <a:ea typeface="Roboto"/>
                <a:cs typeface="Roboto"/>
              </a:rPr>
              <a:t>20</a:t>
            </a:r>
            <a:r>
              <a:rPr lang="en-GB" sz="1400" dirty="0">
                <a:solidFill>
                  <a:schemeClr val="tx2"/>
                </a:solidFill>
                <a:latin typeface="Novel Pro Light"/>
                <a:ea typeface="Roboto"/>
                <a:cs typeface="Roboto"/>
              </a:rPr>
              <a:t> investments have already been ma</a:t>
            </a:r>
            <a:r>
              <a:rPr lang="pl-PL" sz="1400" dirty="0">
                <a:solidFill>
                  <a:schemeClr val="tx2"/>
                </a:solidFill>
                <a:latin typeface="Novel Pro Light"/>
                <a:ea typeface="Roboto"/>
                <a:cs typeface="Roboto"/>
              </a:rPr>
              <a:t>de.</a:t>
            </a:r>
            <a:endParaRPr lang="en-GB" sz="1400" dirty="0">
              <a:solidFill>
                <a:schemeClr val="tx2"/>
              </a:solidFill>
              <a:latin typeface="Novel Pro Light"/>
              <a:ea typeface="Roboto"/>
              <a:cs typeface="Roboto"/>
            </a:endParaRPr>
          </a:p>
        </p:txBody>
      </p:sp>
      <p:sp>
        <p:nvSpPr>
          <p:cNvPr id="35" name="Prostokąt 34">
            <a:extLst>
              <a:ext uri="{FF2B5EF4-FFF2-40B4-BE49-F238E27FC236}">
                <a16:creationId xmlns:a16="http://schemas.microsoft.com/office/drawing/2014/main" id="{263ADA56-A396-E148-A22C-243C83790F1C}"/>
              </a:ext>
            </a:extLst>
          </p:cNvPr>
          <p:cNvSpPr/>
          <p:nvPr/>
        </p:nvSpPr>
        <p:spPr>
          <a:xfrm>
            <a:off x="6459417" y="5352346"/>
            <a:ext cx="5229226" cy="585673"/>
          </a:xfrm>
          <a:prstGeom prst="rect">
            <a:avLst/>
          </a:prstGeom>
        </p:spPr>
        <p:txBody>
          <a:bodyPr wrap="square" anchor="ctr">
            <a:spAutoFit/>
          </a:bodyPr>
          <a:lstStyle/>
          <a:p>
            <a:pPr algn="l">
              <a:lnSpc>
                <a:spcPct val="120000"/>
              </a:lnSpc>
            </a:pPr>
            <a:r>
              <a:rPr lang="en-GB" sz="1400" dirty="0">
                <a:solidFill>
                  <a:schemeClr val="tx2"/>
                </a:solidFill>
                <a:latin typeface="Novel Pro Light" pitchFamily="2" charset="0"/>
              </a:rPr>
              <a:t>Foreign direct investments </a:t>
            </a:r>
            <a:r>
              <a:rPr lang="pl-PL" sz="1400" dirty="0">
                <a:solidFill>
                  <a:schemeClr val="tx2"/>
                </a:solidFill>
                <a:latin typeface="Novel Pro Light" pitchFamily="2" charset="0"/>
              </a:rPr>
              <a:t>from</a:t>
            </a:r>
            <a:r>
              <a:rPr lang="en-GB" sz="1400" dirty="0">
                <a:solidFill>
                  <a:schemeClr val="tx2"/>
                </a:solidFill>
                <a:latin typeface="Novel Pro Light" pitchFamily="2" charset="0"/>
              </a:rPr>
              <a:t> Polish companies support development and help </a:t>
            </a:r>
            <a:r>
              <a:rPr lang="en-GB" sz="1400" dirty="0" err="1">
                <a:solidFill>
                  <a:schemeClr val="tx2"/>
                </a:solidFill>
                <a:latin typeface="Novel Pro Light" pitchFamily="2" charset="0"/>
              </a:rPr>
              <a:t>integrat</a:t>
            </a:r>
            <a:r>
              <a:rPr lang="pl-PL" sz="1400" dirty="0">
                <a:solidFill>
                  <a:schemeClr val="tx2"/>
                </a:solidFill>
                <a:latin typeface="Novel Pro Light" pitchFamily="2" charset="0"/>
              </a:rPr>
              <a:t>e</a:t>
            </a:r>
            <a:r>
              <a:rPr lang="en-GB" sz="1400" dirty="0">
                <a:solidFill>
                  <a:schemeClr val="tx2"/>
                </a:solidFill>
                <a:latin typeface="Novel Pro Light" pitchFamily="2" charset="0"/>
              </a:rPr>
              <a:t> best practices. </a:t>
            </a:r>
          </a:p>
        </p:txBody>
      </p:sp>
      <p:sp>
        <p:nvSpPr>
          <p:cNvPr id="36" name="Prostokąt 35">
            <a:extLst>
              <a:ext uri="{FF2B5EF4-FFF2-40B4-BE49-F238E27FC236}">
                <a16:creationId xmlns:a16="http://schemas.microsoft.com/office/drawing/2014/main" id="{68164C8A-2E00-4849-A00D-817659C2D727}"/>
              </a:ext>
            </a:extLst>
          </p:cNvPr>
          <p:cNvSpPr/>
          <p:nvPr/>
        </p:nvSpPr>
        <p:spPr>
          <a:xfrm>
            <a:off x="6459417" y="1975275"/>
            <a:ext cx="5229226" cy="1315104"/>
          </a:xfrm>
          <a:prstGeom prst="rect">
            <a:avLst/>
          </a:prstGeom>
        </p:spPr>
        <p:txBody>
          <a:bodyPr wrap="square" lIns="45720" tIns="22860" rIns="45720" bIns="22860" anchor="ctr">
            <a:spAutoFit/>
          </a:bodyPr>
          <a:lstStyle/>
          <a:p>
            <a:pPr algn="l">
              <a:lnSpc>
                <a:spcPct val="120000"/>
              </a:lnSpc>
            </a:pPr>
            <a:r>
              <a:rPr lang="en-GB" sz="1400" dirty="0">
                <a:solidFill>
                  <a:schemeClr val="tx2"/>
                </a:solidFill>
                <a:latin typeface="Novel Pro Light"/>
                <a:ea typeface="Roboto"/>
                <a:cs typeface="Roboto"/>
              </a:rPr>
              <a:t>PFR TFI manages </a:t>
            </a:r>
            <a:r>
              <a:rPr lang="pl-PL" sz="1400" dirty="0" err="1">
                <a:solidFill>
                  <a:schemeClr val="tx2"/>
                </a:solidFill>
                <a:latin typeface="Novel Pro Light"/>
                <a:ea typeface="Roboto"/>
                <a:cs typeface="Roboto"/>
              </a:rPr>
              <a:t>two</a:t>
            </a:r>
            <a:r>
              <a:rPr lang="en-GB" sz="1400" dirty="0">
                <a:solidFill>
                  <a:schemeClr val="tx2"/>
                </a:solidFill>
                <a:latin typeface="Novel Pro Light"/>
                <a:ea typeface="Roboto"/>
                <a:cs typeface="Roboto"/>
              </a:rPr>
              <a:t> specialized funds supporting international expansion -</a:t>
            </a:r>
            <a:r>
              <a:rPr lang="pl-PL" sz="1400" dirty="0">
                <a:solidFill>
                  <a:schemeClr val="tx2"/>
                </a:solidFill>
                <a:latin typeface="Novel Pro Light"/>
                <a:ea typeface="Roboto"/>
                <a:cs typeface="Roboto"/>
              </a:rPr>
              <a:t> the </a:t>
            </a:r>
            <a:r>
              <a:rPr lang="en-GB" sz="1400" dirty="0">
                <a:solidFill>
                  <a:schemeClr val="tx2"/>
                </a:solidFill>
                <a:latin typeface="Novel Pro Light"/>
                <a:ea typeface="Roboto"/>
                <a:cs typeface="Roboto"/>
              </a:rPr>
              <a:t>Polish International Development Fund CEF and </a:t>
            </a:r>
            <a:r>
              <a:rPr lang="pl-PL" sz="1400" dirty="0">
                <a:solidFill>
                  <a:schemeClr val="tx2"/>
                </a:solidFill>
                <a:latin typeface="Novel Pro Light"/>
                <a:ea typeface="Roboto"/>
                <a:cs typeface="Roboto"/>
              </a:rPr>
              <a:t>the </a:t>
            </a:r>
            <a:r>
              <a:rPr lang="en-GB" sz="1400" dirty="0">
                <a:solidFill>
                  <a:schemeClr val="tx2"/>
                </a:solidFill>
                <a:latin typeface="Novel Pro Light"/>
                <a:ea typeface="Roboto"/>
                <a:cs typeface="Roboto"/>
              </a:rPr>
              <a:t>Polish International Development Fund 2 CEF. The funds</a:t>
            </a:r>
            <a:r>
              <a:rPr lang="pl-PL" sz="1400" dirty="0">
                <a:solidFill>
                  <a:schemeClr val="tx2"/>
                </a:solidFill>
                <a:latin typeface="Novel Pro Light"/>
                <a:ea typeface="Roboto"/>
                <a:cs typeface="Roboto"/>
              </a:rPr>
              <a:t> </a:t>
            </a:r>
            <a:r>
              <a:rPr lang="en-GB" sz="1400" dirty="0">
                <a:solidFill>
                  <a:schemeClr val="tx2"/>
                </a:solidFill>
                <a:latin typeface="Novel Pro Light"/>
                <a:ea typeface="Roboto"/>
                <a:cs typeface="Roboto"/>
              </a:rPr>
              <a:t>co-finance international investments </a:t>
            </a:r>
            <a:r>
              <a:rPr lang="pl-PL" sz="1400" dirty="0">
                <a:solidFill>
                  <a:schemeClr val="tx2"/>
                </a:solidFill>
                <a:latin typeface="Novel Pro Light"/>
                <a:ea typeface="Roboto"/>
                <a:cs typeface="Roboto"/>
              </a:rPr>
              <a:t>from </a:t>
            </a:r>
            <a:r>
              <a:rPr lang="en-GB" sz="1400" dirty="0">
                <a:solidFill>
                  <a:schemeClr val="tx2"/>
                </a:solidFill>
                <a:latin typeface="Novel Pro Light"/>
                <a:ea typeface="Roboto"/>
                <a:cs typeface="Roboto"/>
              </a:rPr>
              <a:t>Polish companies by providing </a:t>
            </a:r>
            <a:r>
              <a:rPr lang="en-GB" sz="1400" dirty="0">
                <a:solidFill>
                  <a:srgbClr val="C00000"/>
                </a:solidFill>
                <a:latin typeface="Novel Pro Light"/>
                <a:ea typeface="Roboto"/>
                <a:cs typeface="Roboto"/>
              </a:rPr>
              <a:t>equity and debt </a:t>
            </a:r>
            <a:r>
              <a:rPr lang="en-GB" sz="1400" dirty="0">
                <a:solidFill>
                  <a:schemeClr val="tx2"/>
                </a:solidFill>
                <a:latin typeface="Novel Pro Light"/>
                <a:ea typeface="Roboto"/>
                <a:cs typeface="Roboto"/>
              </a:rPr>
              <a:t>funding.</a:t>
            </a:r>
          </a:p>
        </p:txBody>
      </p:sp>
      <p:grpSp>
        <p:nvGrpSpPr>
          <p:cNvPr id="6" name="Grupa 5">
            <a:extLst>
              <a:ext uri="{FF2B5EF4-FFF2-40B4-BE49-F238E27FC236}">
                <a16:creationId xmlns:a16="http://schemas.microsoft.com/office/drawing/2014/main" id="{1F916CF7-BABE-6047-9DAB-705EEEA3C40A}"/>
              </a:ext>
            </a:extLst>
          </p:cNvPr>
          <p:cNvGrpSpPr/>
          <p:nvPr/>
        </p:nvGrpSpPr>
        <p:grpSpPr>
          <a:xfrm>
            <a:off x="5608631" y="2296274"/>
            <a:ext cx="571501" cy="571501"/>
            <a:chOff x="11242665" y="6447028"/>
            <a:chExt cx="1143001" cy="1143001"/>
          </a:xfrm>
        </p:grpSpPr>
        <p:sp>
          <p:nvSpPr>
            <p:cNvPr id="19" name="Circle">
              <a:extLst>
                <a:ext uri="{FF2B5EF4-FFF2-40B4-BE49-F238E27FC236}">
                  <a16:creationId xmlns:a16="http://schemas.microsoft.com/office/drawing/2014/main" id="{6E860514-5189-D04F-AFAD-296DF3485CA1}"/>
                </a:ext>
              </a:extLst>
            </p:cNvPr>
            <p:cNvSpPr/>
            <p:nvPr/>
          </p:nvSpPr>
          <p:spPr>
            <a:xfrm>
              <a:off x="11242665" y="6447028"/>
              <a:ext cx="1143001" cy="11430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26" name="Grafika 25">
              <a:extLst>
                <a:ext uri="{FF2B5EF4-FFF2-40B4-BE49-F238E27FC236}">
                  <a16:creationId xmlns:a16="http://schemas.microsoft.com/office/drawing/2014/main" id="{5E1A44B6-5D0B-7D41-B19B-E3B3AC80B03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37912" y="6542278"/>
              <a:ext cx="952500" cy="952500"/>
            </a:xfrm>
            <a:prstGeom prst="rect">
              <a:avLst/>
            </a:prstGeom>
          </p:spPr>
        </p:pic>
      </p:grpSp>
      <p:grpSp>
        <p:nvGrpSpPr>
          <p:cNvPr id="7" name="Grupa 6">
            <a:extLst>
              <a:ext uri="{FF2B5EF4-FFF2-40B4-BE49-F238E27FC236}">
                <a16:creationId xmlns:a16="http://schemas.microsoft.com/office/drawing/2014/main" id="{5AD65E4E-B92E-A54A-8263-C41771A8390C}"/>
              </a:ext>
            </a:extLst>
          </p:cNvPr>
          <p:cNvGrpSpPr/>
          <p:nvPr/>
        </p:nvGrpSpPr>
        <p:grpSpPr>
          <a:xfrm>
            <a:off x="5608631" y="5359431"/>
            <a:ext cx="571501" cy="571501"/>
            <a:chOff x="11242662" y="8300779"/>
            <a:chExt cx="1143001" cy="1143001"/>
          </a:xfrm>
        </p:grpSpPr>
        <p:sp>
          <p:nvSpPr>
            <p:cNvPr id="22" name="Circle">
              <a:extLst>
                <a:ext uri="{FF2B5EF4-FFF2-40B4-BE49-F238E27FC236}">
                  <a16:creationId xmlns:a16="http://schemas.microsoft.com/office/drawing/2014/main" id="{181B96E6-1497-E54C-9399-3D8B76BC3FFD}"/>
                </a:ext>
              </a:extLst>
            </p:cNvPr>
            <p:cNvSpPr/>
            <p:nvPr/>
          </p:nvSpPr>
          <p:spPr>
            <a:xfrm>
              <a:off x="11242662" y="8300779"/>
              <a:ext cx="1143001" cy="11430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0" name="Grafika 29">
              <a:extLst>
                <a:ext uri="{FF2B5EF4-FFF2-40B4-BE49-F238E27FC236}">
                  <a16:creationId xmlns:a16="http://schemas.microsoft.com/office/drawing/2014/main" id="{2D119CC6-808F-D64F-A87F-56A1FDE734E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37379" y="8591314"/>
              <a:ext cx="557137" cy="557137"/>
            </a:xfrm>
            <a:prstGeom prst="rect">
              <a:avLst/>
            </a:prstGeom>
          </p:spPr>
        </p:pic>
      </p:grpSp>
      <p:grpSp>
        <p:nvGrpSpPr>
          <p:cNvPr id="8" name="Grupa 7">
            <a:extLst>
              <a:ext uri="{FF2B5EF4-FFF2-40B4-BE49-F238E27FC236}">
                <a16:creationId xmlns:a16="http://schemas.microsoft.com/office/drawing/2014/main" id="{C1ADE20D-66EB-E945-8B21-B735B4C92021}"/>
              </a:ext>
            </a:extLst>
          </p:cNvPr>
          <p:cNvGrpSpPr/>
          <p:nvPr/>
        </p:nvGrpSpPr>
        <p:grpSpPr>
          <a:xfrm>
            <a:off x="5608630" y="3999776"/>
            <a:ext cx="571501" cy="571501"/>
            <a:chOff x="11242663" y="9955697"/>
            <a:chExt cx="1143001" cy="1143001"/>
          </a:xfrm>
        </p:grpSpPr>
        <p:sp>
          <p:nvSpPr>
            <p:cNvPr id="23" name="Circle">
              <a:extLst>
                <a:ext uri="{FF2B5EF4-FFF2-40B4-BE49-F238E27FC236}">
                  <a16:creationId xmlns:a16="http://schemas.microsoft.com/office/drawing/2014/main" id="{8B1C3382-726F-DE4C-9FBF-B37DE0A04508}"/>
                </a:ext>
              </a:extLst>
            </p:cNvPr>
            <p:cNvSpPr/>
            <p:nvPr/>
          </p:nvSpPr>
          <p:spPr>
            <a:xfrm>
              <a:off x="11242663" y="9955697"/>
              <a:ext cx="1143001" cy="1143001"/>
            </a:xfrm>
            <a:prstGeom prst="ellipse">
              <a:avLst/>
            </a:prstGeom>
            <a:solidFill>
              <a:srgbClr val="66BFE6"/>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1" name="Grafika 30">
              <a:extLst>
                <a:ext uri="{FF2B5EF4-FFF2-40B4-BE49-F238E27FC236}">
                  <a16:creationId xmlns:a16="http://schemas.microsoft.com/office/drawing/2014/main" id="{D62D3351-8A54-344F-AB7E-72D62D3E1A4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409482" y="10031897"/>
              <a:ext cx="828000" cy="828000"/>
            </a:xfrm>
            <a:prstGeom prst="rect">
              <a:avLst/>
            </a:prstGeom>
          </p:spPr>
        </p:pic>
      </p:grpSp>
      <p:sp>
        <p:nvSpPr>
          <p:cNvPr id="21" name="Square">
            <a:extLst>
              <a:ext uri="{FF2B5EF4-FFF2-40B4-BE49-F238E27FC236}">
                <a16:creationId xmlns:a16="http://schemas.microsoft.com/office/drawing/2014/main" id="{90E232D3-AE90-B145-9252-EB16A8235ADF}"/>
              </a:ext>
            </a:extLst>
          </p:cNvPr>
          <p:cNvSpPr/>
          <p:nvPr/>
        </p:nvSpPr>
        <p:spPr>
          <a:xfrm>
            <a:off x="824640" y="0"/>
            <a:ext cx="189277" cy="189277"/>
          </a:xfrm>
          <a:prstGeom prst="rect">
            <a:avLst/>
          </a:prstGeom>
          <a:solidFill>
            <a:schemeClr val="bg1"/>
          </a:solidFill>
          <a:ln w="12700">
            <a:solidFill>
              <a:srgbClr val="FFFFFF"/>
            </a:solidFill>
            <a:miter lim="400000"/>
          </a:ln>
        </p:spPr>
        <p:txBody>
          <a:bodyPr lIns="25400" tIns="25400" rIns="25400" bIns="25400" anchor="ctr"/>
          <a:lstStyle/>
          <a:p>
            <a:pPr>
              <a:defRPr sz="3200" b="0">
                <a:solidFill>
                  <a:srgbClr val="FFFFFF"/>
                </a:solidFill>
                <a:latin typeface="Helvetica Light"/>
                <a:ea typeface="Helvetica Light"/>
                <a:cs typeface="Helvetica Light"/>
                <a:sym typeface="Helvetica Light"/>
              </a:defRPr>
            </a:pPr>
            <a:endParaRPr sz="1600">
              <a:latin typeface="+mj-lt"/>
            </a:endParaRPr>
          </a:p>
        </p:txBody>
      </p:sp>
      <p:pic>
        <p:nvPicPr>
          <p:cNvPr id="25" name="Grafika 24">
            <a:extLst>
              <a:ext uri="{FF2B5EF4-FFF2-40B4-BE49-F238E27FC236}">
                <a16:creationId xmlns:a16="http://schemas.microsoft.com/office/drawing/2014/main" id="{48E3ACE1-5B8E-B34A-A9F3-A1BBADE18B6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7060" y="97688"/>
            <a:ext cx="1584512" cy="547805"/>
          </a:xfrm>
          <a:prstGeom prst="rect">
            <a:avLst/>
          </a:prstGeom>
          <a:effectLst/>
        </p:spPr>
      </p:pic>
      <p:pic>
        <p:nvPicPr>
          <p:cNvPr id="4" name="Obraz 3" descr="Obraz zawierający niebo, chmura, budynek, na wolnym powietrzu&#10;&#10;Opis wygenerowany automatycznie">
            <a:extLst>
              <a:ext uri="{FF2B5EF4-FFF2-40B4-BE49-F238E27FC236}">
                <a16:creationId xmlns:a16="http://schemas.microsoft.com/office/drawing/2014/main" id="{3A81422F-18C9-C1C6-2557-8A1712112D0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7643" y="-5784"/>
            <a:ext cx="4821667" cy="6863784"/>
          </a:xfrm>
          <a:prstGeom prst="rect">
            <a:avLst/>
          </a:prstGeom>
        </p:spPr>
      </p:pic>
      <p:sp>
        <p:nvSpPr>
          <p:cNvPr id="3" name="Commerce…">
            <a:extLst>
              <a:ext uri="{FF2B5EF4-FFF2-40B4-BE49-F238E27FC236}">
                <a16:creationId xmlns:a16="http://schemas.microsoft.com/office/drawing/2014/main" id="{7CB9A75C-018D-0332-4CDF-7D35EE654CFC}"/>
              </a:ext>
            </a:extLst>
          </p:cNvPr>
          <p:cNvSpPr txBox="1"/>
          <p:nvPr/>
        </p:nvSpPr>
        <p:spPr>
          <a:xfrm>
            <a:off x="5608630" y="487670"/>
            <a:ext cx="6335720"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gn="l"/>
            <a:r>
              <a:rPr lang="pl" sz="2700" dirty="0">
                <a:solidFill>
                  <a:srgbClr val="53585F"/>
                </a:solidFill>
                <a:latin typeface="Novel Pro" pitchFamily="2" charset="0"/>
                <a:sym typeface="Roboto Black"/>
              </a:rPr>
              <a:t>Polish International Development Fund - PFR TFI </a:t>
            </a:r>
          </a:p>
        </p:txBody>
      </p:sp>
    </p:spTree>
    <p:extLst>
      <p:ext uri="{BB962C8B-B14F-4D97-AF65-F5344CB8AC3E}">
        <p14:creationId xmlns:p14="http://schemas.microsoft.com/office/powerpoint/2010/main" val="309380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000"/>
            <a:ext cx="6968677"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a:latin typeface="Novel Pro SemiBold" pitchFamily="2" charset="0"/>
              </a:rPr>
              <a:t>Investment </a:t>
            </a:r>
            <a:r>
              <a:rPr lang="pl-PL" sz="2700" b="1" dirty="0" err="1">
                <a:latin typeface="Novel Pro SemiBold" pitchFamily="2" charset="0"/>
              </a:rPr>
              <a:t>strategy</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40" name="Appropriately strategize granular…">
            <a:extLst>
              <a:ext uri="{FF2B5EF4-FFF2-40B4-BE49-F238E27FC236}">
                <a16:creationId xmlns:a16="http://schemas.microsoft.com/office/drawing/2014/main" id="{7D5FC521-8CAC-F244-81C1-D39FCB1E9B0D}"/>
              </a:ext>
            </a:extLst>
          </p:cNvPr>
          <p:cNvSpPr/>
          <p:nvPr/>
        </p:nvSpPr>
        <p:spPr>
          <a:xfrm>
            <a:off x="1589165" y="1687416"/>
            <a:ext cx="4500000" cy="6444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pl-PL" sz="1200" dirty="0">
                <a:solidFill>
                  <a:schemeClr val="tx2"/>
                </a:solidFill>
                <a:latin typeface="Novel Pro Light"/>
                <a:ea typeface="Roboto"/>
                <a:cs typeface="Roboto"/>
              </a:rPr>
              <a:t>The </a:t>
            </a:r>
            <a:r>
              <a:rPr lang="pl-PL" sz="1200" dirty="0" err="1">
                <a:solidFill>
                  <a:schemeClr val="tx2"/>
                </a:solidFill>
                <a:latin typeface="Novel Pro Light"/>
                <a:ea typeface="Roboto"/>
                <a:cs typeface="Roboto"/>
              </a:rPr>
              <a:t>Polish</a:t>
            </a:r>
            <a:r>
              <a:rPr lang="pl-PL" sz="1200" dirty="0">
                <a:solidFill>
                  <a:schemeClr val="tx2"/>
                </a:solidFill>
                <a:latin typeface="Novel Pro Light"/>
                <a:ea typeface="Roboto"/>
                <a:cs typeface="Roboto"/>
              </a:rPr>
              <a:t> International Development Fund 2 CEF </a:t>
            </a:r>
            <a:r>
              <a:rPr lang="en-US" sz="1200" dirty="0">
                <a:solidFill>
                  <a:schemeClr val="accent1"/>
                </a:solidFill>
                <a:latin typeface="Novel Pro" pitchFamily="2" charset="0"/>
                <a:ea typeface="Roboto Slab Light"/>
                <a:cs typeface="Roboto Slab Light"/>
              </a:rPr>
              <a:t>co-invests  with a Polish </a:t>
            </a:r>
            <a:r>
              <a:rPr lang="en-US" sz="1200" dirty="0" err="1">
                <a:solidFill>
                  <a:schemeClr val="accent1"/>
                </a:solidFill>
                <a:latin typeface="Novel Pro" pitchFamily="2" charset="0"/>
                <a:ea typeface="Roboto Slab Light"/>
                <a:cs typeface="Roboto Slab Light"/>
              </a:rPr>
              <a:t>compan</a:t>
            </a:r>
            <a:r>
              <a:rPr lang="pl-PL" sz="1200" dirty="0">
                <a:solidFill>
                  <a:schemeClr val="accent1"/>
                </a:solidFill>
                <a:latin typeface="Novel Pro" pitchFamily="2" charset="0"/>
                <a:ea typeface="Roboto Slab Light"/>
                <a:cs typeface="Roboto Slab Light"/>
              </a:rPr>
              <a:t>y</a:t>
            </a:r>
            <a:r>
              <a:rPr lang="en-US" sz="1200" dirty="0">
                <a:solidFill>
                  <a:schemeClr val="tx2"/>
                </a:solidFill>
                <a:latin typeface="Novel Pro Light"/>
                <a:ea typeface="Roboto"/>
                <a:cs typeface="Roboto"/>
              </a:rPr>
              <a:t> directly in</a:t>
            </a:r>
            <a:r>
              <a:rPr lang="pl-PL" sz="1200" dirty="0">
                <a:solidFill>
                  <a:schemeClr val="tx2"/>
                </a:solidFill>
                <a:latin typeface="Novel Pro Light"/>
                <a:ea typeface="Roboto"/>
                <a:cs typeface="Roboto"/>
              </a:rPr>
              <a:t>to </a:t>
            </a:r>
            <a:r>
              <a:rPr lang="en-US" sz="1200" dirty="0">
                <a:solidFill>
                  <a:schemeClr val="tx2"/>
                </a:solidFill>
                <a:latin typeface="Novel Pro Light"/>
                <a:ea typeface="Roboto"/>
                <a:cs typeface="Roboto"/>
              </a:rPr>
              <a:t> </a:t>
            </a:r>
            <a:r>
              <a:rPr lang="pl-PL" sz="1200" dirty="0">
                <a:solidFill>
                  <a:schemeClr val="tx2"/>
                </a:solidFill>
                <a:latin typeface="Novel Pro Light"/>
                <a:ea typeface="Roboto"/>
                <a:cs typeface="Roboto"/>
              </a:rPr>
              <a:t>a </a:t>
            </a:r>
            <a:r>
              <a:rPr lang="en-US" sz="1200" dirty="0">
                <a:solidFill>
                  <a:schemeClr val="tx2"/>
                </a:solidFill>
                <a:latin typeface="Novel Pro Light"/>
                <a:ea typeface="Roboto"/>
                <a:cs typeface="Roboto"/>
              </a:rPr>
              <a:t>foreign </a:t>
            </a:r>
            <a:r>
              <a:rPr lang="pl-PL" sz="1200" dirty="0" err="1">
                <a:solidFill>
                  <a:schemeClr val="tx2"/>
                </a:solidFill>
                <a:latin typeface="Novel Pro Light"/>
                <a:ea typeface="Roboto"/>
                <a:cs typeface="Roboto"/>
              </a:rPr>
              <a:t>subsidiary</a:t>
            </a:r>
            <a:r>
              <a:rPr lang="en-US" sz="1200" dirty="0">
                <a:solidFill>
                  <a:schemeClr val="tx2"/>
                </a:solidFill>
                <a:latin typeface="Novel Pro Light"/>
                <a:ea typeface="Roboto"/>
                <a:cs typeface="Roboto"/>
              </a:rPr>
              <a:t> and </a:t>
            </a:r>
            <a:r>
              <a:rPr lang="en-US" sz="1200" dirty="0">
                <a:solidFill>
                  <a:schemeClr val="accent1"/>
                </a:solidFill>
                <a:latin typeface="Novel Pro" pitchFamily="2" charset="0"/>
                <a:ea typeface="Roboto Slab Light"/>
                <a:cs typeface="Roboto Slab Light"/>
              </a:rPr>
              <a:t>shares the risk </a:t>
            </a:r>
            <a:r>
              <a:rPr lang="en-US" sz="1200" dirty="0">
                <a:solidFill>
                  <a:schemeClr val="tx2"/>
                </a:solidFill>
                <a:latin typeface="Novel Pro Light"/>
                <a:ea typeface="Roboto"/>
                <a:cs typeface="Roboto"/>
              </a:rPr>
              <a:t>of </a:t>
            </a:r>
            <a:r>
              <a:rPr lang="pl-PL" sz="1200" dirty="0">
                <a:solidFill>
                  <a:schemeClr val="tx2"/>
                </a:solidFill>
                <a:latin typeface="Novel Pro Light"/>
                <a:ea typeface="Roboto"/>
                <a:cs typeface="Roboto"/>
              </a:rPr>
              <a:t> a </a:t>
            </a:r>
            <a:r>
              <a:rPr lang="pl-PL" sz="1200" dirty="0" err="1">
                <a:solidFill>
                  <a:schemeClr val="tx2"/>
                </a:solidFill>
                <a:latin typeface="Novel Pro Light"/>
                <a:ea typeface="Roboto"/>
                <a:cs typeface="Roboto"/>
              </a:rPr>
              <a:t>foreign</a:t>
            </a:r>
            <a:r>
              <a:rPr lang="pl-PL" sz="1200" dirty="0">
                <a:solidFill>
                  <a:schemeClr val="tx2"/>
                </a:solidFill>
                <a:latin typeface="Novel Pro Light"/>
                <a:ea typeface="Roboto"/>
                <a:cs typeface="Roboto"/>
              </a:rPr>
              <a:t> </a:t>
            </a:r>
            <a:r>
              <a:rPr lang="en-US" sz="1200" dirty="0">
                <a:solidFill>
                  <a:schemeClr val="tx2"/>
                </a:solidFill>
                <a:latin typeface="Novel Pro Light"/>
                <a:ea typeface="Roboto"/>
                <a:cs typeface="Roboto"/>
              </a:rPr>
              <a:t>project</a:t>
            </a:r>
            <a:endParaRPr lang="pl-PL" sz="1200" dirty="0">
              <a:solidFill>
                <a:schemeClr val="tx2"/>
              </a:solidFill>
              <a:latin typeface="Novel Pro Light" pitchFamily="2" charset="0"/>
              <a:ea typeface="Roboto Slab Light"/>
              <a:cs typeface="Roboto Slab Light"/>
              <a:sym typeface="Roboto Slab Light"/>
            </a:endParaRPr>
          </a:p>
        </p:txBody>
      </p:sp>
      <p:sp>
        <p:nvSpPr>
          <p:cNvPr id="41" name="Appropriately strategize granular…">
            <a:extLst>
              <a:ext uri="{FF2B5EF4-FFF2-40B4-BE49-F238E27FC236}">
                <a16:creationId xmlns:a16="http://schemas.microsoft.com/office/drawing/2014/main" id="{38966413-C75B-FF4D-A47D-6D1E6EECC64E}"/>
              </a:ext>
            </a:extLst>
          </p:cNvPr>
          <p:cNvSpPr/>
          <p:nvPr/>
        </p:nvSpPr>
        <p:spPr>
          <a:xfrm>
            <a:off x="1589165" y="2642014"/>
            <a:ext cx="4500000" cy="13092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algn="l">
              <a:lnSpc>
                <a:spcPct val="120000"/>
              </a:lnSpc>
              <a:defRPr sz="1600">
                <a:solidFill>
                  <a:srgbClr val="677180"/>
                </a:solidFill>
                <a:latin typeface="Roboto Slab Light"/>
                <a:ea typeface="Roboto Slab Light"/>
                <a:cs typeface="Roboto Slab Light"/>
                <a:sym typeface="Roboto Slab Light"/>
              </a:defRPr>
            </a:pPr>
            <a:r>
              <a:rPr lang="pl-PL" sz="1200" dirty="0">
                <a:solidFill>
                  <a:schemeClr val="tx2"/>
                </a:solidFill>
                <a:latin typeface="Novel Pro Light"/>
                <a:ea typeface="Roboto Slab Light"/>
                <a:cs typeface="Roboto Slab Light"/>
                <a:sym typeface="Roboto Slab Light"/>
              </a:rPr>
              <a:t>The fund </a:t>
            </a:r>
            <a:r>
              <a:rPr lang="en-GB" sz="1200" dirty="0">
                <a:solidFill>
                  <a:schemeClr val="tx2"/>
                </a:solidFill>
                <a:latin typeface="Novel Pro Light"/>
                <a:ea typeface="Roboto Slab Light"/>
                <a:cs typeface="Roboto Slab Light"/>
                <a:sym typeface="Roboto Slab Light"/>
              </a:rPr>
              <a:t>supports </a:t>
            </a:r>
            <a:r>
              <a:rPr lang="pl-PL" sz="1200" dirty="0" err="1">
                <a:solidFill>
                  <a:schemeClr val="tx2"/>
                </a:solidFill>
                <a:latin typeface="Novel Pro Light"/>
                <a:ea typeface="Roboto Slab Light"/>
                <a:cs typeface="Roboto Slab Light"/>
                <a:sym typeface="Roboto Slab Light"/>
              </a:rPr>
              <a:t>international</a:t>
            </a:r>
            <a:r>
              <a:rPr lang="pl-PL" sz="1200" dirty="0">
                <a:solidFill>
                  <a:schemeClr val="tx2"/>
                </a:solidFill>
                <a:latin typeface="Novel Pro Light"/>
                <a:ea typeface="Roboto Slab Light"/>
                <a:cs typeface="Roboto Slab Light"/>
                <a:sym typeface="Roboto Slab Light"/>
              </a:rPr>
              <a:t> </a:t>
            </a:r>
            <a:r>
              <a:rPr lang="en-GB" sz="1200" dirty="0">
                <a:solidFill>
                  <a:schemeClr val="tx2"/>
                </a:solidFill>
                <a:latin typeface="Novel Pro Light"/>
                <a:ea typeface="Roboto Slab Light"/>
                <a:cs typeface="Roboto Slab Light"/>
                <a:sym typeface="Roboto Slab Light"/>
              </a:rPr>
              <a:t>greenfield and brownfield projects including</a:t>
            </a:r>
            <a:r>
              <a:rPr lang="pl-PL" sz="1200" dirty="0">
                <a:solidFill>
                  <a:schemeClr val="tx2"/>
                </a:solidFill>
                <a:latin typeface="Novel Pro Light"/>
                <a:ea typeface="Roboto Slab Light"/>
                <a:cs typeface="Roboto Slab Light"/>
                <a:sym typeface="Roboto Slab Light"/>
              </a:rPr>
              <a:t>:</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itchFamily="2" charset="0"/>
                <a:ea typeface="Roboto Slab Light"/>
                <a:cs typeface="Roboto Slab Light"/>
                <a:sym typeface="Roboto Slab Light"/>
              </a:rPr>
              <a:t>acquisition of a competitor or a distributor</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itchFamily="2" charset="0"/>
                <a:ea typeface="Roboto Slab Light"/>
                <a:cs typeface="Roboto Slab Light"/>
                <a:sym typeface="Roboto Slab Light"/>
              </a:rPr>
              <a:t>brand acquisition</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itchFamily="2" charset="0"/>
                <a:ea typeface="Roboto Slab Light"/>
                <a:cs typeface="Roboto Slab Light"/>
                <a:sym typeface="Roboto Slab Light"/>
              </a:rPr>
              <a:t>construction of a plant, warehouse</a:t>
            </a:r>
          </a:p>
          <a:p>
            <a:pPr marL="171450" indent="-171450">
              <a:lnSpc>
                <a:spcPct val="120000"/>
              </a:lnSpc>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endParaRPr lang="pl-PL" sz="1200" dirty="0">
              <a:solidFill>
                <a:schemeClr val="tx2"/>
              </a:solidFill>
              <a:latin typeface="Novel Pro Light" pitchFamily="2" charset="0"/>
              <a:ea typeface="Roboto Slab Light"/>
              <a:cs typeface="Roboto Slab Light"/>
              <a:sym typeface="Roboto Slab Light"/>
            </a:endParaRPr>
          </a:p>
        </p:txBody>
      </p:sp>
      <p:sp>
        <p:nvSpPr>
          <p:cNvPr id="42" name="Appropriately strategize granular…">
            <a:extLst>
              <a:ext uri="{FF2B5EF4-FFF2-40B4-BE49-F238E27FC236}">
                <a16:creationId xmlns:a16="http://schemas.microsoft.com/office/drawing/2014/main" id="{5A2614BB-E244-FA44-96CA-0F1677781AC7}"/>
              </a:ext>
            </a:extLst>
          </p:cNvPr>
          <p:cNvSpPr/>
          <p:nvPr/>
        </p:nvSpPr>
        <p:spPr>
          <a:xfrm>
            <a:off x="1589165" y="4021522"/>
            <a:ext cx="4500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en-GB" sz="1200" dirty="0">
                <a:solidFill>
                  <a:schemeClr val="tx2"/>
                </a:solidFill>
                <a:latin typeface="Novel Pro Light" pitchFamily="2" charset="0"/>
                <a:ea typeface="Roboto Slab Light"/>
                <a:cs typeface="Roboto Slab Light"/>
                <a:sym typeface="Roboto Slab Light"/>
              </a:rPr>
              <a:t>Typical fund ticket:</a:t>
            </a:r>
            <a:br>
              <a:rPr lang="en-GB" sz="1200" dirty="0">
                <a:solidFill>
                  <a:schemeClr val="tx2"/>
                </a:solidFill>
                <a:latin typeface="Novel Pro Light" pitchFamily="2" charset="0"/>
                <a:ea typeface="Roboto Slab Light"/>
                <a:cs typeface="Roboto Slab Light"/>
                <a:sym typeface="Roboto Slab Light"/>
              </a:rPr>
            </a:br>
            <a:r>
              <a:rPr lang="en-GB" sz="1200" dirty="0">
                <a:solidFill>
                  <a:schemeClr val="accent1"/>
                </a:solidFill>
                <a:latin typeface="Novel Pro" pitchFamily="2" charset="0"/>
                <a:ea typeface="Roboto Slab Light"/>
                <a:cs typeface="Roboto Slab Light"/>
                <a:sym typeface="Roboto Slab Light"/>
              </a:rPr>
              <a:t>€</a:t>
            </a:r>
            <a:r>
              <a:rPr lang="pl-PL" sz="1200" dirty="0">
                <a:solidFill>
                  <a:schemeClr val="accent1"/>
                </a:solidFill>
                <a:latin typeface="Novel Pro" pitchFamily="2" charset="0"/>
                <a:ea typeface="Roboto Slab Light"/>
                <a:cs typeface="Roboto Slab Light"/>
                <a:sym typeface="Roboto Slab Light"/>
              </a:rPr>
              <a:t>3 </a:t>
            </a:r>
            <a:r>
              <a:rPr lang="pl-PL" sz="1200" dirty="0" err="1">
                <a:solidFill>
                  <a:schemeClr val="accent1"/>
                </a:solidFill>
                <a:latin typeface="Novel Pro" pitchFamily="2" charset="0"/>
                <a:ea typeface="Roboto Slab Light"/>
                <a:cs typeface="Roboto Slab Light"/>
                <a:sym typeface="Roboto Slab Light"/>
              </a:rPr>
              <a:t>million</a:t>
            </a:r>
            <a:r>
              <a:rPr lang="en-GB" sz="1200" dirty="0">
                <a:solidFill>
                  <a:schemeClr val="accent1"/>
                </a:solidFill>
                <a:latin typeface="Novel Pro" pitchFamily="2" charset="0"/>
                <a:ea typeface="Roboto Slab Light"/>
                <a:cs typeface="Roboto Slab Light"/>
                <a:sym typeface="Roboto Slab Light"/>
              </a:rPr>
              <a:t> – €20 m</a:t>
            </a:r>
            <a:r>
              <a:rPr lang="pl-PL" sz="1200" dirty="0" err="1">
                <a:solidFill>
                  <a:schemeClr val="accent1"/>
                </a:solidFill>
                <a:latin typeface="Novel Pro" pitchFamily="2" charset="0"/>
                <a:ea typeface="Roboto Slab Light"/>
                <a:cs typeface="Roboto Slab Light"/>
                <a:sym typeface="Roboto Slab Light"/>
              </a:rPr>
              <a:t>illion</a:t>
            </a:r>
            <a:r>
              <a:rPr lang="en-GB" sz="1200" dirty="0">
                <a:solidFill>
                  <a:schemeClr val="accent1"/>
                </a:solidFill>
                <a:latin typeface="Novel Pro" pitchFamily="2" charset="0"/>
                <a:ea typeface="Roboto Slab Light"/>
                <a:cs typeface="Roboto Slab Light"/>
                <a:sym typeface="Roboto Slab Light"/>
              </a:rPr>
              <a:t> </a:t>
            </a:r>
          </a:p>
        </p:txBody>
      </p:sp>
      <p:sp>
        <p:nvSpPr>
          <p:cNvPr id="43" name="Appropriately strategize granular…">
            <a:extLst>
              <a:ext uri="{FF2B5EF4-FFF2-40B4-BE49-F238E27FC236}">
                <a16:creationId xmlns:a16="http://schemas.microsoft.com/office/drawing/2014/main" id="{D69CF1AF-D683-324F-A0C8-5B328CB56E94}"/>
              </a:ext>
            </a:extLst>
          </p:cNvPr>
          <p:cNvSpPr/>
          <p:nvPr/>
        </p:nvSpPr>
        <p:spPr>
          <a:xfrm>
            <a:off x="1589165" y="4881832"/>
            <a:ext cx="4500000" cy="6444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677180"/>
                </a:solidFill>
                <a:latin typeface="Roboto Slab Light"/>
                <a:ea typeface="Roboto Slab Light"/>
                <a:cs typeface="Roboto Slab Light"/>
                <a:sym typeface="Roboto Slab Light"/>
              </a:defRPr>
            </a:pPr>
            <a:r>
              <a:rPr lang="en-US" sz="1200" dirty="0">
                <a:solidFill>
                  <a:schemeClr val="tx2"/>
                </a:solidFill>
                <a:latin typeface="Novel Pro Light" panose="020B0604020202020204" charset="-18"/>
                <a:ea typeface="Roboto Slab Light"/>
                <a:cs typeface="Roboto Slab Light"/>
                <a:sym typeface="Roboto Slab Light"/>
              </a:rPr>
              <a:t>The </a:t>
            </a:r>
            <a:r>
              <a:rPr lang="pl-PL" sz="1200" dirty="0">
                <a:solidFill>
                  <a:schemeClr val="tx2"/>
                </a:solidFill>
                <a:latin typeface="Novel Pro Light" panose="020B0604020202020204" charset="-18"/>
                <a:ea typeface="Roboto Slab Light"/>
                <a:cs typeface="Roboto Slab Light"/>
                <a:sym typeface="Roboto Slab Light"/>
              </a:rPr>
              <a:t>f</a:t>
            </a:r>
            <a:r>
              <a:rPr lang="en-US" sz="1200" dirty="0">
                <a:solidFill>
                  <a:schemeClr val="tx2"/>
                </a:solidFill>
                <a:latin typeface="Novel Pro Light" panose="020B0604020202020204" charset="-18"/>
                <a:ea typeface="Roboto Slab Light"/>
                <a:cs typeface="Roboto Slab Light"/>
                <a:sym typeface="Roboto Slab Light"/>
              </a:rPr>
              <a:t>und</a:t>
            </a:r>
            <a:r>
              <a:rPr lang="pl-PL" sz="1200" dirty="0">
                <a:solidFill>
                  <a:schemeClr val="tx2"/>
                </a:solidFill>
                <a:latin typeface="Novel Pro Light" panose="020B0604020202020204" charset="-18"/>
                <a:ea typeface="Roboto Slab Light"/>
                <a:cs typeface="Roboto Slab Light"/>
                <a:sym typeface="Roboto Slab Light"/>
              </a:rPr>
              <a:t> </a:t>
            </a:r>
            <a:r>
              <a:rPr lang="en-US" sz="1200" dirty="0">
                <a:solidFill>
                  <a:schemeClr val="tx2"/>
                </a:solidFill>
                <a:latin typeface="Novel Pro Light" panose="020B0604020202020204" charset="-18"/>
                <a:ea typeface="Roboto Slab Light"/>
                <a:cs typeface="Roboto Slab Light"/>
                <a:sym typeface="Roboto Slab Light"/>
              </a:rPr>
              <a:t>provides</a:t>
            </a:r>
            <a:r>
              <a:rPr lang="pl-PL" sz="1200" dirty="0">
                <a:solidFill>
                  <a:schemeClr val="tx2"/>
                </a:solidFill>
                <a:latin typeface="Novel Pro Light" panose="020B0604020202020204" charset="-18"/>
                <a:ea typeface="Roboto Slab Light"/>
                <a:cs typeface="Roboto Slab Light"/>
                <a:sym typeface="Roboto Slab Light"/>
              </a:rPr>
              <a:t>:</a:t>
            </a:r>
            <a:r>
              <a:rPr lang="en-US" sz="1200" dirty="0">
                <a:solidFill>
                  <a:schemeClr val="tx2"/>
                </a:solidFill>
                <a:latin typeface="Novel Pro Light" panose="020B0604020202020204" charset="-18"/>
                <a:ea typeface="Roboto Slab Light"/>
                <a:cs typeface="Roboto Slab Light"/>
                <a:sym typeface="Roboto Slab Light"/>
              </a:rPr>
              <a:t> </a:t>
            </a:r>
            <a:endParaRPr lang="pl-PL" sz="1200" strike="sngStrike" dirty="0">
              <a:solidFill>
                <a:schemeClr val="tx2"/>
              </a:solidFill>
              <a:latin typeface="Novel Pro Light" panose="020B0604020202020204" charset="-18"/>
              <a:ea typeface="Roboto Slab Light"/>
              <a:cs typeface="Roboto Slab Light"/>
              <a:sym typeface="Roboto Slab Light"/>
            </a:endParaRPr>
          </a:p>
          <a:p>
            <a:pPr marL="128270" indent="-128270">
              <a:lnSpc>
                <a:spcPct val="120000"/>
              </a:lnSpc>
              <a:buClr>
                <a:schemeClr val="bg1">
                  <a:lumMod val="25000"/>
                </a:schemeClr>
              </a:buClr>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en-US" sz="1200" dirty="0">
                <a:solidFill>
                  <a:schemeClr val="accent1"/>
                </a:solidFill>
                <a:latin typeface="Novel Pro Light"/>
                <a:ea typeface="Roboto Slab Light"/>
                <a:cs typeface="Roboto Slab Light"/>
                <a:sym typeface="Roboto Slab Light"/>
              </a:rPr>
              <a:t>loans </a:t>
            </a:r>
            <a:r>
              <a:rPr lang="en-US" sz="1200" strike="sngStrike" dirty="0">
                <a:solidFill>
                  <a:schemeClr val="tx2"/>
                </a:solidFill>
                <a:latin typeface="Novel Pro Light"/>
                <a:ea typeface="Roboto Slab Light"/>
                <a:cs typeface="Roboto Slab Light"/>
                <a:sym typeface="Roboto Slab Light"/>
              </a:rPr>
              <a:t> </a:t>
            </a:r>
            <a:r>
              <a:rPr lang="pl-PL" sz="1200" strike="sngStrike" dirty="0">
                <a:solidFill>
                  <a:schemeClr val="tx2"/>
                </a:solidFill>
                <a:latin typeface="Novel Pro Light"/>
                <a:ea typeface="Roboto Slab Light"/>
                <a:cs typeface="Roboto Slab Light"/>
                <a:sym typeface="Roboto Slab Light"/>
              </a:rPr>
              <a:t> </a:t>
            </a:r>
          </a:p>
          <a:p>
            <a:pPr marL="128270" indent="-128270">
              <a:lnSpc>
                <a:spcPct val="120000"/>
              </a:lnSpc>
              <a:buClr>
                <a:schemeClr val="bg1">
                  <a:lumMod val="25000"/>
                </a:schemeClr>
              </a:buClr>
              <a:buFont typeface="Arial" panose="020B0604020202020204" pitchFamily="34" charset="0"/>
              <a:buChar char="•"/>
              <a:defRPr sz="1600">
                <a:solidFill>
                  <a:srgbClr val="677180"/>
                </a:solidFill>
                <a:latin typeface="Roboto Slab Light"/>
                <a:ea typeface="Roboto Slab Light"/>
                <a:cs typeface="Roboto Slab Light"/>
                <a:sym typeface="Roboto Slab Light"/>
              </a:defRPr>
            </a:pPr>
            <a:r>
              <a:rPr lang="pl-PL" sz="1200" dirty="0">
                <a:solidFill>
                  <a:schemeClr val="accent1"/>
                </a:solidFill>
                <a:latin typeface="Novel Pro Light" panose="020B0604020202020204" charset="-18"/>
                <a:ea typeface="Roboto Slab Light"/>
                <a:cs typeface="Roboto Slab Light"/>
                <a:sym typeface="Roboto Slab Light"/>
              </a:rPr>
              <a:t>e</a:t>
            </a:r>
            <a:r>
              <a:rPr lang="en-US" sz="1200" dirty="0" err="1">
                <a:solidFill>
                  <a:schemeClr val="accent1"/>
                </a:solidFill>
                <a:latin typeface="Novel Pro Light" panose="020B0604020202020204" charset="-18"/>
                <a:ea typeface="Roboto Slab Light"/>
                <a:cs typeface="Roboto Slab Light"/>
                <a:sym typeface="Roboto Slab Light"/>
              </a:rPr>
              <a:t>quity</a:t>
            </a:r>
            <a:endParaRPr lang="en-GB" sz="1200" strike="sngStrike" dirty="0">
              <a:solidFill>
                <a:schemeClr val="tx2"/>
              </a:solidFill>
              <a:latin typeface="Novel Pro Light" panose="020B0604020202020204" charset="-18"/>
              <a:ea typeface="Roboto Slab Light"/>
              <a:cs typeface="Roboto Slab Light"/>
            </a:endParaRPr>
          </a:p>
        </p:txBody>
      </p:sp>
      <p:grpSp>
        <p:nvGrpSpPr>
          <p:cNvPr id="8" name="Grupa 7">
            <a:extLst>
              <a:ext uri="{FF2B5EF4-FFF2-40B4-BE49-F238E27FC236}">
                <a16:creationId xmlns:a16="http://schemas.microsoft.com/office/drawing/2014/main" id="{B172D28C-FAC3-2E44-92FD-8386EE2945DD}"/>
              </a:ext>
            </a:extLst>
          </p:cNvPr>
          <p:cNvGrpSpPr/>
          <p:nvPr/>
        </p:nvGrpSpPr>
        <p:grpSpPr>
          <a:xfrm>
            <a:off x="792000" y="1687416"/>
            <a:ext cx="571501" cy="571501"/>
            <a:chOff x="1584000" y="3374831"/>
            <a:chExt cx="1143001" cy="1143001"/>
          </a:xfrm>
        </p:grpSpPr>
        <p:sp>
          <p:nvSpPr>
            <p:cNvPr id="53" name="Circle">
              <a:extLst>
                <a:ext uri="{FF2B5EF4-FFF2-40B4-BE49-F238E27FC236}">
                  <a16:creationId xmlns:a16="http://schemas.microsoft.com/office/drawing/2014/main" id="{66AB39E1-DA3D-D341-9ECF-AA77CE843676}"/>
                </a:ext>
              </a:extLst>
            </p:cNvPr>
            <p:cNvSpPr/>
            <p:nvPr/>
          </p:nvSpPr>
          <p:spPr>
            <a:xfrm>
              <a:off x="1584000" y="3374831"/>
              <a:ext cx="1143001" cy="11430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58" name="Grafika 57">
              <a:extLst>
                <a:ext uri="{FF2B5EF4-FFF2-40B4-BE49-F238E27FC236}">
                  <a16:creationId xmlns:a16="http://schemas.microsoft.com/office/drawing/2014/main" id="{22611995-AEAA-3F4A-8EFC-EA1AC9F7419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46357" y="3601819"/>
              <a:ext cx="668385" cy="668385"/>
            </a:xfrm>
            <a:prstGeom prst="rect">
              <a:avLst/>
            </a:prstGeom>
          </p:spPr>
        </p:pic>
      </p:grpSp>
      <p:grpSp>
        <p:nvGrpSpPr>
          <p:cNvPr id="9" name="Grupa 8">
            <a:extLst>
              <a:ext uri="{FF2B5EF4-FFF2-40B4-BE49-F238E27FC236}">
                <a16:creationId xmlns:a16="http://schemas.microsoft.com/office/drawing/2014/main" id="{6B4BAB19-06D9-C14B-A390-8472A950EBC0}"/>
              </a:ext>
            </a:extLst>
          </p:cNvPr>
          <p:cNvGrpSpPr/>
          <p:nvPr/>
        </p:nvGrpSpPr>
        <p:grpSpPr>
          <a:xfrm>
            <a:off x="792000" y="2901797"/>
            <a:ext cx="571501" cy="571501"/>
            <a:chOff x="1583999" y="5950645"/>
            <a:chExt cx="1143001" cy="1143001"/>
          </a:xfrm>
        </p:grpSpPr>
        <p:sp>
          <p:nvSpPr>
            <p:cNvPr id="54" name="Circle">
              <a:extLst>
                <a:ext uri="{FF2B5EF4-FFF2-40B4-BE49-F238E27FC236}">
                  <a16:creationId xmlns:a16="http://schemas.microsoft.com/office/drawing/2014/main" id="{0D52B958-280F-C848-A7CD-41DB361FB853}"/>
                </a:ext>
              </a:extLst>
            </p:cNvPr>
            <p:cNvSpPr/>
            <p:nvPr/>
          </p:nvSpPr>
          <p:spPr>
            <a:xfrm>
              <a:off x="1583999" y="5950645"/>
              <a:ext cx="1143001" cy="1143001"/>
            </a:xfrm>
            <a:prstGeom prst="ellipse">
              <a:avLst/>
            </a:prstGeom>
            <a:solidFill>
              <a:schemeClr val="accent1"/>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59" name="Grafika 58">
              <a:extLst>
                <a:ext uri="{FF2B5EF4-FFF2-40B4-BE49-F238E27FC236}">
                  <a16:creationId xmlns:a16="http://schemas.microsoft.com/office/drawing/2014/main" id="{43F174BC-AFA4-8947-847D-4400C278F67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19915" y="6214968"/>
              <a:ext cx="671161" cy="671161"/>
            </a:xfrm>
            <a:prstGeom prst="rect">
              <a:avLst/>
            </a:prstGeom>
          </p:spPr>
        </p:pic>
      </p:grpSp>
      <p:grpSp>
        <p:nvGrpSpPr>
          <p:cNvPr id="10" name="Grupa 9">
            <a:extLst>
              <a:ext uri="{FF2B5EF4-FFF2-40B4-BE49-F238E27FC236}">
                <a16:creationId xmlns:a16="http://schemas.microsoft.com/office/drawing/2014/main" id="{89EF52EE-8D1A-B848-997E-91DB2BE300FB}"/>
              </a:ext>
            </a:extLst>
          </p:cNvPr>
          <p:cNvGrpSpPr/>
          <p:nvPr/>
        </p:nvGrpSpPr>
        <p:grpSpPr>
          <a:xfrm>
            <a:off x="792000" y="3961262"/>
            <a:ext cx="571501" cy="571501"/>
            <a:chOff x="1583999" y="8197480"/>
            <a:chExt cx="1143001" cy="1143001"/>
          </a:xfrm>
        </p:grpSpPr>
        <p:sp>
          <p:nvSpPr>
            <p:cNvPr id="57" name="Circle">
              <a:extLst>
                <a:ext uri="{FF2B5EF4-FFF2-40B4-BE49-F238E27FC236}">
                  <a16:creationId xmlns:a16="http://schemas.microsoft.com/office/drawing/2014/main" id="{F22F4FF4-CCF6-8D4A-81FE-1C6F298D68CA}"/>
                </a:ext>
              </a:extLst>
            </p:cNvPr>
            <p:cNvSpPr/>
            <p:nvPr/>
          </p:nvSpPr>
          <p:spPr>
            <a:xfrm>
              <a:off x="1583999" y="8197480"/>
              <a:ext cx="1143001" cy="11430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60" name="Grafika 59">
              <a:extLst>
                <a:ext uri="{FF2B5EF4-FFF2-40B4-BE49-F238E27FC236}">
                  <a16:creationId xmlns:a16="http://schemas.microsoft.com/office/drawing/2014/main" id="{0E559BE6-0C73-8F49-8AC9-A858D803CF5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761834" y="8308264"/>
              <a:ext cx="825180" cy="825180"/>
            </a:xfrm>
            <a:prstGeom prst="rect">
              <a:avLst/>
            </a:prstGeom>
          </p:spPr>
        </p:pic>
      </p:grpSp>
      <p:grpSp>
        <p:nvGrpSpPr>
          <p:cNvPr id="11" name="Grupa 10">
            <a:extLst>
              <a:ext uri="{FF2B5EF4-FFF2-40B4-BE49-F238E27FC236}">
                <a16:creationId xmlns:a16="http://schemas.microsoft.com/office/drawing/2014/main" id="{42D8C7EF-EA0D-8048-8524-A82342653F97}"/>
              </a:ext>
            </a:extLst>
          </p:cNvPr>
          <p:cNvGrpSpPr/>
          <p:nvPr/>
        </p:nvGrpSpPr>
        <p:grpSpPr>
          <a:xfrm>
            <a:off x="792000" y="4938430"/>
            <a:ext cx="571501" cy="571501"/>
            <a:chOff x="1583999" y="10201793"/>
            <a:chExt cx="1143001" cy="1143001"/>
          </a:xfrm>
        </p:grpSpPr>
        <p:sp>
          <p:nvSpPr>
            <p:cNvPr id="55" name="Circle">
              <a:extLst>
                <a:ext uri="{FF2B5EF4-FFF2-40B4-BE49-F238E27FC236}">
                  <a16:creationId xmlns:a16="http://schemas.microsoft.com/office/drawing/2014/main" id="{9B7CB3CE-E8B7-144B-B10C-4657641E05C0}"/>
                </a:ext>
              </a:extLst>
            </p:cNvPr>
            <p:cNvSpPr/>
            <p:nvPr/>
          </p:nvSpPr>
          <p:spPr>
            <a:xfrm>
              <a:off x="1583999" y="10201793"/>
              <a:ext cx="1143001" cy="1143001"/>
            </a:xfrm>
            <a:prstGeom prst="ellipse">
              <a:avLst/>
            </a:prstGeom>
            <a:solidFill>
              <a:schemeClr val="tx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61" name="Grafika 60">
              <a:extLst>
                <a:ext uri="{FF2B5EF4-FFF2-40B4-BE49-F238E27FC236}">
                  <a16:creationId xmlns:a16="http://schemas.microsoft.com/office/drawing/2014/main" id="{BD0DB5AD-DE1B-5C47-A752-DA1CE0496A7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793044" y="10396189"/>
              <a:ext cx="766948" cy="766948"/>
            </a:xfrm>
            <a:prstGeom prst="rect">
              <a:avLst/>
            </a:prstGeom>
          </p:spPr>
        </p:pic>
      </p:grpSp>
      <p:sp>
        <p:nvSpPr>
          <p:cNvPr id="81" name="Appropriately strategize granular…">
            <a:extLst>
              <a:ext uri="{FF2B5EF4-FFF2-40B4-BE49-F238E27FC236}">
                <a16:creationId xmlns:a16="http://schemas.microsoft.com/office/drawing/2014/main" id="{EF5D6589-751B-B646-8E78-67C6254A407D}"/>
              </a:ext>
            </a:extLst>
          </p:cNvPr>
          <p:cNvSpPr/>
          <p:nvPr/>
        </p:nvSpPr>
        <p:spPr>
          <a:xfrm>
            <a:off x="7387120" y="1689115"/>
            <a:ext cx="4248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lgn="l">
              <a:lnSpc>
                <a:spcPct val="120000"/>
              </a:lnSpc>
              <a:defRPr sz="1600">
                <a:solidFill>
                  <a:srgbClr val="677180"/>
                </a:solidFill>
                <a:latin typeface="Roboto Slab Light"/>
                <a:ea typeface="Roboto Slab Light"/>
                <a:cs typeface="Roboto Slab Light"/>
                <a:sym typeface="Roboto Slab Light"/>
              </a:defRPr>
            </a:pPr>
            <a:r>
              <a:rPr lang="pl-PL" sz="1200" dirty="0" err="1">
                <a:solidFill>
                  <a:schemeClr val="tx2"/>
                </a:solidFill>
                <a:latin typeface="Novel Pro Light"/>
                <a:ea typeface="Roboto Slab Light"/>
                <a:cs typeface="Roboto Slab Light"/>
                <a:sym typeface="Roboto Slab Light"/>
              </a:rPr>
              <a:t>Typically</a:t>
            </a:r>
            <a:r>
              <a:rPr lang="pl-PL" sz="1200" dirty="0">
                <a:solidFill>
                  <a:schemeClr val="tx2"/>
                </a:solidFill>
                <a:latin typeface="Novel Pro Light"/>
                <a:ea typeface="Roboto Slab Light"/>
                <a:cs typeface="Roboto Slab Light"/>
                <a:sym typeface="Roboto Slab Light"/>
              </a:rPr>
              <a:t>, t</a:t>
            </a:r>
            <a:r>
              <a:rPr lang="en-US" sz="1200" dirty="0">
                <a:solidFill>
                  <a:schemeClr val="tx2"/>
                </a:solidFill>
                <a:latin typeface="Novel Pro Light"/>
                <a:ea typeface="Roboto Slab Light"/>
                <a:cs typeface="Roboto Slab Light"/>
                <a:sym typeface="Roboto Slab Light"/>
              </a:rPr>
              <a:t>he investment agreement is concluded for </a:t>
            </a:r>
            <a:br>
              <a:rPr lang="pl-PL" sz="1200" dirty="0">
                <a:solidFill>
                  <a:schemeClr val="tx2"/>
                </a:solidFill>
                <a:latin typeface="Novel Pro Light"/>
                <a:ea typeface="Roboto Slab Light"/>
                <a:cs typeface="Roboto Slab Light"/>
                <a:sym typeface="Roboto Slab Light"/>
              </a:rPr>
            </a:br>
            <a:r>
              <a:rPr lang="en-US" sz="1200" dirty="0">
                <a:solidFill>
                  <a:schemeClr val="tx2"/>
                </a:solidFill>
                <a:latin typeface="Novel Pro Light"/>
                <a:ea typeface="Roboto Slab Light"/>
                <a:cs typeface="Roboto Slab Light"/>
                <a:sym typeface="Roboto Slab Light"/>
              </a:rPr>
              <a:t>a period of</a:t>
            </a:r>
            <a:r>
              <a:rPr lang="en-US" sz="1200" dirty="0">
                <a:solidFill>
                  <a:schemeClr val="accent1"/>
                </a:solidFill>
                <a:latin typeface="Novel Pro"/>
                <a:ea typeface="Roboto Slab Light"/>
                <a:cs typeface="Roboto Slab Light"/>
                <a:sym typeface="Roboto Slab Light"/>
              </a:rPr>
              <a:t> 5 to 10 years</a:t>
            </a:r>
            <a:endParaRPr lang="pl-PL" sz="1200" dirty="0">
              <a:solidFill>
                <a:schemeClr val="accent1"/>
              </a:solidFill>
              <a:latin typeface="Novel Pro"/>
              <a:ea typeface="Roboto Slab Light"/>
              <a:cs typeface="Roboto Slab Light"/>
              <a:sym typeface="Roboto Slab Light"/>
            </a:endParaRPr>
          </a:p>
        </p:txBody>
      </p:sp>
      <p:sp>
        <p:nvSpPr>
          <p:cNvPr id="82" name="Appropriately strategize granular…">
            <a:extLst>
              <a:ext uri="{FF2B5EF4-FFF2-40B4-BE49-F238E27FC236}">
                <a16:creationId xmlns:a16="http://schemas.microsoft.com/office/drawing/2014/main" id="{C37D2C4B-7FB3-1642-9723-4740FEAEB1CA}"/>
              </a:ext>
            </a:extLst>
          </p:cNvPr>
          <p:cNvSpPr/>
          <p:nvPr/>
        </p:nvSpPr>
        <p:spPr>
          <a:xfrm>
            <a:off x="7387120" y="2722608"/>
            <a:ext cx="4248000" cy="20127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pl-PL" sz="1200" dirty="0">
                <a:solidFill>
                  <a:schemeClr val="tx2"/>
                </a:solidFill>
                <a:latin typeface="Novel Pro Light" pitchFamily="2" charset="0"/>
                <a:ea typeface="Roboto Slab Light"/>
                <a:cs typeface="Roboto Slab Light"/>
                <a:sym typeface="Roboto Slab Light"/>
              </a:rPr>
              <a:t>The fund </a:t>
            </a:r>
            <a:r>
              <a:rPr lang="pl-PL" sz="1200" dirty="0" err="1">
                <a:solidFill>
                  <a:schemeClr val="tx2"/>
                </a:solidFill>
                <a:latin typeface="Novel Pro Light" pitchFamily="2" charset="0"/>
                <a:ea typeface="Roboto Slab Light"/>
                <a:cs typeface="Roboto Slab Light"/>
                <a:sym typeface="Roboto Slab Light"/>
              </a:rPr>
              <a:t>is</a:t>
            </a:r>
            <a:r>
              <a:rPr lang="pl-PL" sz="1200" dirty="0">
                <a:solidFill>
                  <a:schemeClr val="tx2"/>
                </a:solidFill>
                <a:latin typeface="Novel Pro Light" pitchFamily="2" charset="0"/>
                <a:ea typeface="Roboto Slab Light"/>
                <a:cs typeface="Roboto Slab Light"/>
                <a:sym typeface="Roboto Slab Light"/>
              </a:rPr>
              <a:t> a </a:t>
            </a:r>
            <a:r>
              <a:rPr lang="pl-PL" sz="1200" dirty="0" err="1">
                <a:solidFill>
                  <a:schemeClr val="accent1"/>
                </a:solidFill>
                <a:latin typeface="Novel Pro" pitchFamily="2" charset="0"/>
                <a:ea typeface="Roboto Slab Light"/>
                <a:cs typeface="Roboto Slab Light"/>
                <a:sym typeface="Roboto Slab Light"/>
              </a:rPr>
              <a:t>minority</a:t>
            </a:r>
            <a:r>
              <a:rPr lang="pl-PL" sz="1200" dirty="0">
                <a:solidFill>
                  <a:schemeClr val="accent1"/>
                </a:solidFill>
                <a:latin typeface="Novel Pro" pitchFamily="2" charset="0"/>
                <a:ea typeface="Roboto Slab Light"/>
                <a:cs typeface="Roboto Slab Light"/>
                <a:sym typeface="Roboto Slab Light"/>
              </a:rPr>
              <a:t> </a:t>
            </a:r>
            <a:r>
              <a:rPr lang="pl-PL" sz="1200" dirty="0" err="1">
                <a:solidFill>
                  <a:schemeClr val="accent1"/>
                </a:solidFill>
                <a:latin typeface="Novel Pro" pitchFamily="2" charset="0"/>
                <a:ea typeface="Roboto Slab Light"/>
                <a:cs typeface="Roboto Slab Light"/>
                <a:sym typeface="Roboto Slab Light"/>
              </a:rPr>
              <a:t>investor</a:t>
            </a:r>
            <a:endParaRPr lang="pl-PL" sz="1200" dirty="0">
              <a:solidFill>
                <a:schemeClr val="accent1"/>
              </a:solidFill>
              <a:latin typeface="Novel Pro" pitchFamily="2" charset="0"/>
              <a:ea typeface="Roboto Slab Light"/>
              <a:cs typeface="Roboto Slab Light"/>
              <a:sym typeface="Roboto Slab Light"/>
            </a:endParaRPr>
          </a:p>
        </p:txBody>
      </p:sp>
      <p:sp>
        <p:nvSpPr>
          <p:cNvPr id="83" name="Appropriately strategize granular…">
            <a:extLst>
              <a:ext uri="{FF2B5EF4-FFF2-40B4-BE49-F238E27FC236}">
                <a16:creationId xmlns:a16="http://schemas.microsoft.com/office/drawing/2014/main" id="{81B6B80B-3CCC-CD4B-A9A6-1A0ADFC2A2AB}"/>
              </a:ext>
            </a:extLst>
          </p:cNvPr>
          <p:cNvSpPr/>
          <p:nvPr/>
        </p:nvSpPr>
        <p:spPr>
          <a:xfrm>
            <a:off x="7387120" y="3455540"/>
            <a:ext cx="4248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en-US" sz="1200" dirty="0">
                <a:solidFill>
                  <a:schemeClr val="accent1"/>
                </a:solidFill>
                <a:latin typeface="Novel Pro" pitchFamily="2" charset="0"/>
                <a:ea typeface="Roboto Slab Light"/>
                <a:cs typeface="Roboto Slab Light"/>
                <a:sym typeface="Roboto Slab Light"/>
              </a:rPr>
              <a:t>Operational management </a:t>
            </a:r>
            <a:r>
              <a:rPr lang="en-US" sz="1200" dirty="0">
                <a:solidFill>
                  <a:schemeClr val="tx2"/>
                </a:solidFill>
                <a:latin typeface="Novel Pro Light" pitchFamily="2" charset="0"/>
                <a:ea typeface="Roboto Slab Light"/>
                <a:cs typeface="Roboto Slab Light"/>
                <a:sym typeface="Roboto Slab Light"/>
              </a:rPr>
              <a:t>remains in the hands of </a:t>
            </a:r>
            <a:r>
              <a:rPr lang="pl-PL" sz="1200" dirty="0">
                <a:solidFill>
                  <a:schemeClr val="tx2"/>
                </a:solidFill>
                <a:latin typeface="Novel Pro Light" pitchFamily="2" charset="0"/>
                <a:ea typeface="Roboto Slab Light"/>
                <a:cs typeface="Roboto Slab Light"/>
                <a:sym typeface="Roboto Slab Light"/>
              </a:rPr>
              <a:t> </a:t>
            </a:r>
            <a:r>
              <a:rPr lang="pl-PL" sz="1200" dirty="0">
                <a:solidFill>
                  <a:schemeClr val="accent1"/>
                </a:solidFill>
                <a:latin typeface="Novel Pro" pitchFamily="2" charset="0"/>
                <a:ea typeface="Roboto Slab Light"/>
                <a:cs typeface="Roboto Slab Light"/>
                <a:sym typeface="Roboto Slab Light"/>
              </a:rPr>
              <a:t>a</a:t>
            </a:r>
            <a:r>
              <a:rPr lang="en-US" sz="1200" dirty="0">
                <a:solidFill>
                  <a:schemeClr val="accent1"/>
                </a:solidFill>
                <a:latin typeface="Novel Pro" pitchFamily="2" charset="0"/>
                <a:ea typeface="Roboto Slab Light"/>
                <a:cs typeface="Roboto Slab Light"/>
                <a:sym typeface="Roboto Slab Light"/>
              </a:rPr>
              <a:t> Polish partner</a:t>
            </a:r>
            <a:endParaRPr lang="pl-PL" sz="1200" dirty="0">
              <a:solidFill>
                <a:schemeClr val="accent1"/>
              </a:solidFill>
              <a:latin typeface="Novel Pro" pitchFamily="2" charset="0"/>
              <a:ea typeface="Roboto Slab Light"/>
              <a:cs typeface="Roboto Slab Light"/>
              <a:sym typeface="Roboto Slab Light"/>
            </a:endParaRPr>
          </a:p>
        </p:txBody>
      </p:sp>
      <p:sp>
        <p:nvSpPr>
          <p:cNvPr id="84" name="Appropriately strategize granular…">
            <a:extLst>
              <a:ext uri="{FF2B5EF4-FFF2-40B4-BE49-F238E27FC236}">
                <a16:creationId xmlns:a16="http://schemas.microsoft.com/office/drawing/2014/main" id="{819286DC-5EBB-984D-BBF8-DA38470B0DC1}"/>
              </a:ext>
            </a:extLst>
          </p:cNvPr>
          <p:cNvSpPr/>
          <p:nvPr/>
        </p:nvSpPr>
        <p:spPr>
          <a:xfrm>
            <a:off x="7387120" y="4363280"/>
            <a:ext cx="4248000" cy="4228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pl-PL" sz="1200" dirty="0">
                <a:solidFill>
                  <a:schemeClr val="tx2"/>
                </a:solidFill>
                <a:latin typeface="Novel Pro Light" pitchFamily="2" charset="0"/>
                <a:ea typeface="Roboto Slab Light"/>
                <a:cs typeface="Roboto Slab Light"/>
              </a:rPr>
              <a:t>The fund </a:t>
            </a:r>
            <a:r>
              <a:rPr lang="pl-PL" sz="1200" dirty="0" err="1">
                <a:solidFill>
                  <a:schemeClr val="tx2"/>
                </a:solidFill>
                <a:latin typeface="Novel Pro Light" pitchFamily="2" charset="0"/>
                <a:ea typeface="Roboto Slab Light"/>
                <a:cs typeface="Roboto Slab Light"/>
              </a:rPr>
              <a:t>is</a:t>
            </a:r>
            <a:r>
              <a:rPr lang="pl-PL" sz="1200" dirty="0">
                <a:solidFill>
                  <a:schemeClr val="tx2"/>
                </a:solidFill>
                <a:latin typeface="Novel Pro Light" pitchFamily="2" charset="0"/>
                <a:ea typeface="Roboto Slab Light"/>
                <a:cs typeface="Roboto Slab Light"/>
              </a:rPr>
              <a:t> </a:t>
            </a:r>
            <a:r>
              <a:rPr lang="en-US" sz="1200" dirty="0">
                <a:solidFill>
                  <a:schemeClr val="tx2"/>
                </a:solidFill>
                <a:latin typeface="Novel Pro Light" pitchFamily="2" charset="0"/>
                <a:ea typeface="Roboto Slab Light"/>
                <a:cs typeface="Roboto Slab Light"/>
              </a:rPr>
              <a:t>both sector and geography agnostic in its investments</a:t>
            </a:r>
            <a:endParaRPr lang="pl-PL" sz="1200" dirty="0">
              <a:solidFill>
                <a:schemeClr val="tx2"/>
              </a:solidFill>
              <a:latin typeface="Novel Pro Light" pitchFamily="2" charset="0"/>
              <a:ea typeface="Roboto Slab Light"/>
              <a:cs typeface="Roboto Slab Light"/>
              <a:sym typeface="Roboto Slab Light"/>
            </a:endParaRPr>
          </a:p>
        </p:txBody>
      </p:sp>
      <p:sp>
        <p:nvSpPr>
          <p:cNvPr id="85" name="Appropriately strategize granular…">
            <a:extLst>
              <a:ext uri="{FF2B5EF4-FFF2-40B4-BE49-F238E27FC236}">
                <a16:creationId xmlns:a16="http://schemas.microsoft.com/office/drawing/2014/main" id="{3BC14AD5-392E-F74C-9F86-B59625B44855}"/>
              </a:ext>
            </a:extLst>
          </p:cNvPr>
          <p:cNvSpPr/>
          <p:nvPr/>
        </p:nvSpPr>
        <p:spPr>
          <a:xfrm>
            <a:off x="7387120" y="5222957"/>
            <a:ext cx="4248000" cy="6444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l">
              <a:lnSpc>
                <a:spcPct val="120000"/>
              </a:lnSpc>
              <a:defRPr sz="1600">
                <a:solidFill>
                  <a:srgbClr val="EBEDF6"/>
                </a:solidFill>
                <a:latin typeface="Roboto Slab Light"/>
                <a:ea typeface="Roboto Slab Light"/>
                <a:cs typeface="Roboto Slab Light"/>
                <a:sym typeface="Roboto Slab Light"/>
              </a:defRPr>
            </a:pPr>
            <a:r>
              <a:rPr lang="en-US" sz="1200" dirty="0">
                <a:solidFill>
                  <a:schemeClr val="tx2"/>
                </a:solidFill>
                <a:latin typeface="Novel Pro Light" panose="020B0604020202020204" charset="-18"/>
                <a:ea typeface="Roboto Slab Light"/>
                <a:cs typeface="Roboto Slab Light"/>
                <a:sym typeface="Roboto Slab Light"/>
              </a:rPr>
              <a:t>The expected </a:t>
            </a:r>
            <a:r>
              <a:rPr lang="en-US" sz="1200" dirty="0">
                <a:solidFill>
                  <a:schemeClr val="accent1"/>
                </a:solidFill>
                <a:latin typeface="Novel Pro Light" panose="020B0604020202020204" charset="-18"/>
                <a:ea typeface="Roboto Slab Light"/>
                <a:cs typeface="Roboto Slab Light"/>
                <a:sym typeface="Roboto Slab Light"/>
              </a:rPr>
              <a:t>rate of return </a:t>
            </a:r>
            <a:r>
              <a:rPr lang="en-US" sz="1200" dirty="0">
                <a:solidFill>
                  <a:schemeClr val="tx2"/>
                </a:solidFill>
                <a:latin typeface="Novel Pro Light" panose="020B0604020202020204" charset="-18"/>
                <a:ea typeface="Roboto Slab Light"/>
                <a:cs typeface="Roboto Slab Light"/>
                <a:sym typeface="Roboto Slab Light"/>
              </a:rPr>
              <a:t>depends on the risk of the project, country</a:t>
            </a:r>
            <a:r>
              <a:rPr lang="pl-PL" sz="1200" dirty="0">
                <a:solidFill>
                  <a:schemeClr val="tx2"/>
                </a:solidFill>
                <a:latin typeface="Novel Pro Light" panose="020B0604020202020204" charset="-18"/>
                <a:ea typeface="Roboto Slab Light"/>
                <a:cs typeface="Roboto Slab Light"/>
                <a:sym typeface="Roboto Slab Light"/>
              </a:rPr>
              <a:t>,</a:t>
            </a:r>
            <a:r>
              <a:rPr lang="en-US" sz="1200" dirty="0">
                <a:solidFill>
                  <a:schemeClr val="tx2"/>
                </a:solidFill>
                <a:latin typeface="Novel Pro Light" panose="020B0604020202020204" charset="-18"/>
                <a:ea typeface="Roboto Slab Light"/>
                <a:cs typeface="Roboto Slab Light"/>
                <a:sym typeface="Roboto Slab Light"/>
              </a:rPr>
              <a:t> and selected financial instrument</a:t>
            </a:r>
          </a:p>
          <a:p>
            <a:pPr lvl="0" algn="l">
              <a:lnSpc>
                <a:spcPct val="120000"/>
              </a:lnSpc>
              <a:defRPr sz="1600">
                <a:solidFill>
                  <a:srgbClr val="EBEDF6"/>
                </a:solidFill>
                <a:latin typeface="Roboto Slab Light"/>
                <a:ea typeface="Roboto Slab Light"/>
                <a:cs typeface="Roboto Slab Light"/>
                <a:sym typeface="Roboto Slab Light"/>
              </a:defRPr>
            </a:pPr>
            <a:endParaRPr lang="pl-PL" sz="1200" dirty="0">
              <a:solidFill>
                <a:schemeClr val="tx2"/>
              </a:solidFill>
              <a:latin typeface="Novel Pro Light" panose="020B0604020202020204" charset="-18"/>
              <a:ea typeface="Roboto Slab Light"/>
              <a:cs typeface="Roboto Slab Light"/>
              <a:sym typeface="Roboto Slab Light"/>
            </a:endParaRPr>
          </a:p>
        </p:txBody>
      </p:sp>
      <p:grpSp>
        <p:nvGrpSpPr>
          <p:cNvPr id="86" name="Grupa 85">
            <a:extLst>
              <a:ext uri="{FF2B5EF4-FFF2-40B4-BE49-F238E27FC236}">
                <a16:creationId xmlns:a16="http://schemas.microsoft.com/office/drawing/2014/main" id="{7624BA0F-C6C4-A943-80D2-3883153A633D}"/>
              </a:ext>
            </a:extLst>
          </p:cNvPr>
          <p:cNvGrpSpPr/>
          <p:nvPr/>
        </p:nvGrpSpPr>
        <p:grpSpPr>
          <a:xfrm>
            <a:off x="6591222" y="1634551"/>
            <a:ext cx="571501" cy="571501"/>
            <a:chOff x="1584000" y="4285900"/>
            <a:chExt cx="1143001" cy="1143001"/>
          </a:xfrm>
        </p:grpSpPr>
        <p:sp>
          <p:nvSpPr>
            <p:cNvPr id="87" name="Circle">
              <a:extLst>
                <a:ext uri="{FF2B5EF4-FFF2-40B4-BE49-F238E27FC236}">
                  <a16:creationId xmlns:a16="http://schemas.microsoft.com/office/drawing/2014/main" id="{6424D880-CF08-4742-8A28-53C0387C22AA}"/>
                </a:ext>
              </a:extLst>
            </p:cNvPr>
            <p:cNvSpPr/>
            <p:nvPr/>
          </p:nvSpPr>
          <p:spPr>
            <a:xfrm>
              <a:off x="1584000" y="4285900"/>
              <a:ext cx="1143001" cy="11430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88" name="Grafika 87">
              <a:extLst>
                <a:ext uri="{FF2B5EF4-FFF2-40B4-BE49-F238E27FC236}">
                  <a16:creationId xmlns:a16="http://schemas.microsoft.com/office/drawing/2014/main" id="{A721733D-FC05-C744-8A2D-4566BE22FCC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723701" y="4406549"/>
              <a:ext cx="900000" cy="900000"/>
            </a:xfrm>
            <a:prstGeom prst="rect">
              <a:avLst/>
            </a:prstGeom>
          </p:spPr>
        </p:pic>
      </p:grpSp>
      <p:grpSp>
        <p:nvGrpSpPr>
          <p:cNvPr id="89" name="Grupa 88">
            <a:extLst>
              <a:ext uri="{FF2B5EF4-FFF2-40B4-BE49-F238E27FC236}">
                <a16:creationId xmlns:a16="http://schemas.microsoft.com/office/drawing/2014/main" id="{55E9F561-C5AC-8543-A1B4-AAFDA3C3E036}"/>
              </a:ext>
            </a:extLst>
          </p:cNvPr>
          <p:cNvGrpSpPr/>
          <p:nvPr/>
        </p:nvGrpSpPr>
        <p:grpSpPr>
          <a:xfrm>
            <a:off x="6600322" y="3419947"/>
            <a:ext cx="571501" cy="571501"/>
            <a:chOff x="1584000" y="7058062"/>
            <a:chExt cx="1143001" cy="1143001"/>
          </a:xfrm>
        </p:grpSpPr>
        <p:sp>
          <p:nvSpPr>
            <p:cNvPr id="90" name="Circle">
              <a:extLst>
                <a:ext uri="{FF2B5EF4-FFF2-40B4-BE49-F238E27FC236}">
                  <a16:creationId xmlns:a16="http://schemas.microsoft.com/office/drawing/2014/main" id="{AEF3A786-F854-FC44-A6F9-DF54FB247377}"/>
                </a:ext>
              </a:extLst>
            </p:cNvPr>
            <p:cNvSpPr/>
            <p:nvPr/>
          </p:nvSpPr>
          <p:spPr>
            <a:xfrm>
              <a:off x="1584000" y="7058062"/>
              <a:ext cx="1143001" cy="11430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91" name="Grafika 90">
              <a:extLst>
                <a:ext uri="{FF2B5EF4-FFF2-40B4-BE49-F238E27FC236}">
                  <a16:creationId xmlns:a16="http://schemas.microsoft.com/office/drawing/2014/main" id="{BF3D02ED-8F8A-6F44-A520-1759F744097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74774" y="7232247"/>
              <a:ext cx="797854" cy="797854"/>
            </a:xfrm>
            <a:prstGeom prst="rect">
              <a:avLst/>
            </a:prstGeom>
          </p:spPr>
        </p:pic>
      </p:grpSp>
      <p:grpSp>
        <p:nvGrpSpPr>
          <p:cNvPr id="92" name="Grupa 91">
            <a:extLst>
              <a:ext uri="{FF2B5EF4-FFF2-40B4-BE49-F238E27FC236}">
                <a16:creationId xmlns:a16="http://schemas.microsoft.com/office/drawing/2014/main" id="{946E6924-4FEE-094E-9217-DFDA604FEEF7}"/>
              </a:ext>
            </a:extLst>
          </p:cNvPr>
          <p:cNvGrpSpPr/>
          <p:nvPr/>
        </p:nvGrpSpPr>
        <p:grpSpPr>
          <a:xfrm>
            <a:off x="6591222" y="2551158"/>
            <a:ext cx="571501" cy="571501"/>
            <a:chOff x="1584000" y="5663004"/>
            <a:chExt cx="1143001" cy="1143001"/>
          </a:xfrm>
        </p:grpSpPr>
        <p:sp>
          <p:nvSpPr>
            <p:cNvPr id="93" name="Circle">
              <a:extLst>
                <a:ext uri="{FF2B5EF4-FFF2-40B4-BE49-F238E27FC236}">
                  <a16:creationId xmlns:a16="http://schemas.microsoft.com/office/drawing/2014/main" id="{55FFED92-CE81-4141-A684-21755AA5EB3E}"/>
                </a:ext>
              </a:extLst>
            </p:cNvPr>
            <p:cNvSpPr/>
            <p:nvPr/>
          </p:nvSpPr>
          <p:spPr>
            <a:xfrm>
              <a:off x="1584000" y="5663004"/>
              <a:ext cx="1143001" cy="1143001"/>
            </a:xfrm>
            <a:prstGeom prst="ellipse">
              <a:avLst/>
            </a:prstGeom>
            <a:solidFill>
              <a:schemeClr val="accent1"/>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94" name="Grafika 93">
              <a:extLst>
                <a:ext uri="{FF2B5EF4-FFF2-40B4-BE49-F238E27FC236}">
                  <a16:creationId xmlns:a16="http://schemas.microsoft.com/office/drawing/2014/main" id="{C6E5575D-54F5-D840-9F17-E9F8FA68C81B}"/>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774774" y="5878685"/>
              <a:ext cx="735213" cy="735213"/>
            </a:xfrm>
            <a:prstGeom prst="rect">
              <a:avLst/>
            </a:prstGeom>
          </p:spPr>
        </p:pic>
      </p:grpSp>
      <p:grpSp>
        <p:nvGrpSpPr>
          <p:cNvPr id="95" name="Grupa 94">
            <a:extLst>
              <a:ext uri="{FF2B5EF4-FFF2-40B4-BE49-F238E27FC236}">
                <a16:creationId xmlns:a16="http://schemas.microsoft.com/office/drawing/2014/main" id="{36027B4F-10A1-9344-BDA1-959767AFBBBE}"/>
              </a:ext>
            </a:extLst>
          </p:cNvPr>
          <p:cNvGrpSpPr/>
          <p:nvPr/>
        </p:nvGrpSpPr>
        <p:grpSpPr>
          <a:xfrm>
            <a:off x="6591222" y="4310600"/>
            <a:ext cx="571501" cy="571501"/>
            <a:chOff x="1584000" y="8602255"/>
            <a:chExt cx="1143001" cy="1143001"/>
          </a:xfrm>
        </p:grpSpPr>
        <p:sp>
          <p:nvSpPr>
            <p:cNvPr id="96" name="Circle">
              <a:extLst>
                <a:ext uri="{FF2B5EF4-FFF2-40B4-BE49-F238E27FC236}">
                  <a16:creationId xmlns:a16="http://schemas.microsoft.com/office/drawing/2014/main" id="{C0998A3B-E951-8D41-8DC4-490C9C72B7FC}"/>
                </a:ext>
              </a:extLst>
            </p:cNvPr>
            <p:cNvSpPr/>
            <p:nvPr/>
          </p:nvSpPr>
          <p:spPr>
            <a:xfrm>
              <a:off x="1584000" y="8602255"/>
              <a:ext cx="1143001" cy="1143001"/>
            </a:xfrm>
            <a:prstGeom prst="ellipse">
              <a:avLst/>
            </a:prstGeom>
            <a:solidFill>
              <a:schemeClr val="tx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97" name="Grafika 96">
              <a:extLst>
                <a:ext uri="{FF2B5EF4-FFF2-40B4-BE49-F238E27FC236}">
                  <a16:creationId xmlns:a16="http://schemas.microsoft.com/office/drawing/2014/main" id="{BC7D2642-4656-D542-A3A6-E262561B8AF0}"/>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823305" y="8816900"/>
              <a:ext cx="686682" cy="686682"/>
            </a:xfrm>
            <a:prstGeom prst="rect">
              <a:avLst/>
            </a:prstGeom>
          </p:spPr>
        </p:pic>
      </p:grpSp>
      <p:grpSp>
        <p:nvGrpSpPr>
          <p:cNvPr id="98" name="Grupa 97">
            <a:extLst>
              <a:ext uri="{FF2B5EF4-FFF2-40B4-BE49-F238E27FC236}">
                <a16:creationId xmlns:a16="http://schemas.microsoft.com/office/drawing/2014/main" id="{89F4A3C9-CAC7-4A46-AB38-AF8DB739357F}"/>
              </a:ext>
            </a:extLst>
          </p:cNvPr>
          <p:cNvGrpSpPr/>
          <p:nvPr/>
        </p:nvGrpSpPr>
        <p:grpSpPr>
          <a:xfrm>
            <a:off x="6591222" y="5178901"/>
            <a:ext cx="571501" cy="571501"/>
            <a:chOff x="1584000" y="10421678"/>
            <a:chExt cx="1143001" cy="1143001"/>
          </a:xfrm>
        </p:grpSpPr>
        <p:sp>
          <p:nvSpPr>
            <p:cNvPr id="99" name="Circle">
              <a:extLst>
                <a:ext uri="{FF2B5EF4-FFF2-40B4-BE49-F238E27FC236}">
                  <a16:creationId xmlns:a16="http://schemas.microsoft.com/office/drawing/2014/main" id="{3B4C0160-3F74-E547-AA3D-95C5EF24AA5B}"/>
                </a:ext>
              </a:extLst>
            </p:cNvPr>
            <p:cNvSpPr/>
            <p:nvPr/>
          </p:nvSpPr>
          <p:spPr>
            <a:xfrm>
              <a:off x="1584000" y="10421678"/>
              <a:ext cx="1143001" cy="1143001"/>
            </a:xfrm>
            <a:prstGeom prst="ellipse">
              <a:avLst/>
            </a:prstGeom>
            <a:solidFill>
              <a:schemeClr val="tx2">
                <a:lumMod val="60000"/>
                <a:lumOff val="40000"/>
              </a:schemeClr>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100" name="Grafika 99">
              <a:extLst>
                <a:ext uri="{FF2B5EF4-FFF2-40B4-BE49-F238E27FC236}">
                  <a16:creationId xmlns:a16="http://schemas.microsoft.com/office/drawing/2014/main" id="{889FB3AB-54A3-B641-AFF7-06F6E1FBD0A3}"/>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53522" y="10604320"/>
              <a:ext cx="777715" cy="777715"/>
            </a:xfrm>
            <a:prstGeom prst="rect">
              <a:avLst/>
            </a:prstGeom>
          </p:spPr>
        </p:pic>
      </p:grp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37</a:t>
            </a:fld>
            <a:endParaRPr/>
          </a:p>
        </p:txBody>
      </p:sp>
    </p:spTree>
    <p:extLst>
      <p:ext uri="{BB962C8B-B14F-4D97-AF65-F5344CB8AC3E}">
        <p14:creationId xmlns:p14="http://schemas.microsoft.com/office/powerpoint/2010/main" val="387498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he Business Section…">
            <a:extLst>
              <a:ext uri="{FF2B5EF4-FFF2-40B4-BE49-F238E27FC236}">
                <a16:creationId xmlns:a16="http://schemas.microsoft.com/office/drawing/2014/main" id="{38BC60DC-A957-874B-8061-3A07C1C97708}"/>
              </a:ext>
            </a:extLst>
          </p:cNvPr>
          <p:cNvSpPr txBox="1"/>
          <p:nvPr/>
        </p:nvSpPr>
        <p:spPr>
          <a:xfrm>
            <a:off x="831107" y="3757563"/>
            <a:ext cx="1800000" cy="6444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a:latin typeface="Novel Pro Light" pitchFamily="2" charset="0"/>
              </a:rPr>
              <a:t>Preliminary </a:t>
            </a:r>
            <a:r>
              <a:rPr lang="pl-PL" sz="1200" dirty="0" err="1">
                <a:latin typeface="Novel Pro Light" pitchFamily="2" charset="0"/>
              </a:rPr>
              <a:t>concept</a:t>
            </a:r>
            <a:r>
              <a:rPr lang="pl-PL" sz="1200" dirty="0">
                <a:latin typeface="Novel Pro Light" pitchFamily="2" charset="0"/>
              </a:rPr>
              <a:t> </a:t>
            </a:r>
            <a:r>
              <a:rPr lang="pl-PL" sz="1200" dirty="0" err="1">
                <a:latin typeface="Novel Pro Light" pitchFamily="2" charset="0"/>
              </a:rPr>
              <a:t>review</a:t>
            </a:r>
            <a:endParaRPr lang="pl-PL" sz="1200" dirty="0">
              <a:latin typeface="Novel Pro Light" pitchFamily="2" charset="0"/>
            </a:endParaRP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a:latin typeface="Novel Pro Light" pitchFamily="2" charset="0"/>
              </a:rPr>
              <a:t>Fund </a:t>
            </a:r>
            <a:r>
              <a:rPr lang="pl-PL" sz="1200" dirty="0" err="1">
                <a:latin typeface="Novel Pro Light" pitchFamily="2" charset="0"/>
              </a:rPr>
              <a:t>presentation</a:t>
            </a:r>
            <a:endParaRPr lang="pl-PL" sz="1200" dirty="0">
              <a:latin typeface="Novel Pro Light" pitchFamily="2" charset="0"/>
            </a:endParaRPr>
          </a:p>
        </p:txBody>
      </p:sp>
      <p:sp>
        <p:nvSpPr>
          <p:cNvPr id="36" name="The Business Section…">
            <a:extLst>
              <a:ext uri="{FF2B5EF4-FFF2-40B4-BE49-F238E27FC236}">
                <a16:creationId xmlns:a16="http://schemas.microsoft.com/office/drawing/2014/main" id="{0FB59972-BE73-EE40-BE0E-A283BF8834E6}"/>
              </a:ext>
            </a:extLst>
          </p:cNvPr>
          <p:cNvSpPr txBox="1"/>
          <p:nvPr/>
        </p:nvSpPr>
        <p:spPr>
          <a:xfrm>
            <a:off x="2799250" y="3738802"/>
            <a:ext cx="2346559" cy="24172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Concept</a:t>
            </a:r>
            <a:r>
              <a:rPr lang="pl-PL" sz="1200" dirty="0">
                <a:solidFill>
                  <a:schemeClr val="tx2"/>
                </a:solidFill>
                <a:latin typeface="Novel Pro Light" pitchFamily="2" charset="0"/>
              </a:rPr>
              <a:t> and </a:t>
            </a:r>
            <a:r>
              <a:rPr lang="pl-PL" sz="1200" dirty="0" err="1">
                <a:solidFill>
                  <a:schemeClr val="tx2"/>
                </a:solidFill>
                <a:latin typeface="Novel Pro Light" pitchFamily="2" charset="0"/>
              </a:rPr>
              <a:t>scope</a:t>
            </a:r>
            <a:r>
              <a:rPr lang="pl-PL" sz="1200" dirty="0">
                <a:solidFill>
                  <a:schemeClr val="tx2"/>
                </a:solidFill>
                <a:latin typeface="Novel Pro Light" pitchFamily="2" charset="0"/>
              </a:rPr>
              <a:t> of the </a:t>
            </a:r>
            <a:r>
              <a:rPr lang="pl-PL" sz="1200" dirty="0" err="1">
                <a:solidFill>
                  <a:schemeClr val="tx2"/>
                </a:solidFill>
                <a:latin typeface="Novel Pro Light" pitchFamily="2" charset="0"/>
              </a:rPr>
              <a:t>project</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Polish</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partner’s</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competences</a:t>
            </a:r>
            <a:r>
              <a:rPr lang="pl-PL" sz="1200" dirty="0">
                <a:solidFill>
                  <a:schemeClr val="tx2"/>
                </a:solidFill>
                <a:latin typeface="Novel Pro Light" pitchFamily="2" charset="0"/>
              </a:rPr>
              <a:t> and </a:t>
            </a:r>
            <a:r>
              <a:rPr lang="pl-PL" sz="1200" dirty="0" err="1">
                <a:solidFill>
                  <a:schemeClr val="tx2"/>
                </a:solidFill>
                <a:latin typeface="Novel Pro Light" pitchFamily="2" charset="0"/>
              </a:rPr>
              <a:t>experience</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Polish</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partner’s</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audited</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financial</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statements</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rPr>
              <a:t>Polish</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partner’s</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ownership</a:t>
            </a:r>
            <a:r>
              <a:rPr lang="pl-PL" sz="1200" dirty="0">
                <a:solidFill>
                  <a:schemeClr val="tx2"/>
                </a:solidFill>
                <a:latin typeface="Novel Pro Light" pitchFamily="2" charset="0"/>
              </a:rPr>
              <a:t> </a:t>
            </a:r>
            <a:r>
              <a:rPr lang="pl-PL" sz="1200" dirty="0" err="1">
                <a:solidFill>
                  <a:schemeClr val="tx2"/>
                </a:solidFill>
                <a:latin typeface="Novel Pro Light" pitchFamily="2" charset="0"/>
              </a:rPr>
              <a:t>structure</a:t>
            </a:r>
            <a:endParaRPr lang="pl-PL" sz="1200" dirty="0">
              <a:solidFill>
                <a:schemeClr val="tx2"/>
              </a:solidFill>
              <a:latin typeface="Novel Pro Light" pitchFamily="2" charset="0"/>
            </a:endParaRP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rPr>
              <a:t>Initial project financing structure</a:t>
            </a:r>
          </a:p>
          <a:p>
            <a:pPr marL="128581" indent="-128581">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rPr>
              <a:t>KYC, AML, reputation risk verification</a:t>
            </a:r>
            <a:endParaRPr lang="pl-PL" sz="1200" dirty="0">
              <a:solidFill>
                <a:schemeClr val="tx2"/>
              </a:solidFill>
              <a:latin typeface="Novel Pro Light" pitchFamily="2" charset="0"/>
            </a:endParaRPr>
          </a:p>
        </p:txBody>
      </p:sp>
      <p:sp>
        <p:nvSpPr>
          <p:cNvPr id="40" name="The Business Section…">
            <a:extLst>
              <a:ext uri="{FF2B5EF4-FFF2-40B4-BE49-F238E27FC236}">
                <a16:creationId xmlns:a16="http://schemas.microsoft.com/office/drawing/2014/main" id="{4E66BD86-3ED8-194D-9593-928D6A178081}"/>
              </a:ext>
            </a:extLst>
          </p:cNvPr>
          <p:cNvSpPr txBox="1"/>
          <p:nvPr/>
        </p:nvSpPr>
        <p:spPr>
          <a:xfrm>
            <a:off x="5324404" y="3726499"/>
            <a:ext cx="2412784" cy="24172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342900" indent="-342900" algn="l">
              <a:lnSpc>
                <a:spcPct val="120000"/>
              </a:lnSpc>
              <a:buFont typeface="Arial" panose="020B0604020202020204" pitchFamily="34" charset="0"/>
              <a:buChar char="•"/>
              <a:defRPr sz="2400" b="0">
                <a:solidFill>
                  <a:schemeClr val="tx2"/>
                </a:solidFill>
                <a:latin typeface="Novel Pro Light" pitchFamily="2" charset="0"/>
                <a:ea typeface="Roboto Light"/>
                <a:cs typeface="Roboto Light"/>
              </a:defRPr>
            </a:lvl1pPr>
          </a:lstStyle>
          <a:p>
            <a:r>
              <a:rPr lang="en-US" sz="1200" dirty="0"/>
              <a:t>Full business plan</a:t>
            </a:r>
          </a:p>
          <a:p>
            <a:r>
              <a:rPr lang="en-US" sz="1200" dirty="0"/>
              <a:t>Market </a:t>
            </a:r>
            <a:r>
              <a:rPr lang="pl-PL" sz="1200" dirty="0" err="1"/>
              <a:t>analysis</a:t>
            </a:r>
            <a:endParaRPr lang="en-US" sz="1200" dirty="0"/>
          </a:p>
          <a:p>
            <a:r>
              <a:rPr lang="pl-PL" sz="1200" dirty="0" err="1"/>
              <a:t>Project’s</a:t>
            </a:r>
            <a:r>
              <a:rPr lang="pl-PL" sz="1200" dirty="0"/>
              <a:t> </a:t>
            </a:r>
            <a:r>
              <a:rPr lang="pl-PL" sz="1200" dirty="0" err="1"/>
              <a:t>ownership</a:t>
            </a:r>
            <a:r>
              <a:rPr lang="pl-PL" sz="1200" dirty="0"/>
              <a:t> </a:t>
            </a:r>
            <a:r>
              <a:rPr lang="pl-PL" sz="1200" dirty="0" err="1"/>
              <a:t>structure</a:t>
            </a:r>
            <a:endParaRPr lang="pl-PL" sz="1200" dirty="0"/>
          </a:p>
          <a:p>
            <a:r>
              <a:rPr lang="pl-PL" sz="1200" dirty="0"/>
              <a:t>Project </a:t>
            </a:r>
            <a:r>
              <a:rPr lang="pl-PL" sz="1200" dirty="0" err="1"/>
              <a:t>managers</a:t>
            </a:r>
            <a:r>
              <a:rPr lang="pl-PL" sz="1200" dirty="0"/>
              <a:t>’ </a:t>
            </a:r>
            <a:r>
              <a:rPr lang="pl-PL" sz="1200" dirty="0" err="1"/>
              <a:t>competences</a:t>
            </a:r>
            <a:endParaRPr lang="pl-PL" sz="1200" dirty="0"/>
          </a:p>
          <a:p>
            <a:r>
              <a:rPr lang="en-US" sz="1200" dirty="0"/>
              <a:t>Financial projection (10</a:t>
            </a:r>
            <a:r>
              <a:rPr lang="pl-PL" sz="1200" dirty="0"/>
              <a:t> </a:t>
            </a:r>
            <a:r>
              <a:rPr lang="en-GB" sz="1200" dirty="0"/>
              <a:t> </a:t>
            </a:r>
            <a:r>
              <a:rPr lang="en-US" sz="1200" dirty="0"/>
              <a:t>years)</a:t>
            </a:r>
          </a:p>
          <a:p>
            <a:r>
              <a:rPr lang="en-US" sz="1200" dirty="0"/>
              <a:t>Compliance with </a:t>
            </a:r>
            <a:r>
              <a:rPr lang="pl-PL" sz="1200" dirty="0"/>
              <a:t>the f</a:t>
            </a:r>
            <a:r>
              <a:rPr lang="en-US" sz="1200" dirty="0" err="1"/>
              <a:t>und’s</a:t>
            </a:r>
            <a:r>
              <a:rPr lang="en-US" sz="1200" dirty="0"/>
              <a:t> social responsibility policy</a:t>
            </a:r>
            <a:endParaRPr lang="pl-PL" sz="1200" dirty="0"/>
          </a:p>
          <a:p>
            <a:endParaRPr lang="pl-PL" sz="1200" dirty="0"/>
          </a:p>
          <a:p>
            <a:endParaRPr lang="pl-PL" sz="1200" dirty="0"/>
          </a:p>
        </p:txBody>
      </p:sp>
      <p:sp>
        <p:nvSpPr>
          <p:cNvPr id="43" name="short intro.">
            <a:extLst>
              <a:ext uri="{FF2B5EF4-FFF2-40B4-BE49-F238E27FC236}">
                <a16:creationId xmlns:a16="http://schemas.microsoft.com/office/drawing/2014/main" id="{4091264E-53AC-0449-A77C-38E3ABD28F7A}"/>
              </a:ext>
            </a:extLst>
          </p:cNvPr>
          <p:cNvSpPr txBox="1"/>
          <p:nvPr/>
        </p:nvSpPr>
        <p:spPr>
          <a:xfrm>
            <a:off x="792000" y="720000"/>
            <a:ext cx="5198493"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pl-PL" sz="2700" b="1" dirty="0">
                <a:latin typeface="Novel Pro SemiBold" pitchFamily="2" charset="0"/>
              </a:rPr>
              <a:t>Investment </a:t>
            </a:r>
            <a:r>
              <a:rPr lang="pl-PL" sz="2700" b="1" dirty="0" err="1">
                <a:latin typeface="Novel Pro SemiBold" pitchFamily="2" charset="0"/>
              </a:rPr>
              <a:t>process</a:t>
            </a:r>
            <a:endParaRPr lang="pl-PL" sz="2700" b="1" dirty="0">
              <a:latin typeface="Novel Pro SemiBold" pitchFamily="2" charset="0"/>
            </a:endParaRPr>
          </a:p>
        </p:txBody>
      </p:sp>
      <p:sp>
        <p:nvSpPr>
          <p:cNvPr id="62" name="The Business Section…">
            <a:extLst>
              <a:ext uri="{FF2B5EF4-FFF2-40B4-BE49-F238E27FC236}">
                <a16:creationId xmlns:a16="http://schemas.microsoft.com/office/drawing/2014/main" id="{1BA730AC-6E69-3648-BAE9-CAB97C0F7619}"/>
              </a:ext>
            </a:extLst>
          </p:cNvPr>
          <p:cNvSpPr txBox="1"/>
          <p:nvPr/>
        </p:nvSpPr>
        <p:spPr>
          <a:xfrm>
            <a:off x="8404554" y="3714962"/>
            <a:ext cx="2466605" cy="17524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Legal </a:t>
            </a:r>
            <a:r>
              <a:rPr lang="pl-PL" sz="1200" dirty="0" err="1">
                <a:solidFill>
                  <a:schemeClr val="tx2"/>
                </a:solidFill>
                <a:latin typeface="Novel Pro Light" pitchFamily="2" charset="0"/>
                <a:ea typeface="Roboto Light"/>
                <a:cs typeface="Roboto Light"/>
              </a:rPr>
              <a:t>opinions</a:t>
            </a:r>
            <a:endParaRPr lang="en-US" sz="1200" dirty="0">
              <a:solidFill>
                <a:schemeClr val="tx2"/>
              </a:solidFill>
              <a:latin typeface="Novel Pro Light" pitchFamily="2" charset="0"/>
              <a:ea typeface="Roboto Light"/>
              <a:cs typeface="Roboto Light"/>
            </a:endParaRP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ea typeface="Roboto Light"/>
                <a:cs typeface="Roboto Light"/>
              </a:rPr>
              <a:t>Conditions</a:t>
            </a:r>
            <a:r>
              <a:rPr lang="pl-PL" sz="1200" dirty="0">
                <a:solidFill>
                  <a:schemeClr val="tx2"/>
                </a:solidFill>
                <a:latin typeface="Novel Pro Light" pitchFamily="2" charset="0"/>
                <a:ea typeface="Roboto Light"/>
                <a:cs typeface="Roboto Light"/>
              </a:rPr>
              <a:t> </a:t>
            </a:r>
            <a:r>
              <a:rPr lang="pl-PL" sz="1200" dirty="0" err="1">
                <a:solidFill>
                  <a:schemeClr val="tx2"/>
                </a:solidFill>
                <a:latin typeface="Novel Pro Light" pitchFamily="2" charset="0"/>
                <a:ea typeface="Roboto Light"/>
                <a:cs typeface="Roboto Light"/>
              </a:rPr>
              <a:t>precedent</a:t>
            </a:r>
            <a:r>
              <a:rPr lang="pl-PL" sz="1200" dirty="0">
                <a:solidFill>
                  <a:schemeClr val="tx2"/>
                </a:solidFill>
                <a:latin typeface="Novel Pro Light" pitchFamily="2" charset="0"/>
                <a:ea typeface="Roboto Light"/>
                <a:cs typeface="Roboto Light"/>
              </a:rPr>
              <a:t> </a:t>
            </a:r>
            <a:r>
              <a:rPr lang="en-US" sz="1200" dirty="0">
                <a:solidFill>
                  <a:schemeClr val="tx2"/>
                </a:solidFill>
                <a:latin typeface="Novel Pro Light" pitchFamily="2" charset="0"/>
                <a:ea typeface="Roboto Light"/>
                <a:cs typeface="Roboto Light"/>
              </a:rPr>
              <a:t>fulfillment</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pl-PL" sz="1200" dirty="0" err="1">
                <a:solidFill>
                  <a:schemeClr val="tx2"/>
                </a:solidFill>
                <a:latin typeface="Novel Pro Light" pitchFamily="2" charset="0"/>
                <a:ea typeface="Roboto Light"/>
                <a:cs typeface="Roboto Light"/>
              </a:rPr>
              <a:t>Disbursement</a:t>
            </a:r>
            <a:r>
              <a:rPr lang="pl-PL" sz="1200" dirty="0">
                <a:solidFill>
                  <a:schemeClr val="tx2"/>
                </a:solidFill>
                <a:latin typeface="Novel Pro Light" pitchFamily="2" charset="0"/>
                <a:ea typeface="Roboto Light"/>
                <a:cs typeface="Roboto Light"/>
              </a:rPr>
              <a:t> </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Periodic reporting</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Cooperation </a:t>
            </a:r>
            <a:r>
              <a:rPr lang="pl-PL" sz="1200" dirty="0">
                <a:solidFill>
                  <a:schemeClr val="tx2"/>
                </a:solidFill>
                <a:latin typeface="Novel Pro Light" pitchFamily="2" charset="0"/>
                <a:ea typeface="Roboto Light"/>
                <a:cs typeface="Roboto Light"/>
              </a:rPr>
              <a:t>on</a:t>
            </a:r>
            <a:r>
              <a:rPr lang="en-US" sz="1200" dirty="0">
                <a:solidFill>
                  <a:schemeClr val="tx2"/>
                </a:solidFill>
                <a:latin typeface="Novel Pro Light" pitchFamily="2" charset="0"/>
                <a:ea typeface="Roboto Light"/>
                <a:cs typeface="Roboto Light"/>
              </a:rPr>
              <a:t> the supervisory board</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Additional financing</a:t>
            </a:r>
          </a:p>
          <a:p>
            <a:pPr marL="171450" indent="-171450">
              <a:lnSpc>
                <a:spcPct val="120000"/>
              </a:lnSpc>
              <a:buFont typeface="Arial" panose="020B0604020202020204" pitchFamily="34" charset="0"/>
              <a:buChar char="•"/>
              <a:defRPr sz="1800" b="0">
                <a:solidFill>
                  <a:srgbClr val="53585F"/>
                </a:solidFill>
                <a:latin typeface="Roboto Light"/>
                <a:ea typeface="Roboto Light"/>
                <a:cs typeface="Roboto Light"/>
                <a:sym typeface="Roboto Light"/>
              </a:defRPr>
            </a:pPr>
            <a:r>
              <a:rPr lang="en-US" sz="1200" dirty="0">
                <a:solidFill>
                  <a:schemeClr val="tx2"/>
                </a:solidFill>
                <a:latin typeface="Novel Pro Light" pitchFamily="2" charset="0"/>
                <a:ea typeface="Roboto Light"/>
                <a:cs typeface="Roboto Light"/>
              </a:rPr>
              <a:t>Exit</a:t>
            </a:r>
            <a:endParaRPr lang="pl-PL" sz="1200" dirty="0">
              <a:solidFill>
                <a:schemeClr val="tx2"/>
              </a:solidFill>
              <a:latin typeface="Novel Pro Light" pitchFamily="2" charset="0"/>
              <a:ea typeface="Roboto Light"/>
              <a:cs typeface="Roboto Light"/>
            </a:endParaRPr>
          </a:p>
        </p:txBody>
      </p:sp>
      <p:cxnSp>
        <p:nvCxnSpPr>
          <p:cNvPr id="7" name="Łącznik prosty 6">
            <a:extLst>
              <a:ext uri="{FF2B5EF4-FFF2-40B4-BE49-F238E27FC236}">
                <a16:creationId xmlns:a16="http://schemas.microsoft.com/office/drawing/2014/main" id="{B2ACF188-DD6B-4743-944C-63203601CF4E}"/>
              </a:ext>
            </a:extLst>
          </p:cNvPr>
          <p:cNvCxnSpPr>
            <a:cxnSpLocks/>
          </p:cNvCxnSpPr>
          <p:nvPr/>
        </p:nvCxnSpPr>
        <p:spPr>
          <a:xfrm>
            <a:off x="2631107" y="3625903"/>
            <a:ext cx="0" cy="2682000"/>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5" name="Łącznik prosty 64">
            <a:extLst>
              <a:ext uri="{FF2B5EF4-FFF2-40B4-BE49-F238E27FC236}">
                <a16:creationId xmlns:a16="http://schemas.microsoft.com/office/drawing/2014/main" id="{0B5DCD1E-CB4D-004B-AF0A-EB9FCBD1E11A}"/>
              </a:ext>
            </a:extLst>
          </p:cNvPr>
          <p:cNvCxnSpPr>
            <a:cxnSpLocks/>
          </p:cNvCxnSpPr>
          <p:nvPr/>
        </p:nvCxnSpPr>
        <p:spPr>
          <a:xfrm>
            <a:off x="5166861" y="3625903"/>
            <a:ext cx="0" cy="2682000"/>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6" name="Łącznik prosty 65">
            <a:extLst>
              <a:ext uri="{FF2B5EF4-FFF2-40B4-BE49-F238E27FC236}">
                <a16:creationId xmlns:a16="http://schemas.microsoft.com/office/drawing/2014/main" id="{6719B816-4918-0440-8F27-365A4B9AA0F0}"/>
              </a:ext>
            </a:extLst>
          </p:cNvPr>
          <p:cNvCxnSpPr>
            <a:cxnSpLocks/>
          </p:cNvCxnSpPr>
          <p:nvPr/>
        </p:nvCxnSpPr>
        <p:spPr>
          <a:xfrm>
            <a:off x="8178001" y="3625903"/>
            <a:ext cx="0" cy="2682000"/>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sp>
        <p:nvSpPr>
          <p:cNvPr id="67" name="The Business Section…">
            <a:extLst>
              <a:ext uri="{FF2B5EF4-FFF2-40B4-BE49-F238E27FC236}">
                <a16:creationId xmlns:a16="http://schemas.microsoft.com/office/drawing/2014/main" id="{D1EBDF47-F51C-2D4F-910B-E5F59E647D5C}"/>
              </a:ext>
            </a:extLst>
          </p:cNvPr>
          <p:cNvSpPr txBox="1"/>
          <p:nvPr/>
        </p:nvSpPr>
        <p:spPr>
          <a:xfrm>
            <a:off x="852158" y="2508069"/>
            <a:ext cx="1548000"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err="1">
                <a:solidFill>
                  <a:schemeClr val="tx2"/>
                </a:solidFill>
                <a:latin typeface="Novel Pro" pitchFamily="2" charset="0"/>
              </a:rPr>
              <a:t>Discussion</a:t>
            </a:r>
            <a:r>
              <a:rPr lang="pl-PL" sz="1200" dirty="0">
                <a:solidFill>
                  <a:schemeClr val="tx2"/>
                </a:solidFill>
                <a:latin typeface="Novel Pro" pitchFamily="2" charset="0"/>
              </a:rPr>
              <a:t> on </a:t>
            </a:r>
            <a:r>
              <a:rPr lang="pl-PL" sz="1200" dirty="0" err="1">
                <a:solidFill>
                  <a:schemeClr val="tx2"/>
                </a:solidFill>
                <a:latin typeface="Novel Pro" pitchFamily="2" charset="0"/>
              </a:rPr>
              <a:t>initial</a:t>
            </a:r>
            <a:r>
              <a:rPr lang="pl-PL" sz="1200" dirty="0">
                <a:solidFill>
                  <a:schemeClr val="tx2"/>
                </a:solidFill>
                <a:latin typeface="Novel Pro" pitchFamily="2" charset="0"/>
              </a:rPr>
              <a:t> </a:t>
            </a:r>
            <a:r>
              <a:rPr lang="pl-PL" sz="1200" dirty="0" err="1">
                <a:solidFill>
                  <a:schemeClr val="tx2"/>
                </a:solidFill>
                <a:latin typeface="Novel Pro" pitchFamily="2" charset="0"/>
              </a:rPr>
              <a:t>assumptions</a:t>
            </a:r>
            <a:endParaRPr lang="pl-PL" sz="1200" dirty="0">
              <a:solidFill>
                <a:schemeClr val="tx2"/>
              </a:solidFill>
              <a:latin typeface="Novel Pro" pitchFamily="2" charset="0"/>
            </a:endParaRPr>
          </a:p>
        </p:txBody>
      </p:sp>
      <p:sp>
        <p:nvSpPr>
          <p:cNvPr id="68" name="Rectangle 24">
            <a:extLst>
              <a:ext uri="{FF2B5EF4-FFF2-40B4-BE49-F238E27FC236}">
                <a16:creationId xmlns:a16="http://schemas.microsoft.com/office/drawing/2014/main" id="{3E983F20-EC99-8740-94AC-FBF05E479D7C}"/>
              </a:ext>
            </a:extLst>
          </p:cNvPr>
          <p:cNvSpPr>
            <a:spLocks noChangeArrowheads="1"/>
          </p:cNvSpPr>
          <p:nvPr/>
        </p:nvSpPr>
        <p:spPr bwMode="auto">
          <a:xfrm>
            <a:off x="1156958" y="2099035"/>
            <a:ext cx="965469" cy="184666"/>
          </a:xfrm>
          <a:prstGeom prst="rect">
            <a:avLst/>
          </a:prstGeom>
          <a:noFill/>
          <a:ln w="9525">
            <a:noFill/>
            <a:miter lim="800000"/>
            <a:headEnd/>
            <a:tailEnd/>
          </a:ln>
        </p:spPr>
        <p:txBody>
          <a:bodyPr wrap="square" lIns="0" tIns="0" rIns="0" bIns="0">
            <a:spAutoFit/>
          </a:bodyPr>
          <a:lstStyle/>
          <a:p>
            <a:pPr marL="180975" indent="-180975" defTabSz="457200">
              <a:spcBef>
                <a:spcPct val="100000"/>
              </a:spcBef>
              <a:spcAft>
                <a:spcPct val="50000"/>
              </a:spcAft>
              <a:buClr>
                <a:srgbClr val="000066"/>
              </a:buClr>
              <a:buSzPct val="75000"/>
              <a:tabLst>
                <a:tab pos="1435100" algn="l"/>
              </a:tabLst>
            </a:pPr>
            <a:r>
              <a:rPr lang="pl-PL" sz="1200" dirty="0" err="1">
                <a:solidFill>
                  <a:schemeClr val="accent1"/>
                </a:solidFill>
                <a:latin typeface="Novel Pro" pitchFamily="2" charset="0"/>
              </a:rPr>
              <a:t>Contact</a:t>
            </a:r>
            <a:endParaRPr lang="pl-PL" sz="1200" dirty="0">
              <a:solidFill>
                <a:schemeClr val="accent1"/>
              </a:solidFill>
              <a:latin typeface="Novel Pro" pitchFamily="2" charset="0"/>
            </a:endParaRPr>
          </a:p>
        </p:txBody>
      </p:sp>
      <p:sp>
        <p:nvSpPr>
          <p:cNvPr id="69" name="The Business Section…">
            <a:extLst>
              <a:ext uri="{FF2B5EF4-FFF2-40B4-BE49-F238E27FC236}">
                <a16:creationId xmlns:a16="http://schemas.microsoft.com/office/drawing/2014/main" id="{3EE29801-D7CA-7F4A-B6A0-EF57A2D9F82F}"/>
              </a:ext>
            </a:extLst>
          </p:cNvPr>
          <p:cNvSpPr txBox="1"/>
          <p:nvPr/>
        </p:nvSpPr>
        <p:spPr>
          <a:xfrm>
            <a:off x="3105790" y="2508069"/>
            <a:ext cx="1638790"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a:solidFill>
                  <a:schemeClr val="tx2"/>
                </a:solidFill>
                <a:latin typeface="Novel Pro" pitchFamily="2" charset="0"/>
              </a:rPr>
              <a:t>Preliminary </a:t>
            </a:r>
            <a:r>
              <a:rPr lang="pl-PL" sz="1200" dirty="0" err="1">
                <a:solidFill>
                  <a:schemeClr val="tx2"/>
                </a:solidFill>
                <a:latin typeface="Novel Pro" pitchFamily="2" charset="0"/>
              </a:rPr>
              <a:t>analysis</a:t>
            </a:r>
            <a:r>
              <a:rPr lang="pl-PL" sz="1200" dirty="0">
                <a:solidFill>
                  <a:schemeClr val="tx2"/>
                </a:solidFill>
                <a:latin typeface="Novel Pro" pitchFamily="2" charset="0"/>
              </a:rPr>
              <a:t> to </a:t>
            </a:r>
            <a:r>
              <a:rPr lang="pl-PL" sz="1200" dirty="0" err="1">
                <a:solidFill>
                  <a:schemeClr val="tx2"/>
                </a:solidFill>
                <a:latin typeface="Novel Pro" pitchFamily="2" charset="0"/>
              </a:rPr>
              <a:t>committee’s</a:t>
            </a:r>
            <a:r>
              <a:rPr lang="pl-PL" sz="1200" dirty="0">
                <a:solidFill>
                  <a:schemeClr val="tx2"/>
                </a:solidFill>
                <a:latin typeface="Novel Pro" pitchFamily="2" charset="0"/>
              </a:rPr>
              <a:t> </a:t>
            </a:r>
            <a:r>
              <a:rPr lang="pl-PL" sz="1200" dirty="0" err="1">
                <a:solidFill>
                  <a:schemeClr val="tx2"/>
                </a:solidFill>
                <a:latin typeface="Novel Pro" pitchFamily="2" charset="0"/>
              </a:rPr>
              <a:t>approval</a:t>
            </a:r>
            <a:endParaRPr lang="pl-PL" sz="1200" dirty="0">
              <a:solidFill>
                <a:schemeClr val="tx2"/>
              </a:solidFill>
              <a:latin typeface="Novel Pro" pitchFamily="2" charset="0"/>
            </a:endParaRPr>
          </a:p>
        </p:txBody>
      </p:sp>
      <p:sp>
        <p:nvSpPr>
          <p:cNvPr id="70" name="The Business Section…">
            <a:extLst>
              <a:ext uri="{FF2B5EF4-FFF2-40B4-BE49-F238E27FC236}">
                <a16:creationId xmlns:a16="http://schemas.microsoft.com/office/drawing/2014/main" id="{5387A6E7-6D9E-214D-BA70-F2F2893C5CDE}"/>
              </a:ext>
            </a:extLst>
          </p:cNvPr>
          <p:cNvSpPr txBox="1"/>
          <p:nvPr/>
        </p:nvSpPr>
        <p:spPr>
          <a:xfrm>
            <a:off x="5470048" y="2508069"/>
            <a:ext cx="1872104"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err="1">
                <a:solidFill>
                  <a:schemeClr val="tx2"/>
                </a:solidFill>
                <a:latin typeface="Novel Pro" pitchFamily="2" charset="0"/>
              </a:rPr>
              <a:t>Detailed</a:t>
            </a:r>
            <a:r>
              <a:rPr lang="pl-PL" sz="1200" dirty="0">
                <a:solidFill>
                  <a:schemeClr val="tx2"/>
                </a:solidFill>
                <a:latin typeface="Novel Pro" pitchFamily="2" charset="0"/>
              </a:rPr>
              <a:t> </a:t>
            </a:r>
            <a:r>
              <a:rPr lang="pl-PL" sz="1200" dirty="0" err="1">
                <a:solidFill>
                  <a:schemeClr val="tx2"/>
                </a:solidFill>
                <a:latin typeface="Novel Pro" pitchFamily="2" charset="0"/>
              </a:rPr>
              <a:t>analysis</a:t>
            </a:r>
            <a:r>
              <a:rPr lang="pl-PL" sz="1200" dirty="0">
                <a:solidFill>
                  <a:schemeClr val="tx2"/>
                </a:solidFill>
                <a:latin typeface="Novel Pro" pitchFamily="2" charset="0"/>
              </a:rPr>
              <a:t> to </a:t>
            </a:r>
            <a:r>
              <a:rPr lang="pl-PL" sz="1200" dirty="0" err="1">
                <a:solidFill>
                  <a:schemeClr val="tx2"/>
                </a:solidFill>
                <a:latin typeface="Novel Pro" pitchFamily="2" charset="0"/>
              </a:rPr>
              <a:t>committee’s</a:t>
            </a:r>
            <a:r>
              <a:rPr lang="pl-PL" sz="1200" dirty="0">
                <a:solidFill>
                  <a:schemeClr val="tx2"/>
                </a:solidFill>
                <a:latin typeface="Novel Pro" pitchFamily="2" charset="0"/>
              </a:rPr>
              <a:t> </a:t>
            </a:r>
            <a:r>
              <a:rPr lang="pl-PL" sz="1200" dirty="0" err="1">
                <a:solidFill>
                  <a:schemeClr val="tx2"/>
                </a:solidFill>
                <a:latin typeface="Novel Pro" pitchFamily="2" charset="0"/>
              </a:rPr>
              <a:t>approval</a:t>
            </a:r>
            <a:endParaRPr lang="pl-PL" sz="1200" dirty="0">
              <a:solidFill>
                <a:schemeClr val="tx2"/>
              </a:solidFill>
              <a:latin typeface="Novel Pro" pitchFamily="2" charset="0"/>
            </a:endParaRPr>
          </a:p>
        </p:txBody>
      </p:sp>
      <p:sp>
        <p:nvSpPr>
          <p:cNvPr id="71" name="Rectangle 24">
            <a:extLst>
              <a:ext uri="{FF2B5EF4-FFF2-40B4-BE49-F238E27FC236}">
                <a16:creationId xmlns:a16="http://schemas.microsoft.com/office/drawing/2014/main" id="{BBD53C01-B313-664C-A310-A00A22C2C290}"/>
              </a:ext>
            </a:extLst>
          </p:cNvPr>
          <p:cNvSpPr>
            <a:spLocks noChangeArrowheads="1"/>
          </p:cNvSpPr>
          <p:nvPr/>
        </p:nvSpPr>
        <p:spPr bwMode="auto">
          <a:xfrm>
            <a:off x="3448690" y="1954690"/>
            <a:ext cx="3569053" cy="422873"/>
          </a:xfrm>
          <a:prstGeom prst="rect">
            <a:avLst/>
          </a:prstGeom>
          <a:noFill/>
          <a:ln w="9525">
            <a:noFill/>
            <a:miter lim="800000"/>
            <a:headEnd/>
            <a:tailEnd/>
          </a:ln>
        </p:spPr>
        <p:txBody>
          <a:bodyPr wrap="square" lIns="0" tIns="0" rIns="0" bIns="0">
            <a:spAutoFit/>
          </a:bodyPr>
          <a:lstStyle/>
          <a:p>
            <a:pPr indent="-180975" defTabSz="457200">
              <a:lnSpc>
                <a:spcPct val="120000"/>
              </a:lnSpc>
              <a:buClr>
                <a:srgbClr val="000066"/>
              </a:buClr>
              <a:buSzPct val="75000"/>
              <a:tabLst>
                <a:tab pos="1435100" algn="l"/>
              </a:tabLst>
            </a:pPr>
            <a:r>
              <a:rPr lang="pl-PL" sz="1200" dirty="0">
                <a:solidFill>
                  <a:schemeClr val="accent1"/>
                </a:solidFill>
                <a:latin typeface="Novel Pro" pitchFamily="2" charset="0"/>
              </a:rPr>
              <a:t>Project </a:t>
            </a:r>
            <a:r>
              <a:rPr lang="pl-PL" sz="1200" dirty="0" err="1">
                <a:solidFill>
                  <a:schemeClr val="accent1"/>
                </a:solidFill>
                <a:latin typeface="Novel Pro" pitchFamily="2" charset="0"/>
              </a:rPr>
              <a:t>appraisal</a:t>
            </a:r>
            <a:endParaRPr lang="pl-PL" sz="1400" dirty="0">
              <a:solidFill>
                <a:schemeClr val="accent1"/>
              </a:solidFill>
              <a:latin typeface="Novel Pro" pitchFamily="2" charset="0"/>
            </a:endParaRPr>
          </a:p>
          <a:p>
            <a:pPr indent="-180975" defTabSz="457200">
              <a:lnSpc>
                <a:spcPct val="120000"/>
              </a:lnSpc>
              <a:buClr>
                <a:srgbClr val="000066"/>
              </a:buClr>
              <a:buSzPct val="75000"/>
              <a:tabLst>
                <a:tab pos="1435100" algn="l"/>
              </a:tabLst>
            </a:pPr>
            <a:r>
              <a:rPr lang="pl-PL" sz="1200" dirty="0">
                <a:solidFill>
                  <a:schemeClr val="accent1"/>
                </a:solidFill>
                <a:latin typeface="Novel Pro Light" pitchFamily="2" charset="0"/>
              </a:rPr>
              <a:t>                                                    1-2 </a:t>
            </a:r>
            <a:r>
              <a:rPr lang="pl-PL" sz="1200" dirty="0" err="1">
                <a:solidFill>
                  <a:schemeClr val="accent1"/>
                </a:solidFill>
                <a:latin typeface="Novel Pro Light" pitchFamily="2" charset="0"/>
              </a:rPr>
              <a:t>months</a:t>
            </a:r>
            <a:endParaRPr lang="pl-PL" sz="1400" dirty="0">
              <a:solidFill>
                <a:schemeClr val="accent1"/>
              </a:solidFill>
              <a:latin typeface="Novel Pro Light" pitchFamily="2" charset="0"/>
            </a:endParaRPr>
          </a:p>
        </p:txBody>
      </p:sp>
      <p:grpSp>
        <p:nvGrpSpPr>
          <p:cNvPr id="72" name="Grupa 71">
            <a:extLst>
              <a:ext uri="{FF2B5EF4-FFF2-40B4-BE49-F238E27FC236}">
                <a16:creationId xmlns:a16="http://schemas.microsoft.com/office/drawing/2014/main" id="{67E8A3F4-97AB-BE4B-9D1D-42426C8C1435}"/>
              </a:ext>
            </a:extLst>
          </p:cNvPr>
          <p:cNvGrpSpPr/>
          <p:nvPr/>
        </p:nvGrpSpPr>
        <p:grpSpPr>
          <a:xfrm rot="5400000">
            <a:off x="5004931" y="1034996"/>
            <a:ext cx="315237" cy="2609850"/>
            <a:chOff x="7950200" y="6324584"/>
            <a:chExt cx="558800" cy="4102402"/>
          </a:xfrm>
        </p:grpSpPr>
        <p:cxnSp>
          <p:nvCxnSpPr>
            <p:cNvPr id="73" name="Łącznik prosty 72">
              <a:extLst>
                <a:ext uri="{FF2B5EF4-FFF2-40B4-BE49-F238E27FC236}">
                  <a16:creationId xmlns:a16="http://schemas.microsoft.com/office/drawing/2014/main" id="{40B38A45-903F-904B-9968-20B571971C55}"/>
                </a:ext>
              </a:extLst>
            </p:cNvPr>
            <p:cNvCxnSpPr>
              <a:cxnSpLocks/>
            </p:cNvCxnSpPr>
            <p:nvPr/>
          </p:nvCxnSpPr>
          <p:spPr>
            <a:xfrm>
              <a:off x="7950200" y="6337586"/>
              <a:ext cx="0" cy="4089400"/>
            </a:xfrm>
            <a:prstGeom prst="line">
              <a:avLst/>
            </a:prstGeom>
            <a:noFill/>
            <a:ln w="6350"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cxnSp>
          <p:nvCxnSpPr>
            <p:cNvPr id="74" name="Łącznik prosty 73">
              <a:extLst>
                <a:ext uri="{FF2B5EF4-FFF2-40B4-BE49-F238E27FC236}">
                  <a16:creationId xmlns:a16="http://schemas.microsoft.com/office/drawing/2014/main" id="{5B0F3D92-E357-8C45-9E6E-650354D4081A}"/>
                </a:ext>
              </a:extLst>
            </p:cNvPr>
            <p:cNvCxnSpPr>
              <a:cxnSpLocks/>
            </p:cNvCxnSpPr>
            <p:nvPr/>
          </p:nvCxnSpPr>
          <p:spPr>
            <a:xfrm flipH="1">
              <a:off x="7950200" y="10411159"/>
              <a:ext cx="558800" cy="0"/>
            </a:xfrm>
            <a:prstGeom prst="line">
              <a:avLst/>
            </a:prstGeom>
            <a:noFill/>
            <a:ln w="6350"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cxnSp>
          <p:nvCxnSpPr>
            <p:cNvPr id="75" name="Łącznik prosty 74">
              <a:extLst>
                <a:ext uri="{FF2B5EF4-FFF2-40B4-BE49-F238E27FC236}">
                  <a16:creationId xmlns:a16="http://schemas.microsoft.com/office/drawing/2014/main" id="{D283273C-DBF2-6F49-81FE-6356A47CA0B2}"/>
                </a:ext>
              </a:extLst>
            </p:cNvPr>
            <p:cNvCxnSpPr>
              <a:cxnSpLocks/>
            </p:cNvCxnSpPr>
            <p:nvPr/>
          </p:nvCxnSpPr>
          <p:spPr>
            <a:xfrm flipH="1">
              <a:off x="7950200" y="6324584"/>
              <a:ext cx="558800" cy="0"/>
            </a:xfrm>
            <a:prstGeom prst="line">
              <a:avLst/>
            </a:prstGeom>
            <a:noFill/>
            <a:ln w="6350"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grpSp>
      <p:sp>
        <p:nvSpPr>
          <p:cNvPr id="76" name="The Business Section…">
            <a:extLst>
              <a:ext uri="{FF2B5EF4-FFF2-40B4-BE49-F238E27FC236}">
                <a16:creationId xmlns:a16="http://schemas.microsoft.com/office/drawing/2014/main" id="{2F128350-434F-CB49-810B-02A4A8E641FF}"/>
              </a:ext>
            </a:extLst>
          </p:cNvPr>
          <p:cNvSpPr txBox="1"/>
          <p:nvPr/>
        </p:nvSpPr>
        <p:spPr>
          <a:xfrm>
            <a:off x="7672560" y="2508069"/>
            <a:ext cx="1548000" cy="2012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a:solidFill>
                  <a:schemeClr val="tx2"/>
                </a:solidFill>
                <a:latin typeface="Novel Pro" pitchFamily="2" charset="0"/>
              </a:rPr>
              <a:t>Investment </a:t>
            </a:r>
            <a:r>
              <a:rPr lang="pl-PL" sz="1200" dirty="0" err="1">
                <a:solidFill>
                  <a:schemeClr val="tx2"/>
                </a:solidFill>
                <a:latin typeface="Novel Pro" pitchFamily="2" charset="0"/>
              </a:rPr>
              <a:t>agreement</a:t>
            </a:r>
            <a:endParaRPr lang="pl-PL" sz="1200" dirty="0">
              <a:solidFill>
                <a:schemeClr val="tx2"/>
              </a:solidFill>
              <a:latin typeface="Novel Pro" pitchFamily="2" charset="0"/>
            </a:endParaRPr>
          </a:p>
        </p:txBody>
      </p:sp>
      <p:sp>
        <p:nvSpPr>
          <p:cNvPr id="77" name="Rectangle 24">
            <a:extLst>
              <a:ext uri="{FF2B5EF4-FFF2-40B4-BE49-F238E27FC236}">
                <a16:creationId xmlns:a16="http://schemas.microsoft.com/office/drawing/2014/main" id="{F5BDC88C-D511-024D-80B1-E8AC6EF8C67E}"/>
              </a:ext>
            </a:extLst>
          </p:cNvPr>
          <p:cNvSpPr>
            <a:spLocks noChangeArrowheads="1"/>
          </p:cNvSpPr>
          <p:nvPr/>
        </p:nvSpPr>
        <p:spPr bwMode="auto">
          <a:xfrm>
            <a:off x="7567785" y="1968835"/>
            <a:ext cx="1718832" cy="201274"/>
          </a:xfrm>
          <a:prstGeom prst="rect">
            <a:avLst/>
          </a:prstGeom>
          <a:noFill/>
          <a:ln w="9525">
            <a:noFill/>
            <a:miter lim="800000"/>
            <a:headEnd/>
            <a:tailEnd/>
          </a:ln>
        </p:spPr>
        <p:txBody>
          <a:bodyPr wrap="square" lIns="0" tIns="0" rIns="0" bIns="0">
            <a:spAutoFit/>
          </a:bodyPr>
          <a:lstStyle/>
          <a:p>
            <a:pPr indent="-180975" defTabSz="457200">
              <a:lnSpc>
                <a:spcPct val="120000"/>
              </a:lnSpc>
              <a:buClr>
                <a:srgbClr val="000066"/>
              </a:buClr>
              <a:buSzPct val="75000"/>
              <a:tabLst>
                <a:tab pos="1435100" algn="l"/>
              </a:tabLst>
            </a:pPr>
            <a:r>
              <a:rPr lang="pl-PL" sz="1200" dirty="0" err="1">
                <a:solidFill>
                  <a:schemeClr val="accent1"/>
                </a:solidFill>
                <a:latin typeface="Novel Pro" pitchFamily="2" charset="0"/>
              </a:rPr>
              <a:t>Terms</a:t>
            </a:r>
            <a:r>
              <a:rPr lang="pl-PL" sz="1200" dirty="0">
                <a:solidFill>
                  <a:schemeClr val="accent1"/>
                </a:solidFill>
                <a:latin typeface="Novel Pro" pitchFamily="2" charset="0"/>
              </a:rPr>
              <a:t> </a:t>
            </a:r>
            <a:r>
              <a:rPr lang="pl-PL" sz="1200" dirty="0" err="1">
                <a:solidFill>
                  <a:schemeClr val="accent1"/>
                </a:solidFill>
                <a:latin typeface="Novel Pro" pitchFamily="2" charset="0"/>
              </a:rPr>
              <a:t>agreement</a:t>
            </a:r>
            <a:endParaRPr lang="pl-PL" sz="1200" dirty="0">
              <a:solidFill>
                <a:schemeClr val="accent1"/>
              </a:solidFill>
              <a:latin typeface="Novel Pro Light" pitchFamily="2" charset="0"/>
            </a:endParaRPr>
          </a:p>
        </p:txBody>
      </p:sp>
      <p:sp>
        <p:nvSpPr>
          <p:cNvPr id="78" name="The Business Section…">
            <a:extLst>
              <a:ext uri="{FF2B5EF4-FFF2-40B4-BE49-F238E27FC236}">
                <a16:creationId xmlns:a16="http://schemas.microsoft.com/office/drawing/2014/main" id="{A6237EDC-0DBB-594F-8D3A-50B4A5AF17B1}"/>
              </a:ext>
            </a:extLst>
          </p:cNvPr>
          <p:cNvSpPr txBox="1"/>
          <p:nvPr/>
        </p:nvSpPr>
        <p:spPr>
          <a:xfrm>
            <a:off x="9946027" y="2508069"/>
            <a:ext cx="1793948" cy="4228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20000"/>
              </a:lnSpc>
              <a:defRPr sz="1800" b="0">
                <a:solidFill>
                  <a:srgbClr val="53585F"/>
                </a:solidFill>
                <a:latin typeface="Roboto Light"/>
                <a:ea typeface="Roboto Light"/>
                <a:cs typeface="Roboto Light"/>
                <a:sym typeface="Roboto Light"/>
              </a:defRPr>
            </a:pPr>
            <a:r>
              <a:rPr lang="pl-PL" sz="1200" dirty="0" err="1">
                <a:solidFill>
                  <a:schemeClr val="tx2"/>
                </a:solidFill>
                <a:latin typeface="Novel Pro" pitchFamily="2" charset="0"/>
              </a:rPr>
              <a:t>Operational</a:t>
            </a:r>
            <a:r>
              <a:rPr lang="pl-PL" sz="1200" dirty="0">
                <a:solidFill>
                  <a:schemeClr val="tx2"/>
                </a:solidFill>
                <a:latin typeface="Novel Pro" pitchFamily="2" charset="0"/>
              </a:rPr>
              <a:t> </a:t>
            </a:r>
            <a:r>
              <a:rPr lang="pl-PL" sz="1200" dirty="0" err="1">
                <a:solidFill>
                  <a:schemeClr val="tx2"/>
                </a:solidFill>
                <a:latin typeface="Novel Pro" pitchFamily="2" charset="0"/>
              </a:rPr>
              <a:t>stage</a:t>
            </a:r>
            <a:r>
              <a:rPr lang="pl-PL" sz="1200" dirty="0">
                <a:solidFill>
                  <a:schemeClr val="tx2"/>
                </a:solidFill>
                <a:latin typeface="Novel Pro" pitchFamily="2" charset="0"/>
              </a:rPr>
              <a:t> and monitoring</a:t>
            </a:r>
          </a:p>
        </p:txBody>
      </p:sp>
      <p:sp>
        <p:nvSpPr>
          <p:cNvPr id="79" name="Rectangle 24">
            <a:extLst>
              <a:ext uri="{FF2B5EF4-FFF2-40B4-BE49-F238E27FC236}">
                <a16:creationId xmlns:a16="http://schemas.microsoft.com/office/drawing/2014/main" id="{B8AA7B91-463F-794F-BA06-659FDEFF503D}"/>
              </a:ext>
            </a:extLst>
          </p:cNvPr>
          <p:cNvSpPr>
            <a:spLocks noChangeArrowheads="1"/>
          </p:cNvSpPr>
          <p:nvPr/>
        </p:nvSpPr>
        <p:spPr bwMode="auto">
          <a:xfrm>
            <a:off x="9946027" y="1995524"/>
            <a:ext cx="1718832" cy="422873"/>
          </a:xfrm>
          <a:prstGeom prst="rect">
            <a:avLst/>
          </a:prstGeom>
          <a:noFill/>
          <a:ln w="9525">
            <a:noFill/>
            <a:miter lim="800000"/>
            <a:headEnd/>
            <a:tailEnd/>
          </a:ln>
        </p:spPr>
        <p:txBody>
          <a:bodyPr wrap="square" lIns="0" tIns="0" rIns="0" bIns="0">
            <a:spAutoFit/>
          </a:bodyPr>
          <a:lstStyle/>
          <a:p>
            <a:pPr indent="-180975" defTabSz="457200">
              <a:lnSpc>
                <a:spcPct val="120000"/>
              </a:lnSpc>
              <a:buClr>
                <a:srgbClr val="000066"/>
              </a:buClr>
              <a:buSzPct val="75000"/>
              <a:tabLst>
                <a:tab pos="1435100" algn="l"/>
              </a:tabLst>
            </a:pPr>
            <a:r>
              <a:rPr lang="pl-PL" sz="1200" dirty="0" err="1">
                <a:solidFill>
                  <a:schemeClr val="accent1"/>
                </a:solidFill>
                <a:latin typeface="Novel Pro" pitchFamily="2" charset="0"/>
              </a:rPr>
              <a:t>Financing</a:t>
            </a:r>
            <a:endParaRPr lang="pl-PL" sz="1200" dirty="0">
              <a:solidFill>
                <a:schemeClr val="accent1"/>
              </a:solidFill>
              <a:latin typeface="Novel Pro Light" pitchFamily="2" charset="0"/>
            </a:endParaRPr>
          </a:p>
          <a:p>
            <a:pPr indent="-180975" defTabSz="457200">
              <a:lnSpc>
                <a:spcPct val="120000"/>
              </a:lnSpc>
              <a:buClr>
                <a:srgbClr val="000066"/>
              </a:buClr>
              <a:buSzPct val="75000"/>
              <a:tabLst>
                <a:tab pos="1435100" algn="l"/>
              </a:tabLst>
            </a:pPr>
            <a:r>
              <a:rPr lang="pl-PL" sz="1200" dirty="0">
                <a:solidFill>
                  <a:schemeClr val="accent1"/>
                </a:solidFill>
                <a:latin typeface="Novel Pro Light" pitchFamily="2" charset="0"/>
              </a:rPr>
              <a:t>5-10 </a:t>
            </a:r>
            <a:r>
              <a:rPr lang="pl-PL" sz="1200" dirty="0" err="1">
                <a:solidFill>
                  <a:schemeClr val="accent1"/>
                </a:solidFill>
                <a:latin typeface="Novel Pro Light" pitchFamily="2" charset="0"/>
              </a:rPr>
              <a:t>years</a:t>
            </a:r>
            <a:endParaRPr lang="pl-PL" sz="1200" dirty="0">
              <a:solidFill>
                <a:schemeClr val="accent1"/>
              </a:solidFill>
              <a:latin typeface="Novel Pro" pitchFamily="2" charset="0"/>
            </a:endParaRPr>
          </a:p>
        </p:txBody>
      </p:sp>
      <p:grpSp>
        <p:nvGrpSpPr>
          <p:cNvPr id="8" name="Grupa 7">
            <a:extLst>
              <a:ext uri="{FF2B5EF4-FFF2-40B4-BE49-F238E27FC236}">
                <a16:creationId xmlns:a16="http://schemas.microsoft.com/office/drawing/2014/main" id="{316ADA38-5491-2E79-1CBE-79B7B89CE9D0}"/>
              </a:ext>
            </a:extLst>
          </p:cNvPr>
          <p:cNvGrpSpPr/>
          <p:nvPr/>
        </p:nvGrpSpPr>
        <p:grpSpPr>
          <a:xfrm>
            <a:off x="10146763" y="1313964"/>
            <a:ext cx="1226087" cy="534447"/>
            <a:chOff x="14720999" y="3797965"/>
            <a:chExt cx="1938100" cy="857251"/>
          </a:xfrm>
        </p:grpSpPr>
        <p:sp>
          <p:nvSpPr>
            <p:cNvPr id="10" name="Circle">
              <a:extLst>
                <a:ext uri="{FF2B5EF4-FFF2-40B4-BE49-F238E27FC236}">
                  <a16:creationId xmlns:a16="http://schemas.microsoft.com/office/drawing/2014/main" id="{859A7DA8-FCD5-01B7-2A1F-CEB1147614D4}"/>
                </a:ext>
              </a:extLst>
            </p:cNvPr>
            <p:cNvSpPr/>
            <p:nvPr/>
          </p:nvSpPr>
          <p:spPr>
            <a:xfrm>
              <a:off x="15261424" y="3797965"/>
              <a:ext cx="857251" cy="857251"/>
            </a:xfrm>
            <a:prstGeom prst="ellipse">
              <a:avLst/>
            </a:prstGeom>
            <a:solidFill>
              <a:schemeClr val="tx2"/>
            </a:solidFill>
            <a:ln w="12700" cap="flat">
              <a:noFill/>
              <a:miter lim="400000"/>
            </a:ln>
            <a:effectLst/>
          </p:spPr>
          <p:txBody>
            <a:bodyPr wrap="square" lIns="19050" tIns="19050" rIns="19050" bIns="19050" numCol="1" anchor="ctr">
              <a:noAutofit/>
            </a:bodyPr>
            <a:lstStyle/>
            <a:p>
              <a:pPr defTabSz="342883">
                <a:defRPr/>
              </a:pPr>
              <a:endParaRPr sz="1313">
                <a:solidFill>
                  <a:srgbClr val="2F3139"/>
                </a:solidFill>
                <a:latin typeface="Helvetica"/>
              </a:endParaRPr>
            </a:p>
          </p:txBody>
        </p:sp>
        <p:sp>
          <p:nvSpPr>
            <p:cNvPr id="11" name="pole tekstowe 10">
              <a:extLst>
                <a:ext uri="{FF2B5EF4-FFF2-40B4-BE49-F238E27FC236}">
                  <a16:creationId xmlns:a16="http://schemas.microsoft.com/office/drawing/2014/main" id="{FBBD648C-D375-D39F-FE83-13F8273C9B9E}"/>
                </a:ext>
              </a:extLst>
            </p:cNvPr>
            <p:cNvSpPr txBox="1"/>
            <p:nvPr/>
          </p:nvSpPr>
          <p:spPr>
            <a:xfrm>
              <a:off x="14720999" y="4041588"/>
              <a:ext cx="1938100" cy="444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dirty="0">
                  <a:solidFill>
                    <a:srgbClr val="FFFFFF"/>
                  </a:solidFill>
                  <a:sym typeface="Helvetica Neue Medium"/>
                </a:rPr>
                <a:t>4</a:t>
              </a:r>
            </a:p>
          </p:txBody>
        </p:sp>
      </p:grpSp>
      <p:grpSp>
        <p:nvGrpSpPr>
          <p:cNvPr id="12" name="Grupa 11">
            <a:extLst>
              <a:ext uri="{FF2B5EF4-FFF2-40B4-BE49-F238E27FC236}">
                <a16:creationId xmlns:a16="http://schemas.microsoft.com/office/drawing/2014/main" id="{3776A658-2A4F-EA28-3502-14084C4A6054}"/>
              </a:ext>
            </a:extLst>
          </p:cNvPr>
          <p:cNvGrpSpPr/>
          <p:nvPr/>
        </p:nvGrpSpPr>
        <p:grpSpPr>
          <a:xfrm>
            <a:off x="7783287" y="1313964"/>
            <a:ext cx="1226087" cy="534447"/>
            <a:chOff x="11225413" y="3817339"/>
            <a:chExt cx="1938100" cy="857251"/>
          </a:xfrm>
        </p:grpSpPr>
        <p:sp>
          <p:nvSpPr>
            <p:cNvPr id="13" name="Circle">
              <a:extLst>
                <a:ext uri="{FF2B5EF4-FFF2-40B4-BE49-F238E27FC236}">
                  <a16:creationId xmlns:a16="http://schemas.microsoft.com/office/drawing/2014/main" id="{801CCF74-37A8-29C3-ECD8-E018C0302ADC}"/>
                </a:ext>
              </a:extLst>
            </p:cNvPr>
            <p:cNvSpPr/>
            <p:nvPr/>
          </p:nvSpPr>
          <p:spPr>
            <a:xfrm>
              <a:off x="11765698" y="3817339"/>
              <a:ext cx="857251" cy="857251"/>
            </a:xfrm>
            <a:prstGeom prst="ellipse">
              <a:avLst/>
            </a:prstGeom>
            <a:solidFill>
              <a:schemeClr val="accent2"/>
            </a:solidFill>
            <a:ln w="12700" cap="flat">
              <a:noFill/>
              <a:miter lim="400000"/>
            </a:ln>
            <a:effectLst/>
          </p:spPr>
          <p:txBody>
            <a:bodyPr wrap="square" lIns="19050" tIns="19050" rIns="19050" bIns="19050" numCol="1" anchor="ctr">
              <a:noAutofit/>
            </a:bodyPr>
            <a:lstStyle/>
            <a:p>
              <a:pPr defTabSz="342883">
                <a:defRPr/>
              </a:pPr>
              <a:endParaRPr sz="1313">
                <a:solidFill>
                  <a:srgbClr val="2F3139"/>
                </a:solidFill>
                <a:latin typeface="Helvetica"/>
              </a:endParaRPr>
            </a:p>
          </p:txBody>
        </p:sp>
        <p:sp>
          <p:nvSpPr>
            <p:cNvPr id="14" name="pole tekstowe 13">
              <a:extLst>
                <a:ext uri="{FF2B5EF4-FFF2-40B4-BE49-F238E27FC236}">
                  <a16:creationId xmlns:a16="http://schemas.microsoft.com/office/drawing/2014/main" id="{8853B198-A8F8-557B-AAFF-81577DAD17D5}"/>
                </a:ext>
              </a:extLst>
            </p:cNvPr>
            <p:cNvSpPr txBox="1"/>
            <p:nvPr/>
          </p:nvSpPr>
          <p:spPr>
            <a:xfrm>
              <a:off x="11225413" y="4047349"/>
              <a:ext cx="1938100" cy="444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a:solidFill>
                    <a:srgbClr val="FFFFFF"/>
                  </a:solidFill>
                  <a:sym typeface="Helvetica Neue Medium"/>
                </a:rPr>
                <a:t>3</a:t>
              </a:r>
            </a:p>
          </p:txBody>
        </p:sp>
      </p:grpSp>
      <p:grpSp>
        <p:nvGrpSpPr>
          <p:cNvPr id="61" name="Grupa 60">
            <a:extLst>
              <a:ext uri="{FF2B5EF4-FFF2-40B4-BE49-F238E27FC236}">
                <a16:creationId xmlns:a16="http://schemas.microsoft.com/office/drawing/2014/main" id="{F44ECBA5-8863-02D1-CB42-3B9A29B61014}"/>
              </a:ext>
            </a:extLst>
          </p:cNvPr>
          <p:cNvGrpSpPr/>
          <p:nvPr/>
        </p:nvGrpSpPr>
        <p:grpSpPr>
          <a:xfrm>
            <a:off x="1140854" y="3006332"/>
            <a:ext cx="946243" cy="761283"/>
            <a:chOff x="1584000" y="6384773"/>
            <a:chExt cx="2376000" cy="2014869"/>
          </a:xfrm>
        </p:grpSpPr>
        <p:sp>
          <p:nvSpPr>
            <p:cNvPr id="63" name="Owal 62">
              <a:extLst>
                <a:ext uri="{FF2B5EF4-FFF2-40B4-BE49-F238E27FC236}">
                  <a16:creationId xmlns:a16="http://schemas.microsoft.com/office/drawing/2014/main" id="{1711A21A-81BB-B483-B12C-B0F2FCD6C12E}"/>
                </a:ext>
              </a:extLst>
            </p:cNvPr>
            <p:cNvSpPr>
              <a:spLocks noChangeAspect="1"/>
            </p:cNvSpPr>
            <p:nvPr/>
          </p:nvSpPr>
          <p:spPr>
            <a:xfrm>
              <a:off x="1584000" y="7069976"/>
              <a:ext cx="2376000" cy="68727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64" name="Circle">
              <a:extLst>
                <a:ext uri="{FF2B5EF4-FFF2-40B4-BE49-F238E27FC236}">
                  <a16:creationId xmlns:a16="http://schemas.microsoft.com/office/drawing/2014/main" id="{BEBC0233-CA13-5658-7522-931A5DCAF060}"/>
                </a:ext>
              </a:extLst>
            </p:cNvPr>
            <p:cNvSpPr/>
            <p:nvPr/>
          </p:nvSpPr>
          <p:spPr>
            <a:xfrm>
              <a:off x="1764615" y="6384773"/>
              <a:ext cx="2014869" cy="2014869"/>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80" name="Grafika 79">
              <a:extLst>
                <a:ext uri="{FF2B5EF4-FFF2-40B4-BE49-F238E27FC236}">
                  <a16:creationId xmlns:a16="http://schemas.microsoft.com/office/drawing/2014/main" id="{B0A5651B-109E-5DF4-931B-5715802A08A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99189" y="6858000"/>
              <a:ext cx="956601" cy="956601"/>
            </a:xfrm>
            <a:prstGeom prst="rect">
              <a:avLst/>
            </a:prstGeom>
          </p:spPr>
        </p:pic>
      </p:grpSp>
      <p:grpSp>
        <p:nvGrpSpPr>
          <p:cNvPr id="81" name="Grupa 80">
            <a:extLst>
              <a:ext uri="{FF2B5EF4-FFF2-40B4-BE49-F238E27FC236}">
                <a16:creationId xmlns:a16="http://schemas.microsoft.com/office/drawing/2014/main" id="{893EFCCE-8D5C-0F43-5797-4E594F99E64C}"/>
              </a:ext>
            </a:extLst>
          </p:cNvPr>
          <p:cNvGrpSpPr/>
          <p:nvPr/>
        </p:nvGrpSpPr>
        <p:grpSpPr>
          <a:xfrm>
            <a:off x="5935657" y="3009542"/>
            <a:ext cx="946243" cy="761284"/>
            <a:chOff x="12512536" y="9219538"/>
            <a:chExt cx="2376000" cy="2014870"/>
          </a:xfrm>
        </p:grpSpPr>
        <p:sp>
          <p:nvSpPr>
            <p:cNvPr id="82" name="Owal 81">
              <a:extLst>
                <a:ext uri="{FF2B5EF4-FFF2-40B4-BE49-F238E27FC236}">
                  <a16:creationId xmlns:a16="http://schemas.microsoft.com/office/drawing/2014/main" id="{6608547B-6F5A-FB6E-E111-BB9CF52D7FB0}"/>
                </a:ext>
              </a:extLst>
            </p:cNvPr>
            <p:cNvSpPr>
              <a:spLocks noChangeAspect="1"/>
            </p:cNvSpPr>
            <p:nvPr/>
          </p:nvSpPr>
          <p:spPr>
            <a:xfrm>
              <a:off x="12512536" y="9883334"/>
              <a:ext cx="2376000" cy="687275"/>
            </a:xfrm>
            <a:prstGeom prst="ellipse">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83" name="Circle">
              <a:extLst>
                <a:ext uri="{FF2B5EF4-FFF2-40B4-BE49-F238E27FC236}">
                  <a16:creationId xmlns:a16="http://schemas.microsoft.com/office/drawing/2014/main" id="{F24E944C-4EAD-6D1E-D688-777ECB711F7D}"/>
                </a:ext>
              </a:extLst>
            </p:cNvPr>
            <p:cNvSpPr/>
            <p:nvPr/>
          </p:nvSpPr>
          <p:spPr>
            <a:xfrm>
              <a:off x="12688706" y="9219538"/>
              <a:ext cx="2014869" cy="2014870"/>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84" name="Grafika 83">
              <a:extLst>
                <a:ext uri="{FF2B5EF4-FFF2-40B4-BE49-F238E27FC236}">
                  <a16:creationId xmlns:a16="http://schemas.microsoft.com/office/drawing/2014/main" id="{7BC8D564-FCD3-C261-407F-96514774C46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092693" y="9715978"/>
              <a:ext cx="1139395" cy="1139395"/>
            </a:xfrm>
            <a:prstGeom prst="rect">
              <a:avLst/>
            </a:prstGeom>
          </p:spPr>
        </p:pic>
      </p:grpSp>
      <p:grpSp>
        <p:nvGrpSpPr>
          <p:cNvPr id="85" name="Grupa 84">
            <a:extLst>
              <a:ext uri="{FF2B5EF4-FFF2-40B4-BE49-F238E27FC236}">
                <a16:creationId xmlns:a16="http://schemas.microsoft.com/office/drawing/2014/main" id="{FB169A21-3DBC-6B81-E8BC-F82405DFF31A}"/>
              </a:ext>
            </a:extLst>
          </p:cNvPr>
          <p:cNvGrpSpPr/>
          <p:nvPr/>
        </p:nvGrpSpPr>
        <p:grpSpPr>
          <a:xfrm>
            <a:off x="3283974" y="3018377"/>
            <a:ext cx="946243" cy="761284"/>
            <a:chOff x="6128473" y="6355029"/>
            <a:chExt cx="2376000" cy="2014870"/>
          </a:xfrm>
        </p:grpSpPr>
        <p:sp>
          <p:nvSpPr>
            <p:cNvPr id="86" name="Owal 85">
              <a:extLst>
                <a:ext uri="{FF2B5EF4-FFF2-40B4-BE49-F238E27FC236}">
                  <a16:creationId xmlns:a16="http://schemas.microsoft.com/office/drawing/2014/main" id="{C02F6D4A-157C-D2F3-6EC5-AE09BC28A870}"/>
                </a:ext>
              </a:extLst>
            </p:cNvPr>
            <p:cNvSpPr>
              <a:spLocks noChangeAspect="1"/>
            </p:cNvSpPr>
            <p:nvPr/>
          </p:nvSpPr>
          <p:spPr>
            <a:xfrm>
              <a:off x="6128473" y="7005825"/>
              <a:ext cx="2376000" cy="687275"/>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87" name="Circle">
              <a:extLst>
                <a:ext uri="{FF2B5EF4-FFF2-40B4-BE49-F238E27FC236}">
                  <a16:creationId xmlns:a16="http://schemas.microsoft.com/office/drawing/2014/main" id="{5CAF24D2-9933-95F7-33EF-BC3E0F0CA157}"/>
                </a:ext>
              </a:extLst>
            </p:cNvPr>
            <p:cNvSpPr/>
            <p:nvPr/>
          </p:nvSpPr>
          <p:spPr>
            <a:xfrm>
              <a:off x="6309055" y="6355029"/>
              <a:ext cx="2014869" cy="2014870"/>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88" name="Grafika 87">
              <a:extLst>
                <a:ext uri="{FF2B5EF4-FFF2-40B4-BE49-F238E27FC236}">
                  <a16:creationId xmlns:a16="http://schemas.microsoft.com/office/drawing/2014/main" id="{429B1651-3CFD-1D18-7812-A3887BBF69D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88570" y="6739772"/>
              <a:ext cx="1188000" cy="1188000"/>
            </a:xfrm>
            <a:prstGeom prst="rect">
              <a:avLst/>
            </a:prstGeom>
          </p:spPr>
        </p:pic>
      </p:grpSp>
      <p:grpSp>
        <p:nvGrpSpPr>
          <p:cNvPr id="89" name="Grupa 88">
            <a:extLst>
              <a:ext uri="{FF2B5EF4-FFF2-40B4-BE49-F238E27FC236}">
                <a16:creationId xmlns:a16="http://schemas.microsoft.com/office/drawing/2014/main" id="{4E3858C0-66DA-A4B9-5004-68241122B2A6}"/>
              </a:ext>
            </a:extLst>
          </p:cNvPr>
          <p:cNvGrpSpPr/>
          <p:nvPr/>
        </p:nvGrpSpPr>
        <p:grpSpPr>
          <a:xfrm>
            <a:off x="7973466" y="3019503"/>
            <a:ext cx="946243" cy="761283"/>
            <a:chOff x="12517621" y="2551780"/>
            <a:chExt cx="2376000" cy="2014869"/>
          </a:xfrm>
        </p:grpSpPr>
        <p:sp>
          <p:nvSpPr>
            <p:cNvPr id="90" name="Owal 89">
              <a:extLst>
                <a:ext uri="{FF2B5EF4-FFF2-40B4-BE49-F238E27FC236}">
                  <a16:creationId xmlns:a16="http://schemas.microsoft.com/office/drawing/2014/main" id="{77A1A015-F19A-2C10-4F1A-F31A658B108F}"/>
                </a:ext>
              </a:extLst>
            </p:cNvPr>
            <p:cNvSpPr>
              <a:spLocks noChangeAspect="1"/>
            </p:cNvSpPr>
            <p:nvPr/>
          </p:nvSpPr>
          <p:spPr>
            <a:xfrm>
              <a:off x="12517621" y="3215577"/>
              <a:ext cx="2376000" cy="687275"/>
            </a:xfrm>
            <a:prstGeom prst="ellipse">
              <a:avLst/>
            </a:prstGeom>
            <a:solidFill>
              <a:srgbClr val="0C749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91" name="Circle">
              <a:extLst>
                <a:ext uri="{FF2B5EF4-FFF2-40B4-BE49-F238E27FC236}">
                  <a16:creationId xmlns:a16="http://schemas.microsoft.com/office/drawing/2014/main" id="{E2CFF0B9-8B28-3A03-71C0-DFD665F69D0F}"/>
                </a:ext>
              </a:extLst>
            </p:cNvPr>
            <p:cNvSpPr/>
            <p:nvPr/>
          </p:nvSpPr>
          <p:spPr>
            <a:xfrm>
              <a:off x="12688706" y="2551780"/>
              <a:ext cx="2014869" cy="2014869"/>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92" name="Grafika 91">
              <a:extLst>
                <a:ext uri="{FF2B5EF4-FFF2-40B4-BE49-F238E27FC236}">
                  <a16:creationId xmlns:a16="http://schemas.microsoft.com/office/drawing/2014/main" id="{1396755A-1516-B44E-9CBC-4B0A124B5A3B}"/>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3169688" y="3024759"/>
              <a:ext cx="1114586" cy="1114586"/>
            </a:xfrm>
            <a:prstGeom prst="rect">
              <a:avLst/>
            </a:prstGeom>
          </p:spPr>
        </p:pic>
      </p:grpSp>
      <p:grpSp>
        <p:nvGrpSpPr>
          <p:cNvPr id="93" name="Grupa 92">
            <a:extLst>
              <a:ext uri="{FF2B5EF4-FFF2-40B4-BE49-F238E27FC236}">
                <a16:creationId xmlns:a16="http://schemas.microsoft.com/office/drawing/2014/main" id="{DCF2E859-358E-2690-322C-3E3446F1694F}"/>
              </a:ext>
            </a:extLst>
          </p:cNvPr>
          <p:cNvGrpSpPr/>
          <p:nvPr/>
        </p:nvGrpSpPr>
        <p:grpSpPr>
          <a:xfrm>
            <a:off x="10388508" y="3009978"/>
            <a:ext cx="946243" cy="761284"/>
            <a:chOff x="12508091" y="6498551"/>
            <a:chExt cx="2376000" cy="2014870"/>
          </a:xfrm>
        </p:grpSpPr>
        <p:sp>
          <p:nvSpPr>
            <p:cNvPr id="94" name="Owal 93">
              <a:extLst>
                <a:ext uri="{FF2B5EF4-FFF2-40B4-BE49-F238E27FC236}">
                  <a16:creationId xmlns:a16="http://schemas.microsoft.com/office/drawing/2014/main" id="{FA958D06-60CD-BA3B-7837-8952B6E94E3F}"/>
                </a:ext>
              </a:extLst>
            </p:cNvPr>
            <p:cNvSpPr>
              <a:spLocks noChangeAspect="1"/>
            </p:cNvSpPr>
            <p:nvPr/>
          </p:nvSpPr>
          <p:spPr>
            <a:xfrm>
              <a:off x="12508091" y="7156334"/>
              <a:ext cx="2376000" cy="687275"/>
            </a:xfrm>
            <a:prstGeom prst="ellipse">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09547"/>
              <a:endParaRPr lang="pl-PL" sz="1200">
                <a:solidFill>
                  <a:srgbClr val="FFFFFF"/>
                </a:solidFill>
                <a:sym typeface="Helvetica Neue Medium"/>
              </a:endParaRPr>
            </a:p>
          </p:txBody>
        </p:sp>
        <p:sp>
          <p:nvSpPr>
            <p:cNvPr id="95" name="Circle">
              <a:extLst>
                <a:ext uri="{FF2B5EF4-FFF2-40B4-BE49-F238E27FC236}">
                  <a16:creationId xmlns:a16="http://schemas.microsoft.com/office/drawing/2014/main" id="{CBAD8CE9-EA24-0795-F079-0530219E6107}"/>
                </a:ext>
              </a:extLst>
            </p:cNvPr>
            <p:cNvSpPr/>
            <p:nvPr/>
          </p:nvSpPr>
          <p:spPr>
            <a:xfrm>
              <a:off x="12688673" y="6498551"/>
              <a:ext cx="2014869" cy="2014870"/>
            </a:xfrm>
            <a:prstGeom prst="ellipse">
              <a:avLst/>
            </a:prstGeom>
            <a:solidFill>
              <a:srgbClr val="FAFAFA"/>
            </a:solidFill>
            <a:ln w="12700">
              <a:miter lim="400000"/>
            </a:ln>
          </p:spPr>
          <p:txBody>
            <a:bodyPr lIns="19050" tIns="19050" rIns="19050" bIns="19050" anchor="ctr"/>
            <a:lstStyle/>
            <a:p>
              <a:pPr>
                <a:defRPr sz="3200" b="0">
                  <a:solidFill>
                    <a:srgbClr val="FFFFFF"/>
                  </a:solidFill>
                  <a:latin typeface="Helvetica Light"/>
                  <a:ea typeface="Helvetica Light"/>
                  <a:cs typeface="Helvetica Light"/>
                  <a:sym typeface="Helvetica Light"/>
                </a:defRPr>
              </a:pPr>
              <a:endParaRPr sz="1200"/>
            </a:p>
          </p:txBody>
        </p:sp>
        <p:pic>
          <p:nvPicPr>
            <p:cNvPr id="1088" name="Grafika 1087">
              <a:extLst>
                <a:ext uri="{FF2B5EF4-FFF2-40B4-BE49-F238E27FC236}">
                  <a16:creationId xmlns:a16="http://schemas.microsoft.com/office/drawing/2014/main" id="{8E4AB256-3EB0-59C8-A48B-F58C012A6F02}"/>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113133" y="6856289"/>
              <a:ext cx="1165916" cy="1165916"/>
            </a:xfrm>
            <a:prstGeom prst="rect">
              <a:avLst/>
            </a:prstGeom>
          </p:spPr>
        </p:pic>
      </p:grpSp>
      <p:sp>
        <p:nvSpPr>
          <p:cNvPr id="1089" name="Line">
            <a:extLst>
              <a:ext uri="{FF2B5EF4-FFF2-40B4-BE49-F238E27FC236}">
                <a16:creationId xmlns:a16="http://schemas.microsoft.com/office/drawing/2014/main" id="{3DA7A5C5-5C57-7A09-FCE5-00FC1187F2E8}"/>
              </a:ext>
            </a:extLst>
          </p:cNvPr>
          <p:cNvSpPr/>
          <p:nvPr/>
        </p:nvSpPr>
        <p:spPr>
          <a:xfrm flipH="1">
            <a:off x="2132444" y="3389051"/>
            <a:ext cx="907563" cy="0"/>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pPr>
              <a:defRPr sz="3200" b="0">
                <a:latin typeface="Helvetica Light"/>
                <a:ea typeface="Helvetica Light"/>
                <a:cs typeface="Helvetica Light"/>
                <a:sym typeface="Helvetica Light"/>
              </a:defRPr>
            </a:pPr>
            <a:endParaRPr sz="1200"/>
          </a:p>
        </p:txBody>
      </p:sp>
      <p:sp>
        <p:nvSpPr>
          <p:cNvPr id="1090" name="Line">
            <a:extLst>
              <a:ext uri="{FF2B5EF4-FFF2-40B4-BE49-F238E27FC236}">
                <a16:creationId xmlns:a16="http://schemas.microsoft.com/office/drawing/2014/main" id="{3EEFC149-AA36-6C5E-CDAD-1A162BAEFFE2}"/>
              </a:ext>
            </a:extLst>
          </p:cNvPr>
          <p:cNvSpPr/>
          <p:nvPr/>
        </p:nvSpPr>
        <p:spPr>
          <a:xfrm flipH="1">
            <a:off x="4334553" y="3397105"/>
            <a:ext cx="1343000" cy="0"/>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endParaRPr sz="1200">
              <a:latin typeface="Helvetica Light"/>
            </a:endParaRPr>
          </a:p>
        </p:txBody>
      </p:sp>
      <p:sp>
        <p:nvSpPr>
          <p:cNvPr id="1091" name="Line">
            <a:extLst>
              <a:ext uri="{FF2B5EF4-FFF2-40B4-BE49-F238E27FC236}">
                <a16:creationId xmlns:a16="http://schemas.microsoft.com/office/drawing/2014/main" id="{7B1145CC-3467-DC52-3708-A2BB7977F09D}"/>
              </a:ext>
            </a:extLst>
          </p:cNvPr>
          <p:cNvSpPr/>
          <p:nvPr/>
        </p:nvSpPr>
        <p:spPr>
          <a:xfrm flipH="1" flipV="1">
            <a:off x="8975740" y="3378975"/>
            <a:ext cx="1307076" cy="1"/>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endParaRPr sz="1200">
              <a:latin typeface="Helvetica Light"/>
            </a:endParaRPr>
          </a:p>
        </p:txBody>
      </p:sp>
      <p:sp>
        <p:nvSpPr>
          <p:cNvPr id="1092" name="Line">
            <a:extLst>
              <a:ext uri="{FF2B5EF4-FFF2-40B4-BE49-F238E27FC236}">
                <a16:creationId xmlns:a16="http://schemas.microsoft.com/office/drawing/2014/main" id="{426B5512-B179-4785-03CA-442F7955D40F}"/>
              </a:ext>
            </a:extLst>
          </p:cNvPr>
          <p:cNvSpPr/>
          <p:nvPr/>
        </p:nvSpPr>
        <p:spPr>
          <a:xfrm flipH="1" flipV="1">
            <a:off x="6942215" y="3390231"/>
            <a:ext cx="862197" cy="0"/>
          </a:xfrm>
          <a:prstGeom prst="line">
            <a:avLst/>
          </a:prstGeom>
          <a:ln w="25400">
            <a:solidFill>
              <a:srgbClr val="A3A8AC"/>
            </a:solidFill>
            <a:custDash>
              <a:ds d="200000" sp="200000"/>
            </a:custDash>
            <a:miter lim="400000"/>
            <a:headEnd type="stealth" w="lg" len="lg"/>
            <a:tailEnd type="oval"/>
          </a:ln>
        </p:spPr>
        <p:txBody>
          <a:bodyPr lIns="19050" tIns="19050" rIns="19050" bIns="19050" anchor="ctr"/>
          <a:lstStyle/>
          <a:p>
            <a:endParaRPr sz="1200">
              <a:latin typeface="Helvetica Light"/>
            </a:endParaRPr>
          </a:p>
        </p:txBody>
      </p:sp>
      <p:sp>
        <p:nvSpPr>
          <p:cNvPr id="6" name="Oval 57">
            <a:extLst>
              <a:ext uri="{FF2B5EF4-FFF2-40B4-BE49-F238E27FC236}">
                <a16:creationId xmlns:a16="http://schemas.microsoft.com/office/drawing/2014/main" id="{678A60D8-6072-7121-3249-79F76E7CE903}"/>
              </a:ext>
            </a:extLst>
          </p:cNvPr>
          <p:cNvSpPr/>
          <p:nvPr/>
        </p:nvSpPr>
        <p:spPr>
          <a:xfrm>
            <a:off x="4996903" y="1472989"/>
            <a:ext cx="542318" cy="216396"/>
          </a:xfrm>
          <a:prstGeom prst="ellipse">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000">
              <a:solidFill>
                <a:srgbClr val="FFFFFF"/>
              </a:solidFill>
              <a:sym typeface="Helvetica Neue Medium"/>
            </a:endParaRPr>
          </a:p>
        </p:txBody>
      </p:sp>
      <p:sp>
        <p:nvSpPr>
          <p:cNvPr id="5" name="Oval 4">
            <a:extLst>
              <a:ext uri="{FF2B5EF4-FFF2-40B4-BE49-F238E27FC236}">
                <a16:creationId xmlns:a16="http://schemas.microsoft.com/office/drawing/2014/main" id="{51A0838D-757D-0587-FBBC-04050E493BBB}"/>
              </a:ext>
            </a:extLst>
          </p:cNvPr>
          <p:cNvSpPr/>
          <p:nvPr/>
        </p:nvSpPr>
        <p:spPr>
          <a:xfrm>
            <a:off x="1371384" y="1470617"/>
            <a:ext cx="542317" cy="216396"/>
          </a:xfrm>
          <a:prstGeom prst="ellipse">
            <a:avLst/>
          </a:prstGeom>
          <a:solidFill>
            <a:srgbClr val="0C749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000">
              <a:solidFill>
                <a:srgbClr val="FFFFFF"/>
              </a:solidFill>
              <a:sym typeface="Helvetica Neue Medium"/>
            </a:endParaRPr>
          </a:p>
        </p:txBody>
      </p:sp>
      <p:sp>
        <p:nvSpPr>
          <p:cNvPr id="1093" name="pole tekstowe 1092">
            <a:extLst>
              <a:ext uri="{FF2B5EF4-FFF2-40B4-BE49-F238E27FC236}">
                <a16:creationId xmlns:a16="http://schemas.microsoft.com/office/drawing/2014/main" id="{A19441C3-27A8-E7C6-E83C-AF06391D4572}"/>
              </a:ext>
            </a:extLst>
          </p:cNvPr>
          <p:cNvSpPr txBox="1"/>
          <p:nvPr/>
        </p:nvSpPr>
        <p:spPr>
          <a:xfrm>
            <a:off x="1029499" y="1475535"/>
            <a:ext cx="1226087"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a:solidFill>
                  <a:srgbClr val="FFFFFF"/>
                </a:solidFill>
                <a:sym typeface="Helvetica Neue Medium"/>
              </a:rPr>
              <a:t>1</a:t>
            </a:r>
          </a:p>
        </p:txBody>
      </p:sp>
      <p:sp>
        <p:nvSpPr>
          <p:cNvPr id="1094" name="pole tekstowe 1093">
            <a:extLst>
              <a:ext uri="{FF2B5EF4-FFF2-40B4-BE49-F238E27FC236}">
                <a16:creationId xmlns:a16="http://schemas.microsoft.com/office/drawing/2014/main" id="{6A36926A-23F8-2C95-ED83-092398651EF7}"/>
              </a:ext>
            </a:extLst>
          </p:cNvPr>
          <p:cNvSpPr txBox="1"/>
          <p:nvPr/>
        </p:nvSpPr>
        <p:spPr>
          <a:xfrm>
            <a:off x="4654120" y="1465849"/>
            <a:ext cx="1226087"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12750" hangingPunct="0"/>
            <a:r>
              <a:rPr lang="pl-PL" sz="1200">
                <a:solidFill>
                  <a:srgbClr val="FFFFFF"/>
                </a:solidFill>
                <a:sym typeface="Helvetica Neue Medium"/>
              </a:rPr>
              <a:t>2</a:t>
            </a:r>
          </a:p>
        </p:txBody>
      </p:sp>
      <p:sp>
        <p:nvSpPr>
          <p:cNvPr id="2" name="Slide Number">
            <a:extLst>
              <a:ext uri="{FF2B5EF4-FFF2-40B4-BE49-F238E27FC236}">
                <a16:creationId xmlns:a16="http://schemas.microsoft.com/office/drawing/2014/main" id="{49373E9E-0EF6-0902-6069-64B76E0A567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38</a:t>
            </a:fld>
            <a:endParaRPr/>
          </a:p>
        </p:txBody>
      </p:sp>
      <p:cxnSp>
        <p:nvCxnSpPr>
          <p:cNvPr id="3" name="Straight Connector 23">
            <a:extLst>
              <a:ext uri="{FF2B5EF4-FFF2-40B4-BE49-F238E27FC236}">
                <a16:creationId xmlns:a16="http://schemas.microsoft.com/office/drawing/2014/main" id="{DDF21F46-52D3-F95D-0268-E42FBE288F7D}"/>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3850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39</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2551740" y="1890711"/>
            <a:ext cx="7514467" cy="3754715"/>
            <a:chOff x="5103480" y="3781422"/>
            <a:chExt cx="15028934" cy="7509430"/>
          </a:xfrm>
        </p:grpSpPr>
        <p:sp>
          <p:nvSpPr>
            <p:cNvPr id="21" name="Prostokąt 20">
              <a:extLst>
                <a:ext uri="{FF2B5EF4-FFF2-40B4-BE49-F238E27FC236}">
                  <a16:creationId xmlns:a16="http://schemas.microsoft.com/office/drawing/2014/main" id="{7C7613EB-D9FF-32B1-966F-8236A4A4DE47}"/>
                </a:ext>
              </a:extLst>
            </p:cNvPr>
            <p:cNvSpPr/>
            <p:nvPr/>
          </p:nvSpPr>
          <p:spPr>
            <a:xfrm>
              <a:off x="5103480" y="3781422"/>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15155594" y="3781422"/>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sp>
          <p:nvSpPr>
            <p:cNvPr id="23" name="Prostokąt 22">
              <a:extLst>
                <a:ext uri="{FF2B5EF4-FFF2-40B4-BE49-F238E27FC236}">
                  <a16:creationId xmlns:a16="http://schemas.microsoft.com/office/drawing/2014/main" id="{079497D2-2603-BAB6-6235-C10E4EC18B3B}"/>
                </a:ext>
              </a:extLst>
            </p:cNvPr>
            <p:cNvSpPr/>
            <p:nvPr/>
          </p:nvSpPr>
          <p:spPr>
            <a:xfrm>
              <a:off x="10080300" y="9300682"/>
              <a:ext cx="4976820" cy="1990170"/>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Foreign</a:t>
              </a:r>
              <a:r>
                <a:rPr lang="pl-PL" sz="1600" dirty="0">
                  <a:solidFill>
                    <a:srgbClr val="FFFFFF"/>
                  </a:solidFill>
                  <a:sym typeface="Helvetica Neue Medium"/>
                </a:rPr>
                <a:t> </a:t>
              </a:r>
              <a:r>
                <a:rPr lang="pl-PL" sz="1600" dirty="0" err="1">
                  <a:solidFill>
                    <a:srgbClr val="FFFFFF"/>
                  </a:solidFill>
                  <a:sym typeface="Helvetica Neue Medium"/>
                </a:rPr>
                <a:t>company</a:t>
              </a:r>
              <a:endParaRPr lang="pl-PL" sz="1600" dirty="0">
                <a:solidFill>
                  <a:srgbClr val="FFFFFF"/>
                </a:solidFill>
                <a:sym typeface="Helvetica Neue Medium"/>
              </a:endParaRPr>
            </a:p>
            <a:p>
              <a:pPr algn="ctr" defTabSz="412750" hangingPunct="0"/>
              <a:endParaRPr lang="pl-PL" sz="1600" dirty="0">
                <a:solidFill>
                  <a:srgbClr val="FFFFFF"/>
                </a:solidFill>
                <a:sym typeface="Helvetica Neue Medium"/>
              </a:endParaRPr>
            </a:p>
          </p:txBody>
        </p:sp>
        <p:cxnSp>
          <p:nvCxnSpPr>
            <p:cNvPr id="25" name="Łącznik: łamany 24">
              <a:extLst>
                <a:ext uri="{FF2B5EF4-FFF2-40B4-BE49-F238E27FC236}">
                  <a16:creationId xmlns:a16="http://schemas.microsoft.com/office/drawing/2014/main" id="{9A1A8152-0A86-2B3C-D8D2-83FF4715E182}"/>
                </a:ext>
              </a:extLst>
            </p:cNvPr>
            <p:cNvCxnSpPr>
              <a:cxnSpLocks/>
              <a:stCxn id="21" idx="2"/>
              <a:endCxn id="23" idx="0"/>
            </p:cNvCxnSpPr>
            <p:nvPr/>
          </p:nvCxnSpPr>
          <p:spPr>
            <a:xfrm rot="16200000" flipH="1">
              <a:off x="8305556" y="5037526"/>
              <a:ext cx="3549490" cy="49768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Łącznik: łamany 32">
              <a:extLst>
                <a:ext uri="{FF2B5EF4-FFF2-40B4-BE49-F238E27FC236}">
                  <a16:creationId xmlns:a16="http://schemas.microsoft.com/office/drawing/2014/main" id="{4A6458E0-470D-44A4-9E0D-4231516A9693}"/>
                </a:ext>
              </a:extLst>
            </p:cNvPr>
            <p:cNvCxnSpPr>
              <a:cxnSpLocks/>
              <a:stCxn id="22" idx="2"/>
              <a:endCxn id="23" idx="0"/>
            </p:cNvCxnSpPr>
            <p:nvPr/>
          </p:nvCxnSpPr>
          <p:spPr>
            <a:xfrm rot="5400000">
              <a:off x="13331612" y="4988289"/>
              <a:ext cx="3549491" cy="507529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wal 36">
              <a:extLst>
                <a:ext uri="{FF2B5EF4-FFF2-40B4-BE49-F238E27FC236}">
                  <a16:creationId xmlns:a16="http://schemas.microsoft.com/office/drawing/2014/main" id="{06B56E54-6239-46F5-752D-4EFCA19C670C}"/>
                </a:ext>
              </a:extLst>
            </p:cNvPr>
            <p:cNvSpPr/>
            <p:nvPr/>
          </p:nvSpPr>
          <p:spPr>
            <a:xfrm>
              <a:off x="8940630" y="7188266"/>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50,1%</a:t>
              </a:r>
            </a:p>
          </p:txBody>
        </p:sp>
        <p:sp>
          <p:nvSpPr>
            <p:cNvPr id="38" name="Owal 37">
              <a:extLst>
                <a:ext uri="{FF2B5EF4-FFF2-40B4-BE49-F238E27FC236}">
                  <a16:creationId xmlns:a16="http://schemas.microsoft.com/office/drawing/2014/main" id="{7FC63AD9-54D4-4D84-0D0E-E73802B6F4B5}"/>
                </a:ext>
              </a:extLst>
            </p:cNvPr>
            <p:cNvSpPr/>
            <p:nvPr/>
          </p:nvSpPr>
          <p:spPr>
            <a:xfrm>
              <a:off x="14500860" y="7175538"/>
              <a:ext cx="1889760" cy="692468"/>
            </a:xfrm>
            <a:prstGeom prst="ellipse">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49,9%</a:t>
              </a: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11562024" y="6684582"/>
              <a:ext cx="2013374" cy="7181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EQUITY</a:t>
              </a:r>
            </a:p>
          </p:txBody>
        </p:sp>
      </p:grpSp>
    </p:spTree>
    <p:extLst>
      <p:ext uri="{BB962C8B-B14F-4D97-AF65-F5344CB8AC3E}">
        <p14:creationId xmlns:p14="http://schemas.microsoft.com/office/powerpoint/2010/main" val="267391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4</a:t>
            </a:fld>
            <a:endParaRPr lang="en-GB" noProof="0" dirty="0"/>
          </a:p>
        </p:txBody>
      </p:sp>
      <p:sp>
        <p:nvSpPr>
          <p:cNvPr id="4" name="Text Placeholder 3">
            <a:extLst>
              <a:ext uri="{FF2B5EF4-FFF2-40B4-BE49-F238E27FC236}">
                <a16:creationId xmlns:a16="http://schemas.microsoft.com/office/drawing/2014/main" id="{5E2C1C66-FCAB-F8F6-757F-8F4B6D5CD98D}"/>
              </a:ext>
            </a:extLst>
          </p:cNvPr>
          <p:cNvSpPr>
            <a:spLocks noGrp="1"/>
          </p:cNvSpPr>
          <p:nvPr>
            <p:ph type="body" sz="quarter" idx="11"/>
          </p:nvPr>
        </p:nvSpPr>
        <p:spPr>
          <a:xfrm>
            <a:off x="906022" y="2677212"/>
            <a:ext cx="10691977" cy="3625534"/>
          </a:xfrm>
        </p:spPr>
        <p:txBody>
          <a:bodyPr/>
          <a:lstStyle/>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Global M&amp;A activity in 2023 was impacted by heightened geopolitical conflicts, high inflation and interest rates and increased regulatory pressures </a:t>
            </a:r>
            <a:r>
              <a:rPr kumimoji="0" lang="en-US" sz="10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1)</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In line with global trends the UK experienced a decrease in M&amp;A activity in 2023, with the total deal value dropping to GBP 109.4 billion (from GBP 133.6 billion in 2022), and the number of deals reducing to 1,388 (from 1,592 in 2022) </a:t>
            </a:r>
            <a:r>
              <a:rPr kumimoji="0" lang="en-US" sz="10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2)</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GB"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Despite this decline, the UK remained the most attractive destination in Europe for inbound and domestic M&amp;A, and 3rd globally</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0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3)</a:t>
            </a:r>
            <a:r>
              <a:rPr kumimoji="0" lang="en-US" sz="17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Some industry views attributed this in part to the pound’s depreciation against other major currencies and the decline of the share price of UK-based companies.</a:t>
            </a:r>
          </a:p>
          <a:p>
            <a:pPr marL="0" marR="0" lvl="0" indent="0" algn="l" defTabSz="914400" rtl="0" eaLnBrk="1" fontAlgn="auto" latinLnBrk="0" hangingPunct="1">
              <a:lnSpc>
                <a:spcPts val="2200"/>
              </a:lnSpc>
              <a:spcBef>
                <a:spcPts val="0"/>
              </a:spcBef>
              <a:spcAft>
                <a:spcPts val="600"/>
              </a:spcAft>
              <a:buClrTx/>
              <a:buSzTx/>
              <a:buNone/>
              <a:tabLst/>
              <a:defRPr/>
            </a:pPr>
            <a:endParaRPr kumimoji="0" lang="en-GB"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53158" y="1841250"/>
            <a:ext cx="7792316" cy="416753"/>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rPr>
              <a:t>M&amp;A landscape in the UK  </a:t>
            </a:r>
            <a:r>
              <a:rPr lang="en-GB" sz="1800" kern="0" dirty="0">
                <a:solidFill>
                  <a:srgbClr val="000000"/>
                </a:solidFill>
                <a:effectLst/>
                <a:latin typeface="Verdana" panose="020B0604030504040204" pitchFamily="34" charset="0"/>
                <a:ea typeface="Times New Roman" panose="02020603050405020304" pitchFamily="18" charset="0"/>
                <a:cs typeface="Calibri" panose="020F0502020204030204" pitchFamily="34" charset="0"/>
              </a:rPr>
              <a:t>  - </a:t>
            </a:r>
            <a:r>
              <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rPr>
              <a:t>    </a:t>
            </a:r>
            <a:r>
              <a:rPr lang="en-GB" dirty="0">
                <a:solidFill>
                  <a:sysClr val="windowText" lastClr="000000"/>
                </a:solidFill>
              </a:rPr>
              <a:t>Poised for action</a:t>
            </a:r>
            <a:r>
              <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9" name="TextBox 8">
            <a:extLst>
              <a:ext uri="{FF2B5EF4-FFF2-40B4-BE49-F238E27FC236}">
                <a16:creationId xmlns:a16="http://schemas.microsoft.com/office/drawing/2014/main" id="{13F27A61-4BF2-CACB-E448-ADA671C85683}"/>
              </a:ext>
            </a:extLst>
          </p:cNvPr>
          <p:cNvSpPr txBox="1"/>
          <p:nvPr/>
        </p:nvSpPr>
        <p:spPr>
          <a:xfrm>
            <a:off x="953159" y="5547888"/>
            <a:ext cx="7792315" cy="461665"/>
          </a:xfrm>
          <a:prstGeom prst="rect">
            <a:avLst/>
          </a:prstGeom>
          <a:noFill/>
        </p:spPr>
        <p:txBody>
          <a:bodyPr wrap="square" rtlCol="0">
            <a:spAutoFit/>
          </a:bodyPr>
          <a:lstStyle/>
          <a:p>
            <a:r>
              <a:rPr lang="en-GB" sz="800" i="1" dirty="0">
                <a:latin typeface="Lato" panose="020F0502020204030203" pitchFamily="34" charset="0"/>
                <a:ea typeface="Lato" panose="020F0502020204030203" pitchFamily="34" charset="0"/>
                <a:cs typeface="Lato" panose="020F0502020204030203" pitchFamily="34" charset="0"/>
              </a:rPr>
              <a:t>(1)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a:p>
            <a:r>
              <a:rPr lang="en-GB" sz="800" i="1" dirty="0">
                <a:latin typeface="Lato" panose="020F0502020204030203" pitchFamily="34" charset="0"/>
                <a:ea typeface="Lato" panose="020F0502020204030203" pitchFamily="34" charset="0"/>
                <a:cs typeface="Lato" panose="020F0502020204030203" pitchFamily="34" charset="0"/>
              </a:rPr>
              <a:t>(2)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endParaRPr lang="en-GB" sz="800" i="1" dirty="0">
              <a:latin typeface="Lato" panose="020F0502020204030203" pitchFamily="34" charset="0"/>
              <a:ea typeface="Lato" panose="020F0502020204030203" pitchFamily="34" charset="0"/>
              <a:cs typeface="Lato" panose="020F0502020204030203" pitchFamily="34" charset="0"/>
            </a:endParaRPr>
          </a:p>
          <a:p>
            <a:r>
              <a:rPr lang="en-GB" sz="800" i="1" dirty="0">
                <a:latin typeface="Lato" panose="020F0502020204030203" pitchFamily="34" charset="0"/>
                <a:ea typeface="Lato" panose="020F0502020204030203" pitchFamily="34" charset="0"/>
                <a:cs typeface="Lato" panose="020F0502020204030203" pitchFamily="34" charset="0"/>
              </a:rPr>
              <a:t>(3) Source: Bayes Business School of London</a:t>
            </a:r>
          </a:p>
        </p:txBody>
      </p:sp>
    </p:spTree>
    <p:extLst>
      <p:ext uri="{BB962C8B-B14F-4D97-AF65-F5344CB8AC3E}">
        <p14:creationId xmlns:p14="http://schemas.microsoft.com/office/powerpoint/2010/main" val="12933361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40</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2551740" y="1513024"/>
            <a:ext cx="7514467" cy="2661411"/>
            <a:chOff x="5103480" y="3781422"/>
            <a:chExt cx="15028934" cy="5322821"/>
          </a:xfrm>
        </p:grpSpPr>
        <p:cxnSp>
          <p:nvCxnSpPr>
            <p:cNvPr id="25" name="Łącznik: łamany 24">
              <a:extLst>
                <a:ext uri="{FF2B5EF4-FFF2-40B4-BE49-F238E27FC236}">
                  <a16:creationId xmlns:a16="http://schemas.microsoft.com/office/drawing/2014/main" id="{9A1A8152-0A86-2B3C-D8D2-83FF4715E182}"/>
                </a:ext>
              </a:extLst>
            </p:cNvPr>
            <p:cNvCxnSpPr>
              <a:cxnSpLocks/>
            </p:cNvCxnSpPr>
            <p:nvPr/>
          </p:nvCxnSpPr>
          <p:spPr>
            <a:xfrm rot="16200000" flipH="1">
              <a:off x="8305555" y="4083370"/>
              <a:ext cx="3549490" cy="49768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Łącznik: łamany 32">
              <a:extLst>
                <a:ext uri="{FF2B5EF4-FFF2-40B4-BE49-F238E27FC236}">
                  <a16:creationId xmlns:a16="http://schemas.microsoft.com/office/drawing/2014/main" id="{4A6458E0-470D-44A4-9E0D-4231516A9693}"/>
                </a:ext>
              </a:extLst>
            </p:cNvPr>
            <p:cNvCxnSpPr>
              <a:cxnSpLocks/>
            </p:cNvCxnSpPr>
            <p:nvPr/>
          </p:nvCxnSpPr>
          <p:spPr>
            <a:xfrm rot="5400000">
              <a:off x="13331612" y="4034132"/>
              <a:ext cx="3549491" cy="507529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Prostokąt 20">
              <a:extLst>
                <a:ext uri="{FF2B5EF4-FFF2-40B4-BE49-F238E27FC236}">
                  <a16:creationId xmlns:a16="http://schemas.microsoft.com/office/drawing/2014/main" id="{7C7613EB-D9FF-32B1-966F-8236A4A4DE47}"/>
                </a:ext>
              </a:extLst>
            </p:cNvPr>
            <p:cNvSpPr/>
            <p:nvPr/>
          </p:nvSpPr>
          <p:spPr>
            <a:xfrm>
              <a:off x="5103480" y="3781422"/>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15155594" y="3781422"/>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sp>
          <p:nvSpPr>
            <p:cNvPr id="23" name="Prostokąt 22">
              <a:extLst>
                <a:ext uri="{FF2B5EF4-FFF2-40B4-BE49-F238E27FC236}">
                  <a16:creationId xmlns:a16="http://schemas.microsoft.com/office/drawing/2014/main" id="{079497D2-2603-BAB6-6235-C10E4EC18B3B}"/>
                </a:ext>
              </a:extLst>
            </p:cNvPr>
            <p:cNvSpPr/>
            <p:nvPr/>
          </p:nvSpPr>
          <p:spPr>
            <a:xfrm>
              <a:off x="10080300" y="7412248"/>
              <a:ext cx="4976820" cy="1691995"/>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SPV</a:t>
              </a:r>
            </a:p>
            <a:p>
              <a:pPr algn="ctr" defTabSz="412750" hangingPunct="0"/>
              <a:endParaRPr lang="pl-PL" sz="1600" dirty="0">
                <a:solidFill>
                  <a:srgbClr val="FFFFFF"/>
                </a:solidFill>
                <a:sym typeface="Helvetica Neue Medium"/>
              </a:endParaRPr>
            </a:p>
          </p:txBody>
        </p:sp>
        <p:sp>
          <p:nvSpPr>
            <p:cNvPr id="37" name="Owal 36">
              <a:extLst>
                <a:ext uri="{FF2B5EF4-FFF2-40B4-BE49-F238E27FC236}">
                  <a16:creationId xmlns:a16="http://schemas.microsoft.com/office/drawing/2014/main" id="{06B56E54-6239-46F5-752D-4EFCA19C670C}"/>
                </a:ext>
              </a:extLst>
            </p:cNvPr>
            <p:cNvSpPr/>
            <p:nvPr/>
          </p:nvSpPr>
          <p:spPr>
            <a:xfrm>
              <a:off x="8940630" y="6253988"/>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50,1%</a:t>
              </a:r>
            </a:p>
          </p:txBody>
        </p:sp>
        <p:sp>
          <p:nvSpPr>
            <p:cNvPr id="38" name="Owal 37">
              <a:extLst>
                <a:ext uri="{FF2B5EF4-FFF2-40B4-BE49-F238E27FC236}">
                  <a16:creationId xmlns:a16="http://schemas.microsoft.com/office/drawing/2014/main" id="{7FC63AD9-54D4-4D84-0D0E-E73802B6F4B5}"/>
                </a:ext>
              </a:extLst>
            </p:cNvPr>
            <p:cNvSpPr/>
            <p:nvPr/>
          </p:nvSpPr>
          <p:spPr>
            <a:xfrm>
              <a:off x="14500860" y="6181624"/>
              <a:ext cx="1889760" cy="692468"/>
            </a:xfrm>
            <a:prstGeom prst="ellipse">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49,9%</a:t>
              </a: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11562024" y="5650912"/>
              <a:ext cx="2013374" cy="7181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EQUITY</a:t>
              </a:r>
              <a:endParaRPr lang="pl-PL" sz="2200" b="1" dirty="0">
                <a:latin typeface="Helvetica Neue"/>
                <a:ea typeface="Helvetica Neue"/>
                <a:cs typeface="Helvetica Neue"/>
                <a:sym typeface="Helvetica Neue"/>
              </a:endParaRPr>
            </a:p>
          </p:txBody>
        </p:sp>
      </p:grpSp>
      <p:sp>
        <p:nvSpPr>
          <p:cNvPr id="3" name="Prostokąt 2">
            <a:extLst>
              <a:ext uri="{FF2B5EF4-FFF2-40B4-BE49-F238E27FC236}">
                <a16:creationId xmlns:a16="http://schemas.microsoft.com/office/drawing/2014/main" id="{C443AA78-A365-24B7-254B-09EFFB18B4DF}"/>
              </a:ext>
            </a:extLst>
          </p:cNvPr>
          <p:cNvSpPr/>
          <p:nvPr/>
        </p:nvSpPr>
        <p:spPr>
          <a:xfrm>
            <a:off x="1981905" y="4560107"/>
            <a:ext cx="2488410" cy="845998"/>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Transaction</a:t>
            </a:r>
            <a:r>
              <a:rPr lang="pl-PL" sz="1600" dirty="0">
                <a:solidFill>
                  <a:srgbClr val="FFFFFF"/>
                </a:solidFill>
                <a:sym typeface="Helvetica Neue Medium"/>
              </a:rPr>
              <a:t> no 1</a:t>
            </a:r>
          </a:p>
          <a:p>
            <a:pPr algn="ctr" defTabSz="412750" hangingPunct="0"/>
            <a:endParaRPr lang="pl-PL" sz="1600" dirty="0">
              <a:solidFill>
                <a:srgbClr val="FFFFFF"/>
              </a:solidFill>
              <a:sym typeface="Helvetica Neue Medium"/>
            </a:endParaRPr>
          </a:p>
        </p:txBody>
      </p:sp>
      <p:cxnSp>
        <p:nvCxnSpPr>
          <p:cNvPr id="8" name="Łącznik: łamany 7">
            <a:extLst>
              <a:ext uri="{FF2B5EF4-FFF2-40B4-BE49-F238E27FC236}">
                <a16:creationId xmlns:a16="http://schemas.microsoft.com/office/drawing/2014/main" id="{8D866308-F768-8D26-53E9-489366CBF8A6}"/>
              </a:ext>
            </a:extLst>
          </p:cNvPr>
          <p:cNvCxnSpPr/>
          <p:nvPr/>
        </p:nvCxnSpPr>
        <p:spPr>
          <a:xfrm rot="5400000">
            <a:off x="4540881" y="2816632"/>
            <a:ext cx="401672" cy="308527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Łącznik prosty 8">
            <a:extLst>
              <a:ext uri="{FF2B5EF4-FFF2-40B4-BE49-F238E27FC236}">
                <a16:creationId xmlns:a16="http://schemas.microsoft.com/office/drawing/2014/main" id="{01A393C0-0080-31EC-B80B-4888D2D79B97}"/>
              </a:ext>
            </a:extLst>
          </p:cNvPr>
          <p:cNvCxnSpPr/>
          <p:nvPr/>
        </p:nvCxnSpPr>
        <p:spPr>
          <a:xfrm flipH="1">
            <a:off x="6284355" y="4177648"/>
            <a:ext cx="1" cy="4170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Prostokąt 10">
            <a:extLst>
              <a:ext uri="{FF2B5EF4-FFF2-40B4-BE49-F238E27FC236}">
                <a16:creationId xmlns:a16="http://schemas.microsoft.com/office/drawing/2014/main" id="{7FB0711F-89AC-D0F8-374B-684EB61CAA93}"/>
              </a:ext>
            </a:extLst>
          </p:cNvPr>
          <p:cNvSpPr/>
          <p:nvPr/>
        </p:nvSpPr>
        <p:spPr>
          <a:xfrm>
            <a:off x="5040150" y="4567801"/>
            <a:ext cx="2488410" cy="845998"/>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Transaction</a:t>
            </a:r>
            <a:r>
              <a:rPr lang="pl-PL" sz="1600" dirty="0">
                <a:solidFill>
                  <a:srgbClr val="FFFFFF"/>
                </a:solidFill>
                <a:sym typeface="Helvetica Neue Medium"/>
              </a:rPr>
              <a:t> no 2</a:t>
            </a:r>
          </a:p>
          <a:p>
            <a:pPr algn="ctr" defTabSz="412750" hangingPunct="0"/>
            <a:endParaRPr lang="pl-PL" sz="1600" dirty="0">
              <a:solidFill>
                <a:srgbClr val="FFFFFF"/>
              </a:solidFill>
              <a:sym typeface="Helvetica Neue Medium"/>
            </a:endParaRPr>
          </a:p>
        </p:txBody>
      </p:sp>
      <p:sp>
        <p:nvSpPr>
          <p:cNvPr id="12" name="Prostokąt 11">
            <a:extLst>
              <a:ext uri="{FF2B5EF4-FFF2-40B4-BE49-F238E27FC236}">
                <a16:creationId xmlns:a16="http://schemas.microsoft.com/office/drawing/2014/main" id="{AE27C0D1-D37E-9B8E-CECA-20F4B50DA4AE}"/>
              </a:ext>
            </a:extLst>
          </p:cNvPr>
          <p:cNvSpPr/>
          <p:nvPr/>
        </p:nvSpPr>
        <p:spPr>
          <a:xfrm>
            <a:off x="8195310" y="4560107"/>
            <a:ext cx="2488410" cy="845998"/>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Transaction</a:t>
            </a:r>
            <a:r>
              <a:rPr lang="pl-PL" sz="1600" dirty="0">
                <a:solidFill>
                  <a:srgbClr val="FFFFFF"/>
                </a:solidFill>
                <a:sym typeface="Helvetica Neue Medium"/>
              </a:rPr>
              <a:t> no 3</a:t>
            </a:r>
          </a:p>
          <a:p>
            <a:pPr algn="ctr" defTabSz="412750" hangingPunct="0"/>
            <a:endParaRPr lang="pl-PL" sz="1600" dirty="0">
              <a:solidFill>
                <a:srgbClr val="FFFFFF"/>
              </a:solidFill>
              <a:sym typeface="Helvetica Neue Medium"/>
            </a:endParaRPr>
          </a:p>
        </p:txBody>
      </p:sp>
      <p:cxnSp>
        <p:nvCxnSpPr>
          <p:cNvPr id="14" name="Łącznik: łamany 13">
            <a:extLst>
              <a:ext uri="{FF2B5EF4-FFF2-40B4-BE49-F238E27FC236}">
                <a16:creationId xmlns:a16="http://schemas.microsoft.com/office/drawing/2014/main" id="{7728A049-9F18-C0EC-44C0-A5A67426B49C}"/>
              </a:ext>
            </a:extLst>
          </p:cNvPr>
          <p:cNvCxnSpPr>
            <a:cxnSpLocks/>
            <a:stCxn id="23" idx="2"/>
            <a:endCxn id="12" idx="0"/>
          </p:cNvCxnSpPr>
          <p:nvPr/>
        </p:nvCxnSpPr>
        <p:spPr>
          <a:xfrm rot="16200000" flipH="1">
            <a:off x="7669099" y="2789691"/>
            <a:ext cx="385672" cy="3155160"/>
          </a:xfrm>
          <a:prstGeom prst="bentConnector3">
            <a:avLst>
              <a:gd name="adj1" fmla="val 47423"/>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87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41</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2551740" y="1890711"/>
            <a:ext cx="7514467" cy="3327866"/>
            <a:chOff x="5103480" y="3781422"/>
            <a:chExt cx="15028934" cy="6655732"/>
          </a:xfrm>
        </p:grpSpPr>
        <p:sp>
          <p:nvSpPr>
            <p:cNvPr id="21" name="Prostokąt 20">
              <a:extLst>
                <a:ext uri="{FF2B5EF4-FFF2-40B4-BE49-F238E27FC236}">
                  <a16:creationId xmlns:a16="http://schemas.microsoft.com/office/drawing/2014/main" id="{7C7613EB-D9FF-32B1-966F-8236A4A4DE47}"/>
                </a:ext>
              </a:extLst>
            </p:cNvPr>
            <p:cNvSpPr/>
            <p:nvPr/>
          </p:nvSpPr>
          <p:spPr>
            <a:xfrm>
              <a:off x="5103480" y="3781422"/>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15155594" y="3781422"/>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cxnSp>
          <p:nvCxnSpPr>
            <p:cNvPr id="25" name="Łącznik: łamany 24">
              <a:extLst>
                <a:ext uri="{FF2B5EF4-FFF2-40B4-BE49-F238E27FC236}">
                  <a16:creationId xmlns:a16="http://schemas.microsoft.com/office/drawing/2014/main" id="{9A1A8152-0A86-2B3C-D8D2-83FF4715E182}"/>
                </a:ext>
              </a:extLst>
            </p:cNvPr>
            <p:cNvCxnSpPr>
              <a:cxnSpLocks/>
              <a:stCxn id="21" idx="2"/>
            </p:cNvCxnSpPr>
            <p:nvPr/>
          </p:nvCxnSpPr>
          <p:spPr>
            <a:xfrm rot="5400000">
              <a:off x="5810796" y="7525938"/>
              <a:ext cx="3555842" cy="634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Łącznik: łamany 32">
              <a:extLst>
                <a:ext uri="{FF2B5EF4-FFF2-40B4-BE49-F238E27FC236}">
                  <a16:creationId xmlns:a16="http://schemas.microsoft.com/office/drawing/2014/main" id="{4A6458E0-470D-44A4-9E0D-4231516A9693}"/>
                </a:ext>
              </a:extLst>
            </p:cNvPr>
            <p:cNvCxnSpPr>
              <a:cxnSpLocks/>
              <a:endCxn id="23" idx="3"/>
            </p:cNvCxnSpPr>
            <p:nvPr/>
          </p:nvCxnSpPr>
          <p:spPr>
            <a:xfrm rot="10800000" flipV="1">
              <a:off x="10073951" y="5757539"/>
              <a:ext cx="7796611" cy="3694729"/>
            </a:xfrm>
            <a:prstGeom prst="bentConnector3">
              <a:avLst>
                <a:gd name="adj1" fmla="val 28"/>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wal 36">
              <a:extLst>
                <a:ext uri="{FF2B5EF4-FFF2-40B4-BE49-F238E27FC236}">
                  <a16:creationId xmlns:a16="http://schemas.microsoft.com/office/drawing/2014/main" id="{06B56E54-6239-46F5-752D-4EFCA19C670C}"/>
                </a:ext>
              </a:extLst>
            </p:cNvPr>
            <p:cNvSpPr/>
            <p:nvPr/>
          </p:nvSpPr>
          <p:spPr>
            <a:xfrm>
              <a:off x="6628048" y="6935270"/>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100%</a:t>
              </a: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17110854" y="7605738"/>
              <a:ext cx="1503618" cy="718146"/>
            </a:xfrm>
            <a:prstGeom prst="rect">
              <a:avLst/>
            </a:prstGeom>
            <a:solidFill>
              <a:srgbClr val="FAFAF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DEBT</a:t>
              </a:r>
            </a:p>
          </p:txBody>
        </p:sp>
        <p:sp>
          <p:nvSpPr>
            <p:cNvPr id="23" name="Prostokąt 22">
              <a:extLst>
                <a:ext uri="{FF2B5EF4-FFF2-40B4-BE49-F238E27FC236}">
                  <a16:creationId xmlns:a16="http://schemas.microsoft.com/office/drawing/2014/main" id="{079497D2-2603-BAB6-6235-C10E4EC18B3B}"/>
                </a:ext>
              </a:extLst>
            </p:cNvPr>
            <p:cNvSpPr/>
            <p:nvPr/>
          </p:nvSpPr>
          <p:spPr>
            <a:xfrm>
              <a:off x="5103480" y="8467384"/>
              <a:ext cx="4970470" cy="1969770"/>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Foreign</a:t>
              </a:r>
              <a:r>
                <a:rPr lang="pl-PL" sz="1600" dirty="0">
                  <a:solidFill>
                    <a:srgbClr val="FFFFFF"/>
                  </a:solidFill>
                  <a:sym typeface="Helvetica Neue Medium"/>
                </a:rPr>
                <a:t> </a:t>
              </a:r>
              <a:r>
                <a:rPr lang="pl-PL" sz="1600" dirty="0" err="1">
                  <a:solidFill>
                    <a:srgbClr val="FFFFFF"/>
                  </a:solidFill>
                  <a:sym typeface="Helvetica Neue Medium"/>
                </a:rPr>
                <a:t>company</a:t>
              </a:r>
              <a:endParaRPr lang="pl-PL" sz="1600" dirty="0">
                <a:solidFill>
                  <a:srgbClr val="FFFFFF"/>
                </a:solidFill>
                <a:sym typeface="Helvetica Neue Medium"/>
              </a:endParaRPr>
            </a:p>
            <a:p>
              <a:pPr algn="ctr" defTabSz="412750" hangingPunct="0"/>
              <a:endParaRPr lang="pl-PL" sz="1600" dirty="0">
                <a:solidFill>
                  <a:srgbClr val="FFFFFF"/>
                </a:solidFill>
                <a:sym typeface="Helvetica Neue Medium"/>
              </a:endParaRPr>
            </a:p>
          </p:txBody>
        </p:sp>
      </p:grpSp>
    </p:spTree>
    <p:extLst>
      <p:ext uri="{BB962C8B-B14F-4D97-AF65-F5344CB8AC3E}">
        <p14:creationId xmlns:p14="http://schemas.microsoft.com/office/powerpoint/2010/main" val="35018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Łącznik: łamany 4">
            <a:extLst>
              <a:ext uri="{FF2B5EF4-FFF2-40B4-BE49-F238E27FC236}">
                <a16:creationId xmlns:a16="http://schemas.microsoft.com/office/drawing/2014/main" id="{9CE24B86-6C56-F1C8-B774-F040658562BA}"/>
              </a:ext>
            </a:extLst>
          </p:cNvPr>
          <p:cNvCxnSpPr>
            <a:cxnSpLocks/>
            <a:stCxn id="23" idx="1"/>
            <a:endCxn id="22" idx="2"/>
          </p:cNvCxnSpPr>
          <p:nvPr/>
        </p:nvCxnSpPr>
        <p:spPr>
          <a:xfrm rot="10800000">
            <a:off x="2502503" y="2878772"/>
            <a:ext cx="2095056" cy="1791002"/>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short intro.">
            <a:extLst>
              <a:ext uri="{FF2B5EF4-FFF2-40B4-BE49-F238E27FC236}">
                <a16:creationId xmlns:a16="http://schemas.microsoft.com/office/drawing/2014/main" id="{F7FBE02F-3A11-7A42-B4FA-F280A744C405}"/>
              </a:ext>
            </a:extLst>
          </p:cNvPr>
          <p:cNvSpPr txBox="1"/>
          <p:nvPr/>
        </p:nvSpPr>
        <p:spPr>
          <a:xfrm>
            <a:off x="792000" y="720304"/>
            <a:ext cx="6968677" cy="4154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a:lnSpc>
                <a:spcPct val="100000"/>
              </a:lnSpc>
            </a:pPr>
            <a:r>
              <a:rPr lang="pl-PL" sz="2700" b="1" dirty="0" err="1">
                <a:latin typeface="Novel Pro SemiBold" pitchFamily="2" charset="0"/>
              </a:rPr>
              <a:t>Typical</a:t>
            </a:r>
            <a:r>
              <a:rPr lang="pl-PL" sz="2700" b="1" dirty="0">
                <a:latin typeface="Novel Pro SemiBold" pitchFamily="2" charset="0"/>
              </a:rPr>
              <a:t> </a:t>
            </a:r>
            <a:r>
              <a:rPr lang="pl-PL" sz="2700" b="1" dirty="0" err="1">
                <a:latin typeface="Novel Pro SemiBold" pitchFamily="2" charset="0"/>
              </a:rPr>
              <a:t>structures</a:t>
            </a:r>
            <a:r>
              <a:rPr lang="pl-PL" sz="2700" b="1" dirty="0">
                <a:latin typeface="Novel Pro SemiBold" pitchFamily="2" charset="0"/>
              </a:rPr>
              <a:t> of </a:t>
            </a:r>
            <a:r>
              <a:rPr lang="pl-PL" sz="2700" b="1" dirty="0" err="1">
                <a:latin typeface="Novel Pro SemiBold" pitchFamily="2" charset="0"/>
              </a:rPr>
              <a:t>transaction</a:t>
            </a:r>
            <a:endParaRPr lang="pl-PL" sz="2700" b="1" dirty="0">
              <a:latin typeface="Novel Pro SemiBold" pitchFamily="2" charset="0"/>
            </a:endParaRPr>
          </a:p>
        </p:txBody>
      </p:sp>
      <p:cxnSp>
        <p:nvCxnSpPr>
          <p:cNvPr id="31" name="Straight Connector 23">
            <a:extLst>
              <a:ext uri="{FF2B5EF4-FFF2-40B4-BE49-F238E27FC236}">
                <a16:creationId xmlns:a16="http://schemas.microsoft.com/office/drawing/2014/main" id="{60D906BD-82A4-8C4C-99A9-3F9740B0BE10}"/>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FEB7E330-F606-846D-4392-005B017D2DFF}"/>
              </a:ext>
            </a:extLst>
          </p:cNvPr>
          <p:cNvSpPr txBox="1">
            <a:spLocks noGrp="1"/>
          </p:cNvSpPr>
          <p:nvPr>
            <p:ph type="sldNum" sz="quarter" idx="2"/>
          </p:nvPr>
        </p:nvSpPr>
        <p:spPr>
          <a:xfrm>
            <a:off x="11244393" y="6532176"/>
            <a:ext cx="125034" cy="18466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42</a:t>
            </a:fld>
            <a:endParaRPr/>
          </a:p>
        </p:txBody>
      </p:sp>
      <p:grpSp>
        <p:nvGrpSpPr>
          <p:cNvPr id="44" name="Grupa 43">
            <a:extLst>
              <a:ext uri="{FF2B5EF4-FFF2-40B4-BE49-F238E27FC236}">
                <a16:creationId xmlns:a16="http://schemas.microsoft.com/office/drawing/2014/main" id="{B80127A9-39FC-7CCA-4064-AD8A974C6999}"/>
              </a:ext>
            </a:extLst>
          </p:cNvPr>
          <p:cNvGrpSpPr/>
          <p:nvPr/>
        </p:nvGrpSpPr>
        <p:grpSpPr>
          <a:xfrm>
            <a:off x="1258298" y="1893887"/>
            <a:ext cx="5829259" cy="3268329"/>
            <a:chOff x="2516595" y="3787773"/>
            <a:chExt cx="11658517" cy="6536657"/>
          </a:xfrm>
        </p:grpSpPr>
        <p:sp>
          <p:nvSpPr>
            <p:cNvPr id="21" name="Prostokąt 20">
              <a:extLst>
                <a:ext uri="{FF2B5EF4-FFF2-40B4-BE49-F238E27FC236}">
                  <a16:creationId xmlns:a16="http://schemas.microsoft.com/office/drawing/2014/main" id="{7C7613EB-D9FF-32B1-966F-8236A4A4DE47}"/>
                </a:ext>
              </a:extLst>
            </p:cNvPr>
            <p:cNvSpPr/>
            <p:nvPr/>
          </p:nvSpPr>
          <p:spPr>
            <a:xfrm>
              <a:off x="9198292" y="3787773"/>
              <a:ext cx="4976820" cy="1969770"/>
            </a:xfrm>
            <a:prstGeom prst="rect">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PP</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a:t>
              </a:r>
              <a:r>
                <a:rPr lang="pl-PL" sz="1600" dirty="0" err="1">
                  <a:solidFill>
                    <a:srgbClr val="FFFFFF"/>
                  </a:solidFill>
                  <a:sym typeface="Helvetica Neue Medium"/>
                </a:rPr>
                <a:t>company</a:t>
              </a:r>
              <a:r>
                <a:rPr lang="pl-PL" sz="1600" dirty="0">
                  <a:solidFill>
                    <a:srgbClr val="FFFFFF"/>
                  </a:solidFill>
                  <a:sym typeface="Helvetica Neue Medium"/>
                </a:rPr>
                <a:t>)</a:t>
              </a:r>
            </a:p>
            <a:p>
              <a:pPr algn="ctr" defTabSz="412750" hangingPunct="0"/>
              <a:endParaRPr lang="pl-PL" sz="1600" dirty="0">
                <a:solidFill>
                  <a:srgbClr val="FFFFFF"/>
                </a:solidFill>
                <a:sym typeface="Helvetica Neue Medium"/>
              </a:endParaRPr>
            </a:p>
          </p:txBody>
        </p:sp>
        <p:sp>
          <p:nvSpPr>
            <p:cNvPr id="22" name="Prostokąt 21">
              <a:extLst>
                <a:ext uri="{FF2B5EF4-FFF2-40B4-BE49-F238E27FC236}">
                  <a16:creationId xmlns:a16="http://schemas.microsoft.com/office/drawing/2014/main" id="{88D19950-EFE6-46A8-0B6D-011C9CD86886}"/>
                </a:ext>
              </a:extLst>
            </p:cNvPr>
            <p:cNvSpPr>
              <a:spLocks/>
            </p:cNvSpPr>
            <p:nvPr/>
          </p:nvSpPr>
          <p:spPr>
            <a:xfrm>
              <a:off x="2516595" y="3787773"/>
              <a:ext cx="4976820" cy="1969769"/>
            </a:xfrm>
            <a:prstGeom prst="rect">
              <a:avLst/>
            </a:prstGeom>
            <a:solidFill>
              <a:schemeClr val="accent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r>
                <a:rPr lang="pl-PL" sz="1600" dirty="0">
                  <a:solidFill>
                    <a:srgbClr val="FFFFFF"/>
                  </a:solidFill>
                  <a:sym typeface="Helvetica Neue Medium"/>
                </a:rPr>
                <a:t>FEZ</a:t>
              </a:r>
              <a:br>
                <a:rPr lang="pl-PL" sz="1600" dirty="0">
                  <a:solidFill>
                    <a:srgbClr val="FFFFFF"/>
                  </a:solidFill>
                  <a:sym typeface="Helvetica Neue Medium"/>
                </a:rPr>
              </a:br>
              <a:r>
                <a:rPr lang="pl-PL" sz="1600" dirty="0">
                  <a:solidFill>
                    <a:srgbClr val="FFFFFF"/>
                  </a:solidFill>
                  <a:sym typeface="Helvetica Neue Medium"/>
                </a:rPr>
                <a:t>(</a:t>
              </a:r>
              <a:r>
                <a:rPr lang="pl-PL" sz="1600" dirty="0" err="1">
                  <a:solidFill>
                    <a:srgbClr val="FFFFFF"/>
                  </a:solidFill>
                  <a:sym typeface="Helvetica Neue Medium"/>
                </a:rPr>
                <a:t>Polish</a:t>
              </a:r>
              <a:r>
                <a:rPr lang="pl-PL" sz="1600" dirty="0">
                  <a:solidFill>
                    <a:srgbClr val="FFFFFF"/>
                  </a:solidFill>
                  <a:sym typeface="Helvetica Neue Medium"/>
                </a:rPr>
                <a:t> International Development Fund)</a:t>
              </a:r>
            </a:p>
          </p:txBody>
        </p:sp>
        <p:cxnSp>
          <p:nvCxnSpPr>
            <p:cNvPr id="25" name="Łącznik: łamany 24">
              <a:extLst>
                <a:ext uri="{FF2B5EF4-FFF2-40B4-BE49-F238E27FC236}">
                  <a16:creationId xmlns:a16="http://schemas.microsoft.com/office/drawing/2014/main" id="{9A1A8152-0A86-2B3C-D8D2-83FF4715E182}"/>
                </a:ext>
              </a:extLst>
            </p:cNvPr>
            <p:cNvCxnSpPr>
              <a:cxnSpLocks/>
              <a:stCxn id="21" idx="2"/>
            </p:cNvCxnSpPr>
            <p:nvPr/>
          </p:nvCxnSpPr>
          <p:spPr>
            <a:xfrm rot="5400000">
              <a:off x="9905608" y="7532288"/>
              <a:ext cx="3555839" cy="634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wal 36">
              <a:extLst>
                <a:ext uri="{FF2B5EF4-FFF2-40B4-BE49-F238E27FC236}">
                  <a16:creationId xmlns:a16="http://schemas.microsoft.com/office/drawing/2014/main" id="{06B56E54-6239-46F5-752D-4EFCA19C670C}"/>
                </a:ext>
              </a:extLst>
            </p:cNvPr>
            <p:cNvSpPr/>
            <p:nvPr/>
          </p:nvSpPr>
          <p:spPr>
            <a:xfrm>
              <a:off x="10741822" y="6829531"/>
              <a:ext cx="1889760" cy="692468"/>
            </a:xfrm>
            <a:prstGeom prst="ellipse">
              <a:avLst/>
            </a:prstGeom>
            <a:solidFill>
              <a:srgbClr val="3E7994"/>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r>
                <a:rPr lang="pl-PL" sz="1600" dirty="0">
                  <a:solidFill>
                    <a:srgbClr val="FFFFFF"/>
                  </a:solidFill>
                  <a:sym typeface="Helvetica Neue Medium"/>
                </a:rPr>
                <a:t>100%</a:t>
              </a:r>
            </a:p>
          </p:txBody>
        </p:sp>
        <p:sp>
          <p:nvSpPr>
            <p:cNvPr id="23" name="Prostokąt 22">
              <a:extLst>
                <a:ext uri="{FF2B5EF4-FFF2-40B4-BE49-F238E27FC236}">
                  <a16:creationId xmlns:a16="http://schemas.microsoft.com/office/drawing/2014/main" id="{079497D2-2603-BAB6-6235-C10E4EC18B3B}"/>
                </a:ext>
              </a:extLst>
            </p:cNvPr>
            <p:cNvSpPr/>
            <p:nvPr/>
          </p:nvSpPr>
          <p:spPr>
            <a:xfrm>
              <a:off x="9195117" y="8354660"/>
              <a:ext cx="4970470" cy="1969770"/>
            </a:xfrm>
            <a:prstGeom prst="rect">
              <a:avLst/>
            </a:prstGeom>
            <a:solidFill>
              <a:schemeClr val="bg2">
                <a:lumMod val="50000"/>
              </a:schemeClr>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err="1">
                  <a:solidFill>
                    <a:srgbClr val="FFFFFF"/>
                  </a:solidFill>
                  <a:sym typeface="Helvetica Neue Medium"/>
                </a:rPr>
                <a:t>Foreign</a:t>
              </a:r>
              <a:r>
                <a:rPr lang="pl-PL" sz="1600" dirty="0">
                  <a:solidFill>
                    <a:srgbClr val="FFFFFF"/>
                  </a:solidFill>
                  <a:sym typeface="Helvetica Neue Medium"/>
                </a:rPr>
                <a:t> </a:t>
              </a:r>
              <a:r>
                <a:rPr lang="pl-PL" sz="1600" dirty="0" err="1">
                  <a:solidFill>
                    <a:srgbClr val="FFFFFF"/>
                  </a:solidFill>
                  <a:sym typeface="Helvetica Neue Medium"/>
                </a:rPr>
                <a:t>company</a:t>
              </a:r>
              <a:endParaRPr lang="pl-PL" sz="1600" dirty="0">
                <a:solidFill>
                  <a:srgbClr val="FFFFFF"/>
                </a:solidFill>
                <a:sym typeface="Helvetica Neue Medium"/>
              </a:endParaRPr>
            </a:p>
            <a:p>
              <a:pPr algn="ctr" defTabSz="412750" hangingPunct="0"/>
              <a:endParaRPr lang="pl-PL" sz="1600" dirty="0">
                <a:solidFill>
                  <a:srgbClr val="FFFFFF"/>
                </a:solidFill>
                <a:sym typeface="Helvetica Neue Medium"/>
              </a:endParaRPr>
            </a:p>
          </p:txBody>
        </p:sp>
        <p:sp>
          <p:nvSpPr>
            <p:cNvPr id="39" name="pole tekstowe 38">
              <a:extLst>
                <a:ext uri="{FF2B5EF4-FFF2-40B4-BE49-F238E27FC236}">
                  <a16:creationId xmlns:a16="http://schemas.microsoft.com/office/drawing/2014/main" id="{FFF739D1-25E0-171B-59B4-44DB1D311165}"/>
                </a:ext>
              </a:extLst>
            </p:cNvPr>
            <p:cNvSpPr txBox="1"/>
            <p:nvPr/>
          </p:nvSpPr>
          <p:spPr>
            <a:xfrm>
              <a:off x="2858345" y="7202100"/>
              <a:ext cx="4206666" cy="133369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SUBORDINATED</a:t>
              </a:r>
              <a:br>
                <a:rPr lang="pl-PL" sz="2000" b="1" dirty="0">
                  <a:latin typeface="Helvetica Neue"/>
                  <a:ea typeface="Helvetica Neue"/>
                  <a:cs typeface="Helvetica Neue"/>
                  <a:sym typeface="Helvetica Neue"/>
                </a:rPr>
              </a:br>
              <a:r>
                <a:rPr lang="pl-PL" sz="2000" b="1" dirty="0">
                  <a:latin typeface="Helvetica Neue"/>
                  <a:ea typeface="Helvetica Neue"/>
                  <a:cs typeface="Helvetica Neue"/>
                  <a:sym typeface="Helvetica Neue"/>
                </a:rPr>
                <a:t>DEBT</a:t>
              </a:r>
            </a:p>
          </p:txBody>
        </p:sp>
      </p:grpSp>
      <p:sp>
        <p:nvSpPr>
          <p:cNvPr id="12" name="Prostokąt 11">
            <a:extLst>
              <a:ext uri="{FF2B5EF4-FFF2-40B4-BE49-F238E27FC236}">
                <a16:creationId xmlns:a16="http://schemas.microsoft.com/office/drawing/2014/main" id="{0305B491-4115-66F6-8291-10CAD870DE4B}"/>
              </a:ext>
            </a:extLst>
          </p:cNvPr>
          <p:cNvSpPr/>
          <p:nvPr/>
        </p:nvSpPr>
        <p:spPr>
          <a:xfrm>
            <a:off x="8832869" y="4177330"/>
            <a:ext cx="2485235" cy="984885"/>
          </a:xfrm>
          <a:prstGeom prst="rect">
            <a:avLst/>
          </a:prstGeom>
          <a:solidFill>
            <a:schemeClr val="tx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pl-PL" sz="1600" dirty="0">
              <a:solidFill>
                <a:srgbClr val="FFFFFF"/>
              </a:solidFill>
              <a:sym typeface="Helvetica Neue Medium"/>
            </a:endParaRPr>
          </a:p>
          <a:p>
            <a:pPr algn="ctr" defTabSz="412750" hangingPunct="0"/>
            <a:r>
              <a:rPr lang="pl-PL" sz="1600" dirty="0">
                <a:solidFill>
                  <a:srgbClr val="FFFFFF"/>
                </a:solidFill>
                <a:sym typeface="Helvetica Neue Medium"/>
              </a:rPr>
              <a:t>Bank</a:t>
            </a:r>
          </a:p>
          <a:p>
            <a:pPr algn="ctr" defTabSz="412750" hangingPunct="0"/>
            <a:endParaRPr lang="pl-PL" sz="1600" dirty="0">
              <a:solidFill>
                <a:srgbClr val="FFFFFF"/>
              </a:solidFill>
              <a:sym typeface="Helvetica Neue Medium"/>
            </a:endParaRPr>
          </a:p>
        </p:txBody>
      </p:sp>
      <p:cxnSp>
        <p:nvCxnSpPr>
          <p:cNvPr id="13" name="Łącznik: łamany 12">
            <a:extLst>
              <a:ext uri="{FF2B5EF4-FFF2-40B4-BE49-F238E27FC236}">
                <a16:creationId xmlns:a16="http://schemas.microsoft.com/office/drawing/2014/main" id="{A3BE35A6-DA68-07C1-1621-96E7FDC9CB2E}"/>
              </a:ext>
            </a:extLst>
          </p:cNvPr>
          <p:cNvCxnSpPr>
            <a:cxnSpLocks/>
            <a:stCxn id="23" idx="3"/>
            <a:endCxn id="12" idx="1"/>
          </p:cNvCxnSpPr>
          <p:nvPr/>
        </p:nvCxnSpPr>
        <p:spPr>
          <a:xfrm flipV="1">
            <a:off x="7082794" y="4669772"/>
            <a:ext cx="1750075" cy="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pole tekstowe 15">
            <a:extLst>
              <a:ext uri="{FF2B5EF4-FFF2-40B4-BE49-F238E27FC236}">
                <a16:creationId xmlns:a16="http://schemas.microsoft.com/office/drawing/2014/main" id="{CDC59BCF-6171-25A5-12AA-19C9036EED53}"/>
              </a:ext>
            </a:extLst>
          </p:cNvPr>
          <p:cNvSpPr txBox="1"/>
          <p:nvPr/>
        </p:nvSpPr>
        <p:spPr>
          <a:xfrm>
            <a:off x="7523589" y="4333206"/>
            <a:ext cx="1035540" cy="66684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pl-PL" sz="2000" b="1" dirty="0">
                <a:latin typeface="Helvetica Neue"/>
                <a:ea typeface="Helvetica Neue"/>
                <a:cs typeface="Helvetica Neue"/>
                <a:sym typeface="Helvetica Neue"/>
              </a:rPr>
              <a:t>SENIOR</a:t>
            </a:r>
            <a:br>
              <a:rPr lang="pl-PL" sz="2000" b="1" dirty="0">
                <a:latin typeface="Helvetica Neue"/>
                <a:ea typeface="Helvetica Neue"/>
                <a:cs typeface="Helvetica Neue"/>
                <a:sym typeface="Helvetica Neue"/>
              </a:rPr>
            </a:br>
            <a:r>
              <a:rPr lang="pl-PL" sz="2000" b="1" dirty="0">
                <a:latin typeface="Helvetica Neue"/>
                <a:ea typeface="Helvetica Neue"/>
                <a:cs typeface="Helvetica Neue"/>
                <a:sym typeface="Helvetica Neue"/>
              </a:rPr>
              <a:t>DEBT</a:t>
            </a:r>
          </a:p>
        </p:txBody>
      </p:sp>
    </p:spTree>
    <p:extLst>
      <p:ext uri="{BB962C8B-B14F-4D97-AF65-F5344CB8AC3E}">
        <p14:creationId xmlns:p14="http://schemas.microsoft.com/office/powerpoint/2010/main" val="77144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 name="Grupa 225">
            <a:extLst>
              <a:ext uri="{FF2B5EF4-FFF2-40B4-BE49-F238E27FC236}">
                <a16:creationId xmlns:a16="http://schemas.microsoft.com/office/drawing/2014/main" id="{2D651A55-A525-E03A-059E-F60DCD3C9989}"/>
              </a:ext>
            </a:extLst>
          </p:cNvPr>
          <p:cNvGrpSpPr/>
          <p:nvPr/>
        </p:nvGrpSpPr>
        <p:grpSpPr>
          <a:xfrm>
            <a:off x="2778267" y="548889"/>
            <a:ext cx="4599904" cy="5348749"/>
            <a:chOff x="5556533" y="1097778"/>
            <a:chExt cx="9199807" cy="10697497"/>
          </a:xfrm>
        </p:grpSpPr>
        <p:grpSp>
          <p:nvGrpSpPr>
            <p:cNvPr id="3258" name="POWER_USER_DATA_MAP" descr="{&quot;IsGrandientColor&quot;:true,&quot;GradientColor&quot;:&quot;#D9D9D9&quot;,&quot;IsRangesColor&quot;:false,&quot;RangesSettings&quot;:null,&quot;RangeName&quot;:&quot;POWER_USER_EXCEL_MAP_6386D857_B6C8_4DF9_9BA7_AA45E1773B95&quot;,&quot;Version&quot;:&quot;1.6.1616.0&quot;}">
              <a:extLst>
                <a:ext uri="{FF2B5EF4-FFF2-40B4-BE49-F238E27FC236}">
                  <a16:creationId xmlns:a16="http://schemas.microsoft.com/office/drawing/2014/main" id="{DF956A09-E013-1556-C4D9-27C81CADADDA}"/>
                </a:ext>
              </a:extLst>
            </p:cNvPr>
            <p:cNvGrpSpPr>
              <a:grpSpLocks noChangeAspect="1"/>
            </p:cNvGrpSpPr>
            <p:nvPr/>
          </p:nvGrpSpPr>
          <p:grpSpPr>
            <a:xfrm>
              <a:off x="5556533" y="1097778"/>
              <a:ext cx="9199807" cy="9792550"/>
              <a:chOff x="2881454" y="796737"/>
              <a:chExt cx="6098304" cy="6491218"/>
            </a:xfrm>
          </p:grpSpPr>
          <p:grpSp>
            <p:nvGrpSpPr>
              <p:cNvPr id="3162" name="North_America_2">
                <a:extLst>
                  <a:ext uri="{FF2B5EF4-FFF2-40B4-BE49-F238E27FC236}">
                    <a16:creationId xmlns:a16="http://schemas.microsoft.com/office/drawing/2014/main" id="{B58E82A0-DBDD-2D13-D769-CFF6285A12F5}"/>
                  </a:ext>
                </a:extLst>
              </p:cNvPr>
              <p:cNvGrpSpPr>
                <a:grpSpLocks noChangeAspect="1"/>
              </p:cNvGrpSpPr>
              <p:nvPr/>
            </p:nvGrpSpPr>
            <p:grpSpPr>
              <a:xfrm>
                <a:off x="2881454" y="1431738"/>
                <a:ext cx="6098304" cy="5856217"/>
                <a:chOff x="2881454" y="796738"/>
                <a:chExt cx="6098304" cy="5856217"/>
              </a:xfrm>
            </p:grpSpPr>
            <p:grpSp>
              <p:nvGrpSpPr>
                <p:cNvPr id="3163" name="North_America_2">
                  <a:extLst>
                    <a:ext uri="{FF2B5EF4-FFF2-40B4-BE49-F238E27FC236}">
                      <a16:creationId xmlns:a16="http://schemas.microsoft.com/office/drawing/2014/main" id="{4DBEBF87-F99A-E27A-2703-593DD53392F5}"/>
                    </a:ext>
                  </a:extLst>
                </p:cNvPr>
                <p:cNvGrpSpPr/>
                <p:nvPr/>
              </p:nvGrpSpPr>
              <p:grpSpPr>
                <a:xfrm>
                  <a:off x="3185344" y="796738"/>
                  <a:ext cx="5794414" cy="5856217"/>
                  <a:chOff x="3185344" y="796738"/>
                  <a:chExt cx="5794414" cy="5856217"/>
                </a:xfrm>
              </p:grpSpPr>
              <p:sp>
                <p:nvSpPr>
                  <p:cNvPr id="3189" name="Etiquette - Ignore - No Area Name -" hidden="1">
                    <a:extLst>
                      <a:ext uri="{FF2B5EF4-FFF2-40B4-BE49-F238E27FC236}">
                        <a16:creationId xmlns:a16="http://schemas.microsoft.com/office/drawing/2014/main" id="{1773530F-8912-02CE-D9D0-3A45C1F15D78}"/>
                      </a:ext>
                    </a:extLst>
                  </p:cNvPr>
                  <p:cNvSpPr/>
                  <p:nvPr/>
                </p:nvSpPr>
                <p:spPr>
                  <a:xfrm>
                    <a:off x="6982194" y="5961581"/>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500"/>
                  </a:p>
                </p:txBody>
              </p:sp>
              <p:sp>
                <p:nvSpPr>
                  <p:cNvPr id="3190" name="Etiquette - Ignore - No Values -" hidden="1">
                    <a:extLst>
                      <a:ext uri="{FF2B5EF4-FFF2-40B4-BE49-F238E27FC236}">
                        <a16:creationId xmlns:a16="http://schemas.microsoft.com/office/drawing/2014/main" id="{D9041710-7C0A-8128-6C98-7474F1231368}"/>
                      </a:ext>
                    </a:extLst>
                  </p:cNvPr>
                  <p:cNvSpPr/>
                  <p:nvPr/>
                </p:nvSpPr>
                <p:spPr>
                  <a:xfrm>
                    <a:off x="6982194" y="5961581"/>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500"/>
                  </a:p>
                </p:txBody>
              </p:sp>
              <p:sp>
                <p:nvSpPr>
                  <p:cNvPr id="3191" name="Manitoba" descr="{&quot;Key&quot;:&quot;manitoba&quot;,&quot;Name&quot;:&quot;Manitoba&quot;,&quot;Value&quot;:1.0,&quot;Formula&quot;:&quot;&quot;,&quot;Text&quot;:&quot;&quot;,&quot;OfficeApplication&quot;:1,&quot;HasValue&quot;:true}">
                    <a:extLst>
                      <a:ext uri="{FF2B5EF4-FFF2-40B4-BE49-F238E27FC236}">
                        <a16:creationId xmlns:a16="http://schemas.microsoft.com/office/drawing/2014/main" id="{801BB75B-B77E-7CF0-5B95-1F0BACF5EF78}"/>
                      </a:ext>
                    </a:extLst>
                  </p:cNvPr>
                  <p:cNvSpPr>
                    <a:spLocks/>
                  </p:cNvSpPr>
                  <p:nvPr/>
                </p:nvSpPr>
                <p:spPr bwMode="auto">
                  <a:xfrm>
                    <a:off x="6542287" y="3116021"/>
                    <a:ext cx="576839" cy="877186"/>
                  </a:xfrm>
                  <a:custGeom>
                    <a:avLst/>
                    <a:gdLst>
                      <a:gd name="T0" fmla="*/ 1110 w 1110"/>
                      <a:gd name="T1" fmla="*/ 480 h 1685"/>
                      <a:gd name="T2" fmla="*/ 1002 w 1110"/>
                      <a:gd name="T3" fmla="*/ 620 h 1685"/>
                      <a:gd name="T4" fmla="*/ 894 w 1110"/>
                      <a:gd name="T5" fmla="*/ 760 h 1685"/>
                      <a:gd name="T6" fmla="*/ 731 w 1110"/>
                      <a:gd name="T7" fmla="*/ 972 h 1685"/>
                      <a:gd name="T8" fmla="*/ 720 w 1110"/>
                      <a:gd name="T9" fmla="*/ 985 h 1685"/>
                      <a:gd name="T10" fmla="*/ 596 w 1110"/>
                      <a:gd name="T11" fmla="*/ 1115 h 1685"/>
                      <a:gd name="T12" fmla="*/ 600 w 1110"/>
                      <a:gd name="T13" fmla="*/ 1568 h 1685"/>
                      <a:gd name="T14" fmla="*/ 600 w 1110"/>
                      <a:gd name="T15" fmla="*/ 1628 h 1685"/>
                      <a:gd name="T16" fmla="*/ 600 w 1110"/>
                      <a:gd name="T17" fmla="*/ 1681 h 1685"/>
                      <a:gd name="T18" fmla="*/ 599 w 1110"/>
                      <a:gd name="T19" fmla="*/ 1683 h 1685"/>
                      <a:gd name="T20" fmla="*/ 535 w 1110"/>
                      <a:gd name="T21" fmla="*/ 1685 h 1685"/>
                      <a:gd name="T22" fmla="*/ 400 w 1110"/>
                      <a:gd name="T23" fmla="*/ 1683 h 1685"/>
                      <a:gd name="T24" fmla="*/ 257 w 1110"/>
                      <a:gd name="T25" fmla="*/ 1680 h 1685"/>
                      <a:gd name="T26" fmla="*/ 151 w 1110"/>
                      <a:gd name="T27" fmla="*/ 1676 h 1685"/>
                      <a:gd name="T28" fmla="*/ 0 w 1110"/>
                      <a:gd name="T29" fmla="*/ 1668 h 1685"/>
                      <a:gd name="T30" fmla="*/ 0 w 1110"/>
                      <a:gd name="T31" fmla="*/ 1451 h 1685"/>
                      <a:gd name="T32" fmla="*/ 0 w 1110"/>
                      <a:gd name="T33" fmla="*/ 1163 h 1685"/>
                      <a:gd name="T34" fmla="*/ 1 w 1110"/>
                      <a:gd name="T35" fmla="*/ 1035 h 1685"/>
                      <a:gd name="T36" fmla="*/ 2 w 1110"/>
                      <a:gd name="T37" fmla="*/ 840 h 1685"/>
                      <a:gd name="T38" fmla="*/ 5 w 1110"/>
                      <a:gd name="T39" fmla="*/ 645 h 1685"/>
                      <a:gd name="T40" fmla="*/ 47 w 1110"/>
                      <a:gd name="T41" fmla="*/ 0 h 1685"/>
                      <a:gd name="T42" fmla="*/ 154 w 1110"/>
                      <a:gd name="T43" fmla="*/ 5 h 1685"/>
                      <a:gd name="T44" fmla="*/ 260 w 1110"/>
                      <a:gd name="T45" fmla="*/ 10 h 1685"/>
                      <a:gd name="T46" fmla="*/ 330 w 1110"/>
                      <a:gd name="T47" fmla="*/ 12 h 1685"/>
                      <a:gd name="T48" fmla="*/ 471 w 1110"/>
                      <a:gd name="T49" fmla="*/ 15 h 1685"/>
                      <a:gd name="T50" fmla="*/ 612 w 1110"/>
                      <a:gd name="T51" fmla="*/ 13 h 1685"/>
                      <a:gd name="T52" fmla="*/ 615 w 1110"/>
                      <a:gd name="T53" fmla="*/ 48 h 1685"/>
                      <a:gd name="T54" fmla="*/ 612 w 1110"/>
                      <a:gd name="T55" fmla="*/ 68 h 1685"/>
                      <a:gd name="T56" fmla="*/ 621 w 1110"/>
                      <a:gd name="T57" fmla="*/ 113 h 1685"/>
                      <a:gd name="T58" fmla="*/ 616 w 1110"/>
                      <a:gd name="T59" fmla="*/ 123 h 1685"/>
                      <a:gd name="T60" fmla="*/ 615 w 1110"/>
                      <a:gd name="T61" fmla="*/ 167 h 1685"/>
                      <a:gd name="T62" fmla="*/ 624 w 1110"/>
                      <a:gd name="T63" fmla="*/ 173 h 1685"/>
                      <a:gd name="T64" fmla="*/ 624 w 1110"/>
                      <a:gd name="T65" fmla="*/ 183 h 1685"/>
                      <a:gd name="T66" fmla="*/ 641 w 1110"/>
                      <a:gd name="T67" fmla="*/ 198 h 1685"/>
                      <a:gd name="T68" fmla="*/ 649 w 1110"/>
                      <a:gd name="T69" fmla="*/ 215 h 1685"/>
                      <a:gd name="T70" fmla="*/ 669 w 1110"/>
                      <a:gd name="T71" fmla="*/ 206 h 1685"/>
                      <a:gd name="T72" fmla="*/ 690 w 1110"/>
                      <a:gd name="T73" fmla="*/ 207 h 1685"/>
                      <a:gd name="T74" fmla="*/ 702 w 1110"/>
                      <a:gd name="T75" fmla="*/ 201 h 1685"/>
                      <a:gd name="T76" fmla="*/ 745 w 1110"/>
                      <a:gd name="T77" fmla="*/ 205 h 1685"/>
                      <a:gd name="T78" fmla="*/ 750 w 1110"/>
                      <a:gd name="T79" fmla="*/ 217 h 1685"/>
                      <a:gd name="T80" fmla="*/ 751 w 1110"/>
                      <a:gd name="T81" fmla="*/ 241 h 1685"/>
                      <a:gd name="T82" fmla="*/ 766 w 1110"/>
                      <a:gd name="T83" fmla="*/ 282 h 1685"/>
                      <a:gd name="T84" fmla="*/ 780 w 1110"/>
                      <a:gd name="T85" fmla="*/ 310 h 1685"/>
                      <a:gd name="T86" fmla="*/ 785 w 1110"/>
                      <a:gd name="T87" fmla="*/ 342 h 1685"/>
                      <a:gd name="T88" fmla="*/ 812 w 1110"/>
                      <a:gd name="T89" fmla="*/ 406 h 1685"/>
                      <a:gd name="T90" fmla="*/ 816 w 1110"/>
                      <a:gd name="T91" fmla="*/ 420 h 1685"/>
                      <a:gd name="T92" fmla="*/ 814 w 1110"/>
                      <a:gd name="T93" fmla="*/ 441 h 1685"/>
                      <a:gd name="T94" fmla="*/ 807 w 1110"/>
                      <a:gd name="T95" fmla="*/ 458 h 1685"/>
                      <a:gd name="T96" fmla="*/ 797 w 1110"/>
                      <a:gd name="T97" fmla="*/ 476 h 1685"/>
                      <a:gd name="T98" fmla="*/ 830 w 1110"/>
                      <a:gd name="T99" fmla="*/ 465 h 1685"/>
                      <a:gd name="T100" fmla="*/ 835 w 1110"/>
                      <a:gd name="T101" fmla="*/ 471 h 1685"/>
                      <a:gd name="T102" fmla="*/ 856 w 1110"/>
                      <a:gd name="T103" fmla="*/ 463 h 1685"/>
                      <a:gd name="T104" fmla="*/ 872 w 1110"/>
                      <a:gd name="T105" fmla="*/ 455 h 1685"/>
                      <a:gd name="T106" fmla="*/ 932 w 1110"/>
                      <a:gd name="T107" fmla="*/ 428 h 1685"/>
                      <a:gd name="T108" fmla="*/ 947 w 1110"/>
                      <a:gd name="T109" fmla="*/ 428 h 1685"/>
                      <a:gd name="T110" fmla="*/ 970 w 1110"/>
                      <a:gd name="T111" fmla="*/ 432 h 1685"/>
                      <a:gd name="T112" fmla="*/ 1014 w 1110"/>
                      <a:gd name="T113" fmla="*/ 455 h 1685"/>
                      <a:gd name="T114" fmla="*/ 1024 w 1110"/>
                      <a:gd name="T115" fmla="*/ 463 h 1685"/>
                      <a:gd name="T116" fmla="*/ 1035 w 1110"/>
                      <a:gd name="T117" fmla="*/ 467 h 1685"/>
                      <a:gd name="T118" fmla="*/ 1071 w 1110"/>
                      <a:gd name="T119" fmla="*/ 471 h 1685"/>
                      <a:gd name="T120" fmla="*/ 1101 w 1110"/>
                      <a:gd name="T121" fmla="*/ 482 h 1685"/>
                      <a:gd name="T122" fmla="*/ 1110 w 1110"/>
                      <a:gd name="T123" fmla="*/ 480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0" h="1685">
                        <a:moveTo>
                          <a:pt x="1110" y="480"/>
                        </a:moveTo>
                        <a:lnTo>
                          <a:pt x="1002" y="620"/>
                        </a:lnTo>
                        <a:lnTo>
                          <a:pt x="894" y="760"/>
                        </a:lnTo>
                        <a:lnTo>
                          <a:pt x="731" y="972"/>
                        </a:lnTo>
                        <a:lnTo>
                          <a:pt x="720" y="985"/>
                        </a:lnTo>
                        <a:lnTo>
                          <a:pt x="596" y="1115"/>
                        </a:lnTo>
                        <a:lnTo>
                          <a:pt x="600" y="1568"/>
                        </a:lnTo>
                        <a:lnTo>
                          <a:pt x="600" y="1628"/>
                        </a:lnTo>
                        <a:lnTo>
                          <a:pt x="600" y="1681"/>
                        </a:lnTo>
                        <a:lnTo>
                          <a:pt x="599" y="1683"/>
                        </a:lnTo>
                        <a:lnTo>
                          <a:pt x="535" y="1685"/>
                        </a:lnTo>
                        <a:lnTo>
                          <a:pt x="400" y="1683"/>
                        </a:lnTo>
                        <a:lnTo>
                          <a:pt x="257" y="1680"/>
                        </a:lnTo>
                        <a:lnTo>
                          <a:pt x="151" y="1676"/>
                        </a:lnTo>
                        <a:lnTo>
                          <a:pt x="0" y="1668"/>
                        </a:lnTo>
                        <a:lnTo>
                          <a:pt x="0" y="1451"/>
                        </a:lnTo>
                        <a:lnTo>
                          <a:pt x="0" y="1163"/>
                        </a:lnTo>
                        <a:lnTo>
                          <a:pt x="1" y="1035"/>
                        </a:lnTo>
                        <a:lnTo>
                          <a:pt x="2" y="840"/>
                        </a:lnTo>
                        <a:lnTo>
                          <a:pt x="5" y="645"/>
                        </a:lnTo>
                        <a:lnTo>
                          <a:pt x="47" y="0"/>
                        </a:lnTo>
                        <a:lnTo>
                          <a:pt x="154" y="5"/>
                        </a:lnTo>
                        <a:lnTo>
                          <a:pt x="260" y="10"/>
                        </a:lnTo>
                        <a:lnTo>
                          <a:pt x="330" y="12"/>
                        </a:lnTo>
                        <a:lnTo>
                          <a:pt x="471" y="15"/>
                        </a:lnTo>
                        <a:lnTo>
                          <a:pt x="612" y="13"/>
                        </a:lnTo>
                        <a:lnTo>
                          <a:pt x="615" y="48"/>
                        </a:lnTo>
                        <a:lnTo>
                          <a:pt x="612" y="68"/>
                        </a:lnTo>
                        <a:lnTo>
                          <a:pt x="621" y="113"/>
                        </a:lnTo>
                        <a:lnTo>
                          <a:pt x="616" y="123"/>
                        </a:lnTo>
                        <a:lnTo>
                          <a:pt x="615" y="167"/>
                        </a:lnTo>
                        <a:lnTo>
                          <a:pt x="624" y="173"/>
                        </a:lnTo>
                        <a:lnTo>
                          <a:pt x="624" y="183"/>
                        </a:lnTo>
                        <a:lnTo>
                          <a:pt x="641" y="198"/>
                        </a:lnTo>
                        <a:lnTo>
                          <a:pt x="649" y="215"/>
                        </a:lnTo>
                        <a:lnTo>
                          <a:pt x="669" y="206"/>
                        </a:lnTo>
                        <a:lnTo>
                          <a:pt x="690" y="207"/>
                        </a:lnTo>
                        <a:lnTo>
                          <a:pt x="702" y="201"/>
                        </a:lnTo>
                        <a:lnTo>
                          <a:pt x="745" y="205"/>
                        </a:lnTo>
                        <a:lnTo>
                          <a:pt x="750" y="217"/>
                        </a:lnTo>
                        <a:lnTo>
                          <a:pt x="751" y="241"/>
                        </a:lnTo>
                        <a:lnTo>
                          <a:pt x="766" y="282"/>
                        </a:lnTo>
                        <a:lnTo>
                          <a:pt x="780" y="310"/>
                        </a:lnTo>
                        <a:lnTo>
                          <a:pt x="785" y="342"/>
                        </a:lnTo>
                        <a:lnTo>
                          <a:pt x="812" y="406"/>
                        </a:lnTo>
                        <a:lnTo>
                          <a:pt x="816" y="420"/>
                        </a:lnTo>
                        <a:lnTo>
                          <a:pt x="814" y="441"/>
                        </a:lnTo>
                        <a:lnTo>
                          <a:pt x="807" y="458"/>
                        </a:lnTo>
                        <a:lnTo>
                          <a:pt x="797" y="476"/>
                        </a:lnTo>
                        <a:lnTo>
                          <a:pt x="830" y="465"/>
                        </a:lnTo>
                        <a:lnTo>
                          <a:pt x="835" y="471"/>
                        </a:lnTo>
                        <a:lnTo>
                          <a:pt x="856" y="463"/>
                        </a:lnTo>
                        <a:lnTo>
                          <a:pt x="872" y="455"/>
                        </a:lnTo>
                        <a:lnTo>
                          <a:pt x="932" y="428"/>
                        </a:lnTo>
                        <a:lnTo>
                          <a:pt x="947" y="428"/>
                        </a:lnTo>
                        <a:lnTo>
                          <a:pt x="970" y="432"/>
                        </a:lnTo>
                        <a:lnTo>
                          <a:pt x="1014" y="455"/>
                        </a:lnTo>
                        <a:lnTo>
                          <a:pt x="1024" y="463"/>
                        </a:lnTo>
                        <a:lnTo>
                          <a:pt x="1035" y="467"/>
                        </a:lnTo>
                        <a:lnTo>
                          <a:pt x="1071" y="471"/>
                        </a:lnTo>
                        <a:lnTo>
                          <a:pt x="1101" y="482"/>
                        </a:lnTo>
                        <a:lnTo>
                          <a:pt x="1110" y="480"/>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2" name="Saskatchewan" descr="{&quot;Key&quot;:&quot;saskatchewan&quot;,&quot;Name&quot;:&quot;Saskatchewan&quot;,&quot;Value&quot;:1.0,&quot;Formula&quot;:&quot;&quot;,&quot;Text&quot;:&quot;&quot;,&quot;OfficeApplication&quot;:1,&quot;HasValue&quot;:true}">
                    <a:extLst>
                      <a:ext uri="{FF2B5EF4-FFF2-40B4-BE49-F238E27FC236}">
                        <a16:creationId xmlns:a16="http://schemas.microsoft.com/office/drawing/2014/main" id="{6A512972-27B2-34DB-1B48-A7EED01094AA}"/>
                      </a:ext>
                    </a:extLst>
                  </p:cNvPr>
                  <p:cNvSpPr>
                    <a:spLocks/>
                  </p:cNvSpPr>
                  <p:nvPr/>
                </p:nvSpPr>
                <p:spPr bwMode="auto">
                  <a:xfrm>
                    <a:off x="6108574" y="3080240"/>
                    <a:ext cx="457568" cy="904293"/>
                  </a:xfrm>
                  <a:custGeom>
                    <a:avLst/>
                    <a:gdLst>
                      <a:gd name="T0" fmla="*/ 832 w 879"/>
                      <a:gd name="T1" fmla="*/ 1739 h 1739"/>
                      <a:gd name="T2" fmla="*/ 685 w 879"/>
                      <a:gd name="T3" fmla="*/ 1729 h 1739"/>
                      <a:gd name="T4" fmla="*/ 572 w 879"/>
                      <a:gd name="T5" fmla="*/ 1720 h 1739"/>
                      <a:gd name="T6" fmla="*/ 453 w 879"/>
                      <a:gd name="T7" fmla="*/ 1709 h 1739"/>
                      <a:gd name="T8" fmla="*/ 368 w 879"/>
                      <a:gd name="T9" fmla="*/ 1700 h 1739"/>
                      <a:gd name="T10" fmla="*/ 262 w 879"/>
                      <a:gd name="T11" fmla="*/ 1687 h 1739"/>
                      <a:gd name="T12" fmla="*/ 178 w 879"/>
                      <a:gd name="T13" fmla="*/ 1676 h 1739"/>
                      <a:gd name="T14" fmla="*/ 93 w 879"/>
                      <a:gd name="T15" fmla="*/ 1664 h 1739"/>
                      <a:gd name="T16" fmla="*/ 0 w 879"/>
                      <a:gd name="T17" fmla="*/ 1650 h 1739"/>
                      <a:gd name="T18" fmla="*/ 0 w 879"/>
                      <a:gd name="T19" fmla="*/ 1649 h 1739"/>
                      <a:gd name="T20" fmla="*/ 255 w 879"/>
                      <a:gd name="T21" fmla="*/ 0 h 1739"/>
                      <a:gd name="T22" fmla="*/ 333 w 879"/>
                      <a:gd name="T23" fmla="*/ 12 h 1739"/>
                      <a:gd name="T24" fmla="*/ 412 w 879"/>
                      <a:gd name="T25" fmla="*/ 22 h 1739"/>
                      <a:gd name="T26" fmla="*/ 489 w 879"/>
                      <a:gd name="T27" fmla="*/ 32 h 1739"/>
                      <a:gd name="T28" fmla="*/ 567 w 879"/>
                      <a:gd name="T29" fmla="*/ 41 h 1739"/>
                      <a:gd name="T30" fmla="*/ 646 w 879"/>
                      <a:gd name="T31" fmla="*/ 50 h 1739"/>
                      <a:gd name="T32" fmla="*/ 723 w 879"/>
                      <a:gd name="T33" fmla="*/ 57 h 1739"/>
                      <a:gd name="T34" fmla="*/ 802 w 879"/>
                      <a:gd name="T35" fmla="*/ 64 h 1739"/>
                      <a:gd name="T36" fmla="*/ 879 w 879"/>
                      <a:gd name="T37" fmla="*/ 70 h 1739"/>
                      <a:gd name="T38" fmla="*/ 837 w 879"/>
                      <a:gd name="T39" fmla="*/ 715 h 1739"/>
                      <a:gd name="T40" fmla="*/ 834 w 879"/>
                      <a:gd name="T41" fmla="*/ 910 h 1739"/>
                      <a:gd name="T42" fmla="*/ 833 w 879"/>
                      <a:gd name="T43" fmla="*/ 1105 h 1739"/>
                      <a:gd name="T44" fmla="*/ 832 w 879"/>
                      <a:gd name="T45" fmla="*/ 1234 h 1739"/>
                      <a:gd name="T46" fmla="*/ 832 w 879"/>
                      <a:gd name="T47" fmla="*/ 1521 h 1739"/>
                      <a:gd name="T48" fmla="*/ 832 w 879"/>
                      <a:gd name="T49" fmla="*/ 17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1739">
                        <a:moveTo>
                          <a:pt x="832" y="1739"/>
                        </a:moveTo>
                        <a:lnTo>
                          <a:pt x="685" y="1729"/>
                        </a:lnTo>
                        <a:lnTo>
                          <a:pt x="572" y="1720"/>
                        </a:lnTo>
                        <a:lnTo>
                          <a:pt x="453" y="1709"/>
                        </a:lnTo>
                        <a:lnTo>
                          <a:pt x="368" y="1700"/>
                        </a:lnTo>
                        <a:lnTo>
                          <a:pt x="262" y="1687"/>
                        </a:lnTo>
                        <a:lnTo>
                          <a:pt x="178" y="1676"/>
                        </a:lnTo>
                        <a:lnTo>
                          <a:pt x="93" y="1664"/>
                        </a:lnTo>
                        <a:lnTo>
                          <a:pt x="0" y="1650"/>
                        </a:lnTo>
                        <a:lnTo>
                          <a:pt x="0" y="1649"/>
                        </a:lnTo>
                        <a:lnTo>
                          <a:pt x="255" y="0"/>
                        </a:lnTo>
                        <a:lnTo>
                          <a:pt x="333" y="12"/>
                        </a:lnTo>
                        <a:lnTo>
                          <a:pt x="412" y="22"/>
                        </a:lnTo>
                        <a:lnTo>
                          <a:pt x="489" y="32"/>
                        </a:lnTo>
                        <a:lnTo>
                          <a:pt x="567" y="41"/>
                        </a:lnTo>
                        <a:lnTo>
                          <a:pt x="646" y="50"/>
                        </a:lnTo>
                        <a:lnTo>
                          <a:pt x="723" y="57"/>
                        </a:lnTo>
                        <a:lnTo>
                          <a:pt x="802" y="64"/>
                        </a:lnTo>
                        <a:lnTo>
                          <a:pt x="879" y="70"/>
                        </a:lnTo>
                        <a:lnTo>
                          <a:pt x="837" y="715"/>
                        </a:lnTo>
                        <a:lnTo>
                          <a:pt x="834" y="910"/>
                        </a:lnTo>
                        <a:lnTo>
                          <a:pt x="833" y="1105"/>
                        </a:lnTo>
                        <a:lnTo>
                          <a:pt x="832" y="1234"/>
                        </a:lnTo>
                        <a:lnTo>
                          <a:pt x="832" y="1521"/>
                        </a:lnTo>
                        <a:lnTo>
                          <a:pt x="832" y="1739"/>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3" name="Alberta" descr="{&quot;Key&quot;:&quot;alberta&quot;,&quot;Name&quot;:&quot;Alberta&quot;,&quot;Value&quot;:1.0,&quot;Formula&quot;:&quot;&quot;,&quot;Text&quot;:&quot;&quot;,&quot;OfficeApplication&quot;:1,&quot;HasValue&quot;:true}">
                    <a:extLst>
                      <a:ext uri="{FF2B5EF4-FFF2-40B4-BE49-F238E27FC236}">
                        <a16:creationId xmlns:a16="http://schemas.microsoft.com/office/drawing/2014/main" id="{9C0BB4A3-A954-8EBC-F2F3-030E3EF043B9}"/>
                      </a:ext>
                    </a:extLst>
                  </p:cNvPr>
                  <p:cNvSpPr>
                    <a:spLocks/>
                  </p:cNvSpPr>
                  <p:nvPr/>
                </p:nvSpPr>
                <p:spPr bwMode="auto">
                  <a:xfrm>
                    <a:off x="5711726" y="2994581"/>
                    <a:ext cx="530215" cy="944411"/>
                  </a:xfrm>
                  <a:custGeom>
                    <a:avLst/>
                    <a:gdLst>
                      <a:gd name="T0" fmla="*/ 764 w 1019"/>
                      <a:gd name="T1" fmla="*/ 1811 h 1813"/>
                      <a:gd name="T2" fmla="*/ 687 w 1019"/>
                      <a:gd name="T3" fmla="*/ 1802 h 1813"/>
                      <a:gd name="T4" fmla="*/ 479 w 1019"/>
                      <a:gd name="T5" fmla="*/ 1764 h 1813"/>
                      <a:gd name="T6" fmla="*/ 379 w 1019"/>
                      <a:gd name="T7" fmla="*/ 1736 h 1813"/>
                      <a:gd name="T8" fmla="*/ 366 w 1019"/>
                      <a:gd name="T9" fmla="*/ 1713 h 1813"/>
                      <a:gd name="T10" fmla="*/ 347 w 1019"/>
                      <a:gd name="T11" fmla="*/ 1686 h 1813"/>
                      <a:gd name="T12" fmla="*/ 345 w 1019"/>
                      <a:gd name="T13" fmla="*/ 1655 h 1813"/>
                      <a:gd name="T14" fmla="*/ 336 w 1019"/>
                      <a:gd name="T15" fmla="*/ 1639 h 1813"/>
                      <a:gd name="T16" fmla="*/ 344 w 1019"/>
                      <a:gd name="T17" fmla="*/ 1601 h 1813"/>
                      <a:gd name="T18" fmla="*/ 347 w 1019"/>
                      <a:gd name="T19" fmla="*/ 1568 h 1813"/>
                      <a:gd name="T20" fmla="*/ 344 w 1019"/>
                      <a:gd name="T21" fmla="*/ 1523 h 1813"/>
                      <a:gd name="T22" fmla="*/ 327 w 1019"/>
                      <a:gd name="T23" fmla="*/ 1493 h 1813"/>
                      <a:gd name="T24" fmla="*/ 309 w 1019"/>
                      <a:gd name="T25" fmla="*/ 1482 h 1813"/>
                      <a:gd name="T26" fmla="*/ 293 w 1019"/>
                      <a:gd name="T27" fmla="*/ 1454 h 1813"/>
                      <a:gd name="T28" fmla="*/ 276 w 1019"/>
                      <a:gd name="T29" fmla="*/ 1407 h 1813"/>
                      <a:gd name="T30" fmla="*/ 260 w 1019"/>
                      <a:gd name="T31" fmla="*/ 1393 h 1813"/>
                      <a:gd name="T32" fmla="*/ 245 w 1019"/>
                      <a:gd name="T33" fmla="*/ 1365 h 1813"/>
                      <a:gd name="T34" fmla="*/ 245 w 1019"/>
                      <a:gd name="T35" fmla="*/ 1343 h 1813"/>
                      <a:gd name="T36" fmla="*/ 232 w 1019"/>
                      <a:gd name="T37" fmla="*/ 1317 h 1813"/>
                      <a:gd name="T38" fmla="*/ 221 w 1019"/>
                      <a:gd name="T39" fmla="*/ 1283 h 1813"/>
                      <a:gd name="T40" fmla="*/ 202 w 1019"/>
                      <a:gd name="T41" fmla="*/ 1294 h 1813"/>
                      <a:gd name="T42" fmla="*/ 192 w 1019"/>
                      <a:gd name="T43" fmla="*/ 1260 h 1813"/>
                      <a:gd name="T44" fmla="*/ 171 w 1019"/>
                      <a:gd name="T45" fmla="*/ 1220 h 1813"/>
                      <a:gd name="T46" fmla="*/ 140 w 1019"/>
                      <a:gd name="T47" fmla="*/ 1203 h 1813"/>
                      <a:gd name="T48" fmla="*/ 145 w 1019"/>
                      <a:gd name="T49" fmla="*/ 1184 h 1813"/>
                      <a:gd name="T50" fmla="*/ 135 w 1019"/>
                      <a:gd name="T51" fmla="*/ 1168 h 1813"/>
                      <a:gd name="T52" fmla="*/ 118 w 1019"/>
                      <a:gd name="T53" fmla="*/ 1168 h 1813"/>
                      <a:gd name="T54" fmla="*/ 106 w 1019"/>
                      <a:gd name="T55" fmla="*/ 1150 h 1813"/>
                      <a:gd name="T56" fmla="*/ 107 w 1019"/>
                      <a:gd name="T57" fmla="*/ 1122 h 1813"/>
                      <a:gd name="T58" fmla="*/ 97 w 1019"/>
                      <a:gd name="T59" fmla="*/ 1084 h 1813"/>
                      <a:gd name="T60" fmla="*/ 88 w 1019"/>
                      <a:gd name="T61" fmla="*/ 1064 h 1813"/>
                      <a:gd name="T62" fmla="*/ 66 w 1019"/>
                      <a:gd name="T63" fmla="*/ 1027 h 1813"/>
                      <a:gd name="T64" fmla="*/ 42 w 1019"/>
                      <a:gd name="T65" fmla="*/ 1023 h 1813"/>
                      <a:gd name="T66" fmla="*/ 20 w 1019"/>
                      <a:gd name="T67" fmla="*/ 990 h 1813"/>
                      <a:gd name="T68" fmla="*/ 6 w 1019"/>
                      <a:gd name="T69" fmla="*/ 967 h 1813"/>
                      <a:gd name="T70" fmla="*/ 3 w 1019"/>
                      <a:gd name="T71" fmla="*/ 949 h 1813"/>
                      <a:gd name="T72" fmla="*/ 16 w 1019"/>
                      <a:gd name="T73" fmla="*/ 938 h 1813"/>
                      <a:gd name="T74" fmla="*/ 5 w 1019"/>
                      <a:gd name="T75" fmla="*/ 910 h 1813"/>
                      <a:gd name="T76" fmla="*/ 346 w 1019"/>
                      <a:gd name="T77" fmla="*/ 25 h 1813"/>
                      <a:gd name="T78" fmla="*/ 537 w 1019"/>
                      <a:gd name="T79" fmla="*/ 72 h 1813"/>
                      <a:gd name="T80" fmla="*/ 729 w 1019"/>
                      <a:gd name="T81" fmla="*/ 112 h 1813"/>
                      <a:gd name="T82" fmla="*/ 922 w 1019"/>
                      <a:gd name="T83" fmla="*/ 148 h 1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19" h="1813">
                        <a:moveTo>
                          <a:pt x="1019" y="163"/>
                        </a:moveTo>
                        <a:lnTo>
                          <a:pt x="764" y="1811"/>
                        </a:lnTo>
                        <a:lnTo>
                          <a:pt x="764" y="1813"/>
                        </a:lnTo>
                        <a:lnTo>
                          <a:pt x="687" y="1802"/>
                        </a:lnTo>
                        <a:lnTo>
                          <a:pt x="604" y="1787"/>
                        </a:lnTo>
                        <a:lnTo>
                          <a:pt x="479" y="1764"/>
                        </a:lnTo>
                        <a:lnTo>
                          <a:pt x="375" y="1744"/>
                        </a:lnTo>
                        <a:lnTo>
                          <a:pt x="379" y="1736"/>
                        </a:lnTo>
                        <a:lnTo>
                          <a:pt x="370" y="1728"/>
                        </a:lnTo>
                        <a:lnTo>
                          <a:pt x="366" y="1713"/>
                        </a:lnTo>
                        <a:lnTo>
                          <a:pt x="352" y="1707"/>
                        </a:lnTo>
                        <a:lnTo>
                          <a:pt x="347" y="1686"/>
                        </a:lnTo>
                        <a:lnTo>
                          <a:pt x="337" y="1672"/>
                        </a:lnTo>
                        <a:lnTo>
                          <a:pt x="345" y="1655"/>
                        </a:lnTo>
                        <a:lnTo>
                          <a:pt x="329" y="1645"/>
                        </a:lnTo>
                        <a:lnTo>
                          <a:pt x="336" y="1639"/>
                        </a:lnTo>
                        <a:lnTo>
                          <a:pt x="346" y="1619"/>
                        </a:lnTo>
                        <a:lnTo>
                          <a:pt x="344" y="1601"/>
                        </a:lnTo>
                        <a:lnTo>
                          <a:pt x="350" y="1589"/>
                        </a:lnTo>
                        <a:lnTo>
                          <a:pt x="347" y="1568"/>
                        </a:lnTo>
                        <a:lnTo>
                          <a:pt x="349" y="1533"/>
                        </a:lnTo>
                        <a:lnTo>
                          <a:pt x="344" y="1523"/>
                        </a:lnTo>
                        <a:lnTo>
                          <a:pt x="335" y="1498"/>
                        </a:lnTo>
                        <a:lnTo>
                          <a:pt x="327" y="1493"/>
                        </a:lnTo>
                        <a:lnTo>
                          <a:pt x="317" y="1497"/>
                        </a:lnTo>
                        <a:lnTo>
                          <a:pt x="309" y="1482"/>
                        </a:lnTo>
                        <a:lnTo>
                          <a:pt x="309" y="1467"/>
                        </a:lnTo>
                        <a:lnTo>
                          <a:pt x="293" y="1454"/>
                        </a:lnTo>
                        <a:lnTo>
                          <a:pt x="291" y="1427"/>
                        </a:lnTo>
                        <a:lnTo>
                          <a:pt x="276" y="1407"/>
                        </a:lnTo>
                        <a:lnTo>
                          <a:pt x="268" y="1404"/>
                        </a:lnTo>
                        <a:lnTo>
                          <a:pt x="260" y="1393"/>
                        </a:lnTo>
                        <a:lnTo>
                          <a:pt x="261" y="1382"/>
                        </a:lnTo>
                        <a:lnTo>
                          <a:pt x="245" y="1365"/>
                        </a:lnTo>
                        <a:lnTo>
                          <a:pt x="242" y="1353"/>
                        </a:lnTo>
                        <a:lnTo>
                          <a:pt x="245" y="1343"/>
                        </a:lnTo>
                        <a:lnTo>
                          <a:pt x="237" y="1334"/>
                        </a:lnTo>
                        <a:lnTo>
                          <a:pt x="232" y="1317"/>
                        </a:lnTo>
                        <a:lnTo>
                          <a:pt x="226" y="1309"/>
                        </a:lnTo>
                        <a:lnTo>
                          <a:pt x="221" y="1283"/>
                        </a:lnTo>
                        <a:lnTo>
                          <a:pt x="215" y="1283"/>
                        </a:lnTo>
                        <a:lnTo>
                          <a:pt x="202" y="1294"/>
                        </a:lnTo>
                        <a:lnTo>
                          <a:pt x="196" y="1290"/>
                        </a:lnTo>
                        <a:lnTo>
                          <a:pt x="192" y="1260"/>
                        </a:lnTo>
                        <a:lnTo>
                          <a:pt x="177" y="1235"/>
                        </a:lnTo>
                        <a:lnTo>
                          <a:pt x="171" y="1220"/>
                        </a:lnTo>
                        <a:lnTo>
                          <a:pt x="151" y="1217"/>
                        </a:lnTo>
                        <a:lnTo>
                          <a:pt x="140" y="1203"/>
                        </a:lnTo>
                        <a:lnTo>
                          <a:pt x="136" y="1190"/>
                        </a:lnTo>
                        <a:lnTo>
                          <a:pt x="145" y="1184"/>
                        </a:lnTo>
                        <a:lnTo>
                          <a:pt x="146" y="1173"/>
                        </a:lnTo>
                        <a:lnTo>
                          <a:pt x="135" y="1168"/>
                        </a:lnTo>
                        <a:lnTo>
                          <a:pt x="128" y="1157"/>
                        </a:lnTo>
                        <a:lnTo>
                          <a:pt x="118" y="1168"/>
                        </a:lnTo>
                        <a:lnTo>
                          <a:pt x="105" y="1169"/>
                        </a:lnTo>
                        <a:lnTo>
                          <a:pt x="106" y="1150"/>
                        </a:lnTo>
                        <a:lnTo>
                          <a:pt x="102" y="1128"/>
                        </a:lnTo>
                        <a:lnTo>
                          <a:pt x="107" y="1122"/>
                        </a:lnTo>
                        <a:lnTo>
                          <a:pt x="103" y="1098"/>
                        </a:lnTo>
                        <a:lnTo>
                          <a:pt x="97" y="1084"/>
                        </a:lnTo>
                        <a:lnTo>
                          <a:pt x="88" y="1085"/>
                        </a:lnTo>
                        <a:lnTo>
                          <a:pt x="88" y="1064"/>
                        </a:lnTo>
                        <a:lnTo>
                          <a:pt x="78" y="1037"/>
                        </a:lnTo>
                        <a:lnTo>
                          <a:pt x="66" y="1027"/>
                        </a:lnTo>
                        <a:lnTo>
                          <a:pt x="61" y="1039"/>
                        </a:lnTo>
                        <a:lnTo>
                          <a:pt x="42" y="1023"/>
                        </a:lnTo>
                        <a:lnTo>
                          <a:pt x="38" y="999"/>
                        </a:lnTo>
                        <a:lnTo>
                          <a:pt x="20" y="990"/>
                        </a:lnTo>
                        <a:lnTo>
                          <a:pt x="8" y="982"/>
                        </a:lnTo>
                        <a:lnTo>
                          <a:pt x="6" y="967"/>
                        </a:lnTo>
                        <a:lnTo>
                          <a:pt x="0" y="963"/>
                        </a:lnTo>
                        <a:lnTo>
                          <a:pt x="3" y="949"/>
                        </a:lnTo>
                        <a:lnTo>
                          <a:pt x="16" y="954"/>
                        </a:lnTo>
                        <a:lnTo>
                          <a:pt x="16" y="938"/>
                        </a:lnTo>
                        <a:lnTo>
                          <a:pt x="7" y="934"/>
                        </a:lnTo>
                        <a:lnTo>
                          <a:pt x="5" y="910"/>
                        </a:lnTo>
                        <a:lnTo>
                          <a:pt x="251" y="0"/>
                        </a:lnTo>
                        <a:lnTo>
                          <a:pt x="346" y="25"/>
                        </a:lnTo>
                        <a:lnTo>
                          <a:pt x="441" y="49"/>
                        </a:lnTo>
                        <a:lnTo>
                          <a:pt x="537" y="72"/>
                        </a:lnTo>
                        <a:lnTo>
                          <a:pt x="632" y="93"/>
                        </a:lnTo>
                        <a:lnTo>
                          <a:pt x="729" y="112"/>
                        </a:lnTo>
                        <a:lnTo>
                          <a:pt x="825" y="130"/>
                        </a:lnTo>
                        <a:lnTo>
                          <a:pt x="922" y="148"/>
                        </a:lnTo>
                        <a:lnTo>
                          <a:pt x="1019" y="163"/>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4" name="British Columbia" descr="{&quot;Key&quot;:&quot;british columbia&quot;,&quot;Name&quot;:&quot;British Columbia&quot;,&quot;Value&quot;:1.0,&quot;Formula&quot;:&quot;&quot;,&quot;Text&quot;:&quot;&quot;,&quot;OfficeApplication&quot;:1,&quot;HasValue&quot;:true}">
                    <a:extLst>
                      <a:ext uri="{FF2B5EF4-FFF2-40B4-BE49-F238E27FC236}">
                        <a16:creationId xmlns:a16="http://schemas.microsoft.com/office/drawing/2014/main" id="{B9D62D1D-72F7-D1A5-4B9D-A5C64EE3E12E}"/>
                      </a:ext>
                    </a:extLst>
                  </p:cNvPr>
                  <p:cNvSpPr>
                    <a:spLocks noEditPoints="1"/>
                  </p:cNvSpPr>
                  <p:nvPr/>
                </p:nvSpPr>
                <p:spPr bwMode="auto">
                  <a:xfrm>
                    <a:off x="5117538" y="2714836"/>
                    <a:ext cx="791527" cy="1188375"/>
                  </a:xfrm>
                  <a:custGeom>
                    <a:avLst/>
                    <a:gdLst>
                      <a:gd name="T0" fmla="*/ 408 w 1520"/>
                      <a:gd name="T1" fmla="*/ 1938 h 2282"/>
                      <a:gd name="T2" fmla="*/ 368 w 1520"/>
                      <a:gd name="T3" fmla="*/ 1875 h 2282"/>
                      <a:gd name="T4" fmla="*/ 543 w 1520"/>
                      <a:gd name="T5" fmla="*/ 1867 h 2282"/>
                      <a:gd name="T6" fmla="*/ 578 w 1520"/>
                      <a:gd name="T7" fmla="*/ 1852 h 2282"/>
                      <a:gd name="T8" fmla="*/ 358 w 1520"/>
                      <a:gd name="T9" fmla="*/ 1696 h 2282"/>
                      <a:gd name="T10" fmla="*/ 521 w 1520"/>
                      <a:gd name="T11" fmla="*/ 1860 h 2282"/>
                      <a:gd name="T12" fmla="*/ 598 w 1520"/>
                      <a:gd name="T13" fmla="*/ 2021 h 2282"/>
                      <a:gd name="T14" fmla="*/ 587 w 1520"/>
                      <a:gd name="T15" fmla="*/ 2146 h 2282"/>
                      <a:gd name="T16" fmla="*/ 471 w 1520"/>
                      <a:gd name="T17" fmla="*/ 2010 h 2282"/>
                      <a:gd name="T18" fmla="*/ 384 w 1520"/>
                      <a:gd name="T19" fmla="*/ 1907 h 2282"/>
                      <a:gd name="T20" fmla="*/ 336 w 1520"/>
                      <a:gd name="T21" fmla="*/ 1807 h 2282"/>
                      <a:gd name="T22" fmla="*/ 301 w 1520"/>
                      <a:gd name="T23" fmla="*/ 1713 h 2282"/>
                      <a:gd name="T24" fmla="*/ 347 w 1520"/>
                      <a:gd name="T25" fmla="*/ 1578 h 2282"/>
                      <a:gd name="T26" fmla="*/ 353 w 1520"/>
                      <a:gd name="T27" fmla="*/ 1511 h 2282"/>
                      <a:gd name="T28" fmla="*/ 362 w 1520"/>
                      <a:gd name="T29" fmla="*/ 1462 h 2282"/>
                      <a:gd name="T30" fmla="*/ 376 w 1520"/>
                      <a:gd name="T31" fmla="*/ 1468 h 2282"/>
                      <a:gd name="T32" fmla="*/ 431 w 1520"/>
                      <a:gd name="T33" fmla="*/ 1467 h 2282"/>
                      <a:gd name="T34" fmla="*/ 357 w 1520"/>
                      <a:gd name="T35" fmla="*/ 1412 h 2282"/>
                      <a:gd name="T36" fmla="*/ 362 w 1520"/>
                      <a:gd name="T37" fmla="*/ 1408 h 2282"/>
                      <a:gd name="T38" fmla="*/ 308 w 1520"/>
                      <a:gd name="T39" fmla="*/ 1339 h 2282"/>
                      <a:gd name="T40" fmla="*/ 119 w 1520"/>
                      <a:gd name="T41" fmla="*/ 1195 h 2282"/>
                      <a:gd name="T42" fmla="*/ 103 w 1520"/>
                      <a:gd name="T43" fmla="*/ 1343 h 2282"/>
                      <a:gd name="T44" fmla="*/ 73 w 1520"/>
                      <a:gd name="T45" fmla="*/ 1225 h 2282"/>
                      <a:gd name="T46" fmla="*/ 352 w 1520"/>
                      <a:gd name="T47" fmla="*/ 1391 h 2282"/>
                      <a:gd name="T48" fmla="*/ 350 w 1520"/>
                      <a:gd name="T49" fmla="*/ 1278 h 2282"/>
                      <a:gd name="T50" fmla="*/ 347 w 1520"/>
                      <a:gd name="T51" fmla="*/ 1267 h 2282"/>
                      <a:gd name="T52" fmla="*/ 251 w 1520"/>
                      <a:gd name="T53" fmla="*/ 1226 h 2282"/>
                      <a:gd name="T54" fmla="*/ 381 w 1520"/>
                      <a:gd name="T55" fmla="*/ 1245 h 2282"/>
                      <a:gd name="T56" fmla="*/ 311 w 1520"/>
                      <a:gd name="T57" fmla="*/ 1276 h 2282"/>
                      <a:gd name="T58" fmla="*/ 290 w 1520"/>
                      <a:gd name="T59" fmla="*/ 1156 h 2282"/>
                      <a:gd name="T60" fmla="*/ 290 w 1520"/>
                      <a:gd name="T61" fmla="*/ 1140 h 2282"/>
                      <a:gd name="T62" fmla="*/ 86 w 1520"/>
                      <a:gd name="T63" fmla="*/ 1107 h 2282"/>
                      <a:gd name="T64" fmla="*/ 123 w 1520"/>
                      <a:gd name="T65" fmla="*/ 1152 h 2282"/>
                      <a:gd name="T66" fmla="*/ 42 w 1520"/>
                      <a:gd name="T67" fmla="*/ 1118 h 2282"/>
                      <a:gd name="T68" fmla="*/ 313 w 1520"/>
                      <a:gd name="T69" fmla="*/ 1035 h 2282"/>
                      <a:gd name="T70" fmla="*/ 1516 w 1520"/>
                      <a:gd name="T71" fmla="*/ 2282 h 2282"/>
                      <a:gd name="T72" fmla="*/ 670 w 1520"/>
                      <a:gd name="T73" fmla="*/ 2067 h 2282"/>
                      <a:gd name="T74" fmla="*/ 608 w 1520"/>
                      <a:gd name="T75" fmla="*/ 1948 h 2282"/>
                      <a:gd name="T76" fmla="*/ 548 w 1520"/>
                      <a:gd name="T77" fmla="*/ 1803 h 2282"/>
                      <a:gd name="T78" fmla="*/ 474 w 1520"/>
                      <a:gd name="T79" fmla="*/ 1730 h 2282"/>
                      <a:gd name="T80" fmla="*/ 371 w 1520"/>
                      <a:gd name="T81" fmla="*/ 1635 h 2282"/>
                      <a:gd name="T82" fmla="*/ 438 w 1520"/>
                      <a:gd name="T83" fmla="*/ 1572 h 2282"/>
                      <a:gd name="T84" fmla="*/ 372 w 1520"/>
                      <a:gd name="T85" fmla="*/ 1525 h 2282"/>
                      <a:gd name="T86" fmla="*/ 403 w 1520"/>
                      <a:gd name="T87" fmla="*/ 1466 h 2282"/>
                      <a:gd name="T88" fmla="*/ 377 w 1520"/>
                      <a:gd name="T89" fmla="*/ 1358 h 2282"/>
                      <a:gd name="T90" fmla="*/ 396 w 1520"/>
                      <a:gd name="T91" fmla="*/ 1211 h 2282"/>
                      <a:gd name="T92" fmla="*/ 292 w 1520"/>
                      <a:gd name="T93" fmla="*/ 1087 h 2282"/>
                      <a:gd name="T94" fmla="*/ 399 w 1520"/>
                      <a:gd name="T95" fmla="*/ 962 h 2282"/>
                      <a:gd name="T96" fmla="*/ 419 w 1520"/>
                      <a:gd name="T97" fmla="*/ 867 h 2282"/>
                      <a:gd name="T98" fmla="*/ 306 w 1520"/>
                      <a:gd name="T99" fmla="*/ 680 h 2282"/>
                      <a:gd name="T100" fmla="*/ 293 w 1520"/>
                      <a:gd name="T101" fmla="*/ 391 h 2282"/>
                      <a:gd name="T102" fmla="*/ 238 w 1520"/>
                      <a:gd name="T103" fmla="*/ 152 h 2282"/>
                      <a:gd name="T104" fmla="*/ 48 w 1520"/>
                      <a:gd name="T105" fmla="*/ 157 h 2282"/>
                      <a:gd name="T106" fmla="*/ 682 w 1520"/>
                      <a:gd name="T107" fmla="*/ 306 h 2282"/>
                      <a:gd name="T108" fmla="*/ 1148 w 1520"/>
                      <a:gd name="T109" fmla="*/ 1472 h 2282"/>
                      <a:gd name="T110" fmla="*/ 1207 w 1520"/>
                      <a:gd name="T111" fmla="*/ 1565 h 2282"/>
                      <a:gd name="T112" fmla="*/ 1269 w 1520"/>
                      <a:gd name="T113" fmla="*/ 1695 h 2282"/>
                      <a:gd name="T114" fmla="*/ 1343 w 1520"/>
                      <a:gd name="T115" fmla="*/ 1832 h 2282"/>
                      <a:gd name="T116" fmla="*/ 1409 w 1520"/>
                      <a:gd name="T117" fmla="*/ 1942 h 2282"/>
                      <a:gd name="T118" fmla="*/ 1488 w 1520"/>
                      <a:gd name="T119" fmla="*/ 2106 h 2282"/>
                      <a:gd name="T120" fmla="*/ 1511 w 1520"/>
                      <a:gd name="T121" fmla="*/ 2266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0" h="2282">
                        <a:moveTo>
                          <a:pt x="627" y="2070"/>
                        </a:moveTo>
                        <a:lnTo>
                          <a:pt x="627" y="2080"/>
                        </a:lnTo>
                        <a:lnTo>
                          <a:pt x="633" y="2090"/>
                        </a:lnTo>
                        <a:lnTo>
                          <a:pt x="620" y="2095"/>
                        </a:lnTo>
                        <a:lnTo>
                          <a:pt x="617" y="2076"/>
                        </a:lnTo>
                        <a:lnTo>
                          <a:pt x="627" y="2070"/>
                        </a:lnTo>
                        <a:close/>
                        <a:moveTo>
                          <a:pt x="408" y="1938"/>
                        </a:moveTo>
                        <a:lnTo>
                          <a:pt x="395" y="1933"/>
                        </a:lnTo>
                        <a:lnTo>
                          <a:pt x="398" y="1918"/>
                        </a:lnTo>
                        <a:lnTo>
                          <a:pt x="408" y="1920"/>
                        </a:lnTo>
                        <a:lnTo>
                          <a:pt x="408" y="1938"/>
                        </a:lnTo>
                        <a:close/>
                        <a:moveTo>
                          <a:pt x="586" y="1933"/>
                        </a:moveTo>
                        <a:lnTo>
                          <a:pt x="595" y="1956"/>
                        </a:lnTo>
                        <a:lnTo>
                          <a:pt x="591" y="1961"/>
                        </a:lnTo>
                        <a:lnTo>
                          <a:pt x="572" y="1941"/>
                        </a:lnTo>
                        <a:lnTo>
                          <a:pt x="568" y="1917"/>
                        </a:lnTo>
                        <a:lnTo>
                          <a:pt x="582" y="1927"/>
                        </a:lnTo>
                        <a:lnTo>
                          <a:pt x="586" y="1933"/>
                        </a:lnTo>
                        <a:close/>
                        <a:moveTo>
                          <a:pt x="376" y="1836"/>
                        </a:moveTo>
                        <a:lnTo>
                          <a:pt x="380" y="1852"/>
                        </a:lnTo>
                        <a:lnTo>
                          <a:pt x="376" y="1871"/>
                        </a:lnTo>
                        <a:lnTo>
                          <a:pt x="368" y="1875"/>
                        </a:lnTo>
                        <a:lnTo>
                          <a:pt x="358" y="1866"/>
                        </a:lnTo>
                        <a:lnTo>
                          <a:pt x="352" y="1853"/>
                        </a:lnTo>
                        <a:lnTo>
                          <a:pt x="358" y="1841"/>
                        </a:lnTo>
                        <a:lnTo>
                          <a:pt x="353" y="1832"/>
                        </a:lnTo>
                        <a:lnTo>
                          <a:pt x="375" y="1831"/>
                        </a:lnTo>
                        <a:lnTo>
                          <a:pt x="376" y="1836"/>
                        </a:lnTo>
                        <a:close/>
                        <a:moveTo>
                          <a:pt x="543" y="1867"/>
                        </a:moveTo>
                        <a:lnTo>
                          <a:pt x="541" y="1850"/>
                        </a:lnTo>
                        <a:lnTo>
                          <a:pt x="553" y="1847"/>
                        </a:lnTo>
                        <a:lnTo>
                          <a:pt x="552" y="1862"/>
                        </a:lnTo>
                        <a:lnTo>
                          <a:pt x="543" y="1867"/>
                        </a:lnTo>
                        <a:close/>
                        <a:moveTo>
                          <a:pt x="526" y="1863"/>
                        </a:moveTo>
                        <a:lnTo>
                          <a:pt x="523" y="1849"/>
                        </a:lnTo>
                        <a:lnTo>
                          <a:pt x="517" y="1839"/>
                        </a:lnTo>
                        <a:lnTo>
                          <a:pt x="520" y="1824"/>
                        </a:lnTo>
                        <a:lnTo>
                          <a:pt x="527" y="1820"/>
                        </a:lnTo>
                        <a:lnTo>
                          <a:pt x="535" y="1832"/>
                        </a:lnTo>
                        <a:lnTo>
                          <a:pt x="526" y="1843"/>
                        </a:lnTo>
                        <a:lnTo>
                          <a:pt x="526" y="1863"/>
                        </a:lnTo>
                        <a:close/>
                        <a:moveTo>
                          <a:pt x="578" y="1835"/>
                        </a:moveTo>
                        <a:lnTo>
                          <a:pt x="582" y="1842"/>
                        </a:lnTo>
                        <a:lnTo>
                          <a:pt x="578" y="1852"/>
                        </a:lnTo>
                        <a:lnTo>
                          <a:pt x="567" y="1841"/>
                        </a:lnTo>
                        <a:lnTo>
                          <a:pt x="578" y="1835"/>
                        </a:lnTo>
                        <a:close/>
                        <a:moveTo>
                          <a:pt x="468" y="1728"/>
                        </a:moveTo>
                        <a:lnTo>
                          <a:pt x="454" y="1738"/>
                        </a:lnTo>
                        <a:lnTo>
                          <a:pt x="431" y="1722"/>
                        </a:lnTo>
                        <a:lnTo>
                          <a:pt x="453" y="1713"/>
                        </a:lnTo>
                        <a:lnTo>
                          <a:pt x="465" y="1713"/>
                        </a:lnTo>
                        <a:lnTo>
                          <a:pt x="468" y="1728"/>
                        </a:lnTo>
                        <a:close/>
                        <a:moveTo>
                          <a:pt x="325" y="1658"/>
                        </a:moveTo>
                        <a:lnTo>
                          <a:pt x="353" y="1683"/>
                        </a:lnTo>
                        <a:lnTo>
                          <a:pt x="358" y="1696"/>
                        </a:lnTo>
                        <a:lnTo>
                          <a:pt x="372" y="1714"/>
                        </a:lnTo>
                        <a:lnTo>
                          <a:pt x="407" y="1738"/>
                        </a:lnTo>
                        <a:lnTo>
                          <a:pt x="431" y="1758"/>
                        </a:lnTo>
                        <a:lnTo>
                          <a:pt x="440" y="1760"/>
                        </a:lnTo>
                        <a:lnTo>
                          <a:pt x="461" y="1771"/>
                        </a:lnTo>
                        <a:lnTo>
                          <a:pt x="472" y="1785"/>
                        </a:lnTo>
                        <a:lnTo>
                          <a:pt x="489" y="1797"/>
                        </a:lnTo>
                        <a:lnTo>
                          <a:pt x="503" y="1799"/>
                        </a:lnTo>
                        <a:lnTo>
                          <a:pt x="514" y="1812"/>
                        </a:lnTo>
                        <a:lnTo>
                          <a:pt x="513" y="1841"/>
                        </a:lnTo>
                        <a:lnTo>
                          <a:pt x="521" y="1860"/>
                        </a:lnTo>
                        <a:lnTo>
                          <a:pt x="519" y="1874"/>
                        </a:lnTo>
                        <a:lnTo>
                          <a:pt x="537" y="1911"/>
                        </a:lnTo>
                        <a:lnTo>
                          <a:pt x="531" y="1924"/>
                        </a:lnTo>
                        <a:lnTo>
                          <a:pt x="533" y="1949"/>
                        </a:lnTo>
                        <a:lnTo>
                          <a:pt x="539" y="1952"/>
                        </a:lnTo>
                        <a:lnTo>
                          <a:pt x="552" y="1971"/>
                        </a:lnTo>
                        <a:lnTo>
                          <a:pt x="568" y="1978"/>
                        </a:lnTo>
                        <a:lnTo>
                          <a:pt x="584" y="1991"/>
                        </a:lnTo>
                        <a:lnTo>
                          <a:pt x="589" y="2003"/>
                        </a:lnTo>
                        <a:lnTo>
                          <a:pt x="599" y="2008"/>
                        </a:lnTo>
                        <a:lnTo>
                          <a:pt x="598" y="2021"/>
                        </a:lnTo>
                        <a:lnTo>
                          <a:pt x="608" y="2028"/>
                        </a:lnTo>
                        <a:lnTo>
                          <a:pt x="609" y="2041"/>
                        </a:lnTo>
                        <a:lnTo>
                          <a:pt x="604" y="2048"/>
                        </a:lnTo>
                        <a:lnTo>
                          <a:pt x="616" y="2075"/>
                        </a:lnTo>
                        <a:lnTo>
                          <a:pt x="612" y="2105"/>
                        </a:lnTo>
                        <a:lnTo>
                          <a:pt x="624" y="2111"/>
                        </a:lnTo>
                        <a:lnTo>
                          <a:pt x="628" y="2138"/>
                        </a:lnTo>
                        <a:lnTo>
                          <a:pt x="618" y="2142"/>
                        </a:lnTo>
                        <a:lnTo>
                          <a:pt x="613" y="2135"/>
                        </a:lnTo>
                        <a:lnTo>
                          <a:pt x="597" y="2147"/>
                        </a:lnTo>
                        <a:lnTo>
                          <a:pt x="587" y="2146"/>
                        </a:lnTo>
                        <a:lnTo>
                          <a:pt x="577" y="2136"/>
                        </a:lnTo>
                        <a:lnTo>
                          <a:pt x="567" y="2132"/>
                        </a:lnTo>
                        <a:lnTo>
                          <a:pt x="527" y="2096"/>
                        </a:lnTo>
                        <a:lnTo>
                          <a:pt x="504" y="2079"/>
                        </a:lnTo>
                        <a:lnTo>
                          <a:pt x="493" y="2064"/>
                        </a:lnTo>
                        <a:lnTo>
                          <a:pt x="472" y="2044"/>
                        </a:lnTo>
                        <a:lnTo>
                          <a:pt x="467" y="2032"/>
                        </a:lnTo>
                        <a:lnTo>
                          <a:pt x="488" y="2023"/>
                        </a:lnTo>
                        <a:lnTo>
                          <a:pt x="496" y="2012"/>
                        </a:lnTo>
                        <a:lnTo>
                          <a:pt x="479" y="2006"/>
                        </a:lnTo>
                        <a:lnTo>
                          <a:pt x="471" y="2010"/>
                        </a:lnTo>
                        <a:lnTo>
                          <a:pt x="458" y="1999"/>
                        </a:lnTo>
                        <a:lnTo>
                          <a:pt x="444" y="2006"/>
                        </a:lnTo>
                        <a:lnTo>
                          <a:pt x="434" y="1995"/>
                        </a:lnTo>
                        <a:lnTo>
                          <a:pt x="428" y="1980"/>
                        </a:lnTo>
                        <a:lnTo>
                          <a:pt x="437" y="1963"/>
                        </a:lnTo>
                        <a:lnTo>
                          <a:pt x="429" y="1946"/>
                        </a:lnTo>
                        <a:lnTo>
                          <a:pt x="417" y="1947"/>
                        </a:lnTo>
                        <a:lnTo>
                          <a:pt x="413" y="1922"/>
                        </a:lnTo>
                        <a:lnTo>
                          <a:pt x="418" y="1915"/>
                        </a:lnTo>
                        <a:lnTo>
                          <a:pt x="397" y="1915"/>
                        </a:lnTo>
                        <a:lnTo>
                          <a:pt x="384" y="1907"/>
                        </a:lnTo>
                        <a:lnTo>
                          <a:pt x="373" y="1910"/>
                        </a:lnTo>
                        <a:lnTo>
                          <a:pt x="369" y="1903"/>
                        </a:lnTo>
                        <a:lnTo>
                          <a:pt x="378" y="1878"/>
                        </a:lnTo>
                        <a:lnTo>
                          <a:pt x="391" y="1876"/>
                        </a:lnTo>
                        <a:lnTo>
                          <a:pt x="392" y="1865"/>
                        </a:lnTo>
                        <a:lnTo>
                          <a:pt x="382" y="1857"/>
                        </a:lnTo>
                        <a:lnTo>
                          <a:pt x="386" y="1833"/>
                        </a:lnTo>
                        <a:lnTo>
                          <a:pt x="376" y="1827"/>
                        </a:lnTo>
                        <a:lnTo>
                          <a:pt x="357" y="1828"/>
                        </a:lnTo>
                        <a:lnTo>
                          <a:pt x="339" y="1821"/>
                        </a:lnTo>
                        <a:lnTo>
                          <a:pt x="336" y="1807"/>
                        </a:lnTo>
                        <a:lnTo>
                          <a:pt x="348" y="1792"/>
                        </a:lnTo>
                        <a:lnTo>
                          <a:pt x="328" y="1791"/>
                        </a:lnTo>
                        <a:lnTo>
                          <a:pt x="322" y="1773"/>
                        </a:lnTo>
                        <a:lnTo>
                          <a:pt x="311" y="1771"/>
                        </a:lnTo>
                        <a:lnTo>
                          <a:pt x="309" y="1762"/>
                        </a:lnTo>
                        <a:lnTo>
                          <a:pt x="293" y="1770"/>
                        </a:lnTo>
                        <a:lnTo>
                          <a:pt x="286" y="1758"/>
                        </a:lnTo>
                        <a:lnTo>
                          <a:pt x="302" y="1750"/>
                        </a:lnTo>
                        <a:lnTo>
                          <a:pt x="298" y="1731"/>
                        </a:lnTo>
                        <a:lnTo>
                          <a:pt x="289" y="1728"/>
                        </a:lnTo>
                        <a:lnTo>
                          <a:pt x="301" y="1713"/>
                        </a:lnTo>
                        <a:lnTo>
                          <a:pt x="331" y="1721"/>
                        </a:lnTo>
                        <a:lnTo>
                          <a:pt x="334" y="1711"/>
                        </a:lnTo>
                        <a:lnTo>
                          <a:pt x="309" y="1712"/>
                        </a:lnTo>
                        <a:lnTo>
                          <a:pt x="287" y="1710"/>
                        </a:lnTo>
                        <a:lnTo>
                          <a:pt x="277" y="1695"/>
                        </a:lnTo>
                        <a:lnTo>
                          <a:pt x="273" y="1680"/>
                        </a:lnTo>
                        <a:lnTo>
                          <a:pt x="273" y="1653"/>
                        </a:lnTo>
                        <a:lnTo>
                          <a:pt x="307" y="1651"/>
                        </a:lnTo>
                        <a:lnTo>
                          <a:pt x="325" y="1658"/>
                        </a:lnTo>
                        <a:close/>
                        <a:moveTo>
                          <a:pt x="356" y="1573"/>
                        </a:moveTo>
                        <a:lnTo>
                          <a:pt x="347" y="1578"/>
                        </a:lnTo>
                        <a:lnTo>
                          <a:pt x="338" y="1564"/>
                        </a:lnTo>
                        <a:lnTo>
                          <a:pt x="340" y="1543"/>
                        </a:lnTo>
                        <a:lnTo>
                          <a:pt x="357" y="1534"/>
                        </a:lnTo>
                        <a:lnTo>
                          <a:pt x="358" y="1554"/>
                        </a:lnTo>
                        <a:lnTo>
                          <a:pt x="356" y="1573"/>
                        </a:lnTo>
                        <a:close/>
                        <a:moveTo>
                          <a:pt x="378" y="1487"/>
                        </a:moveTo>
                        <a:lnTo>
                          <a:pt x="376" y="1498"/>
                        </a:lnTo>
                        <a:lnTo>
                          <a:pt x="361" y="1516"/>
                        </a:lnTo>
                        <a:lnTo>
                          <a:pt x="357" y="1527"/>
                        </a:lnTo>
                        <a:lnTo>
                          <a:pt x="347" y="1527"/>
                        </a:lnTo>
                        <a:lnTo>
                          <a:pt x="353" y="1511"/>
                        </a:lnTo>
                        <a:lnTo>
                          <a:pt x="351" y="1494"/>
                        </a:lnTo>
                        <a:lnTo>
                          <a:pt x="361" y="1486"/>
                        </a:lnTo>
                        <a:lnTo>
                          <a:pt x="378" y="1487"/>
                        </a:lnTo>
                        <a:close/>
                        <a:moveTo>
                          <a:pt x="392" y="1476"/>
                        </a:moveTo>
                        <a:lnTo>
                          <a:pt x="382" y="1485"/>
                        </a:lnTo>
                        <a:lnTo>
                          <a:pt x="370" y="1478"/>
                        </a:lnTo>
                        <a:lnTo>
                          <a:pt x="378" y="1471"/>
                        </a:lnTo>
                        <a:lnTo>
                          <a:pt x="392" y="1476"/>
                        </a:lnTo>
                        <a:close/>
                        <a:moveTo>
                          <a:pt x="355" y="1486"/>
                        </a:moveTo>
                        <a:lnTo>
                          <a:pt x="352" y="1471"/>
                        </a:lnTo>
                        <a:lnTo>
                          <a:pt x="362" y="1462"/>
                        </a:lnTo>
                        <a:lnTo>
                          <a:pt x="368" y="1465"/>
                        </a:lnTo>
                        <a:lnTo>
                          <a:pt x="363" y="1477"/>
                        </a:lnTo>
                        <a:lnTo>
                          <a:pt x="355" y="1486"/>
                        </a:lnTo>
                        <a:close/>
                        <a:moveTo>
                          <a:pt x="361" y="1453"/>
                        </a:moveTo>
                        <a:lnTo>
                          <a:pt x="353" y="1467"/>
                        </a:lnTo>
                        <a:lnTo>
                          <a:pt x="336" y="1457"/>
                        </a:lnTo>
                        <a:lnTo>
                          <a:pt x="346" y="1448"/>
                        </a:lnTo>
                        <a:lnTo>
                          <a:pt x="361" y="1453"/>
                        </a:lnTo>
                        <a:close/>
                        <a:moveTo>
                          <a:pt x="391" y="1456"/>
                        </a:moveTo>
                        <a:lnTo>
                          <a:pt x="391" y="1471"/>
                        </a:lnTo>
                        <a:lnTo>
                          <a:pt x="376" y="1468"/>
                        </a:lnTo>
                        <a:lnTo>
                          <a:pt x="375" y="1458"/>
                        </a:lnTo>
                        <a:lnTo>
                          <a:pt x="383" y="1451"/>
                        </a:lnTo>
                        <a:lnTo>
                          <a:pt x="391" y="1456"/>
                        </a:lnTo>
                        <a:close/>
                        <a:moveTo>
                          <a:pt x="440" y="1479"/>
                        </a:moveTo>
                        <a:lnTo>
                          <a:pt x="419" y="1482"/>
                        </a:lnTo>
                        <a:lnTo>
                          <a:pt x="411" y="1487"/>
                        </a:lnTo>
                        <a:lnTo>
                          <a:pt x="398" y="1504"/>
                        </a:lnTo>
                        <a:lnTo>
                          <a:pt x="379" y="1506"/>
                        </a:lnTo>
                        <a:lnTo>
                          <a:pt x="387" y="1488"/>
                        </a:lnTo>
                        <a:lnTo>
                          <a:pt x="398" y="1473"/>
                        </a:lnTo>
                        <a:lnTo>
                          <a:pt x="431" y="1467"/>
                        </a:lnTo>
                        <a:lnTo>
                          <a:pt x="443" y="1458"/>
                        </a:lnTo>
                        <a:lnTo>
                          <a:pt x="460" y="1460"/>
                        </a:lnTo>
                        <a:lnTo>
                          <a:pt x="458" y="1471"/>
                        </a:lnTo>
                        <a:lnTo>
                          <a:pt x="440" y="1479"/>
                        </a:lnTo>
                        <a:close/>
                        <a:moveTo>
                          <a:pt x="340" y="1407"/>
                        </a:moveTo>
                        <a:lnTo>
                          <a:pt x="340" y="1423"/>
                        </a:lnTo>
                        <a:lnTo>
                          <a:pt x="327" y="1427"/>
                        </a:lnTo>
                        <a:lnTo>
                          <a:pt x="332" y="1406"/>
                        </a:lnTo>
                        <a:lnTo>
                          <a:pt x="340" y="1407"/>
                        </a:lnTo>
                        <a:close/>
                        <a:moveTo>
                          <a:pt x="358" y="1394"/>
                        </a:moveTo>
                        <a:lnTo>
                          <a:pt x="357" y="1412"/>
                        </a:lnTo>
                        <a:lnTo>
                          <a:pt x="349" y="1417"/>
                        </a:lnTo>
                        <a:lnTo>
                          <a:pt x="336" y="1399"/>
                        </a:lnTo>
                        <a:lnTo>
                          <a:pt x="342" y="1388"/>
                        </a:lnTo>
                        <a:lnTo>
                          <a:pt x="358" y="1394"/>
                        </a:lnTo>
                        <a:close/>
                        <a:moveTo>
                          <a:pt x="101" y="1273"/>
                        </a:moveTo>
                        <a:lnTo>
                          <a:pt x="117" y="1283"/>
                        </a:lnTo>
                        <a:lnTo>
                          <a:pt x="112" y="1292"/>
                        </a:lnTo>
                        <a:lnTo>
                          <a:pt x="98" y="1282"/>
                        </a:lnTo>
                        <a:lnTo>
                          <a:pt x="101" y="1273"/>
                        </a:lnTo>
                        <a:close/>
                        <a:moveTo>
                          <a:pt x="359" y="1431"/>
                        </a:moveTo>
                        <a:lnTo>
                          <a:pt x="362" y="1408"/>
                        </a:lnTo>
                        <a:lnTo>
                          <a:pt x="372" y="1377"/>
                        </a:lnTo>
                        <a:lnTo>
                          <a:pt x="381" y="1389"/>
                        </a:lnTo>
                        <a:lnTo>
                          <a:pt x="374" y="1416"/>
                        </a:lnTo>
                        <a:lnTo>
                          <a:pt x="359" y="1431"/>
                        </a:lnTo>
                        <a:close/>
                        <a:moveTo>
                          <a:pt x="319" y="1362"/>
                        </a:moveTo>
                        <a:lnTo>
                          <a:pt x="324" y="1382"/>
                        </a:lnTo>
                        <a:lnTo>
                          <a:pt x="321" y="1392"/>
                        </a:lnTo>
                        <a:lnTo>
                          <a:pt x="309" y="1388"/>
                        </a:lnTo>
                        <a:lnTo>
                          <a:pt x="303" y="1370"/>
                        </a:lnTo>
                        <a:lnTo>
                          <a:pt x="302" y="1347"/>
                        </a:lnTo>
                        <a:lnTo>
                          <a:pt x="308" y="1339"/>
                        </a:lnTo>
                        <a:lnTo>
                          <a:pt x="319" y="1362"/>
                        </a:lnTo>
                        <a:close/>
                        <a:moveTo>
                          <a:pt x="382" y="1401"/>
                        </a:moveTo>
                        <a:lnTo>
                          <a:pt x="384" y="1377"/>
                        </a:lnTo>
                        <a:lnTo>
                          <a:pt x="394" y="1383"/>
                        </a:lnTo>
                        <a:lnTo>
                          <a:pt x="382" y="1401"/>
                        </a:lnTo>
                        <a:close/>
                        <a:moveTo>
                          <a:pt x="312" y="1291"/>
                        </a:moveTo>
                        <a:lnTo>
                          <a:pt x="316" y="1306"/>
                        </a:lnTo>
                        <a:lnTo>
                          <a:pt x="306" y="1311"/>
                        </a:lnTo>
                        <a:lnTo>
                          <a:pt x="304" y="1292"/>
                        </a:lnTo>
                        <a:lnTo>
                          <a:pt x="312" y="1291"/>
                        </a:lnTo>
                        <a:close/>
                        <a:moveTo>
                          <a:pt x="119" y="1195"/>
                        </a:moveTo>
                        <a:lnTo>
                          <a:pt x="116" y="1207"/>
                        </a:lnTo>
                        <a:lnTo>
                          <a:pt x="121" y="1213"/>
                        </a:lnTo>
                        <a:lnTo>
                          <a:pt x="123" y="1228"/>
                        </a:lnTo>
                        <a:lnTo>
                          <a:pt x="114" y="1247"/>
                        </a:lnTo>
                        <a:lnTo>
                          <a:pt x="106" y="1251"/>
                        </a:lnTo>
                        <a:lnTo>
                          <a:pt x="92" y="1247"/>
                        </a:lnTo>
                        <a:lnTo>
                          <a:pt x="86" y="1267"/>
                        </a:lnTo>
                        <a:lnTo>
                          <a:pt x="93" y="1273"/>
                        </a:lnTo>
                        <a:lnTo>
                          <a:pt x="89" y="1298"/>
                        </a:lnTo>
                        <a:lnTo>
                          <a:pt x="106" y="1320"/>
                        </a:lnTo>
                        <a:lnTo>
                          <a:pt x="103" y="1343"/>
                        </a:lnTo>
                        <a:lnTo>
                          <a:pt x="121" y="1347"/>
                        </a:lnTo>
                        <a:lnTo>
                          <a:pt x="121" y="1363"/>
                        </a:lnTo>
                        <a:lnTo>
                          <a:pt x="107" y="1373"/>
                        </a:lnTo>
                        <a:lnTo>
                          <a:pt x="98" y="1366"/>
                        </a:lnTo>
                        <a:lnTo>
                          <a:pt x="94" y="1355"/>
                        </a:lnTo>
                        <a:lnTo>
                          <a:pt x="84" y="1305"/>
                        </a:lnTo>
                        <a:lnTo>
                          <a:pt x="73" y="1286"/>
                        </a:lnTo>
                        <a:lnTo>
                          <a:pt x="73" y="1273"/>
                        </a:lnTo>
                        <a:lnTo>
                          <a:pt x="62" y="1252"/>
                        </a:lnTo>
                        <a:lnTo>
                          <a:pt x="56" y="1218"/>
                        </a:lnTo>
                        <a:lnTo>
                          <a:pt x="73" y="1225"/>
                        </a:lnTo>
                        <a:lnTo>
                          <a:pt x="69" y="1211"/>
                        </a:lnTo>
                        <a:lnTo>
                          <a:pt x="48" y="1200"/>
                        </a:lnTo>
                        <a:lnTo>
                          <a:pt x="52" y="1183"/>
                        </a:lnTo>
                        <a:lnTo>
                          <a:pt x="64" y="1192"/>
                        </a:lnTo>
                        <a:lnTo>
                          <a:pt x="92" y="1198"/>
                        </a:lnTo>
                        <a:lnTo>
                          <a:pt x="109" y="1193"/>
                        </a:lnTo>
                        <a:lnTo>
                          <a:pt x="119" y="1195"/>
                        </a:lnTo>
                        <a:close/>
                        <a:moveTo>
                          <a:pt x="379" y="1313"/>
                        </a:moveTo>
                        <a:lnTo>
                          <a:pt x="379" y="1336"/>
                        </a:lnTo>
                        <a:lnTo>
                          <a:pt x="371" y="1360"/>
                        </a:lnTo>
                        <a:lnTo>
                          <a:pt x="352" y="1391"/>
                        </a:lnTo>
                        <a:lnTo>
                          <a:pt x="340" y="1387"/>
                        </a:lnTo>
                        <a:lnTo>
                          <a:pt x="347" y="1367"/>
                        </a:lnTo>
                        <a:lnTo>
                          <a:pt x="365" y="1347"/>
                        </a:lnTo>
                        <a:lnTo>
                          <a:pt x="356" y="1343"/>
                        </a:lnTo>
                        <a:lnTo>
                          <a:pt x="343" y="1368"/>
                        </a:lnTo>
                        <a:lnTo>
                          <a:pt x="328" y="1372"/>
                        </a:lnTo>
                        <a:lnTo>
                          <a:pt x="321" y="1358"/>
                        </a:lnTo>
                        <a:lnTo>
                          <a:pt x="321" y="1327"/>
                        </a:lnTo>
                        <a:lnTo>
                          <a:pt x="325" y="1314"/>
                        </a:lnTo>
                        <a:lnTo>
                          <a:pt x="337" y="1308"/>
                        </a:lnTo>
                        <a:lnTo>
                          <a:pt x="350" y="1278"/>
                        </a:lnTo>
                        <a:lnTo>
                          <a:pt x="363" y="1286"/>
                        </a:lnTo>
                        <a:lnTo>
                          <a:pt x="368" y="1299"/>
                        </a:lnTo>
                        <a:lnTo>
                          <a:pt x="379" y="1313"/>
                        </a:lnTo>
                        <a:close/>
                        <a:moveTo>
                          <a:pt x="333" y="1305"/>
                        </a:moveTo>
                        <a:lnTo>
                          <a:pt x="318" y="1295"/>
                        </a:lnTo>
                        <a:lnTo>
                          <a:pt x="325" y="1282"/>
                        </a:lnTo>
                        <a:lnTo>
                          <a:pt x="341" y="1273"/>
                        </a:lnTo>
                        <a:lnTo>
                          <a:pt x="333" y="1305"/>
                        </a:lnTo>
                        <a:close/>
                        <a:moveTo>
                          <a:pt x="365" y="1277"/>
                        </a:moveTo>
                        <a:lnTo>
                          <a:pt x="347" y="1275"/>
                        </a:lnTo>
                        <a:lnTo>
                          <a:pt x="347" y="1267"/>
                        </a:lnTo>
                        <a:lnTo>
                          <a:pt x="366" y="1248"/>
                        </a:lnTo>
                        <a:lnTo>
                          <a:pt x="368" y="1270"/>
                        </a:lnTo>
                        <a:lnTo>
                          <a:pt x="365" y="1277"/>
                        </a:lnTo>
                        <a:close/>
                        <a:moveTo>
                          <a:pt x="267" y="1203"/>
                        </a:moveTo>
                        <a:lnTo>
                          <a:pt x="282" y="1227"/>
                        </a:lnTo>
                        <a:lnTo>
                          <a:pt x="290" y="1266"/>
                        </a:lnTo>
                        <a:lnTo>
                          <a:pt x="286" y="1276"/>
                        </a:lnTo>
                        <a:lnTo>
                          <a:pt x="269" y="1270"/>
                        </a:lnTo>
                        <a:lnTo>
                          <a:pt x="265" y="1245"/>
                        </a:lnTo>
                        <a:lnTo>
                          <a:pt x="258" y="1230"/>
                        </a:lnTo>
                        <a:lnTo>
                          <a:pt x="251" y="1226"/>
                        </a:lnTo>
                        <a:lnTo>
                          <a:pt x="247" y="1205"/>
                        </a:lnTo>
                        <a:lnTo>
                          <a:pt x="242" y="1195"/>
                        </a:lnTo>
                        <a:lnTo>
                          <a:pt x="250" y="1185"/>
                        </a:lnTo>
                        <a:lnTo>
                          <a:pt x="267" y="1203"/>
                        </a:lnTo>
                        <a:close/>
                        <a:moveTo>
                          <a:pt x="381" y="1245"/>
                        </a:moveTo>
                        <a:lnTo>
                          <a:pt x="372" y="1242"/>
                        </a:lnTo>
                        <a:lnTo>
                          <a:pt x="348" y="1255"/>
                        </a:lnTo>
                        <a:lnTo>
                          <a:pt x="360" y="1230"/>
                        </a:lnTo>
                        <a:lnTo>
                          <a:pt x="371" y="1226"/>
                        </a:lnTo>
                        <a:lnTo>
                          <a:pt x="391" y="1228"/>
                        </a:lnTo>
                        <a:lnTo>
                          <a:pt x="381" y="1245"/>
                        </a:lnTo>
                        <a:close/>
                        <a:moveTo>
                          <a:pt x="279" y="1203"/>
                        </a:moveTo>
                        <a:lnTo>
                          <a:pt x="267" y="1200"/>
                        </a:lnTo>
                        <a:lnTo>
                          <a:pt x="259" y="1181"/>
                        </a:lnTo>
                        <a:lnTo>
                          <a:pt x="272" y="1176"/>
                        </a:lnTo>
                        <a:lnTo>
                          <a:pt x="282" y="1188"/>
                        </a:lnTo>
                        <a:lnTo>
                          <a:pt x="279" y="1203"/>
                        </a:lnTo>
                        <a:close/>
                        <a:moveTo>
                          <a:pt x="312" y="1205"/>
                        </a:moveTo>
                        <a:lnTo>
                          <a:pt x="315" y="1218"/>
                        </a:lnTo>
                        <a:lnTo>
                          <a:pt x="331" y="1262"/>
                        </a:lnTo>
                        <a:lnTo>
                          <a:pt x="317" y="1267"/>
                        </a:lnTo>
                        <a:lnTo>
                          <a:pt x="311" y="1276"/>
                        </a:lnTo>
                        <a:lnTo>
                          <a:pt x="303" y="1275"/>
                        </a:lnTo>
                        <a:lnTo>
                          <a:pt x="301" y="1258"/>
                        </a:lnTo>
                        <a:lnTo>
                          <a:pt x="293" y="1245"/>
                        </a:lnTo>
                        <a:lnTo>
                          <a:pt x="296" y="1232"/>
                        </a:lnTo>
                        <a:lnTo>
                          <a:pt x="293" y="1210"/>
                        </a:lnTo>
                        <a:lnTo>
                          <a:pt x="284" y="1208"/>
                        </a:lnTo>
                        <a:lnTo>
                          <a:pt x="286" y="1188"/>
                        </a:lnTo>
                        <a:lnTo>
                          <a:pt x="278" y="1182"/>
                        </a:lnTo>
                        <a:lnTo>
                          <a:pt x="282" y="1172"/>
                        </a:lnTo>
                        <a:lnTo>
                          <a:pt x="277" y="1164"/>
                        </a:lnTo>
                        <a:lnTo>
                          <a:pt x="290" y="1156"/>
                        </a:lnTo>
                        <a:lnTo>
                          <a:pt x="300" y="1171"/>
                        </a:lnTo>
                        <a:lnTo>
                          <a:pt x="310" y="1193"/>
                        </a:lnTo>
                        <a:lnTo>
                          <a:pt x="312" y="1205"/>
                        </a:lnTo>
                        <a:close/>
                        <a:moveTo>
                          <a:pt x="290" y="1140"/>
                        </a:moveTo>
                        <a:lnTo>
                          <a:pt x="287" y="1152"/>
                        </a:lnTo>
                        <a:lnTo>
                          <a:pt x="272" y="1162"/>
                        </a:lnTo>
                        <a:lnTo>
                          <a:pt x="266" y="1148"/>
                        </a:lnTo>
                        <a:lnTo>
                          <a:pt x="261" y="1146"/>
                        </a:lnTo>
                        <a:lnTo>
                          <a:pt x="255" y="1130"/>
                        </a:lnTo>
                        <a:lnTo>
                          <a:pt x="283" y="1125"/>
                        </a:lnTo>
                        <a:lnTo>
                          <a:pt x="290" y="1140"/>
                        </a:lnTo>
                        <a:close/>
                        <a:moveTo>
                          <a:pt x="75" y="1027"/>
                        </a:moveTo>
                        <a:lnTo>
                          <a:pt x="90" y="1040"/>
                        </a:lnTo>
                        <a:lnTo>
                          <a:pt x="106" y="1048"/>
                        </a:lnTo>
                        <a:lnTo>
                          <a:pt x="103" y="1060"/>
                        </a:lnTo>
                        <a:lnTo>
                          <a:pt x="118" y="1056"/>
                        </a:lnTo>
                        <a:lnTo>
                          <a:pt x="128" y="1058"/>
                        </a:lnTo>
                        <a:lnTo>
                          <a:pt x="133" y="1080"/>
                        </a:lnTo>
                        <a:lnTo>
                          <a:pt x="129" y="1097"/>
                        </a:lnTo>
                        <a:lnTo>
                          <a:pt x="113" y="1107"/>
                        </a:lnTo>
                        <a:lnTo>
                          <a:pt x="101" y="1105"/>
                        </a:lnTo>
                        <a:lnTo>
                          <a:pt x="86" y="1107"/>
                        </a:lnTo>
                        <a:lnTo>
                          <a:pt x="94" y="1120"/>
                        </a:lnTo>
                        <a:lnTo>
                          <a:pt x="116" y="1121"/>
                        </a:lnTo>
                        <a:lnTo>
                          <a:pt x="117" y="1108"/>
                        </a:lnTo>
                        <a:lnTo>
                          <a:pt x="133" y="1096"/>
                        </a:lnTo>
                        <a:lnTo>
                          <a:pt x="137" y="1075"/>
                        </a:lnTo>
                        <a:lnTo>
                          <a:pt x="154" y="1081"/>
                        </a:lnTo>
                        <a:lnTo>
                          <a:pt x="177" y="1077"/>
                        </a:lnTo>
                        <a:lnTo>
                          <a:pt x="171" y="1096"/>
                        </a:lnTo>
                        <a:lnTo>
                          <a:pt x="143" y="1118"/>
                        </a:lnTo>
                        <a:lnTo>
                          <a:pt x="129" y="1140"/>
                        </a:lnTo>
                        <a:lnTo>
                          <a:pt x="123" y="1152"/>
                        </a:lnTo>
                        <a:lnTo>
                          <a:pt x="116" y="1177"/>
                        </a:lnTo>
                        <a:lnTo>
                          <a:pt x="102" y="1187"/>
                        </a:lnTo>
                        <a:lnTo>
                          <a:pt x="82" y="1183"/>
                        </a:lnTo>
                        <a:lnTo>
                          <a:pt x="78" y="1187"/>
                        </a:lnTo>
                        <a:lnTo>
                          <a:pt x="57" y="1186"/>
                        </a:lnTo>
                        <a:lnTo>
                          <a:pt x="54" y="1171"/>
                        </a:lnTo>
                        <a:lnTo>
                          <a:pt x="43" y="1152"/>
                        </a:lnTo>
                        <a:lnTo>
                          <a:pt x="51" y="1147"/>
                        </a:lnTo>
                        <a:lnTo>
                          <a:pt x="65" y="1153"/>
                        </a:lnTo>
                        <a:lnTo>
                          <a:pt x="69" y="1147"/>
                        </a:lnTo>
                        <a:lnTo>
                          <a:pt x="42" y="1118"/>
                        </a:lnTo>
                        <a:lnTo>
                          <a:pt x="51" y="1106"/>
                        </a:lnTo>
                        <a:lnTo>
                          <a:pt x="46" y="1058"/>
                        </a:lnTo>
                        <a:lnTo>
                          <a:pt x="63" y="1042"/>
                        </a:lnTo>
                        <a:lnTo>
                          <a:pt x="63" y="1032"/>
                        </a:lnTo>
                        <a:lnTo>
                          <a:pt x="75" y="1027"/>
                        </a:lnTo>
                        <a:close/>
                        <a:moveTo>
                          <a:pt x="283" y="1040"/>
                        </a:moveTo>
                        <a:lnTo>
                          <a:pt x="277" y="1048"/>
                        </a:lnTo>
                        <a:lnTo>
                          <a:pt x="257" y="1056"/>
                        </a:lnTo>
                        <a:lnTo>
                          <a:pt x="271" y="1032"/>
                        </a:lnTo>
                        <a:lnTo>
                          <a:pt x="283" y="1040"/>
                        </a:lnTo>
                        <a:close/>
                        <a:moveTo>
                          <a:pt x="313" y="1035"/>
                        </a:moveTo>
                        <a:lnTo>
                          <a:pt x="306" y="1035"/>
                        </a:lnTo>
                        <a:lnTo>
                          <a:pt x="302" y="1023"/>
                        </a:lnTo>
                        <a:lnTo>
                          <a:pt x="313" y="1021"/>
                        </a:lnTo>
                        <a:lnTo>
                          <a:pt x="313" y="1035"/>
                        </a:lnTo>
                        <a:close/>
                        <a:moveTo>
                          <a:pt x="321" y="1030"/>
                        </a:moveTo>
                        <a:lnTo>
                          <a:pt x="318" y="1018"/>
                        </a:lnTo>
                        <a:lnTo>
                          <a:pt x="343" y="1006"/>
                        </a:lnTo>
                        <a:lnTo>
                          <a:pt x="352" y="1010"/>
                        </a:lnTo>
                        <a:lnTo>
                          <a:pt x="336" y="1023"/>
                        </a:lnTo>
                        <a:lnTo>
                          <a:pt x="321" y="1030"/>
                        </a:lnTo>
                        <a:close/>
                        <a:moveTo>
                          <a:pt x="1516" y="2282"/>
                        </a:moveTo>
                        <a:lnTo>
                          <a:pt x="1411" y="2260"/>
                        </a:lnTo>
                        <a:lnTo>
                          <a:pt x="1328" y="2242"/>
                        </a:lnTo>
                        <a:lnTo>
                          <a:pt x="1234" y="2221"/>
                        </a:lnTo>
                        <a:lnTo>
                          <a:pt x="1119" y="2192"/>
                        </a:lnTo>
                        <a:lnTo>
                          <a:pt x="1037" y="2171"/>
                        </a:lnTo>
                        <a:lnTo>
                          <a:pt x="934" y="2145"/>
                        </a:lnTo>
                        <a:lnTo>
                          <a:pt x="832" y="2116"/>
                        </a:lnTo>
                        <a:lnTo>
                          <a:pt x="701" y="2076"/>
                        </a:lnTo>
                        <a:lnTo>
                          <a:pt x="686" y="2058"/>
                        </a:lnTo>
                        <a:lnTo>
                          <a:pt x="675" y="2068"/>
                        </a:lnTo>
                        <a:lnTo>
                          <a:pt x="670" y="2067"/>
                        </a:lnTo>
                        <a:lnTo>
                          <a:pt x="663" y="2045"/>
                        </a:lnTo>
                        <a:lnTo>
                          <a:pt x="671" y="2032"/>
                        </a:lnTo>
                        <a:lnTo>
                          <a:pt x="667" y="2022"/>
                        </a:lnTo>
                        <a:lnTo>
                          <a:pt x="673" y="2015"/>
                        </a:lnTo>
                        <a:lnTo>
                          <a:pt x="673" y="2003"/>
                        </a:lnTo>
                        <a:lnTo>
                          <a:pt x="681" y="1977"/>
                        </a:lnTo>
                        <a:lnTo>
                          <a:pt x="655" y="1982"/>
                        </a:lnTo>
                        <a:lnTo>
                          <a:pt x="653" y="1993"/>
                        </a:lnTo>
                        <a:lnTo>
                          <a:pt x="643" y="1997"/>
                        </a:lnTo>
                        <a:lnTo>
                          <a:pt x="612" y="1967"/>
                        </a:lnTo>
                        <a:lnTo>
                          <a:pt x="608" y="1948"/>
                        </a:lnTo>
                        <a:lnTo>
                          <a:pt x="616" y="1936"/>
                        </a:lnTo>
                        <a:lnTo>
                          <a:pt x="627" y="1931"/>
                        </a:lnTo>
                        <a:lnTo>
                          <a:pt x="618" y="1920"/>
                        </a:lnTo>
                        <a:lnTo>
                          <a:pt x="604" y="1925"/>
                        </a:lnTo>
                        <a:lnTo>
                          <a:pt x="583" y="1920"/>
                        </a:lnTo>
                        <a:lnTo>
                          <a:pt x="562" y="1883"/>
                        </a:lnTo>
                        <a:lnTo>
                          <a:pt x="586" y="1848"/>
                        </a:lnTo>
                        <a:lnTo>
                          <a:pt x="581" y="1832"/>
                        </a:lnTo>
                        <a:lnTo>
                          <a:pt x="558" y="1822"/>
                        </a:lnTo>
                        <a:lnTo>
                          <a:pt x="550" y="1821"/>
                        </a:lnTo>
                        <a:lnTo>
                          <a:pt x="548" y="1803"/>
                        </a:lnTo>
                        <a:lnTo>
                          <a:pt x="527" y="1787"/>
                        </a:lnTo>
                        <a:lnTo>
                          <a:pt x="515" y="1790"/>
                        </a:lnTo>
                        <a:lnTo>
                          <a:pt x="497" y="1786"/>
                        </a:lnTo>
                        <a:lnTo>
                          <a:pt x="490" y="1770"/>
                        </a:lnTo>
                        <a:lnTo>
                          <a:pt x="476" y="1773"/>
                        </a:lnTo>
                        <a:lnTo>
                          <a:pt x="452" y="1761"/>
                        </a:lnTo>
                        <a:lnTo>
                          <a:pt x="461" y="1752"/>
                        </a:lnTo>
                        <a:lnTo>
                          <a:pt x="461" y="1742"/>
                        </a:lnTo>
                        <a:lnTo>
                          <a:pt x="479" y="1745"/>
                        </a:lnTo>
                        <a:lnTo>
                          <a:pt x="484" y="1738"/>
                        </a:lnTo>
                        <a:lnTo>
                          <a:pt x="474" y="1730"/>
                        </a:lnTo>
                        <a:lnTo>
                          <a:pt x="474" y="1713"/>
                        </a:lnTo>
                        <a:lnTo>
                          <a:pt x="456" y="1707"/>
                        </a:lnTo>
                        <a:lnTo>
                          <a:pt x="446" y="1710"/>
                        </a:lnTo>
                        <a:lnTo>
                          <a:pt x="442" y="1693"/>
                        </a:lnTo>
                        <a:lnTo>
                          <a:pt x="432" y="1695"/>
                        </a:lnTo>
                        <a:lnTo>
                          <a:pt x="418" y="1680"/>
                        </a:lnTo>
                        <a:lnTo>
                          <a:pt x="398" y="1692"/>
                        </a:lnTo>
                        <a:lnTo>
                          <a:pt x="391" y="1682"/>
                        </a:lnTo>
                        <a:lnTo>
                          <a:pt x="368" y="1662"/>
                        </a:lnTo>
                        <a:lnTo>
                          <a:pt x="362" y="1650"/>
                        </a:lnTo>
                        <a:lnTo>
                          <a:pt x="371" y="1635"/>
                        </a:lnTo>
                        <a:lnTo>
                          <a:pt x="358" y="1633"/>
                        </a:lnTo>
                        <a:lnTo>
                          <a:pt x="349" y="1620"/>
                        </a:lnTo>
                        <a:lnTo>
                          <a:pt x="351" y="1610"/>
                        </a:lnTo>
                        <a:lnTo>
                          <a:pt x="379" y="1607"/>
                        </a:lnTo>
                        <a:lnTo>
                          <a:pt x="366" y="1598"/>
                        </a:lnTo>
                        <a:lnTo>
                          <a:pt x="371" y="1591"/>
                        </a:lnTo>
                        <a:lnTo>
                          <a:pt x="384" y="1585"/>
                        </a:lnTo>
                        <a:lnTo>
                          <a:pt x="393" y="1568"/>
                        </a:lnTo>
                        <a:lnTo>
                          <a:pt x="399" y="1564"/>
                        </a:lnTo>
                        <a:lnTo>
                          <a:pt x="414" y="1566"/>
                        </a:lnTo>
                        <a:lnTo>
                          <a:pt x="438" y="1572"/>
                        </a:lnTo>
                        <a:lnTo>
                          <a:pt x="467" y="1586"/>
                        </a:lnTo>
                        <a:lnTo>
                          <a:pt x="468" y="1583"/>
                        </a:lnTo>
                        <a:lnTo>
                          <a:pt x="436" y="1566"/>
                        </a:lnTo>
                        <a:lnTo>
                          <a:pt x="409" y="1561"/>
                        </a:lnTo>
                        <a:lnTo>
                          <a:pt x="393" y="1550"/>
                        </a:lnTo>
                        <a:lnTo>
                          <a:pt x="393" y="1561"/>
                        </a:lnTo>
                        <a:lnTo>
                          <a:pt x="378" y="1581"/>
                        </a:lnTo>
                        <a:lnTo>
                          <a:pt x="368" y="1580"/>
                        </a:lnTo>
                        <a:lnTo>
                          <a:pt x="369" y="1557"/>
                        </a:lnTo>
                        <a:lnTo>
                          <a:pt x="367" y="1546"/>
                        </a:lnTo>
                        <a:lnTo>
                          <a:pt x="372" y="1525"/>
                        </a:lnTo>
                        <a:lnTo>
                          <a:pt x="381" y="1512"/>
                        </a:lnTo>
                        <a:lnTo>
                          <a:pt x="397" y="1512"/>
                        </a:lnTo>
                        <a:lnTo>
                          <a:pt x="408" y="1496"/>
                        </a:lnTo>
                        <a:lnTo>
                          <a:pt x="426" y="1491"/>
                        </a:lnTo>
                        <a:lnTo>
                          <a:pt x="439" y="1483"/>
                        </a:lnTo>
                        <a:lnTo>
                          <a:pt x="446" y="1485"/>
                        </a:lnTo>
                        <a:lnTo>
                          <a:pt x="463" y="1472"/>
                        </a:lnTo>
                        <a:lnTo>
                          <a:pt x="462" y="1456"/>
                        </a:lnTo>
                        <a:lnTo>
                          <a:pt x="441" y="1455"/>
                        </a:lnTo>
                        <a:lnTo>
                          <a:pt x="434" y="1461"/>
                        </a:lnTo>
                        <a:lnTo>
                          <a:pt x="403" y="1466"/>
                        </a:lnTo>
                        <a:lnTo>
                          <a:pt x="388" y="1446"/>
                        </a:lnTo>
                        <a:lnTo>
                          <a:pt x="391" y="1421"/>
                        </a:lnTo>
                        <a:lnTo>
                          <a:pt x="369" y="1442"/>
                        </a:lnTo>
                        <a:lnTo>
                          <a:pt x="364" y="1431"/>
                        </a:lnTo>
                        <a:lnTo>
                          <a:pt x="377" y="1423"/>
                        </a:lnTo>
                        <a:lnTo>
                          <a:pt x="381" y="1410"/>
                        </a:lnTo>
                        <a:lnTo>
                          <a:pt x="401" y="1386"/>
                        </a:lnTo>
                        <a:lnTo>
                          <a:pt x="404" y="1372"/>
                        </a:lnTo>
                        <a:lnTo>
                          <a:pt x="391" y="1374"/>
                        </a:lnTo>
                        <a:lnTo>
                          <a:pt x="378" y="1366"/>
                        </a:lnTo>
                        <a:lnTo>
                          <a:pt x="377" y="1358"/>
                        </a:lnTo>
                        <a:lnTo>
                          <a:pt x="384" y="1318"/>
                        </a:lnTo>
                        <a:lnTo>
                          <a:pt x="376" y="1304"/>
                        </a:lnTo>
                        <a:lnTo>
                          <a:pt x="366" y="1284"/>
                        </a:lnTo>
                        <a:lnTo>
                          <a:pt x="373" y="1264"/>
                        </a:lnTo>
                        <a:lnTo>
                          <a:pt x="369" y="1257"/>
                        </a:lnTo>
                        <a:lnTo>
                          <a:pt x="388" y="1252"/>
                        </a:lnTo>
                        <a:lnTo>
                          <a:pt x="391" y="1237"/>
                        </a:lnTo>
                        <a:lnTo>
                          <a:pt x="398" y="1221"/>
                        </a:lnTo>
                        <a:lnTo>
                          <a:pt x="408" y="1217"/>
                        </a:lnTo>
                        <a:lnTo>
                          <a:pt x="409" y="1202"/>
                        </a:lnTo>
                        <a:lnTo>
                          <a:pt x="396" y="1211"/>
                        </a:lnTo>
                        <a:lnTo>
                          <a:pt x="368" y="1218"/>
                        </a:lnTo>
                        <a:lnTo>
                          <a:pt x="354" y="1227"/>
                        </a:lnTo>
                        <a:lnTo>
                          <a:pt x="343" y="1253"/>
                        </a:lnTo>
                        <a:lnTo>
                          <a:pt x="332" y="1257"/>
                        </a:lnTo>
                        <a:lnTo>
                          <a:pt x="309" y="1189"/>
                        </a:lnTo>
                        <a:lnTo>
                          <a:pt x="298" y="1154"/>
                        </a:lnTo>
                        <a:lnTo>
                          <a:pt x="309" y="1124"/>
                        </a:lnTo>
                        <a:lnTo>
                          <a:pt x="298" y="1112"/>
                        </a:lnTo>
                        <a:lnTo>
                          <a:pt x="306" y="1107"/>
                        </a:lnTo>
                        <a:lnTo>
                          <a:pt x="307" y="1092"/>
                        </a:lnTo>
                        <a:lnTo>
                          <a:pt x="292" y="1087"/>
                        </a:lnTo>
                        <a:lnTo>
                          <a:pt x="306" y="1057"/>
                        </a:lnTo>
                        <a:lnTo>
                          <a:pt x="314" y="1056"/>
                        </a:lnTo>
                        <a:lnTo>
                          <a:pt x="317" y="1046"/>
                        </a:lnTo>
                        <a:lnTo>
                          <a:pt x="334" y="1042"/>
                        </a:lnTo>
                        <a:lnTo>
                          <a:pt x="348" y="1022"/>
                        </a:lnTo>
                        <a:lnTo>
                          <a:pt x="362" y="1013"/>
                        </a:lnTo>
                        <a:lnTo>
                          <a:pt x="374" y="997"/>
                        </a:lnTo>
                        <a:lnTo>
                          <a:pt x="388" y="988"/>
                        </a:lnTo>
                        <a:lnTo>
                          <a:pt x="412" y="967"/>
                        </a:lnTo>
                        <a:lnTo>
                          <a:pt x="409" y="950"/>
                        </a:lnTo>
                        <a:lnTo>
                          <a:pt x="399" y="962"/>
                        </a:lnTo>
                        <a:lnTo>
                          <a:pt x="394" y="976"/>
                        </a:lnTo>
                        <a:lnTo>
                          <a:pt x="361" y="1007"/>
                        </a:lnTo>
                        <a:lnTo>
                          <a:pt x="357" y="992"/>
                        </a:lnTo>
                        <a:lnTo>
                          <a:pt x="369" y="980"/>
                        </a:lnTo>
                        <a:lnTo>
                          <a:pt x="384" y="972"/>
                        </a:lnTo>
                        <a:lnTo>
                          <a:pt x="389" y="943"/>
                        </a:lnTo>
                        <a:lnTo>
                          <a:pt x="389" y="923"/>
                        </a:lnTo>
                        <a:lnTo>
                          <a:pt x="397" y="911"/>
                        </a:lnTo>
                        <a:lnTo>
                          <a:pt x="396" y="902"/>
                        </a:lnTo>
                        <a:lnTo>
                          <a:pt x="414" y="881"/>
                        </a:lnTo>
                        <a:lnTo>
                          <a:pt x="419" y="867"/>
                        </a:lnTo>
                        <a:lnTo>
                          <a:pt x="419" y="855"/>
                        </a:lnTo>
                        <a:lnTo>
                          <a:pt x="396" y="838"/>
                        </a:lnTo>
                        <a:lnTo>
                          <a:pt x="394" y="820"/>
                        </a:lnTo>
                        <a:lnTo>
                          <a:pt x="384" y="811"/>
                        </a:lnTo>
                        <a:lnTo>
                          <a:pt x="376" y="790"/>
                        </a:lnTo>
                        <a:lnTo>
                          <a:pt x="357" y="776"/>
                        </a:lnTo>
                        <a:lnTo>
                          <a:pt x="331" y="733"/>
                        </a:lnTo>
                        <a:lnTo>
                          <a:pt x="313" y="727"/>
                        </a:lnTo>
                        <a:lnTo>
                          <a:pt x="316" y="702"/>
                        </a:lnTo>
                        <a:lnTo>
                          <a:pt x="319" y="696"/>
                        </a:lnTo>
                        <a:lnTo>
                          <a:pt x="306" y="680"/>
                        </a:lnTo>
                        <a:lnTo>
                          <a:pt x="321" y="658"/>
                        </a:lnTo>
                        <a:lnTo>
                          <a:pt x="301" y="641"/>
                        </a:lnTo>
                        <a:lnTo>
                          <a:pt x="316" y="627"/>
                        </a:lnTo>
                        <a:lnTo>
                          <a:pt x="314" y="602"/>
                        </a:lnTo>
                        <a:lnTo>
                          <a:pt x="309" y="575"/>
                        </a:lnTo>
                        <a:lnTo>
                          <a:pt x="304" y="508"/>
                        </a:lnTo>
                        <a:lnTo>
                          <a:pt x="301" y="485"/>
                        </a:lnTo>
                        <a:lnTo>
                          <a:pt x="302" y="462"/>
                        </a:lnTo>
                        <a:lnTo>
                          <a:pt x="296" y="435"/>
                        </a:lnTo>
                        <a:lnTo>
                          <a:pt x="299" y="408"/>
                        </a:lnTo>
                        <a:lnTo>
                          <a:pt x="293" y="391"/>
                        </a:lnTo>
                        <a:lnTo>
                          <a:pt x="287" y="356"/>
                        </a:lnTo>
                        <a:lnTo>
                          <a:pt x="268" y="328"/>
                        </a:lnTo>
                        <a:lnTo>
                          <a:pt x="263" y="305"/>
                        </a:lnTo>
                        <a:lnTo>
                          <a:pt x="268" y="293"/>
                        </a:lnTo>
                        <a:lnTo>
                          <a:pt x="261" y="278"/>
                        </a:lnTo>
                        <a:lnTo>
                          <a:pt x="258" y="257"/>
                        </a:lnTo>
                        <a:lnTo>
                          <a:pt x="243" y="245"/>
                        </a:lnTo>
                        <a:lnTo>
                          <a:pt x="241" y="218"/>
                        </a:lnTo>
                        <a:lnTo>
                          <a:pt x="254" y="203"/>
                        </a:lnTo>
                        <a:lnTo>
                          <a:pt x="247" y="173"/>
                        </a:lnTo>
                        <a:lnTo>
                          <a:pt x="238" y="152"/>
                        </a:lnTo>
                        <a:lnTo>
                          <a:pt x="198" y="156"/>
                        </a:lnTo>
                        <a:lnTo>
                          <a:pt x="171" y="151"/>
                        </a:lnTo>
                        <a:lnTo>
                          <a:pt x="161" y="168"/>
                        </a:lnTo>
                        <a:lnTo>
                          <a:pt x="146" y="166"/>
                        </a:lnTo>
                        <a:lnTo>
                          <a:pt x="133" y="191"/>
                        </a:lnTo>
                        <a:lnTo>
                          <a:pt x="114" y="205"/>
                        </a:lnTo>
                        <a:lnTo>
                          <a:pt x="97" y="197"/>
                        </a:lnTo>
                        <a:lnTo>
                          <a:pt x="54" y="205"/>
                        </a:lnTo>
                        <a:lnTo>
                          <a:pt x="38" y="211"/>
                        </a:lnTo>
                        <a:lnTo>
                          <a:pt x="40" y="197"/>
                        </a:lnTo>
                        <a:lnTo>
                          <a:pt x="48" y="157"/>
                        </a:lnTo>
                        <a:lnTo>
                          <a:pt x="13" y="51"/>
                        </a:lnTo>
                        <a:lnTo>
                          <a:pt x="17" y="28"/>
                        </a:lnTo>
                        <a:lnTo>
                          <a:pt x="0" y="0"/>
                        </a:lnTo>
                        <a:lnTo>
                          <a:pt x="133" y="67"/>
                        </a:lnTo>
                        <a:lnTo>
                          <a:pt x="235" y="115"/>
                        </a:lnTo>
                        <a:lnTo>
                          <a:pt x="302" y="146"/>
                        </a:lnTo>
                        <a:lnTo>
                          <a:pt x="371" y="177"/>
                        </a:lnTo>
                        <a:lnTo>
                          <a:pt x="473" y="221"/>
                        </a:lnTo>
                        <a:lnTo>
                          <a:pt x="542" y="250"/>
                        </a:lnTo>
                        <a:lnTo>
                          <a:pt x="612" y="278"/>
                        </a:lnTo>
                        <a:lnTo>
                          <a:pt x="682" y="306"/>
                        </a:lnTo>
                        <a:lnTo>
                          <a:pt x="751" y="332"/>
                        </a:lnTo>
                        <a:lnTo>
                          <a:pt x="822" y="358"/>
                        </a:lnTo>
                        <a:lnTo>
                          <a:pt x="927" y="396"/>
                        </a:lnTo>
                        <a:lnTo>
                          <a:pt x="1033" y="431"/>
                        </a:lnTo>
                        <a:lnTo>
                          <a:pt x="1104" y="453"/>
                        </a:lnTo>
                        <a:lnTo>
                          <a:pt x="1176" y="476"/>
                        </a:lnTo>
                        <a:lnTo>
                          <a:pt x="1248" y="497"/>
                        </a:lnTo>
                        <a:lnTo>
                          <a:pt x="1319" y="518"/>
                        </a:lnTo>
                        <a:lnTo>
                          <a:pt x="1392" y="538"/>
                        </a:lnTo>
                        <a:lnTo>
                          <a:pt x="1146" y="1448"/>
                        </a:lnTo>
                        <a:lnTo>
                          <a:pt x="1148" y="1472"/>
                        </a:lnTo>
                        <a:lnTo>
                          <a:pt x="1157" y="1476"/>
                        </a:lnTo>
                        <a:lnTo>
                          <a:pt x="1157" y="1492"/>
                        </a:lnTo>
                        <a:lnTo>
                          <a:pt x="1144" y="1487"/>
                        </a:lnTo>
                        <a:lnTo>
                          <a:pt x="1141" y="1501"/>
                        </a:lnTo>
                        <a:lnTo>
                          <a:pt x="1147" y="1505"/>
                        </a:lnTo>
                        <a:lnTo>
                          <a:pt x="1149" y="1520"/>
                        </a:lnTo>
                        <a:lnTo>
                          <a:pt x="1161" y="1528"/>
                        </a:lnTo>
                        <a:lnTo>
                          <a:pt x="1179" y="1537"/>
                        </a:lnTo>
                        <a:lnTo>
                          <a:pt x="1183" y="1561"/>
                        </a:lnTo>
                        <a:lnTo>
                          <a:pt x="1202" y="1577"/>
                        </a:lnTo>
                        <a:lnTo>
                          <a:pt x="1207" y="1565"/>
                        </a:lnTo>
                        <a:lnTo>
                          <a:pt x="1219" y="1575"/>
                        </a:lnTo>
                        <a:lnTo>
                          <a:pt x="1229" y="1602"/>
                        </a:lnTo>
                        <a:lnTo>
                          <a:pt x="1229" y="1623"/>
                        </a:lnTo>
                        <a:lnTo>
                          <a:pt x="1238" y="1622"/>
                        </a:lnTo>
                        <a:lnTo>
                          <a:pt x="1244" y="1636"/>
                        </a:lnTo>
                        <a:lnTo>
                          <a:pt x="1248" y="1660"/>
                        </a:lnTo>
                        <a:lnTo>
                          <a:pt x="1243" y="1666"/>
                        </a:lnTo>
                        <a:lnTo>
                          <a:pt x="1247" y="1688"/>
                        </a:lnTo>
                        <a:lnTo>
                          <a:pt x="1246" y="1707"/>
                        </a:lnTo>
                        <a:lnTo>
                          <a:pt x="1259" y="1706"/>
                        </a:lnTo>
                        <a:lnTo>
                          <a:pt x="1269" y="1695"/>
                        </a:lnTo>
                        <a:lnTo>
                          <a:pt x="1276" y="1706"/>
                        </a:lnTo>
                        <a:lnTo>
                          <a:pt x="1287" y="1711"/>
                        </a:lnTo>
                        <a:lnTo>
                          <a:pt x="1286" y="1722"/>
                        </a:lnTo>
                        <a:lnTo>
                          <a:pt x="1277" y="1728"/>
                        </a:lnTo>
                        <a:lnTo>
                          <a:pt x="1281" y="1741"/>
                        </a:lnTo>
                        <a:lnTo>
                          <a:pt x="1292" y="1755"/>
                        </a:lnTo>
                        <a:lnTo>
                          <a:pt x="1312" y="1758"/>
                        </a:lnTo>
                        <a:lnTo>
                          <a:pt x="1318" y="1773"/>
                        </a:lnTo>
                        <a:lnTo>
                          <a:pt x="1333" y="1798"/>
                        </a:lnTo>
                        <a:lnTo>
                          <a:pt x="1337" y="1828"/>
                        </a:lnTo>
                        <a:lnTo>
                          <a:pt x="1343" y="1832"/>
                        </a:lnTo>
                        <a:lnTo>
                          <a:pt x="1356" y="1821"/>
                        </a:lnTo>
                        <a:lnTo>
                          <a:pt x="1362" y="1821"/>
                        </a:lnTo>
                        <a:lnTo>
                          <a:pt x="1367" y="1847"/>
                        </a:lnTo>
                        <a:lnTo>
                          <a:pt x="1373" y="1855"/>
                        </a:lnTo>
                        <a:lnTo>
                          <a:pt x="1378" y="1872"/>
                        </a:lnTo>
                        <a:lnTo>
                          <a:pt x="1386" y="1881"/>
                        </a:lnTo>
                        <a:lnTo>
                          <a:pt x="1383" y="1891"/>
                        </a:lnTo>
                        <a:lnTo>
                          <a:pt x="1386" y="1903"/>
                        </a:lnTo>
                        <a:lnTo>
                          <a:pt x="1402" y="1920"/>
                        </a:lnTo>
                        <a:lnTo>
                          <a:pt x="1401" y="1931"/>
                        </a:lnTo>
                        <a:lnTo>
                          <a:pt x="1409" y="1942"/>
                        </a:lnTo>
                        <a:lnTo>
                          <a:pt x="1417" y="1945"/>
                        </a:lnTo>
                        <a:lnTo>
                          <a:pt x="1432" y="1965"/>
                        </a:lnTo>
                        <a:lnTo>
                          <a:pt x="1434" y="1992"/>
                        </a:lnTo>
                        <a:lnTo>
                          <a:pt x="1450" y="2005"/>
                        </a:lnTo>
                        <a:lnTo>
                          <a:pt x="1450" y="2020"/>
                        </a:lnTo>
                        <a:lnTo>
                          <a:pt x="1458" y="2035"/>
                        </a:lnTo>
                        <a:lnTo>
                          <a:pt x="1468" y="2031"/>
                        </a:lnTo>
                        <a:lnTo>
                          <a:pt x="1476" y="2036"/>
                        </a:lnTo>
                        <a:lnTo>
                          <a:pt x="1485" y="2061"/>
                        </a:lnTo>
                        <a:lnTo>
                          <a:pt x="1490" y="2071"/>
                        </a:lnTo>
                        <a:lnTo>
                          <a:pt x="1488" y="2106"/>
                        </a:lnTo>
                        <a:lnTo>
                          <a:pt x="1491" y="2127"/>
                        </a:lnTo>
                        <a:lnTo>
                          <a:pt x="1485" y="2140"/>
                        </a:lnTo>
                        <a:lnTo>
                          <a:pt x="1487" y="2157"/>
                        </a:lnTo>
                        <a:lnTo>
                          <a:pt x="1477" y="2177"/>
                        </a:lnTo>
                        <a:lnTo>
                          <a:pt x="1470" y="2183"/>
                        </a:lnTo>
                        <a:lnTo>
                          <a:pt x="1486" y="2193"/>
                        </a:lnTo>
                        <a:lnTo>
                          <a:pt x="1478" y="2210"/>
                        </a:lnTo>
                        <a:lnTo>
                          <a:pt x="1488" y="2225"/>
                        </a:lnTo>
                        <a:lnTo>
                          <a:pt x="1493" y="2245"/>
                        </a:lnTo>
                        <a:lnTo>
                          <a:pt x="1507" y="2251"/>
                        </a:lnTo>
                        <a:lnTo>
                          <a:pt x="1511" y="2266"/>
                        </a:lnTo>
                        <a:lnTo>
                          <a:pt x="1520" y="2275"/>
                        </a:lnTo>
                        <a:lnTo>
                          <a:pt x="1516" y="2282"/>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5" name="Nunavut" descr="{&quot;Key&quot;:&quot;nunavut&quot;,&quot;Name&quot;:&quot;Nunavut&quot;,&quot;Value&quot;:1.0,&quot;Formula&quot;:&quot;&quot;,&quot;Text&quot;:&quot;&quot;,&quot;OfficeApplication&quot;:1,&quot;HasValue&quot;:true}">
                    <a:extLst>
                      <a:ext uri="{FF2B5EF4-FFF2-40B4-BE49-F238E27FC236}">
                        <a16:creationId xmlns:a16="http://schemas.microsoft.com/office/drawing/2014/main" id="{128FBB8F-EB60-F379-564F-155E2423CE7F}"/>
                      </a:ext>
                    </a:extLst>
                  </p:cNvPr>
                  <p:cNvSpPr>
                    <a:spLocks noEditPoints="1"/>
                  </p:cNvSpPr>
                  <p:nvPr/>
                </p:nvSpPr>
                <p:spPr bwMode="auto">
                  <a:xfrm>
                    <a:off x="5999061" y="796738"/>
                    <a:ext cx="2066645" cy="2898291"/>
                  </a:xfrm>
                  <a:custGeom>
                    <a:avLst/>
                    <a:gdLst>
                      <a:gd name="T0" fmla="*/ 3950 w 3971"/>
                      <a:gd name="T1" fmla="*/ 3977 h 5567"/>
                      <a:gd name="T2" fmla="*/ 3418 w 3971"/>
                      <a:gd name="T3" fmla="*/ 3768 h 5567"/>
                      <a:gd name="T4" fmla="*/ 3755 w 3971"/>
                      <a:gd name="T5" fmla="*/ 3470 h 5567"/>
                      <a:gd name="T6" fmla="*/ 2694 w 3971"/>
                      <a:gd name="T7" fmla="*/ 3772 h 5567"/>
                      <a:gd name="T8" fmla="*/ 2304 w 3971"/>
                      <a:gd name="T9" fmla="*/ 3496 h 5567"/>
                      <a:gd name="T10" fmla="*/ 3424 w 3971"/>
                      <a:gd name="T11" fmla="*/ 2815 h 5567"/>
                      <a:gd name="T12" fmla="*/ 2645 w 3971"/>
                      <a:gd name="T13" fmla="*/ 2965 h 5567"/>
                      <a:gd name="T14" fmla="*/ 1913 w 3971"/>
                      <a:gd name="T15" fmla="*/ 2903 h 5567"/>
                      <a:gd name="T16" fmla="*/ 2499 w 3971"/>
                      <a:gd name="T17" fmla="*/ 2773 h 5567"/>
                      <a:gd name="T18" fmla="*/ 2100 w 3971"/>
                      <a:gd name="T19" fmla="*/ 2791 h 5567"/>
                      <a:gd name="T20" fmla="*/ 144 w 3971"/>
                      <a:gd name="T21" fmla="*/ 2756 h 5567"/>
                      <a:gd name="T22" fmla="*/ 754 w 3971"/>
                      <a:gd name="T23" fmla="*/ 3205 h 5567"/>
                      <a:gd name="T24" fmla="*/ 964 w 3971"/>
                      <a:gd name="T25" fmla="*/ 3020 h 5567"/>
                      <a:gd name="T26" fmla="*/ 1483 w 3971"/>
                      <a:gd name="T27" fmla="*/ 3082 h 5567"/>
                      <a:gd name="T28" fmla="*/ 1694 w 3971"/>
                      <a:gd name="T29" fmla="*/ 2946 h 5567"/>
                      <a:gd name="T30" fmla="*/ 1775 w 3971"/>
                      <a:gd name="T31" fmla="*/ 2795 h 5567"/>
                      <a:gd name="T32" fmla="*/ 2170 w 3971"/>
                      <a:gd name="T33" fmla="*/ 3238 h 5567"/>
                      <a:gd name="T34" fmla="*/ 2518 w 3971"/>
                      <a:gd name="T35" fmla="*/ 3208 h 5567"/>
                      <a:gd name="T36" fmla="*/ 2191 w 3971"/>
                      <a:gd name="T37" fmla="*/ 3542 h 5567"/>
                      <a:gd name="T38" fmla="*/ 1765 w 3971"/>
                      <a:gd name="T39" fmla="*/ 3832 h 5567"/>
                      <a:gd name="T40" fmla="*/ 1664 w 3971"/>
                      <a:gd name="T41" fmla="*/ 4453 h 5567"/>
                      <a:gd name="T42" fmla="*/ 904 w 3971"/>
                      <a:gd name="T43" fmla="*/ 2388 h 5567"/>
                      <a:gd name="T44" fmla="*/ 1181 w 3971"/>
                      <a:gd name="T45" fmla="*/ 2838 h 5567"/>
                      <a:gd name="T46" fmla="*/ 604 w 3971"/>
                      <a:gd name="T47" fmla="*/ 2993 h 5567"/>
                      <a:gd name="T48" fmla="*/ 2624 w 3971"/>
                      <a:gd name="T49" fmla="*/ 2163 h 5567"/>
                      <a:gd name="T50" fmla="*/ 2195 w 3971"/>
                      <a:gd name="T51" fmla="*/ 2485 h 5567"/>
                      <a:gd name="T52" fmla="*/ 2460 w 3971"/>
                      <a:gd name="T53" fmla="*/ 2303 h 5567"/>
                      <a:gd name="T54" fmla="*/ 2975 w 3971"/>
                      <a:gd name="T55" fmla="*/ 2432 h 5567"/>
                      <a:gd name="T56" fmla="*/ 3299 w 3971"/>
                      <a:gd name="T57" fmla="*/ 2688 h 5567"/>
                      <a:gd name="T58" fmla="*/ 3670 w 3971"/>
                      <a:gd name="T59" fmla="*/ 2927 h 5567"/>
                      <a:gd name="T60" fmla="*/ 3631 w 3971"/>
                      <a:gd name="T61" fmla="*/ 3143 h 5567"/>
                      <a:gd name="T62" fmla="*/ 3704 w 3971"/>
                      <a:gd name="T63" fmla="*/ 3385 h 5567"/>
                      <a:gd name="T64" fmla="*/ 3615 w 3971"/>
                      <a:gd name="T65" fmla="*/ 3670 h 5567"/>
                      <a:gd name="T66" fmla="*/ 3096 w 3971"/>
                      <a:gd name="T67" fmla="*/ 3550 h 5567"/>
                      <a:gd name="T68" fmla="*/ 3095 w 3971"/>
                      <a:gd name="T69" fmla="*/ 3395 h 5567"/>
                      <a:gd name="T70" fmla="*/ 2769 w 3971"/>
                      <a:gd name="T71" fmla="*/ 2786 h 5567"/>
                      <a:gd name="T72" fmla="*/ 2341 w 3971"/>
                      <a:gd name="T73" fmla="*/ 2758 h 5567"/>
                      <a:gd name="T74" fmla="*/ 1369 w 3971"/>
                      <a:gd name="T75" fmla="*/ 2110 h 5567"/>
                      <a:gd name="T76" fmla="*/ 1203 w 3971"/>
                      <a:gd name="T77" fmla="*/ 2276 h 5567"/>
                      <a:gd name="T78" fmla="*/ 1821 w 3971"/>
                      <a:gd name="T79" fmla="*/ 2200 h 5567"/>
                      <a:gd name="T80" fmla="*/ 1170 w 3971"/>
                      <a:gd name="T81" fmla="*/ 1863 h 5567"/>
                      <a:gd name="T82" fmla="*/ 1181 w 3971"/>
                      <a:gd name="T83" fmla="*/ 1700 h 5567"/>
                      <a:gd name="T84" fmla="*/ 1336 w 3971"/>
                      <a:gd name="T85" fmla="*/ 1847 h 5567"/>
                      <a:gd name="T86" fmla="*/ 1310 w 3971"/>
                      <a:gd name="T87" fmla="*/ 1561 h 5567"/>
                      <a:gd name="T88" fmla="*/ 1063 w 3971"/>
                      <a:gd name="T89" fmla="*/ 1841 h 5567"/>
                      <a:gd name="T90" fmla="*/ 1996 w 3971"/>
                      <a:gd name="T91" fmla="*/ 1756 h 5567"/>
                      <a:gd name="T92" fmla="*/ 1991 w 3971"/>
                      <a:gd name="T93" fmla="*/ 1978 h 5567"/>
                      <a:gd name="T94" fmla="*/ 2036 w 3971"/>
                      <a:gd name="T95" fmla="*/ 1347 h 5567"/>
                      <a:gd name="T96" fmla="*/ 954 w 3971"/>
                      <a:gd name="T97" fmla="*/ 1257 h 5567"/>
                      <a:gd name="T98" fmla="*/ 1321 w 3971"/>
                      <a:gd name="T99" fmla="*/ 1050 h 5567"/>
                      <a:gd name="T100" fmla="*/ 1254 w 3971"/>
                      <a:gd name="T101" fmla="*/ 990 h 5567"/>
                      <a:gd name="T102" fmla="*/ 1949 w 3971"/>
                      <a:gd name="T103" fmla="*/ 1062 h 5567"/>
                      <a:gd name="T104" fmla="*/ 1728 w 3971"/>
                      <a:gd name="T105" fmla="*/ 1007 h 5567"/>
                      <a:gd name="T106" fmla="*/ 1660 w 3971"/>
                      <a:gd name="T107" fmla="*/ 608 h 5567"/>
                      <a:gd name="T108" fmla="*/ 2548 w 3971"/>
                      <a:gd name="T109" fmla="*/ 402 h 5567"/>
                      <a:gd name="T110" fmla="*/ 2361 w 3971"/>
                      <a:gd name="T111" fmla="*/ 930 h 5567"/>
                      <a:gd name="T112" fmla="*/ 2330 w 3971"/>
                      <a:gd name="T113" fmla="*/ 1345 h 5567"/>
                      <a:gd name="T114" fmla="*/ 2091 w 3971"/>
                      <a:gd name="T115" fmla="*/ 1573 h 5567"/>
                      <a:gd name="T116" fmla="*/ 2094 w 3971"/>
                      <a:gd name="T117" fmla="*/ 1357 h 5567"/>
                      <a:gd name="T118" fmla="*/ 1984 w 3971"/>
                      <a:gd name="T119" fmla="*/ 903 h 5567"/>
                      <a:gd name="T120" fmla="*/ 2164 w 3971"/>
                      <a:gd name="T121" fmla="*/ 575 h 5567"/>
                      <a:gd name="T122" fmla="*/ 1789 w 3971"/>
                      <a:gd name="T123" fmla="*/ 537 h 5567"/>
                      <a:gd name="T124" fmla="*/ 2132 w 3971"/>
                      <a:gd name="T125" fmla="*/ 385 h 5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1" h="5567">
                        <a:moveTo>
                          <a:pt x="3093" y="5541"/>
                        </a:moveTo>
                        <a:lnTo>
                          <a:pt x="3088" y="5558"/>
                        </a:lnTo>
                        <a:lnTo>
                          <a:pt x="3081" y="5563"/>
                        </a:lnTo>
                        <a:lnTo>
                          <a:pt x="3063" y="5567"/>
                        </a:lnTo>
                        <a:lnTo>
                          <a:pt x="3058" y="5561"/>
                        </a:lnTo>
                        <a:lnTo>
                          <a:pt x="3083" y="5538"/>
                        </a:lnTo>
                        <a:lnTo>
                          <a:pt x="3093" y="5541"/>
                        </a:lnTo>
                        <a:close/>
                        <a:moveTo>
                          <a:pt x="2868" y="5405"/>
                        </a:moveTo>
                        <a:lnTo>
                          <a:pt x="2895" y="5405"/>
                        </a:lnTo>
                        <a:lnTo>
                          <a:pt x="2911" y="5417"/>
                        </a:lnTo>
                        <a:lnTo>
                          <a:pt x="2933" y="5437"/>
                        </a:lnTo>
                        <a:lnTo>
                          <a:pt x="2948" y="5466"/>
                        </a:lnTo>
                        <a:lnTo>
                          <a:pt x="2938" y="5470"/>
                        </a:lnTo>
                        <a:lnTo>
                          <a:pt x="2915" y="5470"/>
                        </a:lnTo>
                        <a:lnTo>
                          <a:pt x="2890" y="5460"/>
                        </a:lnTo>
                        <a:lnTo>
                          <a:pt x="2873" y="5460"/>
                        </a:lnTo>
                        <a:lnTo>
                          <a:pt x="2828" y="5450"/>
                        </a:lnTo>
                        <a:lnTo>
                          <a:pt x="2816" y="5445"/>
                        </a:lnTo>
                        <a:lnTo>
                          <a:pt x="2829" y="5418"/>
                        </a:lnTo>
                        <a:lnTo>
                          <a:pt x="2868" y="5405"/>
                        </a:lnTo>
                        <a:close/>
                        <a:moveTo>
                          <a:pt x="2995" y="5362"/>
                        </a:moveTo>
                        <a:lnTo>
                          <a:pt x="3000" y="5375"/>
                        </a:lnTo>
                        <a:lnTo>
                          <a:pt x="2991" y="5377"/>
                        </a:lnTo>
                        <a:lnTo>
                          <a:pt x="2984" y="5370"/>
                        </a:lnTo>
                        <a:lnTo>
                          <a:pt x="2995" y="5362"/>
                        </a:lnTo>
                        <a:close/>
                        <a:moveTo>
                          <a:pt x="3023" y="4896"/>
                        </a:moveTo>
                        <a:lnTo>
                          <a:pt x="3026" y="4920"/>
                        </a:lnTo>
                        <a:lnTo>
                          <a:pt x="3015" y="4932"/>
                        </a:lnTo>
                        <a:lnTo>
                          <a:pt x="3006" y="4927"/>
                        </a:lnTo>
                        <a:lnTo>
                          <a:pt x="3011" y="4915"/>
                        </a:lnTo>
                        <a:lnTo>
                          <a:pt x="3009" y="4898"/>
                        </a:lnTo>
                        <a:lnTo>
                          <a:pt x="3013" y="4886"/>
                        </a:lnTo>
                        <a:lnTo>
                          <a:pt x="3021" y="4886"/>
                        </a:lnTo>
                        <a:lnTo>
                          <a:pt x="3023" y="4896"/>
                        </a:lnTo>
                        <a:close/>
                        <a:moveTo>
                          <a:pt x="2941" y="4910"/>
                        </a:moveTo>
                        <a:lnTo>
                          <a:pt x="2936" y="4920"/>
                        </a:lnTo>
                        <a:lnTo>
                          <a:pt x="2918" y="4940"/>
                        </a:lnTo>
                        <a:lnTo>
                          <a:pt x="2906" y="4936"/>
                        </a:lnTo>
                        <a:lnTo>
                          <a:pt x="2913" y="4921"/>
                        </a:lnTo>
                        <a:lnTo>
                          <a:pt x="2921" y="4918"/>
                        </a:lnTo>
                        <a:lnTo>
                          <a:pt x="2923" y="4910"/>
                        </a:lnTo>
                        <a:lnTo>
                          <a:pt x="2941" y="4910"/>
                        </a:lnTo>
                        <a:close/>
                        <a:moveTo>
                          <a:pt x="2973" y="4858"/>
                        </a:moveTo>
                        <a:lnTo>
                          <a:pt x="2966" y="4863"/>
                        </a:lnTo>
                        <a:lnTo>
                          <a:pt x="2970" y="4876"/>
                        </a:lnTo>
                        <a:lnTo>
                          <a:pt x="2979" y="4875"/>
                        </a:lnTo>
                        <a:lnTo>
                          <a:pt x="2991" y="4901"/>
                        </a:lnTo>
                        <a:lnTo>
                          <a:pt x="2990" y="4921"/>
                        </a:lnTo>
                        <a:lnTo>
                          <a:pt x="2983" y="4926"/>
                        </a:lnTo>
                        <a:lnTo>
                          <a:pt x="2975" y="4963"/>
                        </a:lnTo>
                        <a:lnTo>
                          <a:pt x="2969" y="4980"/>
                        </a:lnTo>
                        <a:lnTo>
                          <a:pt x="2954" y="4980"/>
                        </a:lnTo>
                        <a:lnTo>
                          <a:pt x="2954" y="4973"/>
                        </a:lnTo>
                        <a:lnTo>
                          <a:pt x="2963" y="4947"/>
                        </a:lnTo>
                        <a:lnTo>
                          <a:pt x="2953" y="4947"/>
                        </a:lnTo>
                        <a:lnTo>
                          <a:pt x="2936" y="4991"/>
                        </a:lnTo>
                        <a:lnTo>
                          <a:pt x="2921" y="4986"/>
                        </a:lnTo>
                        <a:lnTo>
                          <a:pt x="2939" y="4942"/>
                        </a:lnTo>
                        <a:lnTo>
                          <a:pt x="2951" y="4923"/>
                        </a:lnTo>
                        <a:lnTo>
                          <a:pt x="2964" y="4926"/>
                        </a:lnTo>
                        <a:lnTo>
                          <a:pt x="2966" y="4887"/>
                        </a:lnTo>
                        <a:lnTo>
                          <a:pt x="2963" y="4860"/>
                        </a:lnTo>
                        <a:lnTo>
                          <a:pt x="2973" y="4858"/>
                        </a:lnTo>
                        <a:close/>
                        <a:moveTo>
                          <a:pt x="2816" y="4380"/>
                        </a:moveTo>
                        <a:lnTo>
                          <a:pt x="2823" y="4388"/>
                        </a:lnTo>
                        <a:lnTo>
                          <a:pt x="2814" y="4398"/>
                        </a:lnTo>
                        <a:lnTo>
                          <a:pt x="2808" y="4388"/>
                        </a:lnTo>
                        <a:lnTo>
                          <a:pt x="2816" y="4380"/>
                        </a:lnTo>
                        <a:close/>
                        <a:moveTo>
                          <a:pt x="3971" y="3990"/>
                        </a:moveTo>
                        <a:lnTo>
                          <a:pt x="3969" y="4000"/>
                        </a:lnTo>
                        <a:lnTo>
                          <a:pt x="3949" y="3997"/>
                        </a:lnTo>
                        <a:lnTo>
                          <a:pt x="3935" y="3987"/>
                        </a:lnTo>
                        <a:lnTo>
                          <a:pt x="3950" y="3977"/>
                        </a:lnTo>
                        <a:lnTo>
                          <a:pt x="3971" y="3990"/>
                        </a:lnTo>
                        <a:close/>
                        <a:moveTo>
                          <a:pt x="3693" y="4048"/>
                        </a:moveTo>
                        <a:lnTo>
                          <a:pt x="3699" y="4047"/>
                        </a:lnTo>
                        <a:lnTo>
                          <a:pt x="3718" y="4061"/>
                        </a:lnTo>
                        <a:lnTo>
                          <a:pt x="3714" y="4083"/>
                        </a:lnTo>
                        <a:lnTo>
                          <a:pt x="3693" y="4112"/>
                        </a:lnTo>
                        <a:lnTo>
                          <a:pt x="3681" y="4106"/>
                        </a:lnTo>
                        <a:lnTo>
                          <a:pt x="3681" y="4052"/>
                        </a:lnTo>
                        <a:lnTo>
                          <a:pt x="3693" y="4048"/>
                        </a:lnTo>
                        <a:close/>
                        <a:moveTo>
                          <a:pt x="2924" y="4206"/>
                        </a:moveTo>
                        <a:lnTo>
                          <a:pt x="2918" y="4220"/>
                        </a:lnTo>
                        <a:lnTo>
                          <a:pt x="2894" y="4232"/>
                        </a:lnTo>
                        <a:lnTo>
                          <a:pt x="2896" y="4220"/>
                        </a:lnTo>
                        <a:lnTo>
                          <a:pt x="2924" y="4206"/>
                        </a:lnTo>
                        <a:close/>
                        <a:moveTo>
                          <a:pt x="3879" y="3812"/>
                        </a:moveTo>
                        <a:lnTo>
                          <a:pt x="3890" y="3811"/>
                        </a:lnTo>
                        <a:lnTo>
                          <a:pt x="3888" y="3822"/>
                        </a:lnTo>
                        <a:lnTo>
                          <a:pt x="3894" y="3835"/>
                        </a:lnTo>
                        <a:lnTo>
                          <a:pt x="3890" y="3842"/>
                        </a:lnTo>
                        <a:lnTo>
                          <a:pt x="3890" y="3857"/>
                        </a:lnTo>
                        <a:lnTo>
                          <a:pt x="3869" y="3850"/>
                        </a:lnTo>
                        <a:lnTo>
                          <a:pt x="3830" y="3833"/>
                        </a:lnTo>
                        <a:lnTo>
                          <a:pt x="3831" y="3822"/>
                        </a:lnTo>
                        <a:lnTo>
                          <a:pt x="3856" y="3807"/>
                        </a:lnTo>
                        <a:lnTo>
                          <a:pt x="3881" y="3805"/>
                        </a:lnTo>
                        <a:lnTo>
                          <a:pt x="3879" y="3812"/>
                        </a:lnTo>
                        <a:close/>
                        <a:moveTo>
                          <a:pt x="1785" y="4162"/>
                        </a:moveTo>
                        <a:lnTo>
                          <a:pt x="1790" y="4171"/>
                        </a:lnTo>
                        <a:lnTo>
                          <a:pt x="1784" y="4177"/>
                        </a:lnTo>
                        <a:lnTo>
                          <a:pt x="1774" y="4162"/>
                        </a:lnTo>
                        <a:lnTo>
                          <a:pt x="1785" y="4162"/>
                        </a:lnTo>
                        <a:close/>
                        <a:moveTo>
                          <a:pt x="3843" y="3773"/>
                        </a:moveTo>
                        <a:lnTo>
                          <a:pt x="3853" y="3777"/>
                        </a:lnTo>
                        <a:lnTo>
                          <a:pt x="3869" y="3792"/>
                        </a:lnTo>
                        <a:lnTo>
                          <a:pt x="3865" y="3800"/>
                        </a:lnTo>
                        <a:lnTo>
                          <a:pt x="3845" y="3797"/>
                        </a:lnTo>
                        <a:lnTo>
                          <a:pt x="3836" y="3791"/>
                        </a:lnTo>
                        <a:lnTo>
                          <a:pt x="3831" y="3778"/>
                        </a:lnTo>
                        <a:lnTo>
                          <a:pt x="3843" y="3773"/>
                        </a:lnTo>
                        <a:close/>
                        <a:moveTo>
                          <a:pt x="2788" y="3981"/>
                        </a:moveTo>
                        <a:lnTo>
                          <a:pt x="2804" y="4000"/>
                        </a:lnTo>
                        <a:lnTo>
                          <a:pt x="2806" y="4016"/>
                        </a:lnTo>
                        <a:lnTo>
                          <a:pt x="2803" y="4047"/>
                        </a:lnTo>
                        <a:lnTo>
                          <a:pt x="2798" y="4066"/>
                        </a:lnTo>
                        <a:lnTo>
                          <a:pt x="2798" y="4080"/>
                        </a:lnTo>
                        <a:lnTo>
                          <a:pt x="2788" y="4110"/>
                        </a:lnTo>
                        <a:lnTo>
                          <a:pt x="2780" y="4112"/>
                        </a:lnTo>
                        <a:lnTo>
                          <a:pt x="2770" y="4097"/>
                        </a:lnTo>
                        <a:lnTo>
                          <a:pt x="2750" y="4086"/>
                        </a:lnTo>
                        <a:lnTo>
                          <a:pt x="2738" y="4063"/>
                        </a:lnTo>
                        <a:lnTo>
                          <a:pt x="2738" y="4030"/>
                        </a:lnTo>
                        <a:lnTo>
                          <a:pt x="2749" y="4000"/>
                        </a:lnTo>
                        <a:lnTo>
                          <a:pt x="2751" y="3988"/>
                        </a:lnTo>
                        <a:lnTo>
                          <a:pt x="2758" y="3981"/>
                        </a:lnTo>
                        <a:lnTo>
                          <a:pt x="2778" y="3976"/>
                        </a:lnTo>
                        <a:lnTo>
                          <a:pt x="2788" y="3981"/>
                        </a:lnTo>
                        <a:close/>
                        <a:moveTo>
                          <a:pt x="3836" y="3672"/>
                        </a:moveTo>
                        <a:lnTo>
                          <a:pt x="3856" y="3665"/>
                        </a:lnTo>
                        <a:lnTo>
                          <a:pt x="3861" y="3670"/>
                        </a:lnTo>
                        <a:lnTo>
                          <a:pt x="3853" y="3695"/>
                        </a:lnTo>
                        <a:lnTo>
                          <a:pt x="3826" y="3696"/>
                        </a:lnTo>
                        <a:lnTo>
                          <a:pt x="3821" y="3690"/>
                        </a:lnTo>
                        <a:lnTo>
                          <a:pt x="3825" y="3673"/>
                        </a:lnTo>
                        <a:lnTo>
                          <a:pt x="3836" y="3672"/>
                        </a:lnTo>
                        <a:close/>
                        <a:moveTo>
                          <a:pt x="3138" y="3850"/>
                        </a:moveTo>
                        <a:lnTo>
                          <a:pt x="3144" y="3855"/>
                        </a:lnTo>
                        <a:lnTo>
                          <a:pt x="3169" y="3851"/>
                        </a:lnTo>
                        <a:lnTo>
                          <a:pt x="3165" y="3863"/>
                        </a:lnTo>
                        <a:lnTo>
                          <a:pt x="3146" y="3863"/>
                        </a:lnTo>
                        <a:lnTo>
                          <a:pt x="3123" y="3855"/>
                        </a:lnTo>
                        <a:lnTo>
                          <a:pt x="3138" y="3850"/>
                        </a:lnTo>
                        <a:close/>
                        <a:moveTo>
                          <a:pt x="3393" y="3763"/>
                        </a:moveTo>
                        <a:lnTo>
                          <a:pt x="3418" y="3768"/>
                        </a:lnTo>
                        <a:lnTo>
                          <a:pt x="3448" y="3790"/>
                        </a:lnTo>
                        <a:lnTo>
                          <a:pt x="3438" y="3803"/>
                        </a:lnTo>
                        <a:lnTo>
                          <a:pt x="3414" y="3807"/>
                        </a:lnTo>
                        <a:lnTo>
                          <a:pt x="3400" y="3797"/>
                        </a:lnTo>
                        <a:lnTo>
                          <a:pt x="3399" y="3790"/>
                        </a:lnTo>
                        <a:lnTo>
                          <a:pt x="3383" y="3772"/>
                        </a:lnTo>
                        <a:lnTo>
                          <a:pt x="3375" y="3776"/>
                        </a:lnTo>
                        <a:lnTo>
                          <a:pt x="3361" y="3765"/>
                        </a:lnTo>
                        <a:lnTo>
                          <a:pt x="3393" y="3763"/>
                        </a:lnTo>
                        <a:close/>
                        <a:moveTo>
                          <a:pt x="2578" y="3921"/>
                        </a:moveTo>
                        <a:lnTo>
                          <a:pt x="2596" y="3925"/>
                        </a:lnTo>
                        <a:lnTo>
                          <a:pt x="2591" y="3946"/>
                        </a:lnTo>
                        <a:lnTo>
                          <a:pt x="2595" y="3962"/>
                        </a:lnTo>
                        <a:lnTo>
                          <a:pt x="2584" y="3977"/>
                        </a:lnTo>
                        <a:lnTo>
                          <a:pt x="2573" y="3983"/>
                        </a:lnTo>
                        <a:lnTo>
                          <a:pt x="2566" y="4003"/>
                        </a:lnTo>
                        <a:lnTo>
                          <a:pt x="2554" y="4017"/>
                        </a:lnTo>
                        <a:lnTo>
                          <a:pt x="2546" y="4032"/>
                        </a:lnTo>
                        <a:lnTo>
                          <a:pt x="2525" y="4056"/>
                        </a:lnTo>
                        <a:lnTo>
                          <a:pt x="2521" y="4057"/>
                        </a:lnTo>
                        <a:lnTo>
                          <a:pt x="2509" y="4047"/>
                        </a:lnTo>
                        <a:lnTo>
                          <a:pt x="2499" y="4051"/>
                        </a:lnTo>
                        <a:lnTo>
                          <a:pt x="2481" y="4068"/>
                        </a:lnTo>
                        <a:lnTo>
                          <a:pt x="2473" y="4043"/>
                        </a:lnTo>
                        <a:lnTo>
                          <a:pt x="2459" y="4031"/>
                        </a:lnTo>
                        <a:lnTo>
                          <a:pt x="2458" y="4016"/>
                        </a:lnTo>
                        <a:lnTo>
                          <a:pt x="2470" y="4001"/>
                        </a:lnTo>
                        <a:lnTo>
                          <a:pt x="2479" y="3978"/>
                        </a:lnTo>
                        <a:lnTo>
                          <a:pt x="2478" y="3958"/>
                        </a:lnTo>
                        <a:lnTo>
                          <a:pt x="2493" y="3940"/>
                        </a:lnTo>
                        <a:lnTo>
                          <a:pt x="2506" y="3951"/>
                        </a:lnTo>
                        <a:lnTo>
                          <a:pt x="2515" y="3948"/>
                        </a:lnTo>
                        <a:lnTo>
                          <a:pt x="2533" y="3932"/>
                        </a:lnTo>
                        <a:lnTo>
                          <a:pt x="2555" y="3931"/>
                        </a:lnTo>
                        <a:lnTo>
                          <a:pt x="2566" y="3918"/>
                        </a:lnTo>
                        <a:lnTo>
                          <a:pt x="2578" y="3921"/>
                        </a:lnTo>
                        <a:close/>
                        <a:moveTo>
                          <a:pt x="2828" y="3791"/>
                        </a:moveTo>
                        <a:lnTo>
                          <a:pt x="2831" y="3796"/>
                        </a:lnTo>
                        <a:lnTo>
                          <a:pt x="2844" y="3787"/>
                        </a:lnTo>
                        <a:lnTo>
                          <a:pt x="2869" y="3786"/>
                        </a:lnTo>
                        <a:lnTo>
                          <a:pt x="2880" y="3790"/>
                        </a:lnTo>
                        <a:lnTo>
                          <a:pt x="2888" y="3801"/>
                        </a:lnTo>
                        <a:lnTo>
                          <a:pt x="2900" y="3812"/>
                        </a:lnTo>
                        <a:lnTo>
                          <a:pt x="2894" y="3835"/>
                        </a:lnTo>
                        <a:lnTo>
                          <a:pt x="2874" y="3848"/>
                        </a:lnTo>
                        <a:lnTo>
                          <a:pt x="2851" y="3832"/>
                        </a:lnTo>
                        <a:lnTo>
                          <a:pt x="2823" y="3808"/>
                        </a:lnTo>
                        <a:lnTo>
                          <a:pt x="2820" y="3800"/>
                        </a:lnTo>
                        <a:lnTo>
                          <a:pt x="2828" y="3791"/>
                        </a:lnTo>
                        <a:close/>
                        <a:moveTo>
                          <a:pt x="3823" y="3531"/>
                        </a:moveTo>
                        <a:lnTo>
                          <a:pt x="3804" y="3523"/>
                        </a:lnTo>
                        <a:lnTo>
                          <a:pt x="3791" y="3503"/>
                        </a:lnTo>
                        <a:lnTo>
                          <a:pt x="3798" y="3492"/>
                        </a:lnTo>
                        <a:lnTo>
                          <a:pt x="3823" y="3531"/>
                        </a:lnTo>
                        <a:close/>
                        <a:moveTo>
                          <a:pt x="2911" y="3745"/>
                        </a:moveTo>
                        <a:lnTo>
                          <a:pt x="2913" y="3741"/>
                        </a:lnTo>
                        <a:lnTo>
                          <a:pt x="2946" y="3753"/>
                        </a:lnTo>
                        <a:lnTo>
                          <a:pt x="2959" y="3767"/>
                        </a:lnTo>
                        <a:lnTo>
                          <a:pt x="2954" y="3785"/>
                        </a:lnTo>
                        <a:lnTo>
                          <a:pt x="2933" y="3783"/>
                        </a:lnTo>
                        <a:lnTo>
                          <a:pt x="2905" y="3763"/>
                        </a:lnTo>
                        <a:lnTo>
                          <a:pt x="2895" y="3761"/>
                        </a:lnTo>
                        <a:lnTo>
                          <a:pt x="2894" y="3745"/>
                        </a:lnTo>
                        <a:lnTo>
                          <a:pt x="2911" y="3745"/>
                        </a:lnTo>
                        <a:close/>
                        <a:moveTo>
                          <a:pt x="3766" y="3463"/>
                        </a:moveTo>
                        <a:lnTo>
                          <a:pt x="3778" y="3468"/>
                        </a:lnTo>
                        <a:lnTo>
                          <a:pt x="3775" y="3480"/>
                        </a:lnTo>
                        <a:lnTo>
                          <a:pt x="3791" y="3482"/>
                        </a:lnTo>
                        <a:lnTo>
                          <a:pt x="3788" y="3492"/>
                        </a:lnTo>
                        <a:lnTo>
                          <a:pt x="3769" y="3482"/>
                        </a:lnTo>
                        <a:lnTo>
                          <a:pt x="3763" y="3487"/>
                        </a:lnTo>
                        <a:lnTo>
                          <a:pt x="3751" y="3482"/>
                        </a:lnTo>
                        <a:lnTo>
                          <a:pt x="3755" y="3470"/>
                        </a:lnTo>
                        <a:lnTo>
                          <a:pt x="3766" y="3463"/>
                        </a:lnTo>
                        <a:close/>
                        <a:moveTo>
                          <a:pt x="2873" y="3695"/>
                        </a:moveTo>
                        <a:lnTo>
                          <a:pt x="2863" y="3710"/>
                        </a:lnTo>
                        <a:lnTo>
                          <a:pt x="2844" y="3710"/>
                        </a:lnTo>
                        <a:lnTo>
                          <a:pt x="2844" y="3701"/>
                        </a:lnTo>
                        <a:lnTo>
                          <a:pt x="2868" y="3692"/>
                        </a:lnTo>
                        <a:lnTo>
                          <a:pt x="2873" y="3695"/>
                        </a:lnTo>
                        <a:close/>
                        <a:moveTo>
                          <a:pt x="3134" y="3556"/>
                        </a:moveTo>
                        <a:lnTo>
                          <a:pt x="3138" y="3576"/>
                        </a:lnTo>
                        <a:lnTo>
                          <a:pt x="3131" y="3585"/>
                        </a:lnTo>
                        <a:lnTo>
                          <a:pt x="3125" y="3567"/>
                        </a:lnTo>
                        <a:lnTo>
                          <a:pt x="3131" y="3562"/>
                        </a:lnTo>
                        <a:lnTo>
                          <a:pt x="3121" y="3553"/>
                        </a:lnTo>
                        <a:lnTo>
                          <a:pt x="3130" y="3543"/>
                        </a:lnTo>
                        <a:lnTo>
                          <a:pt x="3134" y="3556"/>
                        </a:lnTo>
                        <a:close/>
                        <a:moveTo>
                          <a:pt x="3678" y="3353"/>
                        </a:moveTo>
                        <a:lnTo>
                          <a:pt x="3686" y="3366"/>
                        </a:lnTo>
                        <a:lnTo>
                          <a:pt x="3679" y="3380"/>
                        </a:lnTo>
                        <a:lnTo>
                          <a:pt x="3664" y="3393"/>
                        </a:lnTo>
                        <a:lnTo>
                          <a:pt x="3660" y="3388"/>
                        </a:lnTo>
                        <a:lnTo>
                          <a:pt x="3669" y="3361"/>
                        </a:lnTo>
                        <a:lnTo>
                          <a:pt x="3678" y="3353"/>
                        </a:lnTo>
                        <a:close/>
                        <a:moveTo>
                          <a:pt x="3803" y="3125"/>
                        </a:moveTo>
                        <a:lnTo>
                          <a:pt x="3828" y="3127"/>
                        </a:lnTo>
                        <a:lnTo>
                          <a:pt x="3820" y="3140"/>
                        </a:lnTo>
                        <a:lnTo>
                          <a:pt x="3804" y="3131"/>
                        </a:lnTo>
                        <a:lnTo>
                          <a:pt x="3803" y="3125"/>
                        </a:lnTo>
                        <a:close/>
                        <a:moveTo>
                          <a:pt x="2426" y="3466"/>
                        </a:moveTo>
                        <a:lnTo>
                          <a:pt x="2410" y="3473"/>
                        </a:lnTo>
                        <a:lnTo>
                          <a:pt x="2408" y="3465"/>
                        </a:lnTo>
                        <a:lnTo>
                          <a:pt x="2426" y="3466"/>
                        </a:lnTo>
                        <a:close/>
                        <a:moveTo>
                          <a:pt x="2279" y="3493"/>
                        </a:moveTo>
                        <a:lnTo>
                          <a:pt x="2289" y="3486"/>
                        </a:lnTo>
                        <a:lnTo>
                          <a:pt x="2298" y="3490"/>
                        </a:lnTo>
                        <a:lnTo>
                          <a:pt x="2301" y="3506"/>
                        </a:lnTo>
                        <a:lnTo>
                          <a:pt x="2311" y="3520"/>
                        </a:lnTo>
                        <a:lnTo>
                          <a:pt x="2295" y="3535"/>
                        </a:lnTo>
                        <a:lnTo>
                          <a:pt x="2313" y="3546"/>
                        </a:lnTo>
                        <a:lnTo>
                          <a:pt x="2319" y="3563"/>
                        </a:lnTo>
                        <a:lnTo>
                          <a:pt x="2334" y="3585"/>
                        </a:lnTo>
                        <a:lnTo>
                          <a:pt x="2339" y="3571"/>
                        </a:lnTo>
                        <a:lnTo>
                          <a:pt x="2338" y="3561"/>
                        </a:lnTo>
                        <a:lnTo>
                          <a:pt x="2346" y="3537"/>
                        </a:lnTo>
                        <a:lnTo>
                          <a:pt x="2358" y="3548"/>
                        </a:lnTo>
                        <a:lnTo>
                          <a:pt x="2379" y="3558"/>
                        </a:lnTo>
                        <a:lnTo>
                          <a:pt x="2374" y="3568"/>
                        </a:lnTo>
                        <a:lnTo>
                          <a:pt x="2385" y="3578"/>
                        </a:lnTo>
                        <a:lnTo>
                          <a:pt x="2404" y="3583"/>
                        </a:lnTo>
                        <a:lnTo>
                          <a:pt x="2424" y="3581"/>
                        </a:lnTo>
                        <a:lnTo>
                          <a:pt x="2435" y="3583"/>
                        </a:lnTo>
                        <a:lnTo>
                          <a:pt x="2441" y="3600"/>
                        </a:lnTo>
                        <a:lnTo>
                          <a:pt x="2453" y="3613"/>
                        </a:lnTo>
                        <a:lnTo>
                          <a:pt x="2476" y="3621"/>
                        </a:lnTo>
                        <a:lnTo>
                          <a:pt x="2490" y="3635"/>
                        </a:lnTo>
                        <a:lnTo>
                          <a:pt x="2503" y="3638"/>
                        </a:lnTo>
                        <a:lnTo>
                          <a:pt x="2515" y="3633"/>
                        </a:lnTo>
                        <a:lnTo>
                          <a:pt x="2528" y="3645"/>
                        </a:lnTo>
                        <a:lnTo>
                          <a:pt x="2534" y="3643"/>
                        </a:lnTo>
                        <a:lnTo>
                          <a:pt x="2556" y="3666"/>
                        </a:lnTo>
                        <a:lnTo>
                          <a:pt x="2563" y="3668"/>
                        </a:lnTo>
                        <a:lnTo>
                          <a:pt x="2574" y="3710"/>
                        </a:lnTo>
                        <a:lnTo>
                          <a:pt x="2584" y="3720"/>
                        </a:lnTo>
                        <a:lnTo>
                          <a:pt x="2583" y="3730"/>
                        </a:lnTo>
                        <a:lnTo>
                          <a:pt x="2564" y="3742"/>
                        </a:lnTo>
                        <a:lnTo>
                          <a:pt x="2561" y="3755"/>
                        </a:lnTo>
                        <a:lnTo>
                          <a:pt x="2596" y="3742"/>
                        </a:lnTo>
                        <a:lnTo>
                          <a:pt x="2601" y="3735"/>
                        </a:lnTo>
                        <a:lnTo>
                          <a:pt x="2625" y="3740"/>
                        </a:lnTo>
                        <a:lnTo>
                          <a:pt x="2635" y="3722"/>
                        </a:lnTo>
                        <a:lnTo>
                          <a:pt x="2651" y="3736"/>
                        </a:lnTo>
                        <a:lnTo>
                          <a:pt x="2665" y="3742"/>
                        </a:lnTo>
                        <a:lnTo>
                          <a:pt x="2667" y="3750"/>
                        </a:lnTo>
                        <a:lnTo>
                          <a:pt x="2694" y="3772"/>
                        </a:lnTo>
                        <a:lnTo>
                          <a:pt x="2675" y="3780"/>
                        </a:lnTo>
                        <a:lnTo>
                          <a:pt x="2669" y="3796"/>
                        </a:lnTo>
                        <a:lnTo>
                          <a:pt x="2657" y="3808"/>
                        </a:lnTo>
                        <a:lnTo>
                          <a:pt x="2644" y="3831"/>
                        </a:lnTo>
                        <a:lnTo>
                          <a:pt x="2610" y="3821"/>
                        </a:lnTo>
                        <a:lnTo>
                          <a:pt x="2596" y="3818"/>
                        </a:lnTo>
                        <a:lnTo>
                          <a:pt x="2587" y="3811"/>
                        </a:lnTo>
                        <a:lnTo>
                          <a:pt x="2577" y="3811"/>
                        </a:lnTo>
                        <a:lnTo>
                          <a:pt x="2561" y="3805"/>
                        </a:lnTo>
                        <a:lnTo>
                          <a:pt x="2532" y="3810"/>
                        </a:lnTo>
                        <a:lnTo>
                          <a:pt x="2526" y="3801"/>
                        </a:lnTo>
                        <a:lnTo>
                          <a:pt x="2527" y="3792"/>
                        </a:lnTo>
                        <a:lnTo>
                          <a:pt x="2537" y="3782"/>
                        </a:lnTo>
                        <a:lnTo>
                          <a:pt x="2534" y="3771"/>
                        </a:lnTo>
                        <a:lnTo>
                          <a:pt x="2522" y="3765"/>
                        </a:lnTo>
                        <a:lnTo>
                          <a:pt x="2500" y="3765"/>
                        </a:lnTo>
                        <a:lnTo>
                          <a:pt x="2484" y="3772"/>
                        </a:lnTo>
                        <a:lnTo>
                          <a:pt x="2479" y="3765"/>
                        </a:lnTo>
                        <a:lnTo>
                          <a:pt x="2488" y="3746"/>
                        </a:lnTo>
                        <a:lnTo>
                          <a:pt x="2484" y="3733"/>
                        </a:lnTo>
                        <a:lnTo>
                          <a:pt x="2448" y="3752"/>
                        </a:lnTo>
                        <a:lnTo>
                          <a:pt x="2440" y="3770"/>
                        </a:lnTo>
                        <a:lnTo>
                          <a:pt x="2448" y="3782"/>
                        </a:lnTo>
                        <a:lnTo>
                          <a:pt x="2445" y="3791"/>
                        </a:lnTo>
                        <a:lnTo>
                          <a:pt x="2449" y="3808"/>
                        </a:lnTo>
                        <a:lnTo>
                          <a:pt x="2439" y="3810"/>
                        </a:lnTo>
                        <a:lnTo>
                          <a:pt x="2421" y="3836"/>
                        </a:lnTo>
                        <a:lnTo>
                          <a:pt x="2405" y="3837"/>
                        </a:lnTo>
                        <a:lnTo>
                          <a:pt x="2399" y="3850"/>
                        </a:lnTo>
                        <a:lnTo>
                          <a:pt x="2396" y="3877"/>
                        </a:lnTo>
                        <a:lnTo>
                          <a:pt x="2390" y="3891"/>
                        </a:lnTo>
                        <a:lnTo>
                          <a:pt x="2366" y="3913"/>
                        </a:lnTo>
                        <a:lnTo>
                          <a:pt x="2344" y="3927"/>
                        </a:lnTo>
                        <a:lnTo>
                          <a:pt x="2328" y="3928"/>
                        </a:lnTo>
                        <a:lnTo>
                          <a:pt x="2316" y="3911"/>
                        </a:lnTo>
                        <a:lnTo>
                          <a:pt x="2311" y="3883"/>
                        </a:lnTo>
                        <a:lnTo>
                          <a:pt x="2314" y="3870"/>
                        </a:lnTo>
                        <a:lnTo>
                          <a:pt x="2309" y="3841"/>
                        </a:lnTo>
                        <a:lnTo>
                          <a:pt x="2296" y="3836"/>
                        </a:lnTo>
                        <a:lnTo>
                          <a:pt x="2263" y="3851"/>
                        </a:lnTo>
                        <a:lnTo>
                          <a:pt x="2246" y="3848"/>
                        </a:lnTo>
                        <a:lnTo>
                          <a:pt x="2235" y="3852"/>
                        </a:lnTo>
                        <a:lnTo>
                          <a:pt x="2221" y="3870"/>
                        </a:lnTo>
                        <a:lnTo>
                          <a:pt x="2208" y="3872"/>
                        </a:lnTo>
                        <a:lnTo>
                          <a:pt x="2199" y="3867"/>
                        </a:lnTo>
                        <a:lnTo>
                          <a:pt x="2194" y="3856"/>
                        </a:lnTo>
                        <a:lnTo>
                          <a:pt x="2196" y="3845"/>
                        </a:lnTo>
                        <a:lnTo>
                          <a:pt x="2214" y="3810"/>
                        </a:lnTo>
                        <a:lnTo>
                          <a:pt x="2241" y="3792"/>
                        </a:lnTo>
                        <a:lnTo>
                          <a:pt x="2260" y="3776"/>
                        </a:lnTo>
                        <a:lnTo>
                          <a:pt x="2258" y="3763"/>
                        </a:lnTo>
                        <a:lnTo>
                          <a:pt x="2250" y="3756"/>
                        </a:lnTo>
                        <a:lnTo>
                          <a:pt x="2245" y="3745"/>
                        </a:lnTo>
                        <a:lnTo>
                          <a:pt x="2245" y="3727"/>
                        </a:lnTo>
                        <a:lnTo>
                          <a:pt x="2240" y="3723"/>
                        </a:lnTo>
                        <a:lnTo>
                          <a:pt x="2240" y="3688"/>
                        </a:lnTo>
                        <a:lnTo>
                          <a:pt x="2248" y="3640"/>
                        </a:lnTo>
                        <a:lnTo>
                          <a:pt x="2243" y="3632"/>
                        </a:lnTo>
                        <a:lnTo>
                          <a:pt x="2246" y="3615"/>
                        </a:lnTo>
                        <a:lnTo>
                          <a:pt x="2241" y="3583"/>
                        </a:lnTo>
                        <a:lnTo>
                          <a:pt x="2240" y="3567"/>
                        </a:lnTo>
                        <a:lnTo>
                          <a:pt x="2244" y="3520"/>
                        </a:lnTo>
                        <a:lnTo>
                          <a:pt x="2249" y="3502"/>
                        </a:lnTo>
                        <a:lnTo>
                          <a:pt x="2268" y="3476"/>
                        </a:lnTo>
                        <a:lnTo>
                          <a:pt x="2276" y="3472"/>
                        </a:lnTo>
                        <a:lnTo>
                          <a:pt x="2279" y="3493"/>
                        </a:lnTo>
                        <a:close/>
                        <a:moveTo>
                          <a:pt x="2306" y="3455"/>
                        </a:moveTo>
                        <a:lnTo>
                          <a:pt x="2330" y="3481"/>
                        </a:lnTo>
                        <a:lnTo>
                          <a:pt x="2344" y="3512"/>
                        </a:lnTo>
                        <a:lnTo>
                          <a:pt x="2336" y="3527"/>
                        </a:lnTo>
                        <a:lnTo>
                          <a:pt x="2326" y="3523"/>
                        </a:lnTo>
                        <a:lnTo>
                          <a:pt x="2324" y="3511"/>
                        </a:lnTo>
                        <a:lnTo>
                          <a:pt x="2304" y="3496"/>
                        </a:lnTo>
                        <a:lnTo>
                          <a:pt x="2296" y="3466"/>
                        </a:lnTo>
                        <a:lnTo>
                          <a:pt x="2296" y="3456"/>
                        </a:lnTo>
                        <a:lnTo>
                          <a:pt x="2306" y="3455"/>
                        </a:lnTo>
                        <a:close/>
                        <a:moveTo>
                          <a:pt x="2349" y="3431"/>
                        </a:moveTo>
                        <a:lnTo>
                          <a:pt x="2369" y="3437"/>
                        </a:lnTo>
                        <a:lnTo>
                          <a:pt x="2396" y="3457"/>
                        </a:lnTo>
                        <a:lnTo>
                          <a:pt x="2398" y="3470"/>
                        </a:lnTo>
                        <a:lnTo>
                          <a:pt x="2391" y="3475"/>
                        </a:lnTo>
                        <a:lnTo>
                          <a:pt x="2416" y="3487"/>
                        </a:lnTo>
                        <a:lnTo>
                          <a:pt x="2429" y="3486"/>
                        </a:lnTo>
                        <a:lnTo>
                          <a:pt x="2433" y="3496"/>
                        </a:lnTo>
                        <a:lnTo>
                          <a:pt x="2426" y="3505"/>
                        </a:lnTo>
                        <a:lnTo>
                          <a:pt x="2418" y="3498"/>
                        </a:lnTo>
                        <a:lnTo>
                          <a:pt x="2405" y="3501"/>
                        </a:lnTo>
                        <a:lnTo>
                          <a:pt x="2395" y="3497"/>
                        </a:lnTo>
                        <a:lnTo>
                          <a:pt x="2401" y="3486"/>
                        </a:lnTo>
                        <a:lnTo>
                          <a:pt x="2388" y="3482"/>
                        </a:lnTo>
                        <a:lnTo>
                          <a:pt x="2383" y="3490"/>
                        </a:lnTo>
                        <a:lnTo>
                          <a:pt x="2370" y="3487"/>
                        </a:lnTo>
                        <a:lnTo>
                          <a:pt x="2369" y="3463"/>
                        </a:lnTo>
                        <a:lnTo>
                          <a:pt x="2363" y="3453"/>
                        </a:lnTo>
                        <a:lnTo>
                          <a:pt x="2350" y="3450"/>
                        </a:lnTo>
                        <a:lnTo>
                          <a:pt x="2341" y="3438"/>
                        </a:lnTo>
                        <a:lnTo>
                          <a:pt x="2349" y="3431"/>
                        </a:lnTo>
                        <a:close/>
                        <a:moveTo>
                          <a:pt x="2425" y="3388"/>
                        </a:moveTo>
                        <a:lnTo>
                          <a:pt x="2433" y="3395"/>
                        </a:lnTo>
                        <a:lnTo>
                          <a:pt x="2431" y="3406"/>
                        </a:lnTo>
                        <a:lnTo>
                          <a:pt x="2416" y="3397"/>
                        </a:lnTo>
                        <a:lnTo>
                          <a:pt x="2425" y="3388"/>
                        </a:lnTo>
                        <a:close/>
                        <a:moveTo>
                          <a:pt x="3719" y="2898"/>
                        </a:moveTo>
                        <a:lnTo>
                          <a:pt x="3720" y="2903"/>
                        </a:lnTo>
                        <a:lnTo>
                          <a:pt x="3706" y="2928"/>
                        </a:lnTo>
                        <a:lnTo>
                          <a:pt x="3700" y="2922"/>
                        </a:lnTo>
                        <a:lnTo>
                          <a:pt x="3704" y="2906"/>
                        </a:lnTo>
                        <a:lnTo>
                          <a:pt x="3719" y="2898"/>
                        </a:lnTo>
                        <a:close/>
                        <a:moveTo>
                          <a:pt x="3636" y="2901"/>
                        </a:moveTo>
                        <a:lnTo>
                          <a:pt x="3649" y="2910"/>
                        </a:lnTo>
                        <a:lnTo>
                          <a:pt x="3629" y="2916"/>
                        </a:lnTo>
                        <a:lnTo>
                          <a:pt x="3630" y="2903"/>
                        </a:lnTo>
                        <a:lnTo>
                          <a:pt x="3636" y="2901"/>
                        </a:lnTo>
                        <a:close/>
                        <a:moveTo>
                          <a:pt x="789" y="3213"/>
                        </a:moveTo>
                        <a:lnTo>
                          <a:pt x="785" y="3221"/>
                        </a:lnTo>
                        <a:lnTo>
                          <a:pt x="774" y="3208"/>
                        </a:lnTo>
                        <a:lnTo>
                          <a:pt x="791" y="3203"/>
                        </a:lnTo>
                        <a:lnTo>
                          <a:pt x="789" y="3213"/>
                        </a:lnTo>
                        <a:close/>
                        <a:moveTo>
                          <a:pt x="3614" y="2878"/>
                        </a:moveTo>
                        <a:lnTo>
                          <a:pt x="3598" y="2882"/>
                        </a:lnTo>
                        <a:lnTo>
                          <a:pt x="3596" y="2860"/>
                        </a:lnTo>
                        <a:lnTo>
                          <a:pt x="3611" y="2872"/>
                        </a:lnTo>
                        <a:lnTo>
                          <a:pt x="3614" y="2878"/>
                        </a:lnTo>
                        <a:close/>
                        <a:moveTo>
                          <a:pt x="721" y="3106"/>
                        </a:moveTo>
                        <a:lnTo>
                          <a:pt x="738" y="3113"/>
                        </a:lnTo>
                        <a:lnTo>
                          <a:pt x="733" y="3125"/>
                        </a:lnTo>
                        <a:lnTo>
                          <a:pt x="721" y="3113"/>
                        </a:lnTo>
                        <a:lnTo>
                          <a:pt x="721" y="3106"/>
                        </a:lnTo>
                        <a:close/>
                        <a:moveTo>
                          <a:pt x="2940" y="2985"/>
                        </a:moveTo>
                        <a:lnTo>
                          <a:pt x="2975" y="2986"/>
                        </a:lnTo>
                        <a:lnTo>
                          <a:pt x="2989" y="2985"/>
                        </a:lnTo>
                        <a:lnTo>
                          <a:pt x="2998" y="2990"/>
                        </a:lnTo>
                        <a:lnTo>
                          <a:pt x="3006" y="3021"/>
                        </a:lnTo>
                        <a:lnTo>
                          <a:pt x="2944" y="3036"/>
                        </a:lnTo>
                        <a:lnTo>
                          <a:pt x="2925" y="3027"/>
                        </a:lnTo>
                        <a:lnTo>
                          <a:pt x="2913" y="3007"/>
                        </a:lnTo>
                        <a:lnTo>
                          <a:pt x="2910" y="2993"/>
                        </a:lnTo>
                        <a:lnTo>
                          <a:pt x="2928" y="2988"/>
                        </a:lnTo>
                        <a:lnTo>
                          <a:pt x="2934" y="2968"/>
                        </a:lnTo>
                        <a:lnTo>
                          <a:pt x="2941" y="2973"/>
                        </a:lnTo>
                        <a:lnTo>
                          <a:pt x="2940" y="2985"/>
                        </a:lnTo>
                        <a:close/>
                        <a:moveTo>
                          <a:pt x="3424" y="2815"/>
                        </a:moveTo>
                        <a:lnTo>
                          <a:pt x="3426" y="2827"/>
                        </a:lnTo>
                        <a:lnTo>
                          <a:pt x="3401" y="2830"/>
                        </a:lnTo>
                        <a:lnTo>
                          <a:pt x="3409" y="2818"/>
                        </a:lnTo>
                        <a:lnTo>
                          <a:pt x="3424" y="2815"/>
                        </a:lnTo>
                        <a:close/>
                        <a:moveTo>
                          <a:pt x="2180" y="3141"/>
                        </a:moveTo>
                        <a:lnTo>
                          <a:pt x="2176" y="3166"/>
                        </a:lnTo>
                        <a:lnTo>
                          <a:pt x="2170" y="3178"/>
                        </a:lnTo>
                        <a:lnTo>
                          <a:pt x="2153" y="3168"/>
                        </a:lnTo>
                        <a:lnTo>
                          <a:pt x="2144" y="3147"/>
                        </a:lnTo>
                        <a:lnTo>
                          <a:pt x="2149" y="3140"/>
                        </a:lnTo>
                        <a:lnTo>
                          <a:pt x="2149" y="3130"/>
                        </a:lnTo>
                        <a:lnTo>
                          <a:pt x="2139" y="3123"/>
                        </a:lnTo>
                        <a:lnTo>
                          <a:pt x="2141" y="3105"/>
                        </a:lnTo>
                        <a:lnTo>
                          <a:pt x="2150" y="3083"/>
                        </a:lnTo>
                        <a:lnTo>
                          <a:pt x="2155" y="3080"/>
                        </a:lnTo>
                        <a:lnTo>
                          <a:pt x="2173" y="3095"/>
                        </a:lnTo>
                        <a:lnTo>
                          <a:pt x="2174" y="3115"/>
                        </a:lnTo>
                        <a:lnTo>
                          <a:pt x="2180" y="3141"/>
                        </a:lnTo>
                        <a:close/>
                        <a:moveTo>
                          <a:pt x="2849" y="2965"/>
                        </a:moveTo>
                        <a:lnTo>
                          <a:pt x="2855" y="2968"/>
                        </a:lnTo>
                        <a:lnTo>
                          <a:pt x="2880" y="2971"/>
                        </a:lnTo>
                        <a:lnTo>
                          <a:pt x="2893" y="2990"/>
                        </a:lnTo>
                        <a:lnTo>
                          <a:pt x="2889" y="3018"/>
                        </a:lnTo>
                        <a:lnTo>
                          <a:pt x="2901" y="3040"/>
                        </a:lnTo>
                        <a:lnTo>
                          <a:pt x="2911" y="3083"/>
                        </a:lnTo>
                        <a:lnTo>
                          <a:pt x="2905" y="3106"/>
                        </a:lnTo>
                        <a:lnTo>
                          <a:pt x="2898" y="3121"/>
                        </a:lnTo>
                        <a:lnTo>
                          <a:pt x="2890" y="3122"/>
                        </a:lnTo>
                        <a:lnTo>
                          <a:pt x="2870" y="3145"/>
                        </a:lnTo>
                        <a:lnTo>
                          <a:pt x="2846" y="3147"/>
                        </a:lnTo>
                        <a:lnTo>
                          <a:pt x="2840" y="3153"/>
                        </a:lnTo>
                        <a:lnTo>
                          <a:pt x="2823" y="3160"/>
                        </a:lnTo>
                        <a:lnTo>
                          <a:pt x="2800" y="3162"/>
                        </a:lnTo>
                        <a:lnTo>
                          <a:pt x="2794" y="3157"/>
                        </a:lnTo>
                        <a:lnTo>
                          <a:pt x="2781" y="3135"/>
                        </a:lnTo>
                        <a:lnTo>
                          <a:pt x="2776" y="3131"/>
                        </a:lnTo>
                        <a:lnTo>
                          <a:pt x="2774" y="3116"/>
                        </a:lnTo>
                        <a:lnTo>
                          <a:pt x="2763" y="3090"/>
                        </a:lnTo>
                        <a:lnTo>
                          <a:pt x="2764" y="3061"/>
                        </a:lnTo>
                        <a:lnTo>
                          <a:pt x="2775" y="3008"/>
                        </a:lnTo>
                        <a:lnTo>
                          <a:pt x="2783" y="2988"/>
                        </a:lnTo>
                        <a:lnTo>
                          <a:pt x="2804" y="2971"/>
                        </a:lnTo>
                        <a:lnTo>
                          <a:pt x="2819" y="2973"/>
                        </a:lnTo>
                        <a:lnTo>
                          <a:pt x="2828" y="2963"/>
                        </a:lnTo>
                        <a:lnTo>
                          <a:pt x="2849" y="2965"/>
                        </a:lnTo>
                        <a:close/>
                        <a:moveTo>
                          <a:pt x="2640" y="3032"/>
                        </a:moveTo>
                        <a:lnTo>
                          <a:pt x="2628" y="3026"/>
                        </a:lnTo>
                        <a:lnTo>
                          <a:pt x="2626" y="3005"/>
                        </a:lnTo>
                        <a:lnTo>
                          <a:pt x="2639" y="3001"/>
                        </a:lnTo>
                        <a:lnTo>
                          <a:pt x="2649" y="3011"/>
                        </a:lnTo>
                        <a:lnTo>
                          <a:pt x="2640" y="3032"/>
                        </a:lnTo>
                        <a:close/>
                        <a:moveTo>
                          <a:pt x="2939" y="2955"/>
                        </a:moveTo>
                        <a:lnTo>
                          <a:pt x="2918" y="2928"/>
                        </a:lnTo>
                        <a:lnTo>
                          <a:pt x="2923" y="2920"/>
                        </a:lnTo>
                        <a:lnTo>
                          <a:pt x="2940" y="2937"/>
                        </a:lnTo>
                        <a:lnTo>
                          <a:pt x="2939" y="2955"/>
                        </a:lnTo>
                        <a:close/>
                        <a:moveTo>
                          <a:pt x="638" y="3005"/>
                        </a:moveTo>
                        <a:lnTo>
                          <a:pt x="625" y="3005"/>
                        </a:lnTo>
                        <a:lnTo>
                          <a:pt x="618" y="2997"/>
                        </a:lnTo>
                        <a:lnTo>
                          <a:pt x="631" y="2992"/>
                        </a:lnTo>
                        <a:lnTo>
                          <a:pt x="638" y="3005"/>
                        </a:lnTo>
                        <a:close/>
                        <a:moveTo>
                          <a:pt x="1023" y="3068"/>
                        </a:moveTo>
                        <a:lnTo>
                          <a:pt x="1015" y="3068"/>
                        </a:lnTo>
                        <a:lnTo>
                          <a:pt x="1000" y="3057"/>
                        </a:lnTo>
                        <a:lnTo>
                          <a:pt x="992" y="3040"/>
                        </a:lnTo>
                        <a:lnTo>
                          <a:pt x="1004" y="3035"/>
                        </a:lnTo>
                        <a:lnTo>
                          <a:pt x="1016" y="3037"/>
                        </a:lnTo>
                        <a:lnTo>
                          <a:pt x="1029" y="3051"/>
                        </a:lnTo>
                        <a:lnTo>
                          <a:pt x="1030" y="3062"/>
                        </a:lnTo>
                        <a:lnTo>
                          <a:pt x="1023" y="3068"/>
                        </a:lnTo>
                        <a:close/>
                        <a:moveTo>
                          <a:pt x="2653" y="2950"/>
                        </a:moveTo>
                        <a:lnTo>
                          <a:pt x="2650" y="2962"/>
                        </a:lnTo>
                        <a:lnTo>
                          <a:pt x="2653" y="2976"/>
                        </a:lnTo>
                        <a:lnTo>
                          <a:pt x="2646" y="2983"/>
                        </a:lnTo>
                        <a:lnTo>
                          <a:pt x="2634" y="2981"/>
                        </a:lnTo>
                        <a:lnTo>
                          <a:pt x="2634" y="2972"/>
                        </a:lnTo>
                        <a:lnTo>
                          <a:pt x="2645" y="2965"/>
                        </a:lnTo>
                        <a:lnTo>
                          <a:pt x="2653" y="2950"/>
                        </a:lnTo>
                        <a:close/>
                        <a:moveTo>
                          <a:pt x="2905" y="2907"/>
                        </a:moveTo>
                        <a:lnTo>
                          <a:pt x="2889" y="2911"/>
                        </a:lnTo>
                        <a:lnTo>
                          <a:pt x="2879" y="2902"/>
                        </a:lnTo>
                        <a:lnTo>
                          <a:pt x="2884" y="2892"/>
                        </a:lnTo>
                        <a:lnTo>
                          <a:pt x="2905" y="2907"/>
                        </a:lnTo>
                        <a:close/>
                        <a:moveTo>
                          <a:pt x="2881" y="2915"/>
                        </a:moveTo>
                        <a:lnTo>
                          <a:pt x="2893" y="2923"/>
                        </a:lnTo>
                        <a:lnTo>
                          <a:pt x="2896" y="2951"/>
                        </a:lnTo>
                        <a:lnTo>
                          <a:pt x="2884" y="2951"/>
                        </a:lnTo>
                        <a:lnTo>
                          <a:pt x="2880" y="2942"/>
                        </a:lnTo>
                        <a:lnTo>
                          <a:pt x="2855" y="2930"/>
                        </a:lnTo>
                        <a:lnTo>
                          <a:pt x="2849" y="2908"/>
                        </a:lnTo>
                        <a:lnTo>
                          <a:pt x="2854" y="2891"/>
                        </a:lnTo>
                        <a:lnTo>
                          <a:pt x="2871" y="2896"/>
                        </a:lnTo>
                        <a:lnTo>
                          <a:pt x="2881" y="2915"/>
                        </a:lnTo>
                        <a:close/>
                        <a:moveTo>
                          <a:pt x="1201" y="3016"/>
                        </a:moveTo>
                        <a:lnTo>
                          <a:pt x="1206" y="3036"/>
                        </a:lnTo>
                        <a:lnTo>
                          <a:pt x="1195" y="3052"/>
                        </a:lnTo>
                        <a:lnTo>
                          <a:pt x="1168" y="3035"/>
                        </a:lnTo>
                        <a:lnTo>
                          <a:pt x="1166" y="3031"/>
                        </a:lnTo>
                        <a:lnTo>
                          <a:pt x="1183" y="3020"/>
                        </a:lnTo>
                        <a:lnTo>
                          <a:pt x="1186" y="3008"/>
                        </a:lnTo>
                        <a:lnTo>
                          <a:pt x="1201" y="3016"/>
                        </a:lnTo>
                        <a:close/>
                        <a:moveTo>
                          <a:pt x="1304" y="2998"/>
                        </a:moveTo>
                        <a:lnTo>
                          <a:pt x="1301" y="3018"/>
                        </a:lnTo>
                        <a:lnTo>
                          <a:pt x="1289" y="3032"/>
                        </a:lnTo>
                        <a:lnTo>
                          <a:pt x="1274" y="3022"/>
                        </a:lnTo>
                        <a:lnTo>
                          <a:pt x="1275" y="2983"/>
                        </a:lnTo>
                        <a:lnTo>
                          <a:pt x="1281" y="2976"/>
                        </a:lnTo>
                        <a:lnTo>
                          <a:pt x="1289" y="2978"/>
                        </a:lnTo>
                        <a:lnTo>
                          <a:pt x="1299" y="2997"/>
                        </a:lnTo>
                        <a:lnTo>
                          <a:pt x="1304" y="2998"/>
                        </a:lnTo>
                        <a:close/>
                        <a:moveTo>
                          <a:pt x="1313" y="2995"/>
                        </a:moveTo>
                        <a:lnTo>
                          <a:pt x="1300" y="2985"/>
                        </a:lnTo>
                        <a:lnTo>
                          <a:pt x="1300" y="2970"/>
                        </a:lnTo>
                        <a:lnTo>
                          <a:pt x="1311" y="2966"/>
                        </a:lnTo>
                        <a:lnTo>
                          <a:pt x="1315" y="2982"/>
                        </a:lnTo>
                        <a:lnTo>
                          <a:pt x="1313" y="2995"/>
                        </a:lnTo>
                        <a:close/>
                        <a:moveTo>
                          <a:pt x="1896" y="2917"/>
                        </a:moveTo>
                        <a:lnTo>
                          <a:pt x="1905" y="2940"/>
                        </a:lnTo>
                        <a:lnTo>
                          <a:pt x="1898" y="2946"/>
                        </a:lnTo>
                        <a:lnTo>
                          <a:pt x="1885" y="2921"/>
                        </a:lnTo>
                        <a:lnTo>
                          <a:pt x="1896" y="2917"/>
                        </a:lnTo>
                        <a:close/>
                        <a:moveTo>
                          <a:pt x="2635" y="2818"/>
                        </a:moveTo>
                        <a:lnTo>
                          <a:pt x="2644" y="2817"/>
                        </a:lnTo>
                        <a:lnTo>
                          <a:pt x="2653" y="2831"/>
                        </a:lnTo>
                        <a:lnTo>
                          <a:pt x="2648" y="2843"/>
                        </a:lnTo>
                        <a:lnTo>
                          <a:pt x="2640" y="2846"/>
                        </a:lnTo>
                        <a:lnTo>
                          <a:pt x="2639" y="2870"/>
                        </a:lnTo>
                        <a:lnTo>
                          <a:pt x="2631" y="2886"/>
                        </a:lnTo>
                        <a:lnTo>
                          <a:pt x="2628" y="2903"/>
                        </a:lnTo>
                        <a:lnTo>
                          <a:pt x="2610" y="2916"/>
                        </a:lnTo>
                        <a:lnTo>
                          <a:pt x="2606" y="2922"/>
                        </a:lnTo>
                        <a:lnTo>
                          <a:pt x="2595" y="2920"/>
                        </a:lnTo>
                        <a:lnTo>
                          <a:pt x="2591" y="2910"/>
                        </a:lnTo>
                        <a:lnTo>
                          <a:pt x="2595" y="2901"/>
                        </a:lnTo>
                        <a:lnTo>
                          <a:pt x="2599" y="2880"/>
                        </a:lnTo>
                        <a:lnTo>
                          <a:pt x="2613" y="2873"/>
                        </a:lnTo>
                        <a:lnTo>
                          <a:pt x="2618" y="2865"/>
                        </a:lnTo>
                        <a:lnTo>
                          <a:pt x="2620" y="2833"/>
                        </a:lnTo>
                        <a:lnTo>
                          <a:pt x="2635" y="2818"/>
                        </a:lnTo>
                        <a:close/>
                        <a:moveTo>
                          <a:pt x="2436" y="2847"/>
                        </a:moveTo>
                        <a:lnTo>
                          <a:pt x="2450" y="2848"/>
                        </a:lnTo>
                        <a:lnTo>
                          <a:pt x="2453" y="2858"/>
                        </a:lnTo>
                        <a:lnTo>
                          <a:pt x="2431" y="2862"/>
                        </a:lnTo>
                        <a:lnTo>
                          <a:pt x="2426" y="2851"/>
                        </a:lnTo>
                        <a:lnTo>
                          <a:pt x="2436" y="2847"/>
                        </a:lnTo>
                        <a:close/>
                        <a:moveTo>
                          <a:pt x="1920" y="2911"/>
                        </a:moveTo>
                        <a:lnTo>
                          <a:pt x="1916" y="2933"/>
                        </a:lnTo>
                        <a:lnTo>
                          <a:pt x="1901" y="2922"/>
                        </a:lnTo>
                        <a:lnTo>
                          <a:pt x="1901" y="2915"/>
                        </a:lnTo>
                        <a:lnTo>
                          <a:pt x="1913" y="2903"/>
                        </a:lnTo>
                        <a:lnTo>
                          <a:pt x="1920" y="2911"/>
                        </a:lnTo>
                        <a:close/>
                        <a:moveTo>
                          <a:pt x="2719" y="2796"/>
                        </a:moveTo>
                        <a:lnTo>
                          <a:pt x="2744" y="2796"/>
                        </a:lnTo>
                        <a:lnTo>
                          <a:pt x="2745" y="2810"/>
                        </a:lnTo>
                        <a:lnTo>
                          <a:pt x="2733" y="2831"/>
                        </a:lnTo>
                        <a:lnTo>
                          <a:pt x="2731" y="2842"/>
                        </a:lnTo>
                        <a:lnTo>
                          <a:pt x="2723" y="2850"/>
                        </a:lnTo>
                        <a:lnTo>
                          <a:pt x="2715" y="2846"/>
                        </a:lnTo>
                        <a:lnTo>
                          <a:pt x="2704" y="2827"/>
                        </a:lnTo>
                        <a:lnTo>
                          <a:pt x="2701" y="2806"/>
                        </a:lnTo>
                        <a:lnTo>
                          <a:pt x="2706" y="2796"/>
                        </a:lnTo>
                        <a:lnTo>
                          <a:pt x="2719" y="2796"/>
                        </a:lnTo>
                        <a:close/>
                        <a:moveTo>
                          <a:pt x="1243" y="2886"/>
                        </a:moveTo>
                        <a:lnTo>
                          <a:pt x="1253" y="2888"/>
                        </a:lnTo>
                        <a:lnTo>
                          <a:pt x="1253" y="2902"/>
                        </a:lnTo>
                        <a:lnTo>
                          <a:pt x="1240" y="2906"/>
                        </a:lnTo>
                        <a:lnTo>
                          <a:pt x="1243" y="2886"/>
                        </a:lnTo>
                        <a:close/>
                        <a:moveTo>
                          <a:pt x="1524" y="2892"/>
                        </a:moveTo>
                        <a:lnTo>
                          <a:pt x="1554" y="2892"/>
                        </a:lnTo>
                        <a:lnTo>
                          <a:pt x="1556" y="2905"/>
                        </a:lnTo>
                        <a:lnTo>
                          <a:pt x="1554" y="2927"/>
                        </a:lnTo>
                        <a:lnTo>
                          <a:pt x="1544" y="2922"/>
                        </a:lnTo>
                        <a:lnTo>
                          <a:pt x="1539" y="2912"/>
                        </a:lnTo>
                        <a:lnTo>
                          <a:pt x="1525" y="2902"/>
                        </a:lnTo>
                        <a:lnTo>
                          <a:pt x="1524" y="2892"/>
                        </a:lnTo>
                        <a:close/>
                        <a:moveTo>
                          <a:pt x="3289" y="2618"/>
                        </a:moveTo>
                        <a:lnTo>
                          <a:pt x="3273" y="2633"/>
                        </a:lnTo>
                        <a:lnTo>
                          <a:pt x="3265" y="2632"/>
                        </a:lnTo>
                        <a:lnTo>
                          <a:pt x="3276" y="2616"/>
                        </a:lnTo>
                        <a:lnTo>
                          <a:pt x="3289" y="2618"/>
                        </a:lnTo>
                        <a:close/>
                        <a:moveTo>
                          <a:pt x="1583" y="2885"/>
                        </a:moveTo>
                        <a:lnTo>
                          <a:pt x="1601" y="2900"/>
                        </a:lnTo>
                        <a:lnTo>
                          <a:pt x="1599" y="2923"/>
                        </a:lnTo>
                        <a:lnTo>
                          <a:pt x="1591" y="2933"/>
                        </a:lnTo>
                        <a:lnTo>
                          <a:pt x="1580" y="2935"/>
                        </a:lnTo>
                        <a:lnTo>
                          <a:pt x="1584" y="2920"/>
                        </a:lnTo>
                        <a:lnTo>
                          <a:pt x="1576" y="2908"/>
                        </a:lnTo>
                        <a:lnTo>
                          <a:pt x="1570" y="2931"/>
                        </a:lnTo>
                        <a:lnTo>
                          <a:pt x="1563" y="2906"/>
                        </a:lnTo>
                        <a:lnTo>
                          <a:pt x="1568" y="2887"/>
                        </a:lnTo>
                        <a:lnTo>
                          <a:pt x="1576" y="2880"/>
                        </a:lnTo>
                        <a:lnTo>
                          <a:pt x="1583" y="2885"/>
                        </a:lnTo>
                        <a:close/>
                        <a:moveTo>
                          <a:pt x="3248" y="2603"/>
                        </a:moveTo>
                        <a:lnTo>
                          <a:pt x="3260" y="2613"/>
                        </a:lnTo>
                        <a:lnTo>
                          <a:pt x="3251" y="2636"/>
                        </a:lnTo>
                        <a:lnTo>
                          <a:pt x="3233" y="2627"/>
                        </a:lnTo>
                        <a:lnTo>
                          <a:pt x="3238" y="2613"/>
                        </a:lnTo>
                        <a:lnTo>
                          <a:pt x="3248" y="2603"/>
                        </a:lnTo>
                        <a:close/>
                        <a:moveTo>
                          <a:pt x="2654" y="2762"/>
                        </a:moveTo>
                        <a:lnTo>
                          <a:pt x="2656" y="2768"/>
                        </a:lnTo>
                        <a:lnTo>
                          <a:pt x="2650" y="2782"/>
                        </a:lnTo>
                        <a:lnTo>
                          <a:pt x="2639" y="2788"/>
                        </a:lnTo>
                        <a:lnTo>
                          <a:pt x="2628" y="2803"/>
                        </a:lnTo>
                        <a:lnTo>
                          <a:pt x="2619" y="2801"/>
                        </a:lnTo>
                        <a:lnTo>
                          <a:pt x="2615" y="2792"/>
                        </a:lnTo>
                        <a:lnTo>
                          <a:pt x="2620" y="2776"/>
                        </a:lnTo>
                        <a:lnTo>
                          <a:pt x="2638" y="2771"/>
                        </a:lnTo>
                        <a:lnTo>
                          <a:pt x="2634" y="2757"/>
                        </a:lnTo>
                        <a:lnTo>
                          <a:pt x="2641" y="2753"/>
                        </a:lnTo>
                        <a:lnTo>
                          <a:pt x="2654" y="2762"/>
                        </a:lnTo>
                        <a:close/>
                        <a:moveTo>
                          <a:pt x="2548" y="2758"/>
                        </a:moveTo>
                        <a:lnTo>
                          <a:pt x="2565" y="2762"/>
                        </a:lnTo>
                        <a:lnTo>
                          <a:pt x="2571" y="2777"/>
                        </a:lnTo>
                        <a:lnTo>
                          <a:pt x="2558" y="2792"/>
                        </a:lnTo>
                        <a:lnTo>
                          <a:pt x="2539" y="2798"/>
                        </a:lnTo>
                        <a:lnTo>
                          <a:pt x="2538" y="2817"/>
                        </a:lnTo>
                        <a:lnTo>
                          <a:pt x="2524" y="2813"/>
                        </a:lnTo>
                        <a:lnTo>
                          <a:pt x="2521" y="2800"/>
                        </a:lnTo>
                        <a:lnTo>
                          <a:pt x="2514" y="2801"/>
                        </a:lnTo>
                        <a:lnTo>
                          <a:pt x="2503" y="2793"/>
                        </a:lnTo>
                        <a:lnTo>
                          <a:pt x="2488" y="2796"/>
                        </a:lnTo>
                        <a:lnTo>
                          <a:pt x="2484" y="2791"/>
                        </a:lnTo>
                        <a:lnTo>
                          <a:pt x="2499" y="2773"/>
                        </a:lnTo>
                        <a:lnTo>
                          <a:pt x="2511" y="2771"/>
                        </a:lnTo>
                        <a:lnTo>
                          <a:pt x="2533" y="2777"/>
                        </a:lnTo>
                        <a:lnTo>
                          <a:pt x="2548" y="2758"/>
                        </a:lnTo>
                        <a:close/>
                        <a:moveTo>
                          <a:pt x="2380" y="2796"/>
                        </a:moveTo>
                        <a:lnTo>
                          <a:pt x="2378" y="2801"/>
                        </a:lnTo>
                        <a:lnTo>
                          <a:pt x="2360" y="2796"/>
                        </a:lnTo>
                        <a:lnTo>
                          <a:pt x="2370" y="2787"/>
                        </a:lnTo>
                        <a:lnTo>
                          <a:pt x="2380" y="2796"/>
                        </a:lnTo>
                        <a:close/>
                        <a:moveTo>
                          <a:pt x="1839" y="2837"/>
                        </a:moveTo>
                        <a:lnTo>
                          <a:pt x="1833" y="2857"/>
                        </a:lnTo>
                        <a:lnTo>
                          <a:pt x="1821" y="2845"/>
                        </a:lnTo>
                        <a:lnTo>
                          <a:pt x="1839" y="2837"/>
                        </a:lnTo>
                        <a:close/>
                        <a:moveTo>
                          <a:pt x="1478" y="2885"/>
                        </a:moveTo>
                        <a:lnTo>
                          <a:pt x="1488" y="2871"/>
                        </a:lnTo>
                        <a:lnTo>
                          <a:pt x="1508" y="2903"/>
                        </a:lnTo>
                        <a:lnTo>
                          <a:pt x="1530" y="2916"/>
                        </a:lnTo>
                        <a:lnTo>
                          <a:pt x="1549" y="2936"/>
                        </a:lnTo>
                        <a:lnTo>
                          <a:pt x="1566" y="2966"/>
                        </a:lnTo>
                        <a:lnTo>
                          <a:pt x="1564" y="2982"/>
                        </a:lnTo>
                        <a:lnTo>
                          <a:pt x="1571" y="2995"/>
                        </a:lnTo>
                        <a:lnTo>
                          <a:pt x="1573" y="3010"/>
                        </a:lnTo>
                        <a:lnTo>
                          <a:pt x="1590" y="3020"/>
                        </a:lnTo>
                        <a:lnTo>
                          <a:pt x="1600" y="3008"/>
                        </a:lnTo>
                        <a:lnTo>
                          <a:pt x="1613" y="3016"/>
                        </a:lnTo>
                        <a:lnTo>
                          <a:pt x="1598" y="3036"/>
                        </a:lnTo>
                        <a:lnTo>
                          <a:pt x="1588" y="3033"/>
                        </a:lnTo>
                        <a:lnTo>
                          <a:pt x="1575" y="3037"/>
                        </a:lnTo>
                        <a:lnTo>
                          <a:pt x="1570" y="3058"/>
                        </a:lnTo>
                        <a:lnTo>
                          <a:pt x="1563" y="3056"/>
                        </a:lnTo>
                        <a:lnTo>
                          <a:pt x="1544" y="3081"/>
                        </a:lnTo>
                        <a:lnTo>
                          <a:pt x="1530" y="3086"/>
                        </a:lnTo>
                        <a:lnTo>
                          <a:pt x="1498" y="3067"/>
                        </a:lnTo>
                        <a:lnTo>
                          <a:pt x="1490" y="3073"/>
                        </a:lnTo>
                        <a:lnTo>
                          <a:pt x="1464" y="3065"/>
                        </a:lnTo>
                        <a:lnTo>
                          <a:pt x="1453" y="3050"/>
                        </a:lnTo>
                        <a:lnTo>
                          <a:pt x="1438" y="3042"/>
                        </a:lnTo>
                        <a:lnTo>
                          <a:pt x="1430" y="3046"/>
                        </a:lnTo>
                        <a:lnTo>
                          <a:pt x="1420" y="3033"/>
                        </a:lnTo>
                        <a:lnTo>
                          <a:pt x="1421" y="3020"/>
                        </a:lnTo>
                        <a:lnTo>
                          <a:pt x="1405" y="3032"/>
                        </a:lnTo>
                        <a:lnTo>
                          <a:pt x="1384" y="3016"/>
                        </a:lnTo>
                        <a:lnTo>
                          <a:pt x="1388" y="3001"/>
                        </a:lnTo>
                        <a:lnTo>
                          <a:pt x="1378" y="2996"/>
                        </a:lnTo>
                        <a:lnTo>
                          <a:pt x="1369" y="3003"/>
                        </a:lnTo>
                        <a:lnTo>
                          <a:pt x="1364" y="3016"/>
                        </a:lnTo>
                        <a:lnTo>
                          <a:pt x="1350" y="3006"/>
                        </a:lnTo>
                        <a:lnTo>
                          <a:pt x="1340" y="2980"/>
                        </a:lnTo>
                        <a:lnTo>
                          <a:pt x="1346" y="2966"/>
                        </a:lnTo>
                        <a:lnTo>
                          <a:pt x="1358" y="2960"/>
                        </a:lnTo>
                        <a:lnTo>
                          <a:pt x="1376" y="2963"/>
                        </a:lnTo>
                        <a:lnTo>
                          <a:pt x="1381" y="2957"/>
                        </a:lnTo>
                        <a:lnTo>
                          <a:pt x="1395" y="2953"/>
                        </a:lnTo>
                        <a:lnTo>
                          <a:pt x="1414" y="2927"/>
                        </a:lnTo>
                        <a:lnTo>
                          <a:pt x="1403" y="2911"/>
                        </a:lnTo>
                        <a:lnTo>
                          <a:pt x="1404" y="2891"/>
                        </a:lnTo>
                        <a:lnTo>
                          <a:pt x="1418" y="2890"/>
                        </a:lnTo>
                        <a:lnTo>
                          <a:pt x="1421" y="2866"/>
                        </a:lnTo>
                        <a:lnTo>
                          <a:pt x="1428" y="2850"/>
                        </a:lnTo>
                        <a:lnTo>
                          <a:pt x="1446" y="2832"/>
                        </a:lnTo>
                        <a:lnTo>
                          <a:pt x="1458" y="2840"/>
                        </a:lnTo>
                        <a:lnTo>
                          <a:pt x="1461" y="2848"/>
                        </a:lnTo>
                        <a:lnTo>
                          <a:pt x="1473" y="2855"/>
                        </a:lnTo>
                        <a:lnTo>
                          <a:pt x="1481" y="2866"/>
                        </a:lnTo>
                        <a:lnTo>
                          <a:pt x="1471" y="2872"/>
                        </a:lnTo>
                        <a:lnTo>
                          <a:pt x="1478" y="2885"/>
                        </a:lnTo>
                        <a:close/>
                        <a:moveTo>
                          <a:pt x="2103" y="2767"/>
                        </a:moveTo>
                        <a:lnTo>
                          <a:pt x="2115" y="2771"/>
                        </a:lnTo>
                        <a:lnTo>
                          <a:pt x="2124" y="2766"/>
                        </a:lnTo>
                        <a:lnTo>
                          <a:pt x="2133" y="2777"/>
                        </a:lnTo>
                        <a:lnTo>
                          <a:pt x="2135" y="2788"/>
                        </a:lnTo>
                        <a:lnTo>
                          <a:pt x="2119" y="2792"/>
                        </a:lnTo>
                        <a:lnTo>
                          <a:pt x="2104" y="2786"/>
                        </a:lnTo>
                        <a:lnTo>
                          <a:pt x="2100" y="2791"/>
                        </a:lnTo>
                        <a:lnTo>
                          <a:pt x="2088" y="2783"/>
                        </a:lnTo>
                        <a:lnTo>
                          <a:pt x="2084" y="2770"/>
                        </a:lnTo>
                        <a:lnTo>
                          <a:pt x="2103" y="2767"/>
                        </a:lnTo>
                        <a:close/>
                        <a:moveTo>
                          <a:pt x="1286" y="2687"/>
                        </a:moveTo>
                        <a:lnTo>
                          <a:pt x="1299" y="2688"/>
                        </a:lnTo>
                        <a:lnTo>
                          <a:pt x="1306" y="2701"/>
                        </a:lnTo>
                        <a:lnTo>
                          <a:pt x="1311" y="2727"/>
                        </a:lnTo>
                        <a:lnTo>
                          <a:pt x="1298" y="2721"/>
                        </a:lnTo>
                        <a:lnTo>
                          <a:pt x="1288" y="2711"/>
                        </a:lnTo>
                        <a:lnTo>
                          <a:pt x="1286" y="2687"/>
                        </a:lnTo>
                        <a:close/>
                        <a:moveTo>
                          <a:pt x="2954" y="2441"/>
                        </a:moveTo>
                        <a:lnTo>
                          <a:pt x="2984" y="2446"/>
                        </a:lnTo>
                        <a:lnTo>
                          <a:pt x="2983" y="2461"/>
                        </a:lnTo>
                        <a:lnTo>
                          <a:pt x="2973" y="2465"/>
                        </a:lnTo>
                        <a:lnTo>
                          <a:pt x="2949" y="2486"/>
                        </a:lnTo>
                        <a:lnTo>
                          <a:pt x="2938" y="2471"/>
                        </a:lnTo>
                        <a:lnTo>
                          <a:pt x="2946" y="2463"/>
                        </a:lnTo>
                        <a:lnTo>
                          <a:pt x="2944" y="2445"/>
                        </a:lnTo>
                        <a:lnTo>
                          <a:pt x="2954" y="2441"/>
                        </a:lnTo>
                        <a:close/>
                        <a:moveTo>
                          <a:pt x="2863" y="2397"/>
                        </a:moveTo>
                        <a:lnTo>
                          <a:pt x="2868" y="2378"/>
                        </a:lnTo>
                        <a:lnTo>
                          <a:pt x="2880" y="2388"/>
                        </a:lnTo>
                        <a:lnTo>
                          <a:pt x="2871" y="2396"/>
                        </a:lnTo>
                        <a:lnTo>
                          <a:pt x="2874" y="2408"/>
                        </a:lnTo>
                        <a:lnTo>
                          <a:pt x="2859" y="2410"/>
                        </a:lnTo>
                        <a:lnTo>
                          <a:pt x="2858" y="2398"/>
                        </a:lnTo>
                        <a:lnTo>
                          <a:pt x="2848" y="2388"/>
                        </a:lnTo>
                        <a:lnTo>
                          <a:pt x="2846" y="2381"/>
                        </a:lnTo>
                        <a:lnTo>
                          <a:pt x="2855" y="2371"/>
                        </a:lnTo>
                        <a:lnTo>
                          <a:pt x="2863" y="2376"/>
                        </a:lnTo>
                        <a:lnTo>
                          <a:pt x="2863" y="2397"/>
                        </a:lnTo>
                        <a:close/>
                        <a:moveTo>
                          <a:pt x="2881" y="2370"/>
                        </a:moveTo>
                        <a:lnTo>
                          <a:pt x="2866" y="2372"/>
                        </a:lnTo>
                        <a:lnTo>
                          <a:pt x="2861" y="2367"/>
                        </a:lnTo>
                        <a:lnTo>
                          <a:pt x="2865" y="2353"/>
                        </a:lnTo>
                        <a:lnTo>
                          <a:pt x="2875" y="2350"/>
                        </a:lnTo>
                        <a:lnTo>
                          <a:pt x="2883" y="2360"/>
                        </a:lnTo>
                        <a:lnTo>
                          <a:pt x="2881" y="2370"/>
                        </a:lnTo>
                        <a:close/>
                        <a:moveTo>
                          <a:pt x="1656" y="4470"/>
                        </a:moveTo>
                        <a:lnTo>
                          <a:pt x="1515" y="4471"/>
                        </a:lnTo>
                        <a:lnTo>
                          <a:pt x="1374" y="4468"/>
                        </a:lnTo>
                        <a:lnTo>
                          <a:pt x="1304" y="4466"/>
                        </a:lnTo>
                        <a:lnTo>
                          <a:pt x="1198" y="4461"/>
                        </a:lnTo>
                        <a:lnTo>
                          <a:pt x="1091" y="4456"/>
                        </a:lnTo>
                        <a:lnTo>
                          <a:pt x="1133" y="3842"/>
                        </a:lnTo>
                        <a:lnTo>
                          <a:pt x="1135" y="3812"/>
                        </a:lnTo>
                        <a:lnTo>
                          <a:pt x="1136" y="3780"/>
                        </a:lnTo>
                        <a:lnTo>
                          <a:pt x="958" y="3731"/>
                        </a:lnTo>
                        <a:lnTo>
                          <a:pt x="873" y="3707"/>
                        </a:lnTo>
                        <a:lnTo>
                          <a:pt x="796" y="3683"/>
                        </a:lnTo>
                        <a:lnTo>
                          <a:pt x="656" y="3638"/>
                        </a:lnTo>
                        <a:lnTo>
                          <a:pt x="641" y="3631"/>
                        </a:lnTo>
                        <a:lnTo>
                          <a:pt x="626" y="3618"/>
                        </a:lnTo>
                        <a:lnTo>
                          <a:pt x="619" y="3607"/>
                        </a:lnTo>
                        <a:lnTo>
                          <a:pt x="560" y="3506"/>
                        </a:lnTo>
                        <a:lnTo>
                          <a:pt x="556" y="3502"/>
                        </a:lnTo>
                        <a:lnTo>
                          <a:pt x="495" y="3492"/>
                        </a:lnTo>
                        <a:lnTo>
                          <a:pt x="434" y="3481"/>
                        </a:lnTo>
                        <a:lnTo>
                          <a:pt x="395" y="3438"/>
                        </a:lnTo>
                        <a:lnTo>
                          <a:pt x="325" y="3361"/>
                        </a:lnTo>
                        <a:lnTo>
                          <a:pt x="270" y="3297"/>
                        </a:lnTo>
                        <a:lnTo>
                          <a:pt x="206" y="3221"/>
                        </a:lnTo>
                        <a:lnTo>
                          <a:pt x="144" y="3143"/>
                        </a:lnTo>
                        <a:lnTo>
                          <a:pt x="94" y="3077"/>
                        </a:lnTo>
                        <a:lnTo>
                          <a:pt x="44" y="3011"/>
                        </a:lnTo>
                        <a:lnTo>
                          <a:pt x="1" y="2951"/>
                        </a:lnTo>
                        <a:lnTo>
                          <a:pt x="0" y="2947"/>
                        </a:lnTo>
                        <a:lnTo>
                          <a:pt x="71" y="2690"/>
                        </a:lnTo>
                        <a:lnTo>
                          <a:pt x="89" y="2721"/>
                        </a:lnTo>
                        <a:lnTo>
                          <a:pt x="103" y="2736"/>
                        </a:lnTo>
                        <a:lnTo>
                          <a:pt x="115" y="2740"/>
                        </a:lnTo>
                        <a:lnTo>
                          <a:pt x="131" y="2751"/>
                        </a:lnTo>
                        <a:lnTo>
                          <a:pt x="144" y="2756"/>
                        </a:lnTo>
                        <a:lnTo>
                          <a:pt x="176" y="2777"/>
                        </a:lnTo>
                        <a:lnTo>
                          <a:pt x="184" y="2797"/>
                        </a:lnTo>
                        <a:lnTo>
                          <a:pt x="205" y="2821"/>
                        </a:lnTo>
                        <a:lnTo>
                          <a:pt x="243" y="2843"/>
                        </a:lnTo>
                        <a:lnTo>
                          <a:pt x="254" y="2856"/>
                        </a:lnTo>
                        <a:lnTo>
                          <a:pt x="266" y="2856"/>
                        </a:lnTo>
                        <a:lnTo>
                          <a:pt x="271" y="2861"/>
                        </a:lnTo>
                        <a:lnTo>
                          <a:pt x="295" y="2871"/>
                        </a:lnTo>
                        <a:lnTo>
                          <a:pt x="304" y="2870"/>
                        </a:lnTo>
                        <a:lnTo>
                          <a:pt x="309" y="2880"/>
                        </a:lnTo>
                        <a:lnTo>
                          <a:pt x="319" y="2872"/>
                        </a:lnTo>
                        <a:lnTo>
                          <a:pt x="308" y="2858"/>
                        </a:lnTo>
                        <a:lnTo>
                          <a:pt x="318" y="2855"/>
                        </a:lnTo>
                        <a:lnTo>
                          <a:pt x="331" y="2867"/>
                        </a:lnTo>
                        <a:lnTo>
                          <a:pt x="335" y="2861"/>
                        </a:lnTo>
                        <a:lnTo>
                          <a:pt x="353" y="2863"/>
                        </a:lnTo>
                        <a:lnTo>
                          <a:pt x="373" y="2882"/>
                        </a:lnTo>
                        <a:lnTo>
                          <a:pt x="385" y="2890"/>
                        </a:lnTo>
                        <a:lnTo>
                          <a:pt x="396" y="2912"/>
                        </a:lnTo>
                        <a:lnTo>
                          <a:pt x="408" y="2921"/>
                        </a:lnTo>
                        <a:lnTo>
                          <a:pt x="414" y="2942"/>
                        </a:lnTo>
                        <a:lnTo>
                          <a:pt x="423" y="2950"/>
                        </a:lnTo>
                        <a:lnTo>
                          <a:pt x="428" y="2975"/>
                        </a:lnTo>
                        <a:lnTo>
                          <a:pt x="435" y="2983"/>
                        </a:lnTo>
                        <a:lnTo>
                          <a:pt x="423" y="2997"/>
                        </a:lnTo>
                        <a:lnTo>
                          <a:pt x="403" y="3005"/>
                        </a:lnTo>
                        <a:lnTo>
                          <a:pt x="398" y="2998"/>
                        </a:lnTo>
                        <a:lnTo>
                          <a:pt x="385" y="2998"/>
                        </a:lnTo>
                        <a:lnTo>
                          <a:pt x="373" y="2995"/>
                        </a:lnTo>
                        <a:lnTo>
                          <a:pt x="365" y="3012"/>
                        </a:lnTo>
                        <a:lnTo>
                          <a:pt x="348" y="3010"/>
                        </a:lnTo>
                        <a:lnTo>
                          <a:pt x="339" y="3026"/>
                        </a:lnTo>
                        <a:lnTo>
                          <a:pt x="345" y="3033"/>
                        </a:lnTo>
                        <a:lnTo>
                          <a:pt x="318" y="3040"/>
                        </a:lnTo>
                        <a:lnTo>
                          <a:pt x="316" y="3045"/>
                        </a:lnTo>
                        <a:lnTo>
                          <a:pt x="331" y="3053"/>
                        </a:lnTo>
                        <a:lnTo>
                          <a:pt x="339" y="3067"/>
                        </a:lnTo>
                        <a:lnTo>
                          <a:pt x="360" y="3070"/>
                        </a:lnTo>
                        <a:lnTo>
                          <a:pt x="383" y="3087"/>
                        </a:lnTo>
                        <a:lnTo>
                          <a:pt x="396" y="3090"/>
                        </a:lnTo>
                        <a:lnTo>
                          <a:pt x="415" y="3102"/>
                        </a:lnTo>
                        <a:lnTo>
                          <a:pt x="450" y="3106"/>
                        </a:lnTo>
                        <a:lnTo>
                          <a:pt x="466" y="3116"/>
                        </a:lnTo>
                        <a:lnTo>
                          <a:pt x="506" y="3122"/>
                        </a:lnTo>
                        <a:lnTo>
                          <a:pt x="514" y="3112"/>
                        </a:lnTo>
                        <a:lnTo>
                          <a:pt x="523" y="3117"/>
                        </a:lnTo>
                        <a:lnTo>
                          <a:pt x="543" y="3115"/>
                        </a:lnTo>
                        <a:lnTo>
                          <a:pt x="563" y="3125"/>
                        </a:lnTo>
                        <a:lnTo>
                          <a:pt x="565" y="3117"/>
                        </a:lnTo>
                        <a:lnTo>
                          <a:pt x="581" y="3110"/>
                        </a:lnTo>
                        <a:lnTo>
                          <a:pt x="598" y="3122"/>
                        </a:lnTo>
                        <a:lnTo>
                          <a:pt x="611" y="3117"/>
                        </a:lnTo>
                        <a:lnTo>
                          <a:pt x="618" y="3110"/>
                        </a:lnTo>
                        <a:lnTo>
                          <a:pt x="629" y="3107"/>
                        </a:lnTo>
                        <a:lnTo>
                          <a:pt x="640" y="3098"/>
                        </a:lnTo>
                        <a:lnTo>
                          <a:pt x="654" y="3101"/>
                        </a:lnTo>
                        <a:lnTo>
                          <a:pt x="658" y="3092"/>
                        </a:lnTo>
                        <a:lnTo>
                          <a:pt x="670" y="3100"/>
                        </a:lnTo>
                        <a:lnTo>
                          <a:pt x="665" y="3118"/>
                        </a:lnTo>
                        <a:lnTo>
                          <a:pt x="676" y="3117"/>
                        </a:lnTo>
                        <a:lnTo>
                          <a:pt x="683" y="3130"/>
                        </a:lnTo>
                        <a:lnTo>
                          <a:pt x="679" y="3145"/>
                        </a:lnTo>
                        <a:lnTo>
                          <a:pt x="690" y="3151"/>
                        </a:lnTo>
                        <a:lnTo>
                          <a:pt x="696" y="3142"/>
                        </a:lnTo>
                        <a:lnTo>
                          <a:pt x="720" y="3150"/>
                        </a:lnTo>
                        <a:lnTo>
                          <a:pt x="724" y="3157"/>
                        </a:lnTo>
                        <a:lnTo>
                          <a:pt x="725" y="3183"/>
                        </a:lnTo>
                        <a:lnTo>
                          <a:pt x="718" y="3190"/>
                        </a:lnTo>
                        <a:lnTo>
                          <a:pt x="726" y="3203"/>
                        </a:lnTo>
                        <a:lnTo>
                          <a:pt x="735" y="3198"/>
                        </a:lnTo>
                        <a:lnTo>
                          <a:pt x="739" y="3175"/>
                        </a:lnTo>
                        <a:lnTo>
                          <a:pt x="749" y="3171"/>
                        </a:lnTo>
                        <a:lnTo>
                          <a:pt x="754" y="3205"/>
                        </a:lnTo>
                        <a:lnTo>
                          <a:pt x="780" y="3233"/>
                        </a:lnTo>
                        <a:lnTo>
                          <a:pt x="784" y="3253"/>
                        </a:lnTo>
                        <a:lnTo>
                          <a:pt x="783" y="3273"/>
                        </a:lnTo>
                        <a:lnTo>
                          <a:pt x="766" y="3266"/>
                        </a:lnTo>
                        <a:lnTo>
                          <a:pt x="760" y="3275"/>
                        </a:lnTo>
                        <a:lnTo>
                          <a:pt x="764" y="3293"/>
                        </a:lnTo>
                        <a:lnTo>
                          <a:pt x="761" y="3303"/>
                        </a:lnTo>
                        <a:lnTo>
                          <a:pt x="770" y="3310"/>
                        </a:lnTo>
                        <a:lnTo>
                          <a:pt x="779" y="3325"/>
                        </a:lnTo>
                        <a:lnTo>
                          <a:pt x="785" y="3347"/>
                        </a:lnTo>
                        <a:lnTo>
                          <a:pt x="808" y="3393"/>
                        </a:lnTo>
                        <a:lnTo>
                          <a:pt x="813" y="3391"/>
                        </a:lnTo>
                        <a:lnTo>
                          <a:pt x="793" y="3352"/>
                        </a:lnTo>
                        <a:lnTo>
                          <a:pt x="789" y="3333"/>
                        </a:lnTo>
                        <a:lnTo>
                          <a:pt x="789" y="3282"/>
                        </a:lnTo>
                        <a:lnTo>
                          <a:pt x="799" y="3287"/>
                        </a:lnTo>
                        <a:lnTo>
                          <a:pt x="805" y="3298"/>
                        </a:lnTo>
                        <a:lnTo>
                          <a:pt x="824" y="3273"/>
                        </a:lnTo>
                        <a:lnTo>
                          <a:pt x="809" y="3250"/>
                        </a:lnTo>
                        <a:lnTo>
                          <a:pt x="804" y="3221"/>
                        </a:lnTo>
                        <a:lnTo>
                          <a:pt x="811" y="3200"/>
                        </a:lnTo>
                        <a:lnTo>
                          <a:pt x="789" y="3165"/>
                        </a:lnTo>
                        <a:lnTo>
                          <a:pt x="789" y="3157"/>
                        </a:lnTo>
                        <a:lnTo>
                          <a:pt x="796" y="3137"/>
                        </a:lnTo>
                        <a:lnTo>
                          <a:pt x="814" y="3130"/>
                        </a:lnTo>
                        <a:lnTo>
                          <a:pt x="816" y="3125"/>
                        </a:lnTo>
                        <a:lnTo>
                          <a:pt x="801" y="3112"/>
                        </a:lnTo>
                        <a:lnTo>
                          <a:pt x="805" y="3097"/>
                        </a:lnTo>
                        <a:lnTo>
                          <a:pt x="814" y="3098"/>
                        </a:lnTo>
                        <a:lnTo>
                          <a:pt x="833" y="3110"/>
                        </a:lnTo>
                        <a:lnTo>
                          <a:pt x="866" y="3100"/>
                        </a:lnTo>
                        <a:lnTo>
                          <a:pt x="876" y="3105"/>
                        </a:lnTo>
                        <a:lnTo>
                          <a:pt x="875" y="3086"/>
                        </a:lnTo>
                        <a:lnTo>
                          <a:pt x="896" y="3082"/>
                        </a:lnTo>
                        <a:lnTo>
                          <a:pt x="913" y="3060"/>
                        </a:lnTo>
                        <a:lnTo>
                          <a:pt x="923" y="3065"/>
                        </a:lnTo>
                        <a:lnTo>
                          <a:pt x="933" y="3055"/>
                        </a:lnTo>
                        <a:lnTo>
                          <a:pt x="946" y="3057"/>
                        </a:lnTo>
                        <a:lnTo>
                          <a:pt x="951" y="3046"/>
                        </a:lnTo>
                        <a:lnTo>
                          <a:pt x="943" y="3020"/>
                        </a:lnTo>
                        <a:lnTo>
                          <a:pt x="929" y="3026"/>
                        </a:lnTo>
                        <a:lnTo>
                          <a:pt x="900" y="3035"/>
                        </a:lnTo>
                        <a:lnTo>
                          <a:pt x="895" y="3052"/>
                        </a:lnTo>
                        <a:lnTo>
                          <a:pt x="899" y="3058"/>
                        </a:lnTo>
                        <a:lnTo>
                          <a:pt x="890" y="3071"/>
                        </a:lnTo>
                        <a:lnTo>
                          <a:pt x="884" y="3057"/>
                        </a:lnTo>
                        <a:lnTo>
                          <a:pt x="866" y="3057"/>
                        </a:lnTo>
                        <a:lnTo>
                          <a:pt x="858" y="3068"/>
                        </a:lnTo>
                        <a:lnTo>
                          <a:pt x="834" y="3061"/>
                        </a:lnTo>
                        <a:lnTo>
                          <a:pt x="833" y="3056"/>
                        </a:lnTo>
                        <a:lnTo>
                          <a:pt x="813" y="3057"/>
                        </a:lnTo>
                        <a:lnTo>
                          <a:pt x="809" y="3067"/>
                        </a:lnTo>
                        <a:lnTo>
                          <a:pt x="818" y="3080"/>
                        </a:lnTo>
                        <a:lnTo>
                          <a:pt x="804" y="3088"/>
                        </a:lnTo>
                        <a:lnTo>
                          <a:pt x="800" y="3083"/>
                        </a:lnTo>
                        <a:lnTo>
                          <a:pt x="778" y="3083"/>
                        </a:lnTo>
                        <a:lnTo>
                          <a:pt x="771" y="3077"/>
                        </a:lnTo>
                        <a:lnTo>
                          <a:pt x="776" y="3063"/>
                        </a:lnTo>
                        <a:lnTo>
                          <a:pt x="764" y="3063"/>
                        </a:lnTo>
                        <a:lnTo>
                          <a:pt x="750" y="3058"/>
                        </a:lnTo>
                        <a:lnTo>
                          <a:pt x="755" y="3048"/>
                        </a:lnTo>
                        <a:lnTo>
                          <a:pt x="768" y="3040"/>
                        </a:lnTo>
                        <a:lnTo>
                          <a:pt x="783" y="3013"/>
                        </a:lnTo>
                        <a:lnTo>
                          <a:pt x="793" y="3003"/>
                        </a:lnTo>
                        <a:lnTo>
                          <a:pt x="823" y="3002"/>
                        </a:lnTo>
                        <a:lnTo>
                          <a:pt x="848" y="2997"/>
                        </a:lnTo>
                        <a:lnTo>
                          <a:pt x="855" y="2998"/>
                        </a:lnTo>
                        <a:lnTo>
                          <a:pt x="865" y="2991"/>
                        </a:lnTo>
                        <a:lnTo>
                          <a:pt x="923" y="2971"/>
                        </a:lnTo>
                        <a:lnTo>
                          <a:pt x="929" y="2965"/>
                        </a:lnTo>
                        <a:lnTo>
                          <a:pt x="955" y="2981"/>
                        </a:lnTo>
                        <a:lnTo>
                          <a:pt x="970" y="3008"/>
                        </a:lnTo>
                        <a:lnTo>
                          <a:pt x="964" y="3020"/>
                        </a:lnTo>
                        <a:lnTo>
                          <a:pt x="970" y="3041"/>
                        </a:lnTo>
                        <a:lnTo>
                          <a:pt x="960" y="3055"/>
                        </a:lnTo>
                        <a:lnTo>
                          <a:pt x="970" y="3061"/>
                        </a:lnTo>
                        <a:lnTo>
                          <a:pt x="973" y="3072"/>
                        </a:lnTo>
                        <a:lnTo>
                          <a:pt x="985" y="3088"/>
                        </a:lnTo>
                        <a:lnTo>
                          <a:pt x="991" y="3080"/>
                        </a:lnTo>
                        <a:lnTo>
                          <a:pt x="1004" y="3093"/>
                        </a:lnTo>
                        <a:lnTo>
                          <a:pt x="1016" y="3097"/>
                        </a:lnTo>
                        <a:lnTo>
                          <a:pt x="1010" y="3112"/>
                        </a:lnTo>
                        <a:lnTo>
                          <a:pt x="1020" y="3132"/>
                        </a:lnTo>
                        <a:lnTo>
                          <a:pt x="1031" y="3128"/>
                        </a:lnTo>
                        <a:lnTo>
                          <a:pt x="1041" y="3136"/>
                        </a:lnTo>
                        <a:lnTo>
                          <a:pt x="1051" y="3132"/>
                        </a:lnTo>
                        <a:lnTo>
                          <a:pt x="1059" y="3137"/>
                        </a:lnTo>
                        <a:lnTo>
                          <a:pt x="1071" y="3130"/>
                        </a:lnTo>
                        <a:lnTo>
                          <a:pt x="1080" y="3131"/>
                        </a:lnTo>
                        <a:lnTo>
                          <a:pt x="1083" y="3121"/>
                        </a:lnTo>
                        <a:lnTo>
                          <a:pt x="1094" y="3125"/>
                        </a:lnTo>
                        <a:lnTo>
                          <a:pt x="1091" y="3141"/>
                        </a:lnTo>
                        <a:lnTo>
                          <a:pt x="1108" y="3157"/>
                        </a:lnTo>
                        <a:lnTo>
                          <a:pt x="1116" y="3158"/>
                        </a:lnTo>
                        <a:lnTo>
                          <a:pt x="1128" y="3178"/>
                        </a:lnTo>
                        <a:lnTo>
                          <a:pt x="1146" y="3186"/>
                        </a:lnTo>
                        <a:lnTo>
                          <a:pt x="1160" y="3196"/>
                        </a:lnTo>
                        <a:lnTo>
                          <a:pt x="1168" y="3188"/>
                        </a:lnTo>
                        <a:lnTo>
                          <a:pt x="1180" y="3187"/>
                        </a:lnTo>
                        <a:lnTo>
                          <a:pt x="1186" y="3200"/>
                        </a:lnTo>
                        <a:lnTo>
                          <a:pt x="1205" y="3207"/>
                        </a:lnTo>
                        <a:lnTo>
                          <a:pt x="1211" y="3198"/>
                        </a:lnTo>
                        <a:lnTo>
                          <a:pt x="1224" y="3192"/>
                        </a:lnTo>
                        <a:lnTo>
                          <a:pt x="1243" y="3197"/>
                        </a:lnTo>
                        <a:lnTo>
                          <a:pt x="1259" y="3181"/>
                        </a:lnTo>
                        <a:lnTo>
                          <a:pt x="1295" y="3183"/>
                        </a:lnTo>
                        <a:lnTo>
                          <a:pt x="1300" y="3188"/>
                        </a:lnTo>
                        <a:lnTo>
                          <a:pt x="1320" y="3187"/>
                        </a:lnTo>
                        <a:lnTo>
                          <a:pt x="1329" y="3193"/>
                        </a:lnTo>
                        <a:lnTo>
                          <a:pt x="1343" y="3195"/>
                        </a:lnTo>
                        <a:lnTo>
                          <a:pt x="1353" y="3207"/>
                        </a:lnTo>
                        <a:lnTo>
                          <a:pt x="1374" y="3210"/>
                        </a:lnTo>
                        <a:lnTo>
                          <a:pt x="1410" y="3193"/>
                        </a:lnTo>
                        <a:lnTo>
                          <a:pt x="1388" y="3167"/>
                        </a:lnTo>
                        <a:lnTo>
                          <a:pt x="1388" y="3150"/>
                        </a:lnTo>
                        <a:lnTo>
                          <a:pt x="1401" y="3153"/>
                        </a:lnTo>
                        <a:lnTo>
                          <a:pt x="1419" y="3176"/>
                        </a:lnTo>
                        <a:lnTo>
                          <a:pt x="1428" y="3202"/>
                        </a:lnTo>
                        <a:lnTo>
                          <a:pt x="1438" y="3212"/>
                        </a:lnTo>
                        <a:lnTo>
                          <a:pt x="1455" y="3222"/>
                        </a:lnTo>
                        <a:lnTo>
                          <a:pt x="1460" y="3230"/>
                        </a:lnTo>
                        <a:lnTo>
                          <a:pt x="1471" y="3228"/>
                        </a:lnTo>
                        <a:lnTo>
                          <a:pt x="1476" y="3222"/>
                        </a:lnTo>
                        <a:lnTo>
                          <a:pt x="1494" y="3217"/>
                        </a:lnTo>
                        <a:lnTo>
                          <a:pt x="1485" y="3208"/>
                        </a:lnTo>
                        <a:lnTo>
                          <a:pt x="1490" y="3201"/>
                        </a:lnTo>
                        <a:lnTo>
                          <a:pt x="1484" y="3180"/>
                        </a:lnTo>
                        <a:lnTo>
                          <a:pt x="1478" y="3183"/>
                        </a:lnTo>
                        <a:lnTo>
                          <a:pt x="1458" y="3161"/>
                        </a:lnTo>
                        <a:lnTo>
                          <a:pt x="1443" y="3167"/>
                        </a:lnTo>
                        <a:lnTo>
                          <a:pt x="1422" y="3182"/>
                        </a:lnTo>
                        <a:lnTo>
                          <a:pt x="1420" y="3172"/>
                        </a:lnTo>
                        <a:lnTo>
                          <a:pt x="1410" y="3161"/>
                        </a:lnTo>
                        <a:lnTo>
                          <a:pt x="1406" y="3148"/>
                        </a:lnTo>
                        <a:lnTo>
                          <a:pt x="1415" y="3132"/>
                        </a:lnTo>
                        <a:lnTo>
                          <a:pt x="1404" y="3123"/>
                        </a:lnTo>
                        <a:lnTo>
                          <a:pt x="1401" y="3102"/>
                        </a:lnTo>
                        <a:lnTo>
                          <a:pt x="1409" y="3096"/>
                        </a:lnTo>
                        <a:lnTo>
                          <a:pt x="1424" y="3108"/>
                        </a:lnTo>
                        <a:lnTo>
                          <a:pt x="1430" y="3098"/>
                        </a:lnTo>
                        <a:lnTo>
                          <a:pt x="1449" y="3092"/>
                        </a:lnTo>
                        <a:lnTo>
                          <a:pt x="1436" y="3076"/>
                        </a:lnTo>
                        <a:lnTo>
                          <a:pt x="1445" y="3068"/>
                        </a:lnTo>
                        <a:lnTo>
                          <a:pt x="1458" y="3075"/>
                        </a:lnTo>
                        <a:lnTo>
                          <a:pt x="1473" y="3076"/>
                        </a:lnTo>
                        <a:lnTo>
                          <a:pt x="1483" y="3082"/>
                        </a:lnTo>
                        <a:lnTo>
                          <a:pt x="1499" y="3102"/>
                        </a:lnTo>
                        <a:lnTo>
                          <a:pt x="1504" y="3121"/>
                        </a:lnTo>
                        <a:lnTo>
                          <a:pt x="1519" y="3113"/>
                        </a:lnTo>
                        <a:lnTo>
                          <a:pt x="1531" y="3126"/>
                        </a:lnTo>
                        <a:lnTo>
                          <a:pt x="1511" y="3151"/>
                        </a:lnTo>
                        <a:lnTo>
                          <a:pt x="1514" y="3160"/>
                        </a:lnTo>
                        <a:lnTo>
                          <a:pt x="1526" y="3156"/>
                        </a:lnTo>
                        <a:lnTo>
                          <a:pt x="1529" y="3143"/>
                        </a:lnTo>
                        <a:lnTo>
                          <a:pt x="1538" y="3133"/>
                        </a:lnTo>
                        <a:lnTo>
                          <a:pt x="1563" y="3120"/>
                        </a:lnTo>
                        <a:lnTo>
                          <a:pt x="1558" y="3138"/>
                        </a:lnTo>
                        <a:lnTo>
                          <a:pt x="1561" y="3143"/>
                        </a:lnTo>
                        <a:lnTo>
                          <a:pt x="1558" y="3157"/>
                        </a:lnTo>
                        <a:lnTo>
                          <a:pt x="1549" y="3201"/>
                        </a:lnTo>
                        <a:lnTo>
                          <a:pt x="1551" y="3215"/>
                        </a:lnTo>
                        <a:lnTo>
                          <a:pt x="1533" y="3240"/>
                        </a:lnTo>
                        <a:lnTo>
                          <a:pt x="1541" y="3258"/>
                        </a:lnTo>
                        <a:lnTo>
                          <a:pt x="1555" y="3263"/>
                        </a:lnTo>
                        <a:lnTo>
                          <a:pt x="1548" y="3278"/>
                        </a:lnTo>
                        <a:lnTo>
                          <a:pt x="1558" y="3295"/>
                        </a:lnTo>
                        <a:lnTo>
                          <a:pt x="1580" y="3270"/>
                        </a:lnTo>
                        <a:lnTo>
                          <a:pt x="1593" y="3272"/>
                        </a:lnTo>
                        <a:lnTo>
                          <a:pt x="1590" y="3282"/>
                        </a:lnTo>
                        <a:lnTo>
                          <a:pt x="1575" y="3301"/>
                        </a:lnTo>
                        <a:lnTo>
                          <a:pt x="1594" y="3296"/>
                        </a:lnTo>
                        <a:lnTo>
                          <a:pt x="1603" y="3310"/>
                        </a:lnTo>
                        <a:lnTo>
                          <a:pt x="1606" y="3337"/>
                        </a:lnTo>
                        <a:lnTo>
                          <a:pt x="1589" y="3342"/>
                        </a:lnTo>
                        <a:lnTo>
                          <a:pt x="1585" y="3336"/>
                        </a:lnTo>
                        <a:lnTo>
                          <a:pt x="1571" y="3342"/>
                        </a:lnTo>
                        <a:lnTo>
                          <a:pt x="1574" y="3342"/>
                        </a:lnTo>
                        <a:lnTo>
                          <a:pt x="1579" y="3350"/>
                        </a:lnTo>
                        <a:lnTo>
                          <a:pt x="1599" y="3345"/>
                        </a:lnTo>
                        <a:lnTo>
                          <a:pt x="1609" y="3350"/>
                        </a:lnTo>
                        <a:lnTo>
                          <a:pt x="1614" y="3337"/>
                        </a:lnTo>
                        <a:lnTo>
                          <a:pt x="1609" y="3332"/>
                        </a:lnTo>
                        <a:lnTo>
                          <a:pt x="1606" y="3306"/>
                        </a:lnTo>
                        <a:lnTo>
                          <a:pt x="1611" y="3288"/>
                        </a:lnTo>
                        <a:lnTo>
                          <a:pt x="1601" y="3252"/>
                        </a:lnTo>
                        <a:lnTo>
                          <a:pt x="1606" y="3246"/>
                        </a:lnTo>
                        <a:lnTo>
                          <a:pt x="1598" y="3225"/>
                        </a:lnTo>
                        <a:lnTo>
                          <a:pt x="1583" y="3212"/>
                        </a:lnTo>
                        <a:lnTo>
                          <a:pt x="1584" y="3203"/>
                        </a:lnTo>
                        <a:lnTo>
                          <a:pt x="1593" y="3196"/>
                        </a:lnTo>
                        <a:lnTo>
                          <a:pt x="1590" y="3180"/>
                        </a:lnTo>
                        <a:lnTo>
                          <a:pt x="1600" y="3160"/>
                        </a:lnTo>
                        <a:lnTo>
                          <a:pt x="1597" y="3151"/>
                        </a:lnTo>
                        <a:lnTo>
                          <a:pt x="1611" y="3151"/>
                        </a:lnTo>
                        <a:lnTo>
                          <a:pt x="1636" y="3157"/>
                        </a:lnTo>
                        <a:lnTo>
                          <a:pt x="1669" y="3120"/>
                        </a:lnTo>
                        <a:lnTo>
                          <a:pt x="1676" y="3116"/>
                        </a:lnTo>
                        <a:lnTo>
                          <a:pt x="1676" y="3097"/>
                        </a:lnTo>
                        <a:lnTo>
                          <a:pt x="1693" y="3080"/>
                        </a:lnTo>
                        <a:lnTo>
                          <a:pt x="1718" y="3063"/>
                        </a:lnTo>
                        <a:lnTo>
                          <a:pt x="1705" y="3056"/>
                        </a:lnTo>
                        <a:lnTo>
                          <a:pt x="1711" y="3022"/>
                        </a:lnTo>
                        <a:lnTo>
                          <a:pt x="1714" y="3012"/>
                        </a:lnTo>
                        <a:lnTo>
                          <a:pt x="1710" y="2995"/>
                        </a:lnTo>
                        <a:lnTo>
                          <a:pt x="1694" y="2986"/>
                        </a:lnTo>
                        <a:lnTo>
                          <a:pt x="1685" y="3003"/>
                        </a:lnTo>
                        <a:lnTo>
                          <a:pt x="1681" y="3031"/>
                        </a:lnTo>
                        <a:lnTo>
                          <a:pt x="1670" y="3032"/>
                        </a:lnTo>
                        <a:lnTo>
                          <a:pt x="1663" y="3037"/>
                        </a:lnTo>
                        <a:lnTo>
                          <a:pt x="1649" y="3032"/>
                        </a:lnTo>
                        <a:lnTo>
                          <a:pt x="1654" y="3008"/>
                        </a:lnTo>
                        <a:lnTo>
                          <a:pt x="1665" y="2985"/>
                        </a:lnTo>
                        <a:lnTo>
                          <a:pt x="1673" y="2983"/>
                        </a:lnTo>
                        <a:lnTo>
                          <a:pt x="1679" y="2966"/>
                        </a:lnTo>
                        <a:lnTo>
                          <a:pt x="1666" y="2962"/>
                        </a:lnTo>
                        <a:lnTo>
                          <a:pt x="1671" y="2931"/>
                        </a:lnTo>
                        <a:lnTo>
                          <a:pt x="1684" y="2926"/>
                        </a:lnTo>
                        <a:lnTo>
                          <a:pt x="1698" y="2935"/>
                        </a:lnTo>
                        <a:lnTo>
                          <a:pt x="1694" y="2946"/>
                        </a:lnTo>
                        <a:lnTo>
                          <a:pt x="1705" y="2950"/>
                        </a:lnTo>
                        <a:lnTo>
                          <a:pt x="1720" y="2926"/>
                        </a:lnTo>
                        <a:lnTo>
                          <a:pt x="1711" y="2923"/>
                        </a:lnTo>
                        <a:lnTo>
                          <a:pt x="1718" y="2905"/>
                        </a:lnTo>
                        <a:lnTo>
                          <a:pt x="1713" y="2896"/>
                        </a:lnTo>
                        <a:lnTo>
                          <a:pt x="1693" y="2905"/>
                        </a:lnTo>
                        <a:lnTo>
                          <a:pt x="1690" y="2913"/>
                        </a:lnTo>
                        <a:lnTo>
                          <a:pt x="1666" y="2911"/>
                        </a:lnTo>
                        <a:lnTo>
                          <a:pt x="1653" y="2890"/>
                        </a:lnTo>
                        <a:lnTo>
                          <a:pt x="1650" y="2878"/>
                        </a:lnTo>
                        <a:lnTo>
                          <a:pt x="1631" y="2891"/>
                        </a:lnTo>
                        <a:lnTo>
                          <a:pt x="1599" y="2871"/>
                        </a:lnTo>
                        <a:lnTo>
                          <a:pt x="1584" y="2853"/>
                        </a:lnTo>
                        <a:lnTo>
                          <a:pt x="1564" y="2853"/>
                        </a:lnTo>
                        <a:lnTo>
                          <a:pt x="1556" y="2840"/>
                        </a:lnTo>
                        <a:lnTo>
                          <a:pt x="1556" y="2823"/>
                        </a:lnTo>
                        <a:lnTo>
                          <a:pt x="1547" y="2821"/>
                        </a:lnTo>
                        <a:lnTo>
                          <a:pt x="1534" y="2798"/>
                        </a:lnTo>
                        <a:lnTo>
                          <a:pt x="1529" y="2773"/>
                        </a:lnTo>
                        <a:lnTo>
                          <a:pt x="1529" y="2760"/>
                        </a:lnTo>
                        <a:lnTo>
                          <a:pt x="1547" y="2718"/>
                        </a:lnTo>
                        <a:lnTo>
                          <a:pt x="1551" y="2705"/>
                        </a:lnTo>
                        <a:lnTo>
                          <a:pt x="1539" y="2693"/>
                        </a:lnTo>
                        <a:lnTo>
                          <a:pt x="1526" y="2668"/>
                        </a:lnTo>
                        <a:lnTo>
                          <a:pt x="1534" y="2632"/>
                        </a:lnTo>
                        <a:lnTo>
                          <a:pt x="1539" y="2626"/>
                        </a:lnTo>
                        <a:lnTo>
                          <a:pt x="1530" y="2615"/>
                        </a:lnTo>
                        <a:lnTo>
                          <a:pt x="1536" y="2607"/>
                        </a:lnTo>
                        <a:lnTo>
                          <a:pt x="1537" y="2590"/>
                        </a:lnTo>
                        <a:lnTo>
                          <a:pt x="1550" y="2568"/>
                        </a:lnTo>
                        <a:lnTo>
                          <a:pt x="1564" y="2563"/>
                        </a:lnTo>
                        <a:lnTo>
                          <a:pt x="1582" y="2586"/>
                        </a:lnTo>
                        <a:lnTo>
                          <a:pt x="1590" y="2585"/>
                        </a:lnTo>
                        <a:lnTo>
                          <a:pt x="1594" y="2573"/>
                        </a:lnTo>
                        <a:lnTo>
                          <a:pt x="1589" y="2562"/>
                        </a:lnTo>
                        <a:lnTo>
                          <a:pt x="1594" y="2551"/>
                        </a:lnTo>
                        <a:lnTo>
                          <a:pt x="1574" y="2546"/>
                        </a:lnTo>
                        <a:lnTo>
                          <a:pt x="1566" y="2538"/>
                        </a:lnTo>
                        <a:lnTo>
                          <a:pt x="1571" y="2525"/>
                        </a:lnTo>
                        <a:lnTo>
                          <a:pt x="1591" y="2507"/>
                        </a:lnTo>
                        <a:lnTo>
                          <a:pt x="1602" y="2507"/>
                        </a:lnTo>
                        <a:lnTo>
                          <a:pt x="1606" y="2466"/>
                        </a:lnTo>
                        <a:lnTo>
                          <a:pt x="1645" y="2456"/>
                        </a:lnTo>
                        <a:lnTo>
                          <a:pt x="1652" y="2466"/>
                        </a:lnTo>
                        <a:lnTo>
                          <a:pt x="1649" y="2483"/>
                        </a:lnTo>
                        <a:lnTo>
                          <a:pt x="1639" y="2490"/>
                        </a:lnTo>
                        <a:lnTo>
                          <a:pt x="1646" y="2498"/>
                        </a:lnTo>
                        <a:lnTo>
                          <a:pt x="1674" y="2495"/>
                        </a:lnTo>
                        <a:lnTo>
                          <a:pt x="1692" y="2508"/>
                        </a:lnTo>
                        <a:lnTo>
                          <a:pt x="1687" y="2518"/>
                        </a:lnTo>
                        <a:lnTo>
                          <a:pt x="1697" y="2532"/>
                        </a:lnTo>
                        <a:lnTo>
                          <a:pt x="1722" y="2551"/>
                        </a:lnTo>
                        <a:lnTo>
                          <a:pt x="1726" y="2565"/>
                        </a:lnTo>
                        <a:lnTo>
                          <a:pt x="1736" y="2571"/>
                        </a:lnTo>
                        <a:lnTo>
                          <a:pt x="1740" y="2595"/>
                        </a:lnTo>
                        <a:lnTo>
                          <a:pt x="1745" y="2607"/>
                        </a:lnTo>
                        <a:lnTo>
                          <a:pt x="1744" y="2652"/>
                        </a:lnTo>
                        <a:lnTo>
                          <a:pt x="1750" y="2668"/>
                        </a:lnTo>
                        <a:lnTo>
                          <a:pt x="1757" y="2675"/>
                        </a:lnTo>
                        <a:lnTo>
                          <a:pt x="1762" y="2690"/>
                        </a:lnTo>
                        <a:lnTo>
                          <a:pt x="1784" y="2700"/>
                        </a:lnTo>
                        <a:lnTo>
                          <a:pt x="1787" y="2716"/>
                        </a:lnTo>
                        <a:lnTo>
                          <a:pt x="1794" y="2727"/>
                        </a:lnTo>
                        <a:lnTo>
                          <a:pt x="1802" y="2753"/>
                        </a:lnTo>
                        <a:lnTo>
                          <a:pt x="1810" y="2745"/>
                        </a:lnTo>
                        <a:lnTo>
                          <a:pt x="1817" y="2747"/>
                        </a:lnTo>
                        <a:lnTo>
                          <a:pt x="1821" y="2770"/>
                        </a:lnTo>
                        <a:lnTo>
                          <a:pt x="1829" y="2775"/>
                        </a:lnTo>
                        <a:lnTo>
                          <a:pt x="1830" y="2783"/>
                        </a:lnTo>
                        <a:lnTo>
                          <a:pt x="1804" y="2788"/>
                        </a:lnTo>
                        <a:lnTo>
                          <a:pt x="1786" y="2773"/>
                        </a:lnTo>
                        <a:lnTo>
                          <a:pt x="1776" y="2781"/>
                        </a:lnTo>
                        <a:lnTo>
                          <a:pt x="1775" y="2795"/>
                        </a:lnTo>
                        <a:lnTo>
                          <a:pt x="1796" y="2795"/>
                        </a:lnTo>
                        <a:lnTo>
                          <a:pt x="1807" y="2806"/>
                        </a:lnTo>
                        <a:lnTo>
                          <a:pt x="1791" y="2826"/>
                        </a:lnTo>
                        <a:lnTo>
                          <a:pt x="1789" y="2833"/>
                        </a:lnTo>
                        <a:lnTo>
                          <a:pt x="1772" y="2843"/>
                        </a:lnTo>
                        <a:lnTo>
                          <a:pt x="1754" y="2865"/>
                        </a:lnTo>
                        <a:lnTo>
                          <a:pt x="1777" y="2865"/>
                        </a:lnTo>
                        <a:lnTo>
                          <a:pt x="1801" y="2888"/>
                        </a:lnTo>
                        <a:lnTo>
                          <a:pt x="1820" y="2895"/>
                        </a:lnTo>
                        <a:lnTo>
                          <a:pt x="1832" y="2882"/>
                        </a:lnTo>
                        <a:lnTo>
                          <a:pt x="1841" y="2867"/>
                        </a:lnTo>
                        <a:lnTo>
                          <a:pt x="1852" y="2871"/>
                        </a:lnTo>
                        <a:lnTo>
                          <a:pt x="1862" y="2893"/>
                        </a:lnTo>
                        <a:lnTo>
                          <a:pt x="1875" y="2888"/>
                        </a:lnTo>
                        <a:lnTo>
                          <a:pt x="1884" y="2896"/>
                        </a:lnTo>
                        <a:lnTo>
                          <a:pt x="1890" y="2887"/>
                        </a:lnTo>
                        <a:lnTo>
                          <a:pt x="1904" y="2895"/>
                        </a:lnTo>
                        <a:lnTo>
                          <a:pt x="1901" y="2902"/>
                        </a:lnTo>
                        <a:lnTo>
                          <a:pt x="1882" y="2917"/>
                        </a:lnTo>
                        <a:lnTo>
                          <a:pt x="1884" y="2937"/>
                        </a:lnTo>
                        <a:lnTo>
                          <a:pt x="1870" y="2943"/>
                        </a:lnTo>
                        <a:lnTo>
                          <a:pt x="1886" y="2962"/>
                        </a:lnTo>
                        <a:lnTo>
                          <a:pt x="1894" y="2966"/>
                        </a:lnTo>
                        <a:lnTo>
                          <a:pt x="1897" y="2981"/>
                        </a:lnTo>
                        <a:lnTo>
                          <a:pt x="1909" y="3000"/>
                        </a:lnTo>
                        <a:lnTo>
                          <a:pt x="1909" y="3030"/>
                        </a:lnTo>
                        <a:lnTo>
                          <a:pt x="1905" y="3045"/>
                        </a:lnTo>
                        <a:lnTo>
                          <a:pt x="1910" y="3051"/>
                        </a:lnTo>
                        <a:lnTo>
                          <a:pt x="1909" y="3068"/>
                        </a:lnTo>
                        <a:lnTo>
                          <a:pt x="1904" y="3077"/>
                        </a:lnTo>
                        <a:lnTo>
                          <a:pt x="1920" y="3088"/>
                        </a:lnTo>
                        <a:lnTo>
                          <a:pt x="1927" y="3110"/>
                        </a:lnTo>
                        <a:lnTo>
                          <a:pt x="1936" y="3106"/>
                        </a:lnTo>
                        <a:lnTo>
                          <a:pt x="1934" y="3097"/>
                        </a:lnTo>
                        <a:lnTo>
                          <a:pt x="1942" y="3086"/>
                        </a:lnTo>
                        <a:lnTo>
                          <a:pt x="1942" y="3076"/>
                        </a:lnTo>
                        <a:lnTo>
                          <a:pt x="1950" y="3067"/>
                        </a:lnTo>
                        <a:lnTo>
                          <a:pt x="1951" y="3057"/>
                        </a:lnTo>
                        <a:lnTo>
                          <a:pt x="1944" y="3045"/>
                        </a:lnTo>
                        <a:lnTo>
                          <a:pt x="1957" y="3008"/>
                        </a:lnTo>
                        <a:lnTo>
                          <a:pt x="1952" y="2992"/>
                        </a:lnTo>
                        <a:lnTo>
                          <a:pt x="1956" y="2970"/>
                        </a:lnTo>
                        <a:lnTo>
                          <a:pt x="1962" y="2961"/>
                        </a:lnTo>
                        <a:lnTo>
                          <a:pt x="1974" y="2932"/>
                        </a:lnTo>
                        <a:lnTo>
                          <a:pt x="1982" y="2926"/>
                        </a:lnTo>
                        <a:lnTo>
                          <a:pt x="1999" y="2933"/>
                        </a:lnTo>
                        <a:lnTo>
                          <a:pt x="2005" y="2948"/>
                        </a:lnTo>
                        <a:lnTo>
                          <a:pt x="2014" y="2958"/>
                        </a:lnTo>
                        <a:lnTo>
                          <a:pt x="2045" y="2982"/>
                        </a:lnTo>
                        <a:lnTo>
                          <a:pt x="2061" y="3002"/>
                        </a:lnTo>
                        <a:lnTo>
                          <a:pt x="2070" y="3026"/>
                        </a:lnTo>
                        <a:lnTo>
                          <a:pt x="2069" y="3036"/>
                        </a:lnTo>
                        <a:lnTo>
                          <a:pt x="2079" y="3060"/>
                        </a:lnTo>
                        <a:lnTo>
                          <a:pt x="2084" y="3082"/>
                        </a:lnTo>
                        <a:lnTo>
                          <a:pt x="2075" y="3106"/>
                        </a:lnTo>
                        <a:lnTo>
                          <a:pt x="2059" y="3096"/>
                        </a:lnTo>
                        <a:lnTo>
                          <a:pt x="2054" y="3083"/>
                        </a:lnTo>
                        <a:lnTo>
                          <a:pt x="2045" y="3096"/>
                        </a:lnTo>
                        <a:lnTo>
                          <a:pt x="2055" y="3121"/>
                        </a:lnTo>
                        <a:lnTo>
                          <a:pt x="2050" y="3137"/>
                        </a:lnTo>
                        <a:lnTo>
                          <a:pt x="2051" y="3147"/>
                        </a:lnTo>
                        <a:lnTo>
                          <a:pt x="2062" y="3180"/>
                        </a:lnTo>
                        <a:lnTo>
                          <a:pt x="2070" y="3196"/>
                        </a:lnTo>
                        <a:lnTo>
                          <a:pt x="2082" y="3206"/>
                        </a:lnTo>
                        <a:lnTo>
                          <a:pt x="2106" y="3235"/>
                        </a:lnTo>
                        <a:lnTo>
                          <a:pt x="2119" y="3246"/>
                        </a:lnTo>
                        <a:lnTo>
                          <a:pt x="2121" y="3261"/>
                        </a:lnTo>
                        <a:lnTo>
                          <a:pt x="2131" y="3277"/>
                        </a:lnTo>
                        <a:lnTo>
                          <a:pt x="2141" y="3265"/>
                        </a:lnTo>
                        <a:lnTo>
                          <a:pt x="2154" y="3261"/>
                        </a:lnTo>
                        <a:lnTo>
                          <a:pt x="2152" y="3242"/>
                        </a:lnTo>
                        <a:lnTo>
                          <a:pt x="2162" y="3232"/>
                        </a:lnTo>
                        <a:lnTo>
                          <a:pt x="2170" y="3238"/>
                        </a:lnTo>
                        <a:lnTo>
                          <a:pt x="2181" y="3237"/>
                        </a:lnTo>
                        <a:lnTo>
                          <a:pt x="2179" y="3196"/>
                        </a:lnTo>
                        <a:lnTo>
                          <a:pt x="2175" y="3185"/>
                        </a:lnTo>
                        <a:lnTo>
                          <a:pt x="2181" y="3163"/>
                        </a:lnTo>
                        <a:lnTo>
                          <a:pt x="2195" y="3136"/>
                        </a:lnTo>
                        <a:lnTo>
                          <a:pt x="2207" y="3118"/>
                        </a:lnTo>
                        <a:lnTo>
                          <a:pt x="2206" y="3096"/>
                        </a:lnTo>
                        <a:lnTo>
                          <a:pt x="2212" y="3058"/>
                        </a:lnTo>
                        <a:lnTo>
                          <a:pt x="2207" y="3017"/>
                        </a:lnTo>
                        <a:lnTo>
                          <a:pt x="2210" y="3001"/>
                        </a:lnTo>
                        <a:lnTo>
                          <a:pt x="2237" y="2998"/>
                        </a:lnTo>
                        <a:lnTo>
                          <a:pt x="2252" y="2990"/>
                        </a:lnTo>
                        <a:lnTo>
                          <a:pt x="2261" y="2980"/>
                        </a:lnTo>
                        <a:lnTo>
                          <a:pt x="2240" y="2978"/>
                        </a:lnTo>
                        <a:lnTo>
                          <a:pt x="2251" y="2960"/>
                        </a:lnTo>
                        <a:lnTo>
                          <a:pt x="2247" y="2946"/>
                        </a:lnTo>
                        <a:lnTo>
                          <a:pt x="2262" y="2946"/>
                        </a:lnTo>
                        <a:lnTo>
                          <a:pt x="2257" y="2932"/>
                        </a:lnTo>
                        <a:lnTo>
                          <a:pt x="2229" y="2928"/>
                        </a:lnTo>
                        <a:lnTo>
                          <a:pt x="2220" y="2917"/>
                        </a:lnTo>
                        <a:lnTo>
                          <a:pt x="2204" y="2873"/>
                        </a:lnTo>
                        <a:lnTo>
                          <a:pt x="2205" y="2853"/>
                        </a:lnTo>
                        <a:lnTo>
                          <a:pt x="2199" y="2840"/>
                        </a:lnTo>
                        <a:lnTo>
                          <a:pt x="2204" y="2833"/>
                        </a:lnTo>
                        <a:lnTo>
                          <a:pt x="2199" y="2820"/>
                        </a:lnTo>
                        <a:lnTo>
                          <a:pt x="2219" y="2812"/>
                        </a:lnTo>
                        <a:lnTo>
                          <a:pt x="2246" y="2798"/>
                        </a:lnTo>
                        <a:lnTo>
                          <a:pt x="2268" y="2795"/>
                        </a:lnTo>
                        <a:lnTo>
                          <a:pt x="2279" y="2800"/>
                        </a:lnTo>
                        <a:lnTo>
                          <a:pt x="2288" y="2810"/>
                        </a:lnTo>
                        <a:lnTo>
                          <a:pt x="2306" y="2816"/>
                        </a:lnTo>
                        <a:lnTo>
                          <a:pt x="2330" y="2818"/>
                        </a:lnTo>
                        <a:lnTo>
                          <a:pt x="2336" y="2812"/>
                        </a:lnTo>
                        <a:lnTo>
                          <a:pt x="2351" y="2815"/>
                        </a:lnTo>
                        <a:lnTo>
                          <a:pt x="2358" y="2812"/>
                        </a:lnTo>
                        <a:lnTo>
                          <a:pt x="2378" y="2812"/>
                        </a:lnTo>
                        <a:lnTo>
                          <a:pt x="2378" y="2831"/>
                        </a:lnTo>
                        <a:lnTo>
                          <a:pt x="2386" y="2843"/>
                        </a:lnTo>
                        <a:lnTo>
                          <a:pt x="2344" y="2842"/>
                        </a:lnTo>
                        <a:lnTo>
                          <a:pt x="2403" y="2853"/>
                        </a:lnTo>
                        <a:lnTo>
                          <a:pt x="2403" y="2865"/>
                        </a:lnTo>
                        <a:lnTo>
                          <a:pt x="2410" y="2886"/>
                        </a:lnTo>
                        <a:lnTo>
                          <a:pt x="2424" y="2876"/>
                        </a:lnTo>
                        <a:lnTo>
                          <a:pt x="2439" y="2875"/>
                        </a:lnTo>
                        <a:lnTo>
                          <a:pt x="2456" y="2883"/>
                        </a:lnTo>
                        <a:lnTo>
                          <a:pt x="2466" y="2885"/>
                        </a:lnTo>
                        <a:lnTo>
                          <a:pt x="2466" y="2900"/>
                        </a:lnTo>
                        <a:lnTo>
                          <a:pt x="2458" y="2918"/>
                        </a:lnTo>
                        <a:lnTo>
                          <a:pt x="2450" y="2921"/>
                        </a:lnTo>
                        <a:lnTo>
                          <a:pt x="2451" y="2937"/>
                        </a:lnTo>
                        <a:lnTo>
                          <a:pt x="2460" y="2942"/>
                        </a:lnTo>
                        <a:lnTo>
                          <a:pt x="2474" y="2941"/>
                        </a:lnTo>
                        <a:lnTo>
                          <a:pt x="2484" y="2955"/>
                        </a:lnTo>
                        <a:lnTo>
                          <a:pt x="2486" y="2978"/>
                        </a:lnTo>
                        <a:lnTo>
                          <a:pt x="2466" y="3003"/>
                        </a:lnTo>
                        <a:lnTo>
                          <a:pt x="2458" y="3002"/>
                        </a:lnTo>
                        <a:lnTo>
                          <a:pt x="2455" y="3012"/>
                        </a:lnTo>
                        <a:lnTo>
                          <a:pt x="2445" y="3021"/>
                        </a:lnTo>
                        <a:lnTo>
                          <a:pt x="2440" y="3010"/>
                        </a:lnTo>
                        <a:lnTo>
                          <a:pt x="2429" y="3018"/>
                        </a:lnTo>
                        <a:lnTo>
                          <a:pt x="2408" y="3016"/>
                        </a:lnTo>
                        <a:lnTo>
                          <a:pt x="2414" y="3028"/>
                        </a:lnTo>
                        <a:lnTo>
                          <a:pt x="2425" y="3037"/>
                        </a:lnTo>
                        <a:lnTo>
                          <a:pt x="2426" y="3052"/>
                        </a:lnTo>
                        <a:lnTo>
                          <a:pt x="2434" y="3058"/>
                        </a:lnTo>
                        <a:lnTo>
                          <a:pt x="2434" y="3072"/>
                        </a:lnTo>
                        <a:lnTo>
                          <a:pt x="2448" y="3076"/>
                        </a:lnTo>
                        <a:lnTo>
                          <a:pt x="2446" y="3096"/>
                        </a:lnTo>
                        <a:lnTo>
                          <a:pt x="2454" y="3112"/>
                        </a:lnTo>
                        <a:lnTo>
                          <a:pt x="2488" y="3143"/>
                        </a:lnTo>
                        <a:lnTo>
                          <a:pt x="2501" y="3151"/>
                        </a:lnTo>
                        <a:lnTo>
                          <a:pt x="2520" y="3177"/>
                        </a:lnTo>
                        <a:lnTo>
                          <a:pt x="2518" y="3208"/>
                        </a:lnTo>
                        <a:lnTo>
                          <a:pt x="2519" y="3241"/>
                        </a:lnTo>
                        <a:lnTo>
                          <a:pt x="2514" y="3258"/>
                        </a:lnTo>
                        <a:lnTo>
                          <a:pt x="2503" y="3263"/>
                        </a:lnTo>
                        <a:lnTo>
                          <a:pt x="2486" y="3266"/>
                        </a:lnTo>
                        <a:lnTo>
                          <a:pt x="2483" y="3291"/>
                        </a:lnTo>
                        <a:lnTo>
                          <a:pt x="2478" y="3302"/>
                        </a:lnTo>
                        <a:lnTo>
                          <a:pt x="2465" y="3311"/>
                        </a:lnTo>
                        <a:lnTo>
                          <a:pt x="2453" y="3341"/>
                        </a:lnTo>
                        <a:lnTo>
                          <a:pt x="2438" y="3342"/>
                        </a:lnTo>
                        <a:lnTo>
                          <a:pt x="2428" y="3347"/>
                        </a:lnTo>
                        <a:lnTo>
                          <a:pt x="2428" y="3356"/>
                        </a:lnTo>
                        <a:lnTo>
                          <a:pt x="2409" y="3383"/>
                        </a:lnTo>
                        <a:lnTo>
                          <a:pt x="2395" y="3382"/>
                        </a:lnTo>
                        <a:lnTo>
                          <a:pt x="2394" y="3372"/>
                        </a:lnTo>
                        <a:lnTo>
                          <a:pt x="2384" y="3357"/>
                        </a:lnTo>
                        <a:lnTo>
                          <a:pt x="2373" y="3356"/>
                        </a:lnTo>
                        <a:lnTo>
                          <a:pt x="2360" y="3342"/>
                        </a:lnTo>
                        <a:lnTo>
                          <a:pt x="2359" y="3332"/>
                        </a:lnTo>
                        <a:lnTo>
                          <a:pt x="2364" y="3314"/>
                        </a:lnTo>
                        <a:lnTo>
                          <a:pt x="2355" y="3314"/>
                        </a:lnTo>
                        <a:lnTo>
                          <a:pt x="2350" y="3331"/>
                        </a:lnTo>
                        <a:lnTo>
                          <a:pt x="2341" y="3328"/>
                        </a:lnTo>
                        <a:lnTo>
                          <a:pt x="2336" y="3317"/>
                        </a:lnTo>
                        <a:lnTo>
                          <a:pt x="2340" y="3309"/>
                        </a:lnTo>
                        <a:lnTo>
                          <a:pt x="2328" y="3303"/>
                        </a:lnTo>
                        <a:lnTo>
                          <a:pt x="2329" y="3288"/>
                        </a:lnTo>
                        <a:lnTo>
                          <a:pt x="2311" y="3289"/>
                        </a:lnTo>
                        <a:lnTo>
                          <a:pt x="2288" y="3294"/>
                        </a:lnTo>
                        <a:lnTo>
                          <a:pt x="2275" y="3304"/>
                        </a:lnTo>
                        <a:lnTo>
                          <a:pt x="2281" y="3317"/>
                        </a:lnTo>
                        <a:lnTo>
                          <a:pt x="2294" y="3309"/>
                        </a:lnTo>
                        <a:lnTo>
                          <a:pt x="2296" y="3297"/>
                        </a:lnTo>
                        <a:lnTo>
                          <a:pt x="2314" y="3296"/>
                        </a:lnTo>
                        <a:lnTo>
                          <a:pt x="2320" y="3314"/>
                        </a:lnTo>
                        <a:lnTo>
                          <a:pt x="2335" y="3324"/>
                        </a:lnTo>
                        <a:lnTo>
                          <a:pt x="2339" y="3337"/>
                        </a:lnTo>
                        <a:lnTo>
                          <a:pt x="2350" y="3334"/>
                        </a:lnTo>
                        <a:lnTo>
                          <a:pt x="2348" y="3351"/>
                        </a:lnTo>
                        <a:lnTo>
                          <a:pt x="2366" y="3368"/>
                        </a:lnTo>
                        <a:lnTo>
                          <a:pt x="2391" y="3412"/>
                        </a:lnTo>
                        <a:lnTo>
                          <a:pt x="2373" y="3413"/>
                        </a:lnTo>
                        <a:lnTo>
                          <a:pt x="2354" y="3396"/>
                        </a:lnTo>
                        <a:lnTo>
                          <a:pt x="2341" y="3401"/>
                        </a:lnTo>
                        <a:lnTo>
                          <a:pt x="2336" y="3388"/>
                        </a:lnTo>
                        <a:lnTo>
                          <a:pt x="2325" y="3396"/>
                        </a:lnTo>
                        <a:lnTo>
                          <a:pt x="2345" y="3419"/>
                        </a:lnTo>
                        <a:lnTo>
                          <a:pt x="2339" y="3424"/>
                        </a:lnTo>
                        <a:lnTo>
                          <a:pt x="2329" y="3417"/>
                        </a:lnTo>
                        <a:lnTo>
                          <a:pt x="2303" y="3413"/>
                        </a:lnTo>
                        <a:lnTo>
                          <a:pt x="2293" y="3408"/>
                        </a:lnTo>
                        <a:lnTo>
                          <a:pt x="2284" y="3411"/>
                        </a:lnTo>
                        <a:lnTo>
                          <a:pt x="2276" y="3378"/>
                        </a:lnTo>
                        <a:lnTo>
                          <a:pt x="2269" y="3364"/>
                        </a:lnTo>
                        <a:lnTo>
                          <a:pt x="2260" y="3366"/>
                        </a:lnTo>
                        <a:lnTo>
                          <a:pt x="2246" y="3376"/>
                        </a:lnTo>
                        <a:lnTo>
                          <a:pt x="2221" y="3381"/>
                        </a:lnTo>
                        <a:lnTo>
                          <a:pt x="2189" y="3383"/>
                        </a:lnTo>
                        <a:lnTo>
                          <a:pt x="2190" y="3394"/>
                        </a:lnTo>
                        <a:lnTo>
                          <a:pt x="2179" y="3398"/>
                        </a:lnTo>
                        <a:lnTo>
                          <a:pt x="2193" y="3416"/>
                        </a:lnTo>
                        <a:lnTo>
                          <a:pt x="2211" y="3418"/>
                        </a:lnTo>
                        <a:lnTo>
                          <a:pt x="2239" y="3431"/>
                        </a:lnTo>
                        <a:lnTo>
                          <a:pt x="2246" y="3436"/>
                        </a:lnTo>
                        <a:lnTo>
                          <a:pt x="2240" y="3447"/>
                        </a:lnTo>
                        <a:lnTo>
                          <a:pt x="2241" y="3457"/>
                        </a:lnTo>
                        <a:lnTo>
                          <a:pt x="2228" y="3468"/>
                        </a:lnTo>
                        <a:lnTo>
                          <a:pt x="2228" y="3476"/>
                        </a:lnTo>
                        <a:lnTo>
                          <a:pt x="2214" y="3482"/>
                        </a:lnTo>
                        <a:lnTo>
                          <a:pt x="2210" y="3499"/>
                        </a:lnTo>
                        <a:lnTo>
                          <a:pt x="2213" y="3511"/>
                        </a:lnTo>
                        <a:lnTo>
                          <a:pt x="2208" y="3522"/>
                        </a:lnTo>
                        <a:lnTo>
                          <a:pt x="2199" y="3528"/>
                        </a:lnTo>
                        <a:lnTo>
                          <a:pt x="2191" y="3542"/>
                        </a:lnTo>
                        <a:lnTo>
                          <a:pt x="2183" y="3547"/>
                        </a:lnTo>
                        <a:lnTo>
                          <a:pt x="2174" y="3559"/>
                        </a:lnTo>
                        <a:lnTo>
                          <a:pt x="2176" y="3571"/>
                        </a:lnTo>
                        <a:lnTo>
                          <a:pt x="2158" y="3584"/>
                        </a:lnTo>
                        <a:lnTo>
                          <a:pt x="2120" y="3587"/>
                        </a:lnTo>
                        <a:lnTo>
                          <a:pt x="2099" y="3577"/>
                        </a:lnTo>
                        <a:lnTo>
                          <a:pt x="2090" y="3563"/>
                        </a:lnTo>
                        <a:lnTo>
                          <a:pt x="2074" y="3549"/>
                        </a:lnTo>
                        <a:lnTo>
                          <a:pt x="2070" y="3539"/>
                        </a:lnTo>
                        <a:lnTo>
                          <a:pt x="2051" y="3531"/>
                        </a:lnTo>
                        <a:lnTo>
                          <a:pt x="2043" y="3533"/>
                        </a:lnTo>
                        <a:lnTo>
                          <a:pt x="2016" y="3511"/>
                        </a:lnTo>
                        <a:lnTo>
                          <a:pt x="1991" y="3494"/>
                        </a:lnTo>
                        <a:lnTo>
                          <a:pt x="1983" y="3514"/>
                        </a:lnTo>
                        <a:lnTo>
                          <a:pt x="1968" y="3506"/>
                        </a:lnTo>
                        <a:lnTo>
                          <a:pt x="1950" y="3512"/>
                        </a:lnTo>
                        <a:lnTo>
                          <a:pt x="1944" y="3504"/>
                        </a:lnTo>
                        <a:lnTo>
                          <a:pt x="1890" y="3501"/>
                        </a:lnTo>
                        <a:lnTo>
                          <a:pt x="1881" y="3497"/>
                        </a:lnTo>
                        <a:lnTo>
                          <a:pt x="1869" y="3502"/>
                        </a:lnTo>
                        <a:lnTo>
                          <a:pt x="1895" y="3518"/>
                        </a:lnTo>
                        <a:lnTo>
                          <a:pt x="1898" y="3503"/>
                        </a:lnTo>
                        <a:lnTo>
                          <a:pt x="1910" y="3507"/>
                        </a:lnTo>
                        <a:lnTo>
                          <a:pt x="1935" y="3509"/>
                        </a:lnTo>
                        <a:lnTo>
                          <a:pt x="1975" y="3522"/>
                        </a:lnTo>
                        <a:lnTo>
                          <a:pt x="1990" y="3532"/>
                        </a:lnTo>
                        <a:lnTo>
                          <a:pt x="2000" y="3544"/>
                        </a:lnTo>
                        <a:lnTo>
                          <a:pt x="2009" y="3549"/>
                        </a:lnTo>
                        <a:lnTo>
                          <a:pt x="2016" y="3567"/>
                        </a:lnTo>
                        <a:lnTo>
                          <a:pt x="2031" y="3577"/>
                        </a:lnTo>
                        <a:lnTo>
                          <a:pt x="2043" y="3594"/>
                        </a:lnTo>
                        <a:lnTo>
                          <a:pt x="2073" y="3594"/>
                        </a:lnTo>
                        <a:lnTo>
                          <a:pt x="2108" y="3597"/>
                        </a:lnTo>
                        <a:lnTo>
                          <a:pt x="2119" y="3594"/>
                        </a:lnTo>
                        <a:lnTo>
                          <a:pt x="2133" y="3597"/>
                        </a:lnTo>
                        <a:lnTo>
                          <a:pt x="2159" y="3593"/>
                        </a:lnTo>
                        <a:lnTo>
                          <a:pt x="2181" y="3597"/>
                        </a:lnTo>
                        <a:lnTo>
                          <a:pt x="2191" y="3612"/>
                        </a:lnTo>
                        <a:lnTo>
                          <a:pt x="2190" y="3626"/>
                        </a:lnTo>
                        <a:lnTo>
                          <a:pt x="2181" y="3637"/>
                        </a:lnTo>
                        <a:lnTo>
                          <a:pt x="2170" y="3671"/>
                        </a:lnTo>
                        <a:lnTo>
                          <a:pt x="2154" y="3712"/>
                        </a:lnTo>
                        <a:lnTo>
                          <a:pt x="2143" y="3719"/>
                        </a:lnTo>
                        <a:lnTo>
                          <a:pt x="2138" y="3733"/>
                        </a:lnTo>
                        <a:lnTo>
                          <a:pt x="2136" y="3751"/>
                        </a:lnTo>
                        <a:lnTo>
                          <a:pt x="2129" y="3761"/>
                        </a:lnTo>
                        <a:lnTo>
                          <a:pt x="2128" y="3776"/>
                        </a:lnTo>
                        <a:lnTo>
                          <a:pt x="2116" y="3783"/>
                        </a:lnTo>
                        <a:lnTo>
                          <a:pt x="2081" y="3814"/>
                        </a:lnTo>
                        <a:lnTo>
                          <a:pt x="2050" y="3806"/>
                        </a:lnTo>
                        <a:lnTo>
                          <a:pt x="2043" y="3816"/>
                        </a:lnTo>
                        <a:lnTo>
                          <a:pt x="2035" y="3807"/>
                        </a:lnTo>
                        <a:lnTo>
                          <a:pt x="2023" y="3811"/>
                        </a:lnTo>
                        <a:lnTo>
                          <a:pt x="2003" y="3798"/>
                        </a:lnTo>
                        <a:lnTo>
                          <a:pt x="1995" y="3806"/>
                        </a:lnTo>
                        <a:lnTo>
                          <a:pt x="2005" y="3822"/>
                        </a:lnTo>
                        <a:lnTo>
                          <a:pt x="1984" y="3823"/>
                        </a:lnTo>
                        <a:lnTo>
                          <a:pt x="1986" y="3836"/>
                        </a:lnTo>
                        <a:lnTo>
                          <a:pt x="1995" y="3846"/>
                        </a:lnTo>
                        <a:lnTo>
                          <a:pt x="1983" y="3873"/>
                        </a:lnTo>
                        <a:lnTo>
                          <a:pt x="1943" y="3889"/>
                        </a:lnTo>
                        <a:lnTo>
                          <a:pt x="1925" y="3889"/>
                        </a:lnTo>
                        <a:lnTo>
                          <a:pt x="1913" y="3881"/>
                        </a:lnTo>
                        <a:lnTo>
                          <a:pt x="1906" y="3882"/>
                        </a:lnTo>
                        <a:lnTo>
                          <a:pt x="1896" y="3871"/>
                        </a:lnTo>
                        <a:lnTo>
                          <a:pt x="1869" y="3864"/>
                        </a:lnTo>
                        <a:lnTo>
                          <a:pt x="1848" y="3866"/>
                        </a:lnTo>
                        <a:lnTo>
                          <a:pt x="1824" y="3862"/>
                        </a:lnTo>
                        <a:lnTo>
                          <a:pt x="1814" y="3853"/>
                        </a:lnTo>
                        <a:lnTo>
                          <a:pt x="1796" y="3849"/>
                        </a:lnTo>
                        <a:lnTo>
                          <a:pt x="1793" y="3843"/>
                        </a:lnTo>
                        <a:lnTo>
                          <a:pt x="1773" y="3838"/>
                        </a:lnTo>
                        <a:lnTo>
                          <a:pt x="1765" y="3832"/>
                        </a:lnTo>
                        <a:lnTo>
                          <a:pt x="1743" y="3823"/>
                        </a:lnTo>
                        <a:lnTo>
                          <a:pt x="1735" y="3829"/>
                        </a:lnTo>
                        <a:lnTo>
                          <a:pt x="1723" y="3829"/>
                        </a:lnTo>
                        <a:lnTo>
                          <a:pt x="1731" y="3848"/>
                        </a:lnTo>
                        <a:lnTo>
                          <a:pt x="1740" y="3853"/>
                        </a:lnTo>
                        <a:lnTo>
                          <a:pt x="1753" y="3848"/>
                        </a:lnTo>
                        <a:lnTo>
                          <a:pt x="1745" y="3839"/>
                        </a:lnTo>
                        <a:lnTo>
                          <a:pt x="1749" y="3832"/>
                        </a:lnTo>
                        <a:lnTo>
                          <a:pt x="1763" y="3842"/>
                        </a:lnTo>
                        <a:lnTo>
                          <a:pt x="1785" y="3853"/>
                        </a:lnTo>
                        <a:lnTo>
                          <a:pt x="1795" y="3854"/>
                        </a:lnTo>
                        <a:lnTo>
                          <a:pt x="1805" y="3862"/>
                        </a:lnTo>
                        <a:lnTo>
                          <a:pt x="1811" y="3856"/>
                        </a:lnTo>
                        <a:lnTo>
                          <a:pt x="1821" y="3867"/>
                        </a:lnTo>
                        <a:lnTo>
                          <a:pt x="1831" y="3867"/>
                        </a:lnTo>
                        <a:lnTo>
                          <a:pt x="1841" y="3872"/>
                        </a:lnTo>
                        <a:lnTo>
                          <a:pt x="1831" y="3887"/>
                        </a:lnTo>
                        <a:lnTo>
                          <a:pt x="1814" y="3897"/>
                        </a:lnTo>
                        <a:lnTo>
                          <a:pt x="1818" y="3903"/>
                        </a:lnTo>
                        <a:lnTo>
                          <a:pt x="1853" y="3877"/>
                        </a:lnTo>
                        <a:lnTo>
                          <a:pt x="1866" y="3871"/>
                        </a:lnTo>
                        <a:lnTo>
                          <a:pt x="1879" y="3881"/>
                        </a:lnTo>
                        <a:lnTo>
                          <a:pt x="1881" y="3891"/>
                        </a:lnTo>
                        <a:lnTo>
                          <a:pt x="1901" y="3903"/>
                        </a:lnTo>
                        <a:lnTo>
                          <a:pt x="1924" y="3907"/>
                        </a:lnTo>
                        <a:lnTo>
                          <a:pt x="1928" y="3917"/>
                        </a:lnTo>
                        <a:lnTo>
                          <a:pt x="1941" y="3923"/>
                        </a:lnTo>
                        <a:lnTo>
                          <a:pt x="1949" y="3937"/>
                        </a:lnTo>
                        <a:lnTo>
                          <a:pt x="1950" y="3962"/>
                        </a:lnTo>
                        <a:lnTo>
                          <a:pt x="1954" y="3971"/>
                        </a:lnTo>
                        <a:lnTo>
                          <a:pt x="1943" y="3992"/>
                        </a:lnTo>
                        <a:lnTo>
                          <a:pt x="1928" y="3991"/>
                        </a:lnTo>
                        <a:lnTo>
                          <a:pt x="1915" y="4001"/>
                        </a:lnTo>
                        <a:lnTo>
                          <a:pt x="1905" y="4017"/>
                        </a:lnTo>
                        <a:lnTo>
                          <a:pt x="1899" y="4019"/>
                        </a:lnTo>
                        <a:lnTo>
                          <a:pt x="1859" y="4011"/>
                        </a:lnTo>
                        <a:lnTo>
                          <a:pt x="1850" y="4007"/>
                        </a:lnTo>
                        <a:lnTo>
                          <a:pt x="1845" y="4018"/>
                        </a:lnTo>
                        <a:lnTo>
                          <a:pt x="1833" y="4013"/>
                        </a:lnTo>
                        <a:lnTo>
                          <a:pt x="1824" y="4021"/>
                        </a:lnTo>
                        <a:lnTo>
                          <a:pt x="1843" y="4041"/>
                        </a:lnTo>
                        <a:lnTo>
                          <a:pt x="1866" y="4044"/>
                        </a:lnTo>
                        <a:lnTo>
                          <a:pt x="1860" y="4062"/>
                        </a:lnTo>
                        <a:lnTo>
                          <a:pt x="1840" y="4058"/>
                        </a:lnTo>
                        <a:lnTo>
                          <a:pt x="1821" y="4071"/>
                        </a:lnTo>
                        <a:lnTo>
                          <a:pt x="1806" y="4074"/>
                        </a:lnTo>
                        <a:lnTo>
                          <a:pt x="1807" y="4089"/>
                        </a:lnTo>
                        <a:lnTo>
                          <a:pt x="1816" y="4101"/>
                        </a:lnTo>
                        <a:lnTo>
                          <a:pt x="1816" y="4111"/>
                        </a:lnTo>
                        <a:lnTo>
                          <a:pt x="1802" y="4111"/>
                        </a:lnTo>
                        <a:lnTo>
                          <a:pt x="1781" y="4122"/>
                        </a:lnTo>
                        <a:lnTo>
                          <a:pt x="1777" y="4129"/>
                        </a:lnTo>
                        <a:lnTo>
                          <a:pt x="1791" y="4133"/>
                        </a:lnTo>
                        <a:lnTo>
                          <a:pt x="1772" y="4152"/>
                        </a:lnTo>
                        <a:lnTo>
                          <a:pt x="1763" y="4167"/>
                        </a:lnTo>
                        <a:lnTo>
                          <a:pt x="1751" y="4161"/>
                        </a:lnTo>
                        <a:lnTo>
                          <a:pt x="1751" y="4174"/>
                        </a:lnTo>
                        <a:lnTo>
                          <a:pt x="1766" y="4191"/>
                        </a:lnTo>
                        <a:lnTo>
                          <a:pt x="1726" y="4222"/>
                        </a:lnTo>
                        <a:lnTo>
                          <a:pt x="1716" y="4238"/>
                        </a:lnTo>
                        <a:lnTo>
                          <a:pt x="1728" y="4259"/>
                        </a:lnTo>
                        <a:lnTo>
                          <a:pt x="1713" y="4267"/>
                        </a:lnTo>
                        <a:lnTo>
                          <a:pt x="1715" y="4273"/>
                        </a:lnTo>
                        <a:lnTo>
                          <a:pt x="1711" y="4291"/>
                        </a:lnTo>
                        <a:lnTo>
                          <a:pt x="1698" y="4327"/>
                        </a:lnTo>
                        <a:lnTo>
                          <a:pt x="1690" y="4334"/>
                        </a:lnTo>
                        <a:lnTo>
                          <a:pt x="1686" y="4358"/>
                        </a:lnTo>
                        <a:lnTo>
                          <a:pt x="1680" y="4367"/>
                        </a:lnTo>
                        <a:lnTo>
                          <a:pt x="1678" y="4383"/>
                        </a:lnTo>
                        <a:lnTo>
                          <a:pt x="1665" y="4396"/>
                        </a:lnTo>
                        <a:lnTo>
                          <a:pt x="1670" y="4408"/>
                        </a:lnTo>
                        <a:lnTo>
                          <a:pt x="1664" y="4428"/>
                        </a:lnTo>
                        <a:lnTo>
                          <a:pt x="1664" y="4453"/>
                        </a:lnTo>
                        <a:lnTo>
                          <a:pt x="1656" y="4470"/>
                        </a:lnTo>
                        <a:close/>
                        <a:moveTo>
                          <a:pt x="1570" y="3342"/>
                        </a:moveTo>
                        <a:lnTo>
                          <a:pt x="1566" y="3333"/>
                        </a:lnTo>
                        <a:lnTo>
                          <a:pt x="1556" y="3341"/>
                        </a:lnTo>
                        <a:lnTo>
                          <a:pt x="1533" y="3321"/>
                        </a:lnTo>
                        <a:lnTo>
                          <a:pt x="1536" y="3335"/>
                        </a:lnTo>
                        <a:lnTo>
                          <a:pt x="1553" y="3350"/>
                        </a:lnTo>
                        <a:lnTo>
                          <a:pt x="1561" y="3341"/>
                        </a:lnTo>
                        <a:lnTo>
                          <a:pt x="1570" y="3342"/>
                        </a:lnTo>
                        <a:close/>
                        <a:moveTo>
                          <a:pt x="1524" y="2318"/>
                        </a:moveTo>
                        <a:lnTo>
                          <a:pt x="1520" y="2323"/>
                        </a:lnTo>
                        <a:lnTo>
                          <a:pt x="1508" y="2313"/>
                        </a:lnTo>
                        <a:lnTo>
                          <a:pt x="1521" y="2292"/>
                        </a:lnTo>
                        <a:lnTo>
                          <a:pt x="1528" y="2310"/>
                        </a:lnTo>
                        <a:lnTo>
                          <a:pt x="1524" y="2318"/>
                        </a:lnTo>
                        <a:close/>
                        <a:moveTo>
                          <a:pt x="1521" y="2251"/>
                        </a:moveTo>
                        <a:lnTo>
                          <a:pt x="1533" y="2263"/>
                        </a:lnTo>
                        <a:lnTo>
                          <a:pt x="1528" y="2280"/>
                        </a:lnTo>
                        <a:lnTo>
                          <a:pt x="1511" y="2286"/>
                        </a:lnTo>
                        <a:lnTo>
                          <a:pt x="1503" y="2273"/>
                        </a:lnTo>
                        <a:lnTo>
                          <a:pt x="1501" y="2258"/>
                        </a:lnTo>
                        <a:lnTo>
                          <a:pt x="1506" y="2243"/>
                        </a:lnTo>
                        <a:lnTo>
                          <a:pt x="1514" y="2237"/>
                        </a:lnTo>
                        <a:lnTo>
                          <a:pt x="1524" y="2242"/>
                        </a:lnTo>
                        <a:lnTo>
                          <a:pt x="1521" y="2251"/>
                        </a:lnTo>
                        <a:close/>
                        <a:moveTo>
                          <a:pt x="303" y="2732"/>
                        </a:moveTo>
                        <a:lnTo>
                          <a:pt x="314" y="2738"/>
                        </a:lnTo>
                        <a:lnTo>
                          <a:pt x="295" y="2687"/>
                        </a:lnTo>
                        <a:lnTo>
                          <a:pt x="300" y="2668"/>
                        </a:lnTo>
                        <a:lnTo>
                          <a:pt x="368" y="2683"/>
                        </a:lnTo>
                        <a:lnTo>
                          <a:pt x="470" y="2706"/>
                        </a:lnTo>
                        <a:lnTo>
                          <a:pt x="550" y="2721"/>
                        </a:lnTo>
                        <a:lnTo>
                          <a:pt x="545" y="2751"/>
                        </a:lnTo>
                        <a:lnTo>
                          <a:pt x="559" y="2752"/>
                        </a:lnTo>
                        <a:lnTo>
                          <a:pt x="575" y="2750"/>
                        </a:lnTo>
                        <a:lnTo>
                          <a:pt x="570" y="2741"/>
                        </a:lnTo>
                        <a:lnTo>
                          <a:pt x="574" y="2726"/>
                        </a:lnTo>
                        <a:lnTo>
                          <a:pt x="628" y="2735"/>
                        </a:lnTo>
                        <a:lnTo>
                          <a:pt x="721" y="2751"/>
                        </a:lnTo>
                        <a:lnTo>
                          <a:pt x="790" y="2313"/>
                        </a:lnTo>
                        <a:lnTo>
                          <a:pt x="790" y="2306"/>
                        </a:lnTo>
                        <a:lnTo>
                          <a:pt x="791" y="2301"/>
                        </a:lnTo>
                        <a:lnTo>
                          <a:pt x="803" y="2307"/>
                        </a:lnTo>
                        <a:lnTo>
                          <a:pt x="794" y="2282"/>
                        </a:lnTo>
                        <a:lnTo>
                          <a:pt x="796" y="2267"/>
                        </a:lnTo>
                        <a:lnTo>
                          <a:pt x="798" y="2258"/>
                        </a:lnTo>
                        <a:lnTo>
                          <a:pt x="805" y="2217"/>
                        </a:lnTo>
                        <a:lnTo>
                          <a:pt x="823" y="2232"/>
                        </a:lnTo>
                        <a:lnTo>
                          <a:pt x="815" y="2238"/>
                        </a:lnTo>
                        <a:lnTo>
                          <a:pt x="833" y="2261"/>
                        </a:lnTo>
                        <a:lnTo>
                          <a:pt x="843" y="2263"/>
                        </a:lnTo>
                        <a:lnTo>
                          <a:pt x="848" y="2278"/>
                        </a:lnTo>
                        <a:lnTo>
                          <a:pt x="846" y="2301"/>
                        </a:lnTo>
                        <a:lnTo>
                          <a:pt x="855" y="2296"/>
                        </a:lnTo>
                        <a:lnTo>
                          <a:pt x="868" y="2305"/>
                        </a:lnTo>
                        <a:lnTo>
                          <a:pt x="869" y="2316"/>
                        </a:lnTo>
                        <a:lnTo>
                          <a:pt x="860" y="2342"/>
                        </a:lnTo>
                        <a:lnTo>
                          <a:pt x="864" y="2372"/>
                        </a:lnTo>
                        <a:lnTo>
                          <a:pt x="869" y="2386"/>
                        </a:lnTo>
                        <a:lnTo>
                          <a:pt x="865" y="2411"/>
                        </a:lnTo>
                        <a:lnTo>
                          <a:pt x="876" y="2420"/>
                        </a:lnTo>
                        <a:lnTo>
                          <a:pt x="869" y="2431"/>
                        </a:lnTo>
                        <a:lnTo>
                          <a:pt x="868" y="2446"/>
                        </a:lnTo>
                        <a:lnTo>
                          <a:pt x="881" y="2470"/>
                        </a:lnTo>
                        <a:lnTo>
                          <a:pt x="880" y="2478"/>
                        </a:lnTo>
                        <a:lnTo>
                          <a:pt x="900" y="2467"/>
                        </a:lnTo>
                        <a:lnTo>
                          <a:pt x="908" y="2456"/>
                        </a:lnTo>
                        <a:lnTo>
                          <a:pt x="928" y="2436"/>
                        </a:lnTo>
                        <a:lnTo>
                          <a:pt x="919" y="2430"/>
                        </a:lnTo>
                        <a:lnTo>
                          <a:pt x="920" y="2421"/>
                        </a:lnTo>
                        <a:lnTo>
                          <a:pt x="910" y="2412"/>
                        </a:lnTo>
                        <a:lnTo>
                          <a:pt x="911" y="2392"/>
                        </a:lnTo>
                        <a:lnTo>
                          <a:pt x="904" y="2388"/>
                        </a:lnTo>
                        <a:lnTo>
                          <a:pt x="906" y="2368"/>
                        </a:lnTo>
                        <a:lnTo>
                          <a:pt x="911" y="2360"/>
                        </a:lnTo>
                        <a:lnTo>
                          <a:pt x="906" y="2327"/>
                        </a:lnTo>
                        <a:lnTo>
                          <a:pt x="909" y="2308"/>
                        </a:lnTo>
                        <a:lnTo>
                          <a:pt x="905" y="2285"/>
                        </a:lnTo>
                        <a:lnTo>
                          <a:pt x="903" y="2250"/>
                        </a:lnTo>
                        <a:lnTo>
                          <a:pt x="905" y="2218"/>
                        </a:lnTo>
                        <a:lnTo>
                          <a:pt x="900" y="2203"/>
                        </a:lnTo>
                        <a:lnTo>
                          <a:pt x="903" y="2196"/>
                        </a:lnTo>
                        <a:lnTo>
                          <a:pt x="915" y="2186"/>
                        </a:lnTo>
                        <a:lnTo>
                          <a:pt x="914" y="2171"/>
                        </a:lnTo>
                        <a:lnTo>
                          <a:pt x="920" y="2163"/>
                        </a:lnTo>
                        <a:lnTo>
                          <a:pt x="939" y="2171"/>
                        </a:lnTo>
                        <a:lnTo>
                          <a:pt x="949" y="2180"/>
                        </a:lnTo>
                        <a:lnTo>
                          <a:pt x="961" y="2200"/>
                        </a:lnTo>
                        <a:lnTo>
                          <a:pt x="973" y="2180"/>
                        </a:lnTo>
                        <a:lnTo>
                          <a:pt x="983" y="2181"/>
                        </a:lnTo>
                        <a:lnTo>
                          <a:pt x="989" y="2196"/>
                        </a:lnTo>
                        <a:lnTo>
                          <a:pt x="999" y="2205"/>
                        </a:lnTo>
                        <a:lnTo>
                          <a:pt x="1010" y="2225"/>
                        </a:lnTo>
                        <a:lnTo>
                          <a:pt x="1019" y="2232"/>
                        </a:lnTo>
                        <a:lnTo>
                          <a:pt x="1031" y="2235"/>
                        </a:lnTo>
                        <a:lnTo>
                          <a:pt x="1034" y="2248"/>
                        </a:lnTo>
                        <a:lnTo>
                          <a:pt x="1041" y="2255"/>
                        </a:lnTo>
                        <a:lnTo>
                          <a:pt x="1051" y="2292"/>
                        </a:lnTo>
                        <a:lnTo>
                          <a:pt x="1044" y="2301"/>
                        </a:lnTo>
                        <a:lnTo>
                          <a:pt x="1053" y="2311"/>
                        </a:lnTo>
                        <a:lnTo>
                          <a:pt x="1049" y="2316"/>
                        </a:lnTo>
                        <a:lnTo>
                          <a:pt x="1054" y="2342"/>
                        </a:lnTo>
                        <a:lnTo>
                          <a:pt x="1049" y="2350"/>
                        </a:lnTo>
                        <a:lnTo>
                          <a:pt x="1061" y="2400"/>
                        </a:lnTo>
                        <a:lnTo>
                          <a:pt x="1056" y="2411"/>
                        </a:lnTo>
                        <a:lnTo>
                          <a:pt x="1064" y="2442"/>
                        </a:lnTo>
                        <a:lnTo>
                          <a:pt x="1064" y="2458"/>
                        </a:lnTo>
                        <a:lnTo>
                          <a:pt x="1071" y="2465"/>
                        </a:lnTo>
                        <a:lnTo>
                          <a:pt x="1084" y="2507"/>
                        </a:lnTo>
                        <a:lnTo>
                          <a:pt x="1081" y="2523"/>
                        </a:lnTo>
                        <a:lnTo>
                          <a:pt x="1086" y="2531"/>
                        </a:lnTo>
                        <a:lnTo>
                          <a:pt x="1086" y="2551"/>
                        </a:lnTo>
                        <a:lnTo>
                          <a:pt x="1073" y="2556"/>
                        </a:lnTo>
                        <a:lnTo>
                          <a:pt x="1074" y="2577"/>
                        </a:lnTo>
                        <a:lnTo>
                          <a:pt x="1061" y="2592"/>
                        </a:lnTo>
                        <a:lnTo>
                          <a:pt x="1064" y="2601"/>
                        </a:lnTo>
                        <a:lnTo>
                          <a:pt x="1089" y="2635"/>
                        </a:lnTo>
                        <a:lnTo>
                          <a:pt x="1091" y="2656"/>
                        </a:lnTo>
                        <a:lnTo>
                          <a:pt x="1101" y="2663"/>
                        </a:lnTo>
                        <a:lnTo>
                          <a:pt x="1118" y="2691"/>
                        </a:lnTo>
                        <a:lnTo>
                          <a:pt x="1141" y="2697"/>
                        </a:lnTo>
                        <a:lnTo>
                          <a:pt x="1140" y="2682"/>
                        </a:lnTo>
                        <a:lnTo>
                          <a:pt x="1150" y="2685"/>
                        </a:lnTo>
                        <a:lnTo>
                          <a:pt x="1158" y="2695"/>
                        </a:lnTo>
                        <a:lnTo>
                          <a:pt x="1156" y="2708"/>
                        </a:lnTo>
                        <a:lnTo>
                          <a:pt x="1181" y="2727"/>
                        </a:lnTo>
                        <a:lnTo>
                          <a:pt x="1198" y="2742"/>
                        </a:lnTo>
                        <a:lnTo>
                          <a:pt x="1208" y="2756"/>
                        </a:lnTo>
                        <a:lnTo>
                          <a:pt x="1223" y="2751"/>
                        </a:lnTo>
                        <a:lnTo>
                          <a:pt x="1229" y="2757"/>
                        </a:lnTo>
                        <a:lnTo>
                          <a:pt x="1225" y="2766"/>
                        </a:lnTo>
                        <a:lnTo>
                          <a:pt x="1228" y="2782"/>
                        </a:lnTo>
                        <a:lnTo>
                          <a:pt x="1248" y="2782"/>
                        </a:lnTo>
                        <a:lnTo>
                          <a:pt x="1256" y="2772"/>
                        </a:lnTo>
                        <a:lnTo>
                          <a:pt x="1264" y="2776"/>
                        </a:lnTo>
                        <a:lnTo>
                          <a:pt x="1263" y="2793"/>
                        </a:lnTo>
                        <a:lnTo>
                          <a:pt x="1266" y="2805"/>
                        </a:lnTo>
                        <a:lnTo>
                          <a:pt x="1263" y="2818"/>
                        </a:lnTo>
                        <a:lnTo>
                          <a:pt x="1268" y="2841"/>
                        </a:lnTo>
                        <a:lnTo>
                          <a:pt x="1260" y="2866"/>
                        </a:lnTo>
                        <a:lnTo>
                          <a:pt x="1239" y="2862"/>
                        </a:lnTo>
                        <a:lnTo>
                          <a:pt x="1233" y="2847"/>
                        </a:lnTo>
                        <a:lnTo>
                          <a:pt x="1215" y="2858"/>
                        </a:lnTo>
                        <a:lnTo>
                          <a:pt x="1198" y="2837"/>
                        </a:lnTo>
                        <a:lnTo>
                          <a:pt x="1185" y="2828"/>
                        </a:lnTo>
                        <a:lnTo>
                          <a:pt x="1181" y="2838"/>
                        </a:lnTo>
                        <a:lnTo>
                          <a:pt x="1169" y="2838"/>
                        </a:lnTo>
                        <a:lnTo>
                          <a:pt x="1163" y="2846"/>
                        </a:lnTo>
                        <a:lnTo>
                          <a:pt x="1168" y="2856"/>
                        </a:lnTo>
                        <a:lnTo>
                          <a:pt x="1165" y="2878"/>
                        </a:lnTo>
                        <a:lnTo>
                          <a:pt x="1148" y="2881"/>
                        </a:lnTo>
                        <a:lnTo>
                          <a:pt x="1126" y="2866"/>
                        </a:lnTo>
                        <a:lnTo>
                          <a:pt x="1119" y="2851"/>
                        </a:lnTo>
                        <a:lnTo>
                          <a:pt x="1108" y="2853"/>
                        </a:lnTo>
                        <a:lnTo>
                          <a:pt x="1105" y="2863"/>
                        </a:lnTo>
                        <a:lnTo>
                          <a:pt x="1133" y="2885"/>
                        </a:lnTo>
                        <a:lnTo>
                          <a:pt x="1134" y="2901"/>
                        </a:lnTo>
                        <a:lnTo>
                          <a:pt x="1130" y="2910"/>
                        </a:lnTo>
                        <a:lnTo>
                          <a:pt x="1128" y="2938"/>
                        </a:lnTo>
                        <a:lnTo>
                          <a:pt x="1143" y="2907"/>
                        </a:lnTo>
                        <a:lnTo>
                          <a:pt x="1161" y="2905"/>
                        </a:lnTo>
                        <a:lnTo>
                          <a:pt x="1166" y="2892"/>
                        </a:lnTo>
                        <a:lnTo>
                          <a:pt x="1178" y="2890"/>
                        </a:lnTo>
                        <a:lnTo>
                          <a:pt x="1191" y="2893"/>
                        </a:lnTo>
                        <a:lnTo>
                          <a:pt x="1199" y="2906"/>
                        </a:lnTo>
                        <a:lnTo>
                          <a:pt x="1186" y="2920"/>
                        </a:lnTo>
                        <a:lnTo>
                          <a:pt x="1190" y="2928"/>
                        </a:lnTo>
                        <a:lnTo>
                          <a:pt x="1178" y="2932"/>
                        </a:lnTo>
                        <a:lnTo>
                          <a:pt x="1184" y="2943"/>
                        </a:lnTo>
                        <a:lnTo>
                          <a:pt x="1196" y="2933"/>
                        </a:lnTo>
                        <a:lnTo>
                          <a:pt x="1206" y="2946"/>
                        </a:lnTo>
                        <a:lnTo>
                          <a:pt x="1205" y="2958"/>
                        </a:lnTo>
                        <a:lnTo>
                          <a:pt x="1191" y="2983"/>
                        </a:lnTo>
                        <a:lnTo>
                          <a:pt x="1165" y="2990"/>
                        </a:lnTo>
                        <a:lnTo>
                          <a:pt x="1155" y="3000"/>
                        </a:lnTo>
                        <a:lnTo>
                          <a:pt x="1124" y="3008"/>
                        </a:lnTo>
                        <a:lnTo>
                          <a:pt x="1115" y="3000"/>
                        </a:lnTo>
                        <a:lnTo>
                          <a:pt x="1105" y="3001"/>
                        </a:lnTo>
                        <a:lnTo>
                          <a:pt x="1101" y="3010"/>
                        </a:lnTo>
                        <a:lnTo>
                          <a:pt x="1066" y="2992"/>
                        </a:lnTo>
                        <a:lnTo>
                          <a:pt x="1051" y="2988"/>
                        </a:lnTo>
                        <a:lnTo>
                          <a:pt x="1049" y="2977"/>
                        </a:lnTo>
                        <a:lnTo>
                          <a:pt x="1036" y="2976"/>
                        </a:lnTo>
                        <a:lnTo>
                          <a:pt x="1026" y="2988"/>
                        </a:lnTo>
                        <a:lnTo>
                          <a:pt x="994" y="2980"/>
                        </a:lnTo>
                        <a:lnTo>
                          <a:pt x="988" y="2970"/>
                        </a:lnTo>
                        <a:lnTo>
                          <a:pt x="995" y="2962"/>
                        </a:lnTo>
                        <a:lnTo>
                          <a:pt x="1010" y="2955"/>
                        </a:lnTo>
                        <a:lnTo>
                          <a:pt x="989" y="2945"/>
                        </a:lnTo>
                        <a:lnTo>
                          <a:pt x="978" y="2942"/>
                        </a:lnTo>
                        <a:lnTo>
                          <a:pt x="973" y="2933"/>
                        </a:lnTo>
                        <a:lnTo>
                          <a:pt x="953" y="2927"/>
                        </a:lnTo>
                        <a:lnTo>
                          <a:pt x="946" y="2931"/>
                        </a:lnTo>
                        <a:lnTo>
                          <a:pt x="933" y="2930"/>
                        </a:lnTo>
                        <a:lnTo>
                          <a:pt x="920" y="2921"/>
                        </a:lnTo>
                        <a:lnTo>
                          <a:pt x="930" y="2905"/>
                        </a:lnTo>
                        <a:lnTo>
                          <a:pt x="930" y="2885"/>
                        </a:lnTo>
                        <a:lnTo>
                          <a:pt x="916" y="2865"/>
                        </a:lnTo>
                        <a:lnTo>
                          <a:pt x="905" y="2875"/>
                        </a:lnTo>
                        <a:lnTo>
                          <a:pt x="903" y="2886"/>
                        </a:lnTo>
                        <a:lnTo>
                          <a:pt x="890" y="2887"/>
                        </a:lnTo>
                        <a:lnTo>
                          <a:pt x="889" y="2908"/>
                        </a:lnTo>
                        <a:lnTo>
                          <a:pt x="881" y="2921"/>
                        </a:lnTo>
                        <a:lnTo>
                          <a:pt x="873" y="2925"/>
                        </a:lnTo>
                        <a:lnTo>
                          <a:pt x="860" y="2942"/>
                        </a:lnTo>
                        <a:lnTo>
                          <a:pt x="850" y="2947"/>
                        </a:lnTo>
                        <a:lnTo>
                          <a:pt x="820" y="2952"/>
                        </a:lnTo>
                        <a:lnTo>
                          <a:pt x="803" y="2951"/>
                        </a:lnTo>
                        <a:lnTo>
                          <a:pt x="784" y="2946"/>
                        </a:lnTo>
                        <a:lnTo>
                          <a:pt x="780" y="2958"/>
                        </a:lnTo>
                        <a:lnTo>
                          <a:pt x="753" y="2977"/>
                        </a:lnTo>
                        <a:lnTo>
                          <a:pt x="728" y="2981"/>
                        </a:lnTo>
                        <a:lnTo>
                          <a:pt x="709" y="2988"/>
                        </a:lnTo>
                        <a:lnTo>
                          <a:pt x="671" y="2985"/>
                        </a:lnTo>
                        <a:lnTo>
                          <a:pt x="660" y="2992"/>
                        </a:lnTo>
                        <a:lnTo>
                          <a:pt x="648" y="2983"/>
                        </a:lnTo>
                        <a:lnTo>
                          <a:pt x="621" y="2991"/>
                        </a:lnTo>
                        <a:lnTo>
                          <a:pt x="615" y="2985"/>
                        </a:lnTo>
                        <a:lnTo>
                          <a:pt x="604" y="2993"/>
                        </a:lnTo>
                        <a:lnTo>
                          <a:pt x="588" y="2986"/>
                        </a:lnTo>
                        <a:lnTo>
                          <a:pt x="543" y="2983"/>
                        </a:lnTo>
                        <a:lnTo>
                          <a:pt x="521" y="2980"/>
                        </a:lnTo>
                        <a:lnTo>
                          <a:pt x="509" y="2986"/>
                        </a:lnTo>
                        <a:lnTo>
                          <a:pt x="500" y="2982"/>
                        </a:lnTo>
                        <a:lnTo>
                          <a:pt x="479" y="2982"/>
                        </a:lnTo>
                        <a:lnTo>
                          <a:pt x="490" y="2970"/>
                        </a:lnTo>
                        <a:lnTo>
                          <a:pt x="476" y="2957"/>
                        </a:lnTo>
                        <a:lnTo>
                          <a:pt x="473" y="2935"/>
                        </a:lnTo>
                        <a:lnTo>
                          <a:pt x="464" y="2918"/>
                        </a:lnTo>
                        <a:lnTo>
                          <a:pt x="466" y="2900"/>
                        </a:lnTo>
                        <a:lnTo>
                          <a:pt x="475" y="2891"/>
                        </a:lnTo>
                        <a:lnTo>
                          <a:pt x="478" y="2876"/>
                        </a:lnTo>
                        <a:lnTo>
                          <a:pt x="474" y="2856"/>
                        </a:lnTo>
                        <a:lnTo>
                          <a:pt x="483" y="2851"/>
                        </a:lnTo>
                        <a:lnTo>
                          <a:pt x="450" y="2836"/>
                        </a:lnTo>
                        <a:lnTo>
                          <a:pt x="436" y="2826"/>
                        </a:lnTo>
                        <a:lnTo>
                          <a:pt x="406" y="2826"/>
                        </a:lnTo>
                        <a:lnTo>
                          <a:pt x="398" y="2818"/>
                        </a:lnTo>
                        <a:lnTo>
                          <a:pt x="386" y="2823"/>
                        </a:lnTo>
                        <a:lnTo>
                          <a:pt x="341" y="2803"/>
                        </a:lnTo>
                        <a:lnTo>
                          <a:pt x="318" y="2780"/>
                        </a:lnTo>
                        <a:lnTo>
                          <a:pt x="308" y="2767"/>
                        </a:lnTo>
                        <a:lnTo>
                          <a:pt x="314" y="2762"/>
                        </a:lnTo>
                        <a:lnTo>
                          <a:pt x="313" y="2748"/>
                        </a:lnTo>
                        <a:lnTo>
                          <a:pt x="296" y="2741"/>
                        </a:lnTo>
                        <a:lnTo>
                          <a:pt x="303" y="2732"/>
                        </a:lnTo>
                        <a:close/>
                        <a:moveTo>
                          <a:pt x="948" y="2125"/>
                        </a:moveTo>
                        <a:lnTo>
                          <a:pt x="926" y="2128"/>
                        </a:lnTo>
                        <a:lnTo>
                          <a:pt x="928" y="2115"/>
                        </a:lnTo>
                        <a:lnTo>
                          <a:pt x="945" y="2116"/>
                        </a:lnTo>
                        <a:lnTo>
                          <a:pt x="948" y="2125"/>
                        </a:lnTo>
                        <a:close/>
                        <a:moveTo>
                          <a:pt x="1103" y="2192"/>
                        </a:moveTo>
                        <a:lnTo>
                          <a:pt x="1093" y="2215"/>
                        </a:lnTo>
                        <a:lnTo>
                          <a:pt x="1076" y="2233"/>
                        </a:lnTo>
                        <a:lnTo>
                          <a:pt x="1076" y="2242"/>
                        </a:lnTo>
                        <a:lnTo>
                          <a:pt x="1063" y="2257"/>
                        </a:lnTo>
                        <a:lnTo>
                          <a:pt x="1049" y="2263"/>
                        </a:lnTo>
                        <a:lnTo>
                          <a:pt x="1048" y="2253"/>
                        </a:lnTo>
                        <a:lnTo>
                          <a:pt x="1036" y="2236"/>
                        </a:lnTo>
                        <a:lnTo>
                          <a:pt x="1026" y="2213"/>
                        </a:lnTo>
                        <a:lnTo>
                          <a:pt x="1019" y="2206"/>
                        </a:lnTo>
                        <a:lnTo>
                          <a:pt x="1020" y="2188"/>
                        </a:lnTo>
                        <a:lnTo>
                          <a:pt x="1009" y="2176"/>
                        </a:lnTo>
                        <a:lnTo>
                          <a:pt x="1003" y="2163"/>
                        </a:lnTo>
                        <a:lnTo>
                          <a:pt x="989" y="2151"/>
                        </a:lnTo>
                        <a:lnTo>
                          <a:pt x="975" y="2146"/>
                        </a:lnTo>
                        <a:lnTo>
                          <a:pt x="1004" y="2107"/>
                        </a:lnTo>
                        <a:lnTo>
                          <a:pt x="1050" y="2107"/>
                        </a:lnTo>
                        <a:lnTo>
                          <a:pt x="1069" y="2102"/>
                        </a:lnTo>
                        <a:lnTo>
                          <a:pt x="1080" y="2107"/>
                        </a:lnTo>
                        <a:lnTo>
                          <a:pt x="1103" y="2133"/>
                        </a:lnTo>
                        <a:lnTo>
                          <a:pt x="1111" y="2146"/>
                        </a:lnTo>
                        <a:lnTo>
                          <a:pt x="1105" y="2167"/>
                        </a:lnTo>
                        <a:lnTo>
                          <a:pt x="1103" y="2192"/>
                        </a:lnTo>
                        <a:close/>
                        <a:moveTo>
                          <a:pt x="2385" y="2060"/>
                        </a:moveTo>
                        <a:lnTo>
                          <a:pt x="2399" y="2068"/>
                        </a:lnTo>
                        <a:lnTo>
                          <a:pt x="2408" y="2065"/>
                        </a:lnTo>
                        <a:lnTo>
                          <a:pt x="2424" y="2067"/>
                        </a:lnTo>
                        <a:lnTo>
                          <a:pt x="2435" y="2075"/>
                        </a:lnTo>
                        <a:lnTo>
                          <a:pt x="2460" y="2070"/>
                        </a:lnTo>
                        <a:lnTo>
                          <a:pt x="2470" y="2063"/>
                        </a:lnTo>
                        <a:lnTo>
                          <a:pt x="2503" y="2055"/>
                        </a:lnTo>
                        <a:lnTo>
                          <a:pt x="2519" y="2063"/>
                        </a:lnTo>
                        <a:lnTo>
                          <a:pt x="2544" y="2067"/>
                        </a:lnTo>
                        <a:lnTo>
                          <a:pt x="2556" y="2075"/>
                        </a:lnTo>
                        <a:lnTo>
                          <a:pt x="2570" y="2092"/>
                        </a:lnTo>
                        <a:lnTo>
                          <a:pt x="2571" y="2100"/>
                        </a:lnTo>
                        <a:lnTo>
                          <a:pt x="2588" y="2103"/>
                        </a:lnTo>
                        <a:lnTo>
                          <a:pt x="2601" y="2121"/>
                        </a:lnTo>
                        <a:lnTo>
                          <a:pt x="2608" y="2136"/>
                        </a:lnTo>
                        <a:lnTo>
                          <a:pt x="2623" y="2138"/>
                        </a:lnTo>
                        <a:lnTo>
                          <a:pt x="2624" y="2163"/>
                        </a:lnTo>
                        <a:lnTo>
                          <a:pt x="2636" y="2166"/>
                        </a:lnTo>
                        <a:lnTo>
                          <a:pt x="2640" y="2182"/>
                        </a:lnTo>
                        <a:lnTo>
                          <a:pt x="2631" y="2191"/>
                        </a:lnTo>
                        <a:lnTo>
                          <a:pt x="2576" y="2195"/>
                        </a:lnTo>
                        <a:lnTo>
                          <a:pt x="2570" y="2191"/>
                        </a:lnTo>
                        <a:lnTo>
                          <a:pt x="2529" y="2196"/>
                        </a:lnTo>
                        <a:lnTo>
                          <a:pt x="2505" y="2210"/>
                        </a:lnTo>
                        <a:lnTo>
                          <a:pt x="2480" y="2233"/>
                        </a:lnTo>
                        <a:lnTo>
                          <a:pt x="2469" y="2237"/>
                        </a:lnTo>
                        <a:lnTo>
                          <a:pt x="2459" y="2236"/>
                        </a:lnTo>
                        <a:lnTo>
                          <a:pt x="2435" y="2223"/>
                        </a:lnTo>
                        <a:lnTo>
                          <a:pt x="2416" y="2190"/>
                        </a:lnTo>
                        <a:lnTo>
                          <a:pt x="2418" y="2175"/>
                        </a:lnTo>
                        <a:lnTo>
                          <a:pt x="2411" y="2155"/>
                        </a:lnTo>
                        <a:lnTo>
                          <a:pt x="2400" y="2156"/>
                        </a:lnTo>
                        <a:lnTo>
                          <a:pt x="2376" y="2151"/>
                        </a:lnTo>
                        <a:lnTo>
                          <a:pt x="2371" y="2146"/>
                        </a:lnTo>
                        <a:lnTo>
                          <a:pt x="2366" y="2122"/>
                        </a:lnTo>
                        <a:lnTo>
                          <a:pt x="2370" y="2111"/>
                        </a:lnTo>
                        <a:lnTo>
                          <a:pt x="2360" y="2092"/>
                        </a:lnTo>
                        <a:lnTo>
                          <a:pt x="2363" y="2071"/>
                        </a:lnTo>
                        <a:lnTo>
                          <a:pt x="2374" y="2058"/>
                        </a:lnTo>
                        <a:lnTo>
                          <a:pt x="2385" y="2060"/>
                        </a:lnTo>
                        <a:close/>
                        <a:moveTo>
                          <a:pt x="2059" y="2087"/>
                        </a:moveTo>
                        <a:lnTo>
                          <a:pt x="2086" y="2083"/>
                        </a:lnTo>
                        <a:lnTo>
                          <a:pt x="2101" y="2086"/>
                        </a:lnTo>
                        <a:lnTo>
                          <a:pt x="2135" y="2086"/>
                        </a:lnTo>
                        <a:lnTo>
                          <a:pt x="2149" y="2097"/>
                        </a:lnTo>
                        <a:lnTo>
                          <a:pt x="2146" y="2112"/>
                        </a:lnTo>
                        <a:lnTo>
                          <a:pt x="2123" y="2142"/>
                        </a:lnTo>
                        <a:lnTo>
                          <a:pt x="2116" y="2145"/>
                        </a:lnTo>
                        <a:lnTo>
                          <a:pt x="2098" y="2187"/>
                        </a:lnTo>
                        <a:lnTo>
                          <a:pt x="2088" y="2228"/>
                        </a:lnTo>
                        <a:lnTo>
                          <a:pt x="2071" y="2281"/>
                        </a:lnTo>
                        <a:lnTo>
                          <a:pt x="2070" y="2300"/>
                        </a:lnTo>
                        <a:lnTo>
                          <a:pt x="2075" y="2312"/>
                        </a:lnTo>
                        <a:lnTo>
                          <a:pt x="2098" y="2336"/>
                        </a:lnTo>
                        <a:lnTo>
                          <a:pt x="2104" y="2356"/>
                        </a:lnTo>
                        <a:lnTo>
                          <a:pt x="2096" y="2372"/>
                        </a:lnTo>
                        <a:lnTo>
                          <a:pt x="2095" y="2392"/>
                        </a:lnTo>
                        <a:lnTo>
                          <a:pt x="2103" y="2427"/>
                        </a:lnTo>
                        <a:lnTo>
                          <a:pt x="2123" y="2463"/>
                        </a:lnTo>
                        <a:lnTo>
                          <a:pt x="2133" y="2473"/>
                        </a:lnTo>
                        <a:lnTo>
                          <a:pt x="2164" y="2511"/>
                        </a:lnTo>
                        <a:lnTo>
                          <a:pt x="2183" y="2521"/>
                        </a:lnTo>
                        <a:lnTo>
                          <a:pt x="2196" y="2522"/>
                        </a:lnTo>
                        <a:lnTo>
                          <a:pt x="2205" y="2548"/>
                        </a:lnTo>
                        <a:lnTo>
                          <a:pt x="2185" y="2547"/>
                        </a:lnTo>
                        <a:lnTo>
                          <a:pt x="2185" y="2553"/>
                        </a:lnTo>
                        <a:lnTo>
                          <a:pt x="2168" y="2571"/>
                        </a:lnTo>
                        <a:lnTo>
                          <a:pt x="2159" y="2566"/>
                        </a:lnTo>
                        <a:lnTo>
                          <a:pt x="2143" y="2575"/>
                        </a:lnTo>
                        <a:lnTo>
                          <a:pt x="2131" y="2593"/>
                        </a:lnTo>
                        <a:lnTo>
                          <a:pt x="2099" y="2611"/>
                        </a:lnTo>
                        <a:lnTo>
                          <a:pt x="2108" y="2613"/>
                        </a:lnTo>
                        <a:lnTo>
                          <a:pt x="2129" y="2606"/>
                        </a:lnTo>
                        <a:lnTo>
                          <a:pt x="2150" y="2586"/>
                        </a:lnTo>
                        <a:lnTo>
                          <a:pt x="2155" y="2577"/>
                        </a:lnTo>
                        <a:lnTo>
                          <a:pt x="2171" y="2571"/>
                        </a:lnTo>
                        <a:lnTo>
                          <a:pt x="2189" y="2572"/>
                        </a:lnTo>
                        <a:lnTo>
                          <a:pt x="2208" y="2570"/>
                        </a:lnTo>
                        <a:lnTo>
                          <a:pt x="2204" y="2585"/>
                        </a:lnTo>
                        <a:lnTo>
                          <a:pt x="2206" y="2612"/>
                        </a:lnTo>
                        <a:lnTo>
                          <a:pt x="2218" y="2603"/>
                        </a:lnTo>
                        <a:lnTo>
                          <a:pt x="2211" y="2580"/>
                        </a:lnTo>
                        <a:lnTo>
                          <a:pt x="2211" y="2562"/>
                        </a:lnTo>
                        <a:lnTo>
                          <a:pt x="2218" y="2557"/>
                        </a:lnTo>
                        <a:lnTo>
                          <a:pt x="2209" y="2546"/>
                        </a:lnTo>
                        <a:lnTo>
                          <a:pt x="2211" y="2520"/>
                        </a:lnTo>
                        <a:lnTo>
                          <a:pt x="2220" y="2511"/>
                        </a:lnTo>
                        <a:lnTo>
                          <a:pt x="2216" y="2496"/>
                        </a:lnTo>
                        <a:lnTo>
                          <a:pt x="2204" y="2475"/>
                        </a:lnTo>
                        <a:lnTo>
                          <a:pt x="2195" y="2485"/>
                        </a:lnTo>
                        <a:lnTo>
                          <a:pt x="2174" y="2481"/>
                        </a:lnTo>
                        <a:lnTo>
                          <a:pt x="2161" y="2466"/>
                        </a:lnTo>
                        <a:lnTo>
                          <a:pt x="2159" y="2452"/>
                        </a:lnTo>
                        <a:lnTo>
                          <a:pt x="2151" y="2440"/>
                        </a:lnTo>
                        <a:lnTo>
                          <a:pt x="2124" y="2428"/>
                        </a:lnTo>
                        <a:lnTo>
                          <a:pt x="2125" y="2420"/>
                        </a:lnTo>
                        <a:lnTo>
                          <a:pt x="2138" y="2420"/>
                        </a:lnTo>
                        <a:lnTo>
                          <a:pt x="2148" y="2412"/>
                        </a:lnTo>
                        <a:lnTo>
                          <a:pt x="2149" y="2383"/>
                        </a:lnTo>
                        <a:lnTo>
                          <a:pt x="2159" y="2373"/>
                        </a:lnTo>
                        <a:lnTo>
                          <a:pt x="2174" y="2373"/>
                        </a:lnTo>
                        <a:lnTo>
                          <a:pt x="2185" y="2352"/>
                        </a:lnTo>
                        <a:lnTo>
                          <a:pt x="2184" y="2336"/>
                        </a:lnTo>
                        <a:lnTo>
                          <a:pt x="2171" y="2346"/>
                        </a:lnTo>
                        <a:lnTo>
                          <a:pt x="2153" y="2347"/>
                        </a:lnTo>
                        <a:lnTo>
                          <a:pt x="2143" y="2338"/>
                        </a:lnTo>
                        <a:lnTo>
                          <a:pt x="2129" y="2308"/>
                        </a:lnTo>
                        <a:lnTo>
                          <a:pt x="2126" y="2290"/>
                        </a:lnTo>
                        <a:lnTo>
                          <a:pt x="2126" y="2265"/>
                        </a:lnTo>
                        <a:lnTo>
                          <a:pt x="2130" y="2245"/>
                        </a:lnTo>
                        <a:lnTo>
                          <a:pt x="2151" y="2247"/>
                        </a:lnTo>
                        <a:lnTo>
                          <a:pt x="2165" y="2255"/>
                        </a:lnTo>
                        <a:lnTo>
                          <a:pt x="2176" y="2251"/>
                        </a:lnTo>
                        <a:lnTo>
                          <a:pt x="2150" y="2236"/>
                        </a:lnTo>
                        <a:lnTo>
                          <a:pt x="2130" y="2235"/>
                        </a:lnTo>
                        <a:lnTo>
                          <a:pt x="2131" y="2218"/>
                        </a:lnTo>
                        <a:lnTo>
                          <a:pt x="2154" y="2211"/>
                        </a:lnTo>
                        <a:lnTo>
                          <a:pt x="2163" y="2217"/>
                        </a:lnTo>
                        <a:lnTo>
                          <a:pt x="2180" y="2212"/>
                        </a:lnTo>
                        <a:lnTo>
                          <a:pt x="2144" y="2195"/>
                        </a:lnTo>
                        <a:lnTo>
                          <a:pt x="2146" y="2177"/>
                        </a:lnTo>
                        <a:lnTo>
                          <a:pt x="2159" y="2163"/>
                        </a:lnTo>
                        <a:lnTo>
                          <a:pt x="2200" y="2136"/>
                        </a:lnTo>
                        <a:lnTo>
                          <a:pt x="2218" y="2117"/>
                        </a:lnTo>
                        <a:lnTo>
                          <a:pt x="2240" y="2100"/>
                        </a:lnTo>
                        <a:lnTo>
                          <a:pt x="2246" y="2102"/>
                        </a:lnTo>
                        <a:lnTo>
                          <a:pt x="2256" y="2085"/>
                        </a:lnTo>
                        <a:lnTo>
                          <a:pt x="2296" y="2078"/>
                        </a:lnTo>
                        <a:lnTo>
                          <a:pt x="2325" y="2077"/>
                        </a:lnTo>
                        <a:lnTo>
                          <a:pt x="2345" y="2108"/>
                        </a:lnTo>
                        <a:lnTo>
                          <a:pt x="2351" y="2131"/>
                        </a:lnTo>
                        <a:lnTo>
                          <a:pt x="2353" y="2148"/>
                        </a:lnTo>
                        <a:lnTo>
                          <a:pt x="2360" y="2161"/>
                        </a:lnTo>
                        <a:lnTo>
                          <a:pt x="2388" y="2171"/>
                        </a:lnTo>
                        <a:lnTo>
                          <a:pt x="2395" y="2185"/>
                        </a:lnTo>
                        <a:lnTo>
                          <a:pt x="2394" y="2203"/>
                        </a:lnTo>
                        <a:lnTo>
                          <a:pt x="2395" y="2216"/>
                        </a:lnTo>
                        <a:lnTo>
                          <a:pt x="2409" y="2232"/>
                        </a:lnTo>
                        <a:lnTo>
                          <a:pt x="2416" y="2235"/>
                        </a:lnTo>
                        <a:lnTo>
                          <a:pt x="2423" y="2250"/>
                        </a:lnTo>
                        <a:lnTo>
                          <a:pt x="2409" y="2270"/>
                        </a:lnTo>
                        <a:lnTo>
                          <a:pt x="2413" y="2278"/>
                        </a:lnTo>
                        <a:lnTo>
                          <a:pt x="2401" y="2290"/>
                        </a:lnTo>
                        <a:lnTo>
                          <a:pt x="2416" y="2292"/>
                        </a:lnTo>
                        <a:lnTo>
                          <a:pt x="2420" y="2313"/>
                        </a:lnTo>
                        <a:lnTo>
                          <a:pt x="2414" y="2320"/>
                        </a:lnTo>
                        <a:lnTo>
                          <a:pt x="2406" y="2338"/>
                        </a:lnTo>
                        <a:lnTo>
                          <a:pt x="2406" y="2350"/>
                        </a:lnTo>
                        <a:lnTo>
                          <a:pt x="2415" y="2366"/>
                        </a:lnTo>
                        <a:lnTo>
                          <a:pt x="2400" y="2371"/>
                        </a:lnTo>
                        <a:lnTo>
                          <a:pt x="2406" y="2380"/>
                        </a:lnTo>
                        <a:lnTo>
                          <a:pt x="2414" y="2377"/>
                        </a:lnTo>
                        <a:lnTo>
                          <a:pt x="2419" y="2388"/>
                        </a:lnTo>
                        <a:lnTo>
                          <a:pt x="2436" y="2372"/>
                        </a:lnTo>
                        <a:lnTo>
                          <a:pt x="2436" y="2361"/>
                        </a:lnTo>
                        <a:lnTo>
                          <a:pt x="2428" y="2350"/>
                        </a:lnTo>
                        <a:lnTo>
                          <a:pt x="2440" y="2342"/>
                        </a:lnTo>
                        <a:lnTo>
                          <a:pt x="2435" y="2335"/>
                        </a:lnTo>
                        <a:lnTo>
                          <a:pt x="2445" y="2306"/>
                        </a:lnTo>
                        <a:lnTo>
                          <a:pt x="2451" y="2303"/>
                        </a:lnTo>
                        <a:lnTo>
                          <a:pt x="2454" y="2285"/>
                        </a:lnTo>
                        <a:lnTo>
                          <a:pt x="2461" y="2290"/>
                        </a:lnTo>
                        <a:lnTo>
                          <a:pt x="2460" y="2303"/>
                        </a:lnTo>
                        <a:lnTo>
                          <a:pt x="2478" y="2315"/>
                        </a:lnTo>
                        <a:lnTo>
                          <a:pt x="2486" y="2300"/>
                        </a:lnTo>
                        <a:lnTo>
                          <a:pt x="2496" y="2307"/>
                        </a:lnTo>
                        <a:lnTo>
                          <a:pt x="2511" y="2332"/>
                        </a:lnTo>
                        <a:lnTo>
                          <a:pt x="2508" y="2368"/>
                        </a:lnTo>
                        <a:lnTo>
                          <a:pt x="2513" y="2372"/>
                        </a:lnTo>
                        <a:lnTo>
                          <a:pt x="2534" y="2378"/>
                        </a:lnTo>
                        <a:lnTo>
                          <a:pt x="2519" y="2361"/>
                        </a:lnTo>
                        <a:lnTo>
                          <a:pt x="2519" y="2335"/>
                        </a:lnTo>
                        <a:lnTo>
                          <a:pt x="2514" y="2325"/>
                        </a:lnTo>
                        <a:lnTo>
                          <a:pt x="2519" y="2317"/>
                        </a:lnTo>
                        <a:lnTo>
                          <a:pt x="2514" y="2307"/>
                        </a:lnTo>
                        <a:lnTo>
                          <a:pt x="2526" y="2298"/>
                        </a:lnTo>
                        <a:lnTo>
                          <a:pt x="2574" y="2311"/>
                        </a:lnTo>
                        <a:lnTo>
                          <a:pt x="2570" y="2305"/>
                        </a:lnTo>
                        <a:lnTo>
                          <a:pt x="2546" y="2298"/>
                        </a:lnTo>
                        <a:lnTo>
                          <a:pt x="2526" y="2286"/>
                        </a:lnTo>
                        <a:lnTo>
                          <a:pt x="2523" y="2270"/>
                        </a:lnTo>
                        <a:lnTo>
                          <a:pt x="2529" y="2253"/>
                        </a:lnTo>
                        <a:lnTo>
                          <a:pt x="2546" y="2231"/>
                        </a:lnTo>
                        <a:lnTo>
                          <a:pt x="2556" y="2227"/>
                        </a:lnTo>
                        <a:lnTo>
                          <a:pt x="2565" y="2216"/>
                        </a:lnTo>
                        <a:lnTo>
                          <a:pt x="2604" y="2211"/>
                        </a:lnTo>
                        <a:lnTo>
                          <a:pt x="2616" y="2216"/>
                        </a:lnTo>
                        <a:lnTo>
                          <a:pt x="2620" y="2227"/>
                        </a:lnTo>
                        <a:lnTo>
                          <a:pt x="2646" y="2228"/>
                        </a:lnTo>
                        <a:lnTo>
                          <a:pt x="2655" y="2236"/>
                        </a:lnTo>
                        <a:lnTo>
                          <a:pt x="2660" y="2226"/>
                        </a:lnTo>
                        <a:lnTo>
                          <a:pt x="2671" y="2226"/>
                        </a:lnTo>
                        <a:lnTo>
                          <a:pt x="2688" y="2232"/>
                        </a:lnTo>
                        <a:lnTo>
                          <a:pt x="2704" y="2235"/>
                        </a:lnTo>
                        <a:lnTo>
                          <a:pt x="2706" y="2242"/>
                        </a:lnTo>
                        <a:lnTo>
                          <a:pt x="2729" y="2275"/>
                        </a:lnTo>
                        <a:lnTo>
                          <a:pt x="2725" y="2288"/>
                        </a:lnTo>
                        <a:lnTo>
                          <a:pt x="2728" y="2298"/>
                        </a:lnTo>
                        <a:lnTo>
                          <a:pt x="2774" y="2297"/>
                        </a:lnTo>
                        <a:lnTo>
                          <a:pt x="2785" y="2315"/>
                        </a:lnTo>
                        <a:lnTo>
                          <a:pt x="2783" y="2325"/>
                        </a:lnTo>
                        <a:lnTo>
                          <a:pt x="2784" y="2343"/>
                        </a:lnTo>
                        <a:lnTo>
                          <a:pt x="2769" y="2351"/>
                        </a:lnTo>
                        <a:lnTo>
                          <a:pt x="2761" y="2365"/>
                        </a:lnTo>
                        <a:lnTo>
                          <a:pt x="2770" y="2377"/>
                        </a:lnTo>
                        <a:lnTo>
                          <a:pt x="2764" y="2398"/>
                        </a:lnTo>
                        <a:lnTo>
                          <a:pt x="2775" y="2393"/>
                        </a:lnTo>
                        <a:lnTo>
                          <a:pt x="2776" y="2375"/>
                        </a:lnTo>
                        <a:lnTo>
                          <a:pt x="2786" y="2358"/>
                        </a:lnTo>
                        <a:lnTo>
                          <a:pt x="2796" y="2356"/>
                        </a:lnTo>
                        <a:lnTo>
                          <a:pt x="2805" y="2346"/>
                        </a:lnTo>
                        <a:lnTo>
                          <a:pt x="2823" y="2343"/>
                        </a:lnTo>
                        <a:lnTo>
                          <a:pt x="2823" y="2353"/>
                        </a:lnTo>
                        <a:lnTo>
                          <a:pt x="2816" y="2365"/>
                        </a:lnTo>
                        <a:lnTo>
                          <a:pt x="2811" y="2387"/>
                        </a:lnTo>
                        <a:lnTo>
                          <a:pt x="2814" y="2406"/>
                        </a:lnTo>
                        <a:lnTo>
                          <a:pt x="2820" y="2405"/>
                        </a:lnTo>
                        <a:lnTo>
                          <a:pt x="2819" y="2387"/>
                        </a:lnTo>
                        <a:lnTo>
                          <a:pt x="2825" y="2375"/>
                        </a:lnTo>
                        <a:lnTo>
                          <a:pt x="2834" y="2380"/>
                        </a:lnTo>
                        <a:lnTo>
                          <a:pt x="2834" y="2401"/>
                        </a:lnTo>
                        <a:lnTo>
                          <a:pt x="2846" y="2397"/>
                        </a:lnTo>
                        <a:lnTo>
                          <a:pt x="2861" y="2415"/>
                        </a:lnTo>
                        <a:lnTo>
                          <a:pt x="2879" y="2418"/>
                        </a:lnTo>
                        <a:lnTo>
                          <a:pt x="2873" y="2397"/>
                        </a:lnTo>
                        <a:lnTo>
                          <a:pt x="2885" y="2390"/>
                        </a:lnTo>
                        <a:lnTo>
                          <a:pt x="2878" y="2380"/>
                        </a:lnTo>
                        <a:lnTo>
                          <a:pt x="2886" y="2368"/>
                        </a:lnTo>
                        <a:lnTo>
                          <a:pt x="2884" y="2352"/>
                        </a:lnTo>
                        <a:lnTo>
                          <a:pt x="2890" y="2348"/>
                        </a:lnTo>
                        <a:lnTo>
                          <a:pt x="2924" y="2352"/>
                        </a:lnTo>
                        <a:lnTo>
                          <a:pt x="2946" y="2358"/>
                        </a:lnTo>
                        <a:lnTo>
                          <a:pt x="2958" y="2366"/>
                        </a:lnTo>
                        <a:lnTo>
                          <a:pt x="2984" y="2393"/>
                        </a:lnTo>
                        <a:lnTo>
                          <a:pt x="2976" y="2415"/>
                        </a:lnTo>
                        <a:lnTo>
                          <a:pt x="2975" y="2432"/>
                        </a:lnTo>
                        <a:lnTo>
                          <a:pt x="2965" y="2436"/>
                        </a:lnTo>
                        <a:lnTo>
                          <a:pt x="2949" y="2432"/>
                        </a:lnTo>
                        <a:lnTo>
                          <a:pt x="2940" y="2440"/>
                        </a:lnTo>
                        <a:lnTo>
                          <a:pt x="2939" y="2462"/>
                        </a:lnTo>
                        <a:lnTo>
                          <a:pt x="2933" y="2480"/>
                        </a:lnTo>
                        <a:lnTo>
                          <a:pt x="2945" y="2486"/>
                        </a:lnTo>
                        <a:lnTo>
                          <a:pt x="2939" y="2501"/>
                        </a:lnTo>
                        <a:lnTo>
                          <a:pt x="2959" y="2490"/>
                        </a:lnTo>
                        <a:lnTo>
                          <a:pt x="2976" y="2470"/>
                        </a:lnTo>
                        <a:lnTo>
                          <a:pt x="2990" y="2463"/>
                        </a:lnTo>
                        <a:lnTo>
                          <a:pt x="2993" y="2435"/>
                        </a:lnTo>
                        <a:lnTo>
                          <a:pt x="3010" y="2415"/>
                        </a:lnTo>
                        <a:lnTo>
                          <a:pt x="3020" y="2418"/>
                        </a:lnTo>
                        <a:lnTo>
                          <a:pt x="3034" y="2441"/>
                        </a:lnTo>
                        <a:lnTo>
                          <a:pt x="3028" y="2461"/>
                        </a:lnTo>
                        <a:lnTo>
                          <a:pt x="3028" y="2482"/>
                        </a:lnTo>
                        <a:lnTo>
                          <a:pt x="3015" y="2495"/>
                        </a:lnTo>
                        <a:lnTo>
                          <a:pt x="3014" y="2508"/>
                        </a:lnTo>
                        <a:lnTo>
                          <a:pt x="3009" y="2515"/>
                        </a:lnTo>
                        <a:lnTo>
                          <a:pt x="3018" y="2523"/>
                        </a:lnTo>
                        <a:lnTo>
                          <a:pt x="3024" y="2521"/>
                        </a:lnTo>
                        <a:lnTo>
                          <a:pt x="3021" y="2501"/>
                        </a:lnTo>
                        <a:lnTo>
                          <a:pt x="3029" y="2496"/>
                        </a:lnTo>
                        <a:lnTo>
                          <a:pt x="3038" y="2478"/>
                        </a:lnTo>
                        <a:lnTo>
                          <a:pt x="3056" y="2460"/>
                        </a:lnTo>
                        <a:lnTo>
                          <a:pt x="3070" y="2441"/>
                        </a:lnTo>
                        <a:lnTo>
                          <a:pt x="3079" y="2443"/>
                        </a:lnTo>
                        <a:lnTo>
                          <a:pt x="3075" y="2467"/>
                        </a:lnTo>
                        <a:lnTo>
                          <a:pt x="3065" y="2485"/>
                        </a:lnTo>
                        <a:lnTo>
                          <a:pt x="3078" y="2481"/>
                        </a:lnTo>
                        <a:lnTo>
                          <a:pt x="3094" y="2455"/>
                        </a:lnTo>
                        <a:lnTo>
                          <a:pt x="3115" y="2447"/>
                        </a:lnTo>
                        <a:lnTo>
                          <a:pt x="3124" y="2455"/>
                        </a:lnTo>
                        <a:lnTo>
                          <a:pt x="3173" y="2465"/>
                        </a:lnTo>
                        <a:lnTo>
                          <a:pt x="3181" y="2478"/>
                        </a:lnTo>
                        <a:lnTo>
                          <a:pt x="3179" y="2502"/>
                        </a:lnTo>
                        <a:lnTo>
                          <a:pt x="3169" y="2508"/>
                        </a:lnTo>
                        <a:lnTo>
                          <a:pt x="3166" y="2516"/>
                        </a:lnTo>
                        <a:lnTo>
                          <a:pt x="3150" y="2525"/>
                        </a:lnTo>
                        <a:lnTo>
                          <a:pt x="3128" y="2542"/>
                        </a:lnTo>
                        <a:lnTo>
                          <a:pt x="3113" y="2561"/>
                        </a:lnTo>
                        <a:lnTo>
                          <a:pt x="3121" y="2563"/>
                        </a:lnTo>
                        <a:lnTo>
                          <a:pt x="3145" y="2546"/>
                        </a:lnTo>
                        <a:lnTo>
                          <a:pt x="3173" y="2535"/>
                        </a:lnTo>
                        <a:lnTo>
                          <a:pt x="3180" y="2545"/>
                        </a:lnTo>
                        <a:lnTo>
                          <a:pt x="3174" y="2570"/>
                        </a:lnTo>
                        <a:lnTo>
                          <a:pt x="3174" y="2582"/>
                        </a:lnTo>
                        <a:lnTo>
                          <a:pt x="3190" y="2580"/>
                        </a:lnTo>
                        <a:lnTo>
                          <a:pt x="3190" y="2557"/>
                        </a:lnTo>
                        <a:lnTo>
                          <a:pt x="3201" y="2552"/>
                        </a:lnTo>
                        <a:lnTo>
                          <a:pt x="3194" y="2526"/>
                        </a:lnTo>
                        <a:lnTo>
                          <a:pt x="3199" y="2507"/>
                        </a:lnTo>
                        <a:lnTo>
                          <a:pt x="3221" y="2510"/>
                        </a:lnTo>
                        <a:lnTo>
                          <a:pt x="3243" y="2525"/>
                        </a:lnTo>
                        <a:lnTo>
                          <a:pt x="3270" y="2550"/>
                        </a:lnTo>
                        <a:lnTo>
                          <a:pt x="3290" y="2586"/>
                        </a:lnTo>
                        <a:lnTo>
                          <a:pt x="3278" y="2592"/>
                        </a:lnTo>
                        <a:lnTo>
                          <a:pt x="3251" y="2590"/>
                        </a:lnTo>
                        <a:lnTo>
                          <a:pt x="3236" y="2595"/>
                        </a:lnTo>
                        <a:lnTo>
                          <a:pt x="3228" y="2610"/>
                        </a:lnTo>
                        <a:lnTo>
                          <a:pt x="3224" y="2626"/>
                        </a:lnTo>
                        <a:lnTo>
                          <a:pt x="3205" y="2628"/>
                        </a:lnTo>
                        <a:lnTo>
                          <a:pt x="3213" y="2637"/>
                        </a:lnTo>
                        <a:lnTo>
                          <a:pt x="3253" y="2647"/>
                        </a:lnTo>
                        <a:lnTo>
                          <a:pt x="3265" y="2641"/>
                        </a:lnTo>
                        <a:lnTo>
                          <a:pt x="3299" y="2632"/>
                        </a:lnTo>
                        <a:lnTo>
                          <a:pt x="3331" y="2645"/>
                        </a:lnTo>
                        <a:lnTo>
                          <a:pt x="3340" y="2652"/>
                        </a:lnTo>
                        <a:lnTo>
                          <a:pt x="3346" y="2668"/>
                        </a:lnTo>
                        <a:lnTo>
                          <a:pt x="3343" y="2678"/>
                        </a:lnTo>
                        <a:lnTo>
                          <a:pt x="3329" y="2676"/>
                        </a:lnTo>
                        <a:lnTo>
                          <a:pt x="3305" y="2680"/>
                        </a:lnTo>
                        <a:lnTo>
                          <a:pt x="3299" y="2688"/>
                        </a:lnTo>
                        <a:lnTo>
                          <a:pt x="3288" y="2688"/>
                        </a:lnTo>
                        <a:lnTo>
                          <a:pt x="3250" y="2676"/>
                        </a:lnTo>
                        <a:lnTo>
                          <a:pt x="3261" y="2690"/>
                        </a:lnTo>
                        <a:lnTo>
                          <a:pt x="3254" y="2693"/>
                        </a:lnTo>
                        <a:lnTo>
                          <a:pt x="3229" y="2697"/>
                        </a:lnTo>
                        <a:lnTo>
                          <a:pt x="3236" y="2703"/>
                        </a:lnTo>
                        <a:lnTo>
                          <a:pt x="3246" y="2701"/>
                        </a:lnTo>
                        <a:lnTo>
                          <a:pt x="3264" y="2705"/>
                        </a:lnTo>
                        <a:lnTo>
                          <a:pt x="3291" y="2712"/>
                        </a:lnTo>
                        <a:lnTo>
                          <a:pt x="3276" y="2730"/>
                        </a:lnTo>
                        <a:lnTo>
                          <a:pt x="3279" y="2753"/>
                        </a:lnTo>
                        <a:lnTo>
                          <a:pt x="3263" y="2757"/>
                        </a:lnTo>
                        <a:lnTo>
                          <a:pt x="3250" y="2771"/>
                        </a:lnTo>
                        <a:lnTo>
                          <a:pt x="3258" y="2776"/>
                        </a:lnTo>
                        <a:lnTo>
                          <a:pt x="3280" y="2775"/>
                        </a:lnTo>
                        <a:lnTo>
                          <a:pt x="3286" y="2778"/>
                        </a:lnTo>
                        <a:lnTo>
                          <a:pt x="3275" y="2792"/>
                        </a:lnTo>
                        <a:lnTo>
                          <a:pt x="3306" y="2801"/>
                        </a:lnTo>
                        <a:lnTo>
                          <a:pt x="3321" y="2790"/>
                        </a:lnTo>
                        <a:lnTo>
                          <a:pt x="3346" y="2793"/>
                        </a:lnTo>
                        <a:lnTo>
                          <a:pt x="3361" y="2792"/>
                        </a:lnTo>
                        <a:lnTo>
                          <a:pt x="3375" y="2797"/>
                        </a:lnTo>
                        <a:lnTo>
                          <a:pt x="3373" y="2808"/>
                        </a:lnTo>
                        <a:lnTo>
                          <a:pt x="3349" y="2810"/>
                        </a:lnTo>
                        <a:lnTo>
                          <a:pt x="3325" y="2830"/>
                        </a:lnTo>
                        <a:lnTo>
                          <a:pt x="3343" y="2830"/>
                        </a:lnTo>
                        <a:lnTo>
                          <a:pt x="3350" y="2817"/>
                        </a:lnTo>
                        <a:lnTo>
                          <a:pt x="3360" y="2815"/>
                        </a:lnTo>
                        <a:lnTo>
                          <a:pt x="3384" y="2825"/>
                        </a:lnTo>
                        <a:lnTo>
                          <a:pt x="3393" y="2825"/>
                        </a:lnTo>
                        <a:lnTo>
                          <a:pt x="3391" y="2840"/>
                        </a:lnTo>
                        <a:lnTo>
                          <a:pt x="3396" y="2848"/>
                        </a:lnTo>
                        <a:lnTo>
                          <a:pt x="3411" y="2835"/>
                        </a:lnTo>
                        <a:lnTo>
                          <a:pt x="3426" y="2833"/>
                        </a:lnTo>
                        <a:lnTo>
                          <a:pt x="3439" y="2852"/>
                        </a:lnTo>
                        <a:lnTo>
                          <a:pt x="3453" y="2855"/>
                        </a:lnTo>
                        <a:lnTo>
                          <a:pt x="3471" y="2866"/>
                        </a:lnTo>
                        <a:lnTo>
                          <a:pt x="3469" y="2848"/>
                        </a:lnTo>
                        <a:lnTo>
                          <a:pt x="3473" y="2841"/>
                        </a:lnTo>
                        <a:lnTo>
                          <a:pt x="3486" y="2837"/>
                        </a:lnTo>
                        <a:lnTo>
                          <a:pt x="3489" y="2848"/>
                        </a:lnTo>
                        <a:lnTo>
                          <a:pt x="3489" y="2877"/>
                        </a:lnTo>
                        <a:lnTo>
                          <a:pt x="3494" y="2876"/>
                        </a:lnTo>
                        <a:lnTo>
                          <a:pt x="3491" y="2850"/>
                        </a:lnTo>
                        <a:lnTo>
                          <a:pt x="3504" y="2836"/>
                        </a:lnTo>
                        <a:lnTo>
                          <a:pt x="3500" y="2828"/>
                        </a:lnTo>
                        <a:lnTo>
                          <a:pt x="3508" y="2818"/>
                        </a:lnTo>
                        <a:lnTo>
                          <a:pt x="3530" y="2823"/>
                        </a:lnTo>
                        <a:lnTo>
                          <a:pt x="3523" y="2835"/>
                        </a:lnTo>
                        <a:lnTo>
                          <a:pt x="3518" y="2852"/>
                        </a:lnTo>
                        <a:lnTo>
                          <a:pt x="3524" y="2861"/>
                        </a:lnTo>
                        <a:lnTo>
                          <a:pt x="3536" y="2858"/>
                        </a:lnTo>
                        <a:lnTo>
                          <a:pt x="3546" y="2846"/>
                        </a:lnTo>
                        <a:lnTo>
                          <a:pt x="3571" y="2855"/>
                        </a:lnTo>
                        <a:lnTo>
                          <a:pt x="3581" y="2872"/>
                        </a:lnTo>
                        <a:lnTo>
                          <a:pt x="3590" y="2868"/>
                        </a:lnTo>
                        <a:lnTo>
                          <a:pt x="3596" y="2880"/>
                        </a:lnTo>
                        <a:lnTo>
                          <a:pt x="3598" y="2893"/>
                        </a:lnTo>
                        <a:lnTo>
                          <a:pt x="3605" y="2892"/>
                        </a:lnTo>
                        <a:lnTo>
                          <a:pt x="3614" y="2906"/>
                        </a:lnTo>
                        <a:lnTo>
                          <a:pt x="3613" y="2916"/>
                        </a:lnTo>
                        <a:lnTo>
                          <a:pt x="3591" y="2925"/>
                        </a:lnTo>
                        <a:lnTo>
                          <a:pt x="3599" y="2933"/>
                        </a:lnTo>
                        <a:lnTo>
                          <a:pt x="3614" y="2921"/>
                        </a:lnTo>
                        <a:lnTo>
                          <a:pt x="3624" y="2925"/>
                        </a:lnTo>
                        <a:lnTo>
                          <a:pt x="3644" y="2916"/>
                        </a:lnTo>
                        <a:lnTo>
                          <a:pt x="3655" y="2917"/>
                        </a:lnTo>
                        <a:lnTo>
                          <a:pt x="3656" y="2905"/>
                        </a:lnTo>
                        <a:lnTo>
                          <a:pt x="3663" y="2892"/>
                        </a:lnTo>
                        <a:lnTo>
                          <a:pt x="3674" y="2895"/>
                        </a:lnTo>
                        <a:lnTo>
                          <a:pt x="3681" y="2906"/>
                        </a:lnTo>
                        <a:lnTo>
                          <a:pt x="3680" y="2917"/>
                        </a:lnTo>
                        <a:lnTo>
                          <a:pt x="3670" y="2927"/>
                        </a:lnTo>
                        <a:lnTo>
                          <a:pt x="3676" y="2941"/>
                        </a:lnTo>
                        <a:lnTo>
                          <a:pt x="3679" y="2957"/>
                        </a:lnTo>
                        <a:lnTo>
                          <a:pt x="3665" y="2972"/>
                        </a:lnTo>
                        <a:lnTo>
                          <a:pt x="3679" y="2982"/>
                        </a:lnTo>
                        <a:lnTo>
                          <a:pt x="3678" y="2967"/>
                        </a:lnTo>
                        <a:lnTo>
                          <a:pt x="3700" y="2943"/>
                        </a:lnTo>
                        <a:lnTo>
                          <a:pt x="3720" y="2940"/>
                        </a:lnTo>
                        <a:lnTo>
                          <a:pt x="3729" y="2945"/>
                        </a:lnTo>
                        <a:lnTo>
                          <a:pt x="3740" y="2933"/>
                        </a:lnTo>
                        <a:lnTo>
                          <a:pt x="3735" y="2922"/>
                        </a:lnTo>
                        <a:lnTo>
                          <a:pt x="3743" y="2912"/>
                        </a:lnTo>
                        <a:lnTo>
                          <a:pt x="3753" y="2912"/>
                        </a:lnTo>
                        <a:lnTo>
                          <a:pt x="3754" y="2928"/>
                        </a:lnTo>
                        <a:lnTo>
                          <a:pt x="3766" y="2918"/>
                        </a:lnTo>
                        <a:lnTo>
                          <a:pt x="3788" y="2928"/>
                        </a:lnTo>
                        <a:lnTo>
                          <a:pt x="3818" y="2951"/>
                        </a:lnTo>
                        <a:lnTo>
                          <a:pt x="3824" y="2962"/>
                        </a:lnTo>
                        <a:lnTo>
                          <a:pt x="3818" y="2976"/>
                        </a:lnTo>
                        <a:lnTo>
                          <a:pt x="3809" y="2978"/>
                        </a:lnTo>
                        <a:lnTo>
                          <a:pt x="3793" y="2967"/>
                        </a:lnTo>
                        <a:lnTo>
                          <a:pt x="3784" y="2968"/>
                        </a:lnTo>
                        <a:lnTo>
                          <a:pt x="3813" y="2990"/>
                        </a:lnTo>
                        <a:lnTo>
                          <a:pt x="3825" y="3005"/>
                        </a:lnTo>
                        <a:lnTo>
                          <a:pt x="3818" y="3015"/>
                        </a:lnTo>
                        <a:lnTo>
                          <a:pt x="3809" y="3017"/>
                        </a:lnTo>
                        <a:lnTo>
                          <a:pt x="3803" y="3027"/>
                        </a:lnTo>
                        <a:lnTo>
                          <a:pt x="3791" y="3025"/>
                        </a:lnTo>
                        <a:lnTo>
                          <a:pt x="3783" y="3030"/>
                        </a:lnTo>
                        <a:lnTo>
                          <a:pt x="3778" y="3018"/>
                        </a:lnTo>
                        <a:lnTo>
                          <a:pt x="3751" y="3021"/>
                        </a:lnTo>
                        <a:lnTo>
                          <a:pt x="3754" y="3026"/>
                        </a:lnTo>
                        <a:lnTo>
                          <a:pt x="3774" y="3033"/>
                        </a:lnTo>
                        <a:lnTo>
                          <a:pt x="3769" y="3052"/>
                        </a:lnTo>
                        <a:lnTo>
                          <a:pt x="3798" y="3060"/>
                        </a:lnTo>
                        <a:lnTo>
                          <a:pt x="3818" y="3070"/>
                        </a:lnTo>
                        <a:lnTo>
                          <a:pt x="3803" y="3077"/>
                        </a:lnTo>
                        <a:lnTo>
                          <a:pt x="3790" y="3088"/>
                        </a:lnTo>
                        <a:lnTo>
                          <a:pt x="3808" y="3108"/>
                        </a:lnTo>
                        <a:lnTo>
                          <a:pt x="3796" y="3120"/>
                        </a:lnTo>
                        <a:lnTo>
                          <a:pt x="3799" y="3141"/>
                        </a:lnTo>
                        <a:lnTo>
                          <a:pt x="3790" y="3157"/>
                        </a:lnTo>
                        <a:lnTo>
                          <a:pt x="3780" y="3151"/>
                        </a:lnTo>
                        <a:lnTo>
                          <a:pt x="3764" y="3157"/>
                        </a:lnTo>
                        <a:lnTo>
                          <a:pt x="3748" y="3147"/>
                        </a:lnTo>
                        <a:lnTo>
                          <a:pt x="3756" y="3170"/>
                        </a:lnTo>
                        <a:lnTo>
                          <a:pt x="3756" y="3180"/>
                        </a:lnTo>
                        <a:lnTo>
                          <a:pt x="3741" y="3186"/>
                        </a:lnTo>
                        <a:lnTo>
                          <a:pt x="3759" y="3197"/>
                        </a:lnTo>
                        <a:lnTo>
                          <a:pt x="3758" y="3208"/>
                        </a:lnTo>
                        <a:lnTo>
                          <a:pt x="3769" y="3212"/>
                        </a:lnTo>
                        <a:lnTo>
                          <a:pt x="3765" y="3221"/>
                        </a:lnTo>
                        <a:lnTo>
                          <a:pt x="3774" y="3233"/>
                        </a:lnTo>
                        <a:lnTo>
                          <a:pt x="3774" y="3241"/>
                        </a:lnTo>
                        <a:lnTo>
                          <a:pt x="3784" y="3258"/>
                        </a:lnTo>
                        <a:lnTo>
                          <a:pt x="3774" y="3282"/>
                        </a:lnTo>
                        <a:lnTo>
                          <a:pt x="3764" y="3277"/>
                        </a:lnTo>
                        <a:lnTo>
                          <a:pt x="3749" y="3262"/>
                        </a:lnTo>
                        <a:lnTo>
                          <a:pt x="3735" y="3261"/>
                        </a:lnTo>
                        <a:lnTo>
                          <a:pt x="3725" y="3255"/>
                        </a:lnTo>
                        <a:lnTo>
                          <a:pt x="3705" y="3257"/>
                        </a:lnTo>
                        <a:lnTo>
                          <a:pt x="3705" y="3275"/>
                        </a:lnTo>
                        <a:lnTo>
                          <a:pt x="3690" y="3271"/>
                        </a:lnTo>
                        <a:lnTo>
                          <a:pt x="3688" y="3257"/>
                        </a:lnTo>
                        <a:lnTo>
                          <a:pt x="3671" y="3256"/>
                        </a:lnTo>
                        <a:lnTo>
                          <a:pt x="3665" y="3232"/>
                        </a:lnTo>
                        <a:lnTo>
                          <a:pt x="3655" y="3243"/>
                        </a:lnTo>
                        <a:lnTo>
                          <a:pt x="3645" y="3226"/>
                        </a:lnTo>
                        <a:lnTo>
                          <a:pt x="3631" y="3221"/>
                        </a:lnTo>
                        <a:lnTo>
                          <a:pt x="3626" y="3211"/>
                        </a:lnTo>
                        <a:lnTo>
                          <a:pt x="3614" y="3206"/>
                        </a:lnTo>
                        <a:lnTo>
                          <a:pt x="3606" y="3193"/>
                        </a:lnTo>
                        <a:lnTo>
                          <a:pt x="3608" y="3167"/>
                        </a:lnTo>
                        <a:lnTo>
                          <a:pt x="3631" y="3143"/>
                        </a:lnTo>
                        <a:lnTo>
                          <a:pt x="3634" y="3125"/>
                        </a:lnTo>
                        <a:lnTo>
                          <a:pt x="3631" y="3103"/>
                        </a:lnTo>
                        <a:lnTo>
                          <a:pt x="3625" y="3105"/>
                        </a:lnTo>
                        <a:lnTo>
                          <a:pt x="3629" y="3123"/>
                        </a:lnTo>
                        <a:lnTo>
                          <a:pt x="3624" y="3133"/>
                        </a:lnTo>
                        <a:lnTo>
                          <a:pt x="3601" y="3157"/>
                        </a:lnTo>
                        <a:lnTo>
                          <a:pt x="3570" y="3173"/>
                        </a:lnTo>
                        <a:lnTo>
                          <a:pt x="3558" y="3150"/>
                        </a:lnTo>
                        <a:lnTo>
                          <a:pt x="3544" y="3150"/>
                        </a:lnTo>
                        <a:lnTo>
                          <a:pt x="3526" y="3132"/>
                        </a:lnTo>
                        <a:lnTo>
                          <a:pt x="3525" y="3143"/>
                        </a:lnTo>
                        <a:lnTo>
                          <a:pt x="3516" y="3145"/>
                        </a:lnTo>
                        <a:lnTo>
                          <a:pt x="3511" y="3135"/>
                        </a:lnTo>
                        <a:lnTo>
                          <a:pt x="3513" y="3123"/>
                        </a:lnTo>
                        <a:lnTo>
                          <a:pt x="3495" y="3125"/>
                        </a:lnTo>
                        <a:lnTo>
                          <a:pt x="3475" y="3092"/>
                        </a:lnTo>
                        <a:lnTo>
                          <a:pt x="3471" y="3103"/>
                        </a:lnTo>
                        <a:lnTo>
                          <a:pt x="3444" y="3111"/>
                        </a:lnTo>
                        <a:lnTo>
                          <a:pt x="3465" y="3122"/>
                        </a:lnTo>
                        <a:lnTo>
                          <a:pt x="3468" y="3132"/>
                        </a:lnTo>
                        <a:lnTo>
                          <a:pt x="3463" y="3151"/>
                        </a:lnTo>
                        <a:lnTo>
                          <a:pt x="3454" y="3150"/>
                        </a:lnTo>
                        <a:lnTo>
                          <a:pt x="3439" y="3135"/>
                        </a:lnTo>
                        <a:lnTo>
                          <a:pt x="3420" y="3132"/>
                        </a:lnTo>
                        <a:lnTo>
                          <a:pt x="3421" y="3142"/>
                        </a:lnTo>
                        <a:lnTo>
                          <a:pt x="3436" y="3158"/>
                        </a:lnTo>
                        <a:lnTo>
                          <a:pt x="3435" y="3165"/>
                        </a:lnTo>
                        <a:lnTo>
                          <a:pt x="3461" y="3177"/>
                        </a:lnTo>
                        <a:lnTo>
                          <a:pt x="3473" y="3178"/>
                        </a:lnTo>
                        <a:lnTo>
                          <a:pt x="3478" y="3197"/>
                        </a:lnTo>
                        <a:lnTo>
                          <a:pt x="3490" y="3203"/>
                        </a:lnTo>
                        <a:lnTo>
                          <a:pt x="3451" y="3226"/>
                        </a:lnTo>
                        <a:lnTo>
                          <a:pt x="3443" y="3225"/>
                        </a:lnTo>
                        <a:lnTo>
                          <a:pt x="3431" y="3212"/>
                        </a:lnTo>
                        <a:lnTo>
                          <a:pt x="3429" y="3196"/>
                        </a:lnTo>
                        <a:lnTo>
                          <a:pt x="3411" y="3192"/>
                        </a:lnTo>
                        <a:lnTo>
                          <a:pt x="3405" y="3181"/>
                        </a:lnTo>
                        <a:lnTo>
                          <a:pt x="3398" y="3188"/>
                        </a:lnTo>
                        <a:lnTo>
                          <a:pt x="3400" y="3197"/>
                        </a:lnTo>
                        <a:lnTo>
                          <a:pt x="3416" y="3195"/>
                        </a:lnTo>
                        <a:lnTo>
                          <a:pt x="3423" y="3208"/>
                        </a:lnTo>
                        <a:lnTo>
                          <a:pt x="3414" y="3213"/>
                        </a:lnTo>
                        <a:lnTo>
                          <a:pt x="3416" y="3231"/>
                        </a:lnTo>
                        <a:lnTo>
                          <a:pt x="3429" y="3235"/>
                        </a:lnTo>
                        <a:lnTo>
                          <a:pt x="3436" y="3245"/>
                        </a:lnTo>
                        <a:lnTo>
                          <a:pt x="3450" y="3247"/>
                        </a:lnTo>
                        <a:lnTo>
                          <a:pt x="3458" y="3257"/>
                        </a:lnTo>
                        <a:lnTo>
                          <a:pt x="3456" y="3270"/>
                        </a:lnTo>
                        <a:lnTo>
                          <a:pt x="3484" y="3250"/>
                        </a:lnTo>
                        <a:lnTo>
                          <a:pt x="3498" y="3252"/>
                        </a:lnTo>
                        <a:lnTo>
                          <a:pt x="3496" y="3263"/>
                        </a:lnTo>
                        <a:lnTo>
                          <a:pt x="3504" y="3268"/>
                        </a:lnTo>
                        <a:lnTo>
                          <a:pt x="3495" y="3277"/>
                        </a:lnTo>
                        <a:lnTo>
                          <a:pt x="3521" y="3277"/>
                        </a:lnTo>
                        <a:lnTo>
                          <a:pt x="3524" y="3308"/>
                        </a:lnTo>
                        <a:lnTo>
                          <a:pt x="3533" y="3317"/>
                        </a:lnTo>
                        <a:lnTo>
                          <a:pt x="3543" y="3312"/>
                        </a:lnTo>
                        <a:lnTo>
                          <a:pt x="3546" y="3333"/>
                        </a:lnTo>
                        <a:lnTo>
                          <a:pt x="3559" y="3333"/>
                        </a:lnTo>
                        <a:lnTo>
                          <a:pt x="3574" y="3345"/>
                        </a:lnTo>
                        <a:lnTo>
                          <a:pt x="3579" y="3335"/>
                        </a:lnTo>
                        <a:lnTo>
                          <a:pt x="3589" y="3346"/>
                        </a:lnTo>
                        <a:lnTo>
                          <a:pt x="3606" y="3346"/>
                        </a:lnTo>
                        <a:lnTo>
                          <a:pt x="3628" y="3363"/>
                        </a:lnTo>
                        <a:lnTo>
                          <a:pt x="3636" y="3365"/>
                        </a:lnTo>
                        <a:lnTo>
                          <a:pt x="3630" y="3342"/>
                        </a:lnTo>
                        <a:lnTo>
                          <a:pt x="3633" y="3340"/>
                        </a:lnTo>
                        <a:lnTo>
                          <a:pt x="3656" y="3353"/>
                        </a:lnTo>
                        <a:lnTo>
                          <a:pt x="3661" y="3370"/>
                        </a:lnTo>
                        <a:lnTo>
                          <a:pt x="3655" y="3380"/>
                        </a:lnTo>
                        <a:lnTo>
                          <a:pt x="3659" y="3395"/>
                        </a:lnTo>
                        <a:lnTo>
                          <a:pt x="3679" y="3392"/>
                        </a:lnTo>
                        <a:lnTo>
                          <a:pt x="3704" y="3385"/>
                        </a:lnTo>
                        <a:lnTo>
                          <a:pt x="3706" y="3395"/>
                        </a:lnTo>
                        <a:lnTo>
                          <a:pt x="3701" y="3417"/>
                        </a:lnTo>
                        <a:lnTo>
                          <a:pt x="3705" y="3435"/>
                        </a:lnTo>
                        <a:lnTo>
                          <a:pt x="3726" y="3446"/>
                        </a:lnTo>
                        <a:lnTo>
                          <a:pt x="3721" y="3458"/>
                        </a:lnTo>
                        <a:lnTo>
                          <a:pt x="3740" y="3452"/>
                        </a:lnTo>
                        <a:lnTo>
                          <a:pt x="3756" y="3444"/>
                        </a:lnTo>
                        <a:lnTo>
                          <a:pt x="3761" y="3452"/>
                        </a:lnTo>
                        <a:lnTo>
                          <a:pt x="3749" y="3469"/>
                        </a:lnTo>
                        <a:lnTo>
                          <a:pt x="3746" y="3482"/>
                        </a:lnTo>
                        <a:lnTo>
                          <a:pt x="3753" y="3490"/>
                        </a:lnTo>
                        <a:lnTo>
                          <a:pt x="3771" y="3488"/>
                        </a:lnTo>
                        <a:lnTo>
                          <a:pt x="3789" y="3499"/>
                        </a:lnTo>
                        <a:lnTo>
                          <a:pt x="3790" y="3513"/>
                        </a:lnTo>
                        <a:lnTo>
                          <a:pt x="3810" y="3553"/>
                        </a:lnTo>
                        <a:lnTo>
                          <a:pt x="3803" y="3563"/>
                        </a:lnTo>
                        <a:lnTo>
                          <a:pt x="3788" y="3553"/>
                        </a:lnTo>
                        <a:lnTo>
                          <a:pt x="3775" y="3532"/>
                        </a:lnTo>
                        <a:lnTo>
                          <a:pt x="3764" y="3521"/>
                        </a:lnTo>
                        <a:lnTo>
                          <a:pt x="3754" y="3528"/>
                        </a:lnTo>
                        <a:lnTo>
                          <a:pt x="3761" y="3542"/>
                        </a:lnTo>
                        <a:lnTo>
                          <a:pt x="3781" y="3563"/>
                        </a:lnTo>
                        <a:lnTo>
                          <a:pt x="3775" y="3572"/>
                        </a:lnTo>
                        <a:lnTo>
                          <a:pt x="3795" y="3583"/>
                        </a:lnTo>
                        <a:lnTo>
                          <a:pt x="3804" y="3596"/>
                        </a:lnTo>
                        <a:lnTo>
                          <a:pt x="3804" y="3611"/>
                        </a:lnTo>
                        <a:lnTo>
                          <a:pt x="3820" y="3613"/>
                        </a:lnTo>
                        <a:lnTo>
                          <a:pt x="3814" y="3623"/>
                        </a:lnTo>
                        <a:lnTo>
                          <a:pt x="3805" y="3627"/>
                        </a:lnTo>
                        <a:lnTo>
                          <a:pt x="3785" y="3618"/>
                        </a:lnTo>
                        <a:lnTo>
                          <a:pt x="3781" y="3631"/>
                        </a:lnTo>
                        <a:lnTo>
                          <a:pt x="3804" y="3650"/>
                        </a:lnTo>
                        <a:lnTo>
                          <a:pt x="3811" y="3660"/>
                        </a:lnTo>
                        <a:lnTo>
                          <a:pt x="3810" y="3668"/>
                        </a:lnTo>
                        <a:lnTo>
                          <a:pt x="3801" y="3679"/>
                        </a:lnTo>
                        <a:lnTo>
                          <a:pt x="3781" y="3662"/>
                        </a:lnTo>
                        <a:lnTo>
                          <a:pt x="3783" y="3648"/>
                        </a:lnTo>
                        <a:lnTo>
                          <a:pt x="3769" y="3647"/>
                        </a:lnTo>
                        <a:lnTo>
                          <a:pt x="3758" y="3651"/>
                        </a:lnTo>
                        <a:lnTo>
                          <a:pt x="3749" y="3640"/>
                        </a:lnTo>
                        <a:lnTo>
                          <a:pt x="3733" y="3641"/>
                        </a:lnTo>
                        <a:lnTo>
                          <a:pt x="3718" y="3635"/>
                        </a:lnTo>
                        <a:lnTo>
                          <a:pt x="3710" y="3646"/>
                        </a:lnTo>
                        <a:lnTo>
                          <a:pt x="3691" y="3642"/>
                        </a:lnTo>
                        <a:lnTo>
                          <a:pt x="3681" y="3634"/>
                        </a:lnTo>
                        <a:lnTo>
                          <a:pt x="3670" y="3644"/>
                        </a:lnTo>
                        <a:lnTo>
                          <a:pt x="3656" y="3627"/>
                        </a:lnTo>
                        <a:lnTo>
                          <a:pt x="3640" y="3622"/>
                        </a:lnTo>
                        <a:lnTo>
                          <a:pt x="3636" y="3613"/>
                        </a:lnTo>
                        <a:lnTo>
                          <a:pt x="3619" y="3613"/>
                        </a:lnTo>
                        <a:lnTo>
                          <a:pt x="3605" y="3603"/>
                        </a:lnTo>
                        <a:lnTo>
                          <a:pt x="3595" y="3601"/>
                        </a:lnTo>
                        <a:lnTo>
                          <a:pt x="3589" y="3588"/>
                        </a:lnTo>
                        <a:lnTo>
                          <a:pt x="3573" y="3575"/>
                        </a:lnTo>
                        <a:lnTo>
                          <a:pt x="3563" y="3575"/>
                        </a:lnTo>
                        <a:lnTo>
                          <a:pt x="3570" y="3593"/>
                        </a:lnTo>
                        <a:lnTo>
                          <a:pt x="3583" y="3606"/>
                        </a:lnTo>
                        <a:lnTo>
                          <a:pt x="3574" y="3613"/>
                        </a:lnTo>
                        <a:lnTo>
                          <a:pt x="3568" y="3605"/>
                        </a:lnTo>
                        <a:lnTo>
                          <a:pt x="3544" y="3590"/>
                        </a:lnTo>
                        <a:lnTo>
                          <a:pt x="3535" y="3591"/>
                        </a:lnTo>
                        <a:lnTo>
                          <a:pt x="3521" y="3586"/>
                        </a:lnTo>
                        <a:lnTo>
                          <a:pt x="3511" y="3576"/>
                        </a:lnTo>
                        <a:lnTo>
                          <a:pt x="3480" y="3582"/>
                        </a:lnTo>
                        <a:lnTo>
                          <a:pt x="3478" y="3587"/>
                        </a:lnTo>
                        <a:lnTo>
                          <a:pt x="3493" y="3597"/>
                        </a:lnTo>
                        <a:lnTo>
                          <a:pt x="3503" y="3611"/>
                        </a:lnTo>
                        <a:lnTo>
                          <a:pt x="3535" y="3631"/>
                        </a:lnTo>
                        <a:lnTo>
                          <a:pt x="3564" y="3658"/>
                        </a:lnTo>
                        <a:lnTo>
                          <a:pt x="3570" y="3656"/>
                        </a:lnTo>
                        <a:lnTo>
                          <a:pt x="3591" y="3661"/>
                        </a:lnTo>
                        <a:lnTo>
                          <a:pt x="3603" y="3656"/>
                        </a:lnTo>
                        <a:lnTo>
                          <a:pt x="3615" y="3670"/>
                        </a:lnTo>
                        <a:lnTo>
                          <a:pt x="3644" y="3681"/>
                        </a:lnTo>
                        <a:lnTo>
                          <a:pt x="3668" y="3702"/>
                        </a:lnTo>
                        <a:lnTo>
                          <a:pt x="3670" y="3708"/>
                        </a:lnTo>
                        <a:lnTo>
                          <a:pt x="3686" y="3707"/>
                        </a:lnTo>
                        <a:lnTo>
                          <a:pt x="3705" y="3713"/>
                        </a:lnTo>
                        <a:lnTo>
                          <a:pt x="3719" y="3728"/>
                        </a:lnTo>
                        <a:lnTo>
                          <a:pt x="3734" y="3740"/>
                        </a:lnTo>
                        <a:lnTo>
                          <a:pt x="3746" y="3743"/>
                        </a:lnTo>
                        <a:lnTo>
                          <a:pt x="3748" y="3753"/>
                        </a:lnTo>
                        <a:lnTo>
                          <a:pt x="3761" y="3748"/>
                        </a:lnTo>
                        <a:lnTo>
                          <a:pt x="3768" y="3753"/>
                        </a:lnTo>
                        <a:lnTo>
                          <a:pt x="3759" y="3776"/>
                        </a:lnTo>
                        <a:lnTo>
                          <a:pt x="3764" y="3785"/>
                        </a:lnTo>
                        <a:lnTo>
                          <a:pt x="3781" y="3800"/>
                        </a:lnTo>
                        <a:lnTo>
                          <a:pt x="3761" y="3813"/>
                        </a:lnTo>
                        <a:lnTo>
                          <a:pt x="3738" y="3813"/>
                        </a:lnTo>
                        <a:lnTo>
                          <a:pt x="3731" y="3806"/>
                        </a:lnTo>
                        <a:lnTo>
                          <a:pt x="3718" y="3802"/>
                        </a:lnTo>
                        <a:lnTo>
                          <a:pt x="3698" y="3802"/>
                        </a:lnTo>
                        <a:lnTo>
                          <a:pt x="3691" y="3806"/>
                        </a:lnTo>
                        <a:lnTo>
                          <a:pt x="3681" y="3800"/>
                        </a:lnTo>
                        <a:lnTo>
                          <a:pt x="3675" y="3806"/>
                        </a:lnTo>
                        <a:lnTo>
                          <a:pt x="3666" y="3796"/>
                        </a:lnTo>
                        <a:lnTo>
                          <a:pt x="3646" y="3801"/>
                        </a:lnTo>
                        <a:lnTo>
                          <a:pt x="3621" y="3800"/>
                        </a:lnTo>
                        <a:lnTo>
                          <a:pt x="3579" y="3807"/>
                        </a:lnTo>
                        <a:lnTo>
                          <a:pt x="3544" y="3795"/>
                        </a:lnTo>
                        <a:lnTo>
                          <a:pt x="3539" y="3797"/>
                        </a:lnTo>
                        <a:lnTo>
                          <a:pt x="3515" y="3786"/>
                        </a:lnTo>
                        <a:lnTo>
                          <a:pt x="3508" y="3776"/>
                        </a:lnTo>
                        <a:lnTo>
                          <a:pt x="3501" y="3780"/>
                        </a:lnTo>
                        <a:lnTo>
                          <a:pt x="3486" y="3767"/>
                        </a:lnTo>
                        <a:lnTo>
                          <a:pt x="3489" y="3751"/>
                        </a:lnTo>
                        <a:lnTo>
                          <a:pt x="3478" y="3747"/>
                        </a:lnTo>
                        <a:lnTo>
                          <a:pt x="3449" y="3763"/>
                        </a:lnTo>
                        <a:lnTo>
                          <a:pt x="3436" y="3766"/>
                        </a:lnTo>
                        <a:lnTo>
                          <a:pt x="3413" y="3753"/>
                        </a:lnTo>
                        <a:lnTo>
                          <a:pt x="3388" y="3756"/>
                        </a:lnTo>
                        <a:lnTo>
                          <a:pt x="3371" y="3743"/>
                        </a:lnTo>
                        <a:lnTo>
                          <a:pt x="3366" y="3731"/>
                        </a:lnTo>
                        <a:lnTo>
                          <a:pt x="3343" y="3742"/>
                        </a:lnTo>
                        <a:lnTo>
                          <a:pt x="3331" y="3733"/>
                        </a:lnTo>
                        <a:lnTo>
                          <a:pt x="3315" y="3729"/>
                        </a:lnTo>
                        <a:lnTo>
                          <a:pt x="3305" y="3713"/>
                        </a:lnTo>
                        <a:lnTo>
                          <a:pt x="3303" y="3698"/>
                        </a:lnTo>
                        <a:lnTo>
                          <a:pt x="3278" y="3701"/>
                        </a:lnTo>
                        <a:lnTo>
                          <a:pt x="3279" y="3692"/>
                        </a:lnTo>
                        <a:lnTo>
                          <a:pt x="3305" y="3690"/>
                        </a:lnTo>
                        <a:lnTo>
                          <a:pt x="3328" y="3660"/>
                        </a:lnTo>
                        <a:lnTo>
                          <a:pt x="3305" y="3662"/>
                        </a:lnTo>
                        <a:lnTo>
                          <a:pt x="3301" y="3646"/>
                        </a:lnTo>
                        <a:lnTo>
                          <a:pt x="3280" y="3637"/>
                        </a:lnTo>
                        <a:lnTo>
                          <a:pt x="3276" y="3653"/>
                        </a:lnTo>
                        <a:lnTo>
                          <a:pt x="3250" y="3662"/>
                        </a:lnTo>
                        <a:lnTo>
                          <a:pt x="3245" y="3646"/>
                        </a:lnTo>
                        <a:lnTo>
                          <a:pt x="3238" y="3640"/>
                        </a:lnTo>
                        <a:lnTo>
                          <a:pt x="3223" y="3637"/>
                        </a:lnTo>
                        <a:lnTo>
                          <a:pt x="3194" y="3607"/>
                        </a:lnTo>
                        <a:lnTo>
                          <a:pt x="3189" y="3596"/>
                        </a:lnTo>
                        <a:lnTo>
                          <a:pt x="3175" y="3595"/>
                        </a:lnTo>
                        <a:lnTo>
                          <a:pt x="3169" y="3580"/>
                        </a:lnTo>
                        <a:lnTo>
                          <a:pt x="3159" y="3578"/>
                        </a:lnTo>
                        <a:lnTo>
                          <a:pt x="3151" y="3586"/>
                        </a:lnTo>
                        <a:lnTo>
                          <a:pt x="3140" y="3568"/>
                        </a:lnTo>
                        <a:lnTo>
                          <a:pt x="3141" y="3553"/>
                        </a:lnTo>
                        <a:lnTo>
                          <a:pt x="3135" y="3551"/>
                        </a:lnTo>
                        <a:lnTo>
                          <a:pt x="3134" y="3538"/>
                        </a:lnTo>
                        <a:lnTo>
                          <a:pt x="3105" y="3552"/>
                        </a:lnTo>
                        <a:lnTo>
                          <a:pt x="3111" y="3561"/>
                        </a:lnTo>
                        <a:lnTo>
                          <a:pt x="3105" y="3568"/>
                        </a:lnTo>
                        <a:lnTo>
                          <a:pt x="3108" y="3590"/>
                        </a:lnTo>
                        <a:lnTo>
                          <a:pt x="3099" y="3590"/>
                        </a:lnTo>
                        <a:lnTo>
                          <a:pt x="3096" y="3550"/>
                        </a:lnTo>
                        <a:lnTo>
                          <a:pt x="3089" y="3541"/>
                        </a:lnTo>
                        <a:lnTo>
                          <a:pt x="3079" y="3540"/>
                        </a:lnTo>
                        <a:lnTo>
                          <a:pt x="3075" y="3547"/>
                        </a:lnTo>
                        <a:lnTo>
                          <a:pt x="3058" y="3551"/>
                        </a:lnTo>
                        <a:lnTo>
                          <a:pt x="3043" y="3536"/>
                        </a:lnTo>
                        <a:lnTo>
                          <a:pt x="3048" y="3517"/>
                        </a:lnTo>
                        <a:lnTo>
                          <a:pt x="3036" y="3520"/>
                        </a:lnTo>
                        <a:lnTo>
                          <a:pt x="3030" y="3531"/>
                        </a:lnTo>
                        <a:lnTo>
                          <a:pt x="3038" y="3543"/>
                        </a:lnTo>
                        <a:lnTo>
                          <a:pt x="3055" y="3551"/>
                        </a:lnTo>
                        <a:lnTo>
                          <a:pt x="3066" y="3560"/>
                        </a:lnTo>
                        <a:lnTo>
                          <a:pt x="3055" y="3567"/>
                        </a:lnTo>
                        <a:lnTo>
                          <a:pt x="3066" y="3582"/>
                        </a:lnTo>
                        <a:lnTo>
                          <a:pt x="3056" y="3593"/>
                        </a:lnTo>
                        <a:lnTo>
                          <a:pt x="3039" y="3588"/>
                        </a:lnTo>
                        <a:lnTo>
                          <a:pt x="3018" y="3590"/>
                        </a:lnTo>
                        <a:lnTo>
                          <a:pt x="3006" y="3582"/>
                        </a:lnTo>
                        <a:lnTo>
                          <a:pt x="2980" y="3577"/>
                        </a:lnTo>
                        <a:lnTo>
                          <a:pt x="2981" y="3597"/>
                        </a:lnTo>
                        <a:lnTo>
                          <a:pt x="2976" y="3612"/>
                        </a:lnTo>
                        <a:lnTo>
                          <a:pt x="2968" y="3610"/>
                        </a:lnTo>
                        <a:lnTo>
                          <a:pt x="2963" y="3617"/>
                        </a:lnTo>
                        <a:lnTo>
                          <a:pt x="2944" y="3625"/>
                        </a:lnTo>
                        <a:lnTo>
                          <a:pt x="2949" y="3635"/>
                        </a:lnTo>
                        <a:lnTo>
                          <a:pt x="2920" y="3638"/>
                        </a:lnTo>
                        <a:lnTo>
                          <a:pt x="2926" y="3655"/>
                        </a:lnTo>
                        <a:lnTo>
                          <a:pt x="2901" y="3648"/>
                        </a:lnTo>
                        <a:lnTo>
                          <a:pt x="2891" y="3643"/>
                        </a:lnTo>
                        <a:lnTo>
                          <a:pt x="2879" y="3656"/>
                        </a:lnTo>
                        <a:lnTo>
                          <a:pt x="2874" y="3645"/>
                        </a:lnTo>
                        <a:lnTo>
                          <a:pt x="2853" y="3638"/>
                        </a:lnTo>
                        <a:lnTo>
                          <a:pt x="2846" y="3646"/>
                        </a:lnTo>
                        <a:lnTo>
                          <a:pt x="2826" y="3636"/>
                        </a:lnTo>
                        <a:lnTo>
                          <a:pt x="2828" y="3628"/>
                        </a:lnTo>
                        <a:lnTo>
                          <a:pt x="2809" y="3612"/>
                        </a:lnTo>
                        <a:lnTo>
                          <a:pt x="2804" y="3586"/>
                        </a:lnTo>
                        <a:lnTo>
                          <a:pt x="2810" y="3573"/>
                        </a:lnTo>
                        <a:lnTo>
                          <a:pt x="2800" y="3552"/>
                        </a:lnTo>
                        <a:lnTo>
                          <a:pt x="2810" y="3535"/>
                        </a:lnTo>
                        <a:lnTo>
                          <a:pt x="2829" y="3515"/>
                        </a:lnTo>
                        <a:lnTo>
                          <a:pt x="2836" y="3513"/>
                        </a:lnTo>
                        <a:lnTo>
                          <a:pt x="2849" y="3501"/>
                        </a:lnTo>
                        <a:lnTo>
                          <a:pt x="2831" y="3483"/>
                        </a:lnTo>
                        <a:lnTo>
                          <a:pt x="2831" y="3461"/>
                        </a:lnTo>
                        <a:lnTo>
                          <a:pt x="2845" y="3456"/>
                        </a:lnTo>
                        <a:lnTo>
                          <a:pt x="2856" y="3463"/>
                        </a:lnTo>
                        <a:lnTo>
                          <a:pt x="2874" y="3457"/>
                        </a:lnTo>
                        <a:lnTo>
                          <a:pt x="2885" y="3458"/>
                        </a:lnTo>
                        <a:lnTo>
                          <a:pt x="2926" y="3470"/>
                        </a:lnTo>
                        <a:lnTo>
                          <a:pt x="2934" y="3470"/>
                        </a:lnTo>
                        <a:lnTo>
                          <a:pt x="2954" y="3476"/>
                        </a:lnTo>
                        <a:lnTo>
                          <a:pt x="2956" y="3485"/>
                        </a:lnTo>
                        <a:lnTo>
                          <a:pt x="2979" y="3493"/>
                        </a:lnTo>
                        <a:lnTo>
                          <a:pt x="2985" y="3508"/>
                        </a:lnTo>
                        <a:lnTo>
                          <a:pt x="2978" y="3528"/>
                        </a:lnTo>
                        <a:lnTo>
                          <a:pt x="2994" y="3531"/>
                        </a:lnTo>
                        <a:lnTo>
                          <a:pt x="2989" y="3507"/>
                        </a:lnTo>
                        <a:lnTo>
                          <a:pt x="2983" y="3495"/>
                        </a:lnTo>
                        <a:lnTo>
                          <a:pt x="2969" y="3481"/>
                        </a:lnTo>
                        <a:lnTo>
                          <a:pt x="2949" y="3471"/>
                        </a:lnTo>
                        <a:lnTo>
                          <a:pt x="2953" y="3460"/>
                        </a:lnTo>
                        <a:lnTo>
                          <a:pt x="2965" y="3462"/>
                        </a:lnTo>
                        <a:lnTo>
                          <a:pt x="2989" y="3461"/>
                        </a:lnTo>
                        <a:lnTo>
                          <a:pt x="2995" y="3456"/>
                        </a:lnTo>
                        <a:lnTo>
                          <a:pt x="3000" y="3437"/>
                        </a:lnTo>
                        <a:lnTo>
                          <a:pt x="3006" y="3432"/>
                        </a:lnTo>
                        <a:lnTo>
                          <a:pt x="3034" y="3436"/>
                        </a:lnTo>
                        <a:lnTo>
                          <a:pt x="3041" y="3422"/>
                        </a:lnTo>
                        <a:lnTo>
                          <a:pt x="3048" y="3401"/>
                        </a:lnTo>
                        <a:lnTo>
                          <a:pt x="3068" y="3395"/>
                        </a:lnTo>
                        <a:lnTo>
                          <a:pt x="3078" y="3395"/>
                        </a:lnTo>
                        <a:lnTo>
                          <a:pt x="3084" y="3403"/>
                        </a:lnTo>
                        <a:lnTo>
                          <a:pt x="3095" y="3395"/>
                        </a:lnTo>
                        <a:lnTo>
                          <a:pt x="3075" y="3370"/>
                        </a:lnTo>
                        <a:lnTo>
                          <a:pt x="3069" y="3353"/>
                        </a:lnTo>
                        <a:lnTo>
                          <a:pt x="3046" y="3345"/>
                        </a:lnTo>
                        <a:lnTo>
                          <a:pt x="3028" y="3327"/>
                        </a:lnTo>
                        <a:lnTo>
                          <a:pt x="3010" y="3315"/>
                        </a:lnTo>
                        <a:lnTo>
                          <a:pt x="3004" y="3305"/>
                        </a:lnTo>
                        <a:lnTo>
                          <a:pt x="3009" y="3290"/>
                        </a:lnTo>
                        <a:lnTo>
                          <a:pt x="3024" y="3273"/>
                        </a:lnTo>
                        <a:lnTo>
                          <a:pt x="3041" y="3242"/>
                        </a:lnTo>
                        <a:lnTo>
                          <a:pt x="3054" y="3223"/>
                        </a:lnTo>
                        <a:lnTo>
                          <a:pt x="3058" y="3202"/>
                        </a:lnTo>
                        <a:lnTo>
                          <a:pt x="3070" y="3188"/>
                        </a:lnTo>
                        <a:lnTo>
                          <a:pt x="3074" y="3178"/>
                        </a:lnTo>
                        <a:lnTo>
                          <a:pt x="3075" y="3132"/>
                        </a:lnTo>
                        <a:lnTo>
                          <a:pt x="3083" y="3123"/>
                        </a:lnTo>
                        <a:lnTo>
                          <a:pt x="3101" y="3112"/>
                        </a:lnTo>
                        <a:lnTo>
                          <a:pt x="3101" y="3093"/>
                        </a:lnTo>
                        <a:lnTo>
                          <a:pt x="3104" y="3083"/>
                        </a:lnTo>
                        <a:lnTo>
                          <a:pt x="3090" y="3077"/>
                        </a:lnTo>
                        <a:lnTo>
                          <a:pt x="3078" y="3046"/>
                        </a:lnTo>
                        <a:lnTo>
                          <a:pt x="3068" y="3030"/>
                        </a:lnTo>
                        <a:lnTo>
                          <a:pt x="3055" y="3021"/>
                        </a:lnTo>
                        <a:lnTo>
                          <a:pt x="3055" y="3005"/>
                        </a:lnTo>
                        <a:lnTo>
                          <a:pt x="3036" y="2998"/>
                        </a:lnTo>
                        <a:lnTo>
                          <a:pt x="3029" y="2987"/>
                        </a:lnTo>
                        <a:lnTo>
                          <a:pt x="3028" y="2972"/>
                        </a:lnTo>
                        <a:lnTo>
                          <a:pt x="3015" y="2948"/>
                        </a:lnTo>
                        <a:lnTo>
                          <a:pt x="3004" y="2943"/>
                        </a:lnTo>
                        <a:lnTo>
                          <a:pt x="2998" y="2935"/>
                        </a:lnTo>
                        <a:lnTo>
                          <a:pt x="2985" y="2938"/>
                        </a:lnTo>
                        <a:lnTo>
                          <a:pt x="2964" y="2937"/>
                        </a:lnTo>
                        <a:lnTo>
                          <a:pt x="2946" y="2923"/>
                        </a:lnTo>
                        <a:lnTo>
                          <a:pt x="2948" y="2911"/>
                        </a:lnTo>
                        <a:lnTo>
                          <a:pt x="2954" y="2905"/>
                        </a:lnTo>
                        <a:lnTo>
                          <a:pt x="2951" y="2886"/>
                        </a:lnTo>
                        <a:lnTo>
                          <a:pt x="2938" y="2872"/>
                        </a:lnTo>
                        <a:lnTo>
                          <a:pt x="2925" y="2878"/>
                        </a:lnTo>
                        <a:lnTo>
                          <a:pt x="2944" y="2898"/>
                        </a:lnTo>
                        <a:lnTo>
                          <a:pt x="2929" y="2907"/>
                        </a:lnTo>
                        <a:lnTo>
                          <a:pt x="2915" y="2908"/>
                        </a:lnTo>
                        <a:lnTo>
                          <a:pt x="2903" y="2898"/>
                        </a:lnTo>
                        <a:lnTo>
                          <a:pt x="2900" y="2890"/>
                        </a:lnTo>
                        <a:lnTo>
                          <a:pt x="2878" y="2876"/>
                        </a:lnTo>
                        <a:lnTo>
                          <a:pt x="2873" y="2868"/>
                        </a:lnTo>
                        <a:lnTo>
                          <a:pt x="2883" y="2856"/>
                        </a:lnTo>
                        <a:lnTo>
                          <a:pt x="2879" y="2846"/>
                        </a:lnTo>
                        <a:lnTo>
                          <a:pt x="2861" y="2852"/>
                        </a:lnTo>
                        <a:lnTo>
                          <a:pt x="2863" y="2838"/>
                        </a:lnTo>
                        <a:lnTo>
                          <a:pt x="2874" y="2832"/>
                        </a:lnTo>
                        <a:lnTo>
                          <a:pt x="2866" y="2823"/>
                        </a:lnTo>
                        <a:lnTo>
                          <a:pt x="2855" y="2840"/>
                        </a:lnTo>
                        <a:lnTo>
                          <a:pt x="2856" y="2848"/>
                        </a:lnTo>
                        <a:lnTo>
                          <a:pt x="2850" y="2861"/>
                        </a:lnTo>
                        <a:lnTo>
                          <a:pt x="2828" y="2843"/>
                        </a:lnTo>
                        <a:lnTo>
                          <a:pt x="2830" y="2858"/>
                        </a:lnTo>
                        <a:lnTo>
                          <a:pt x="2825" y="2868"/>
                        </a:lnTo>
                        <a:lnTo>
                          <a:pt x="2808" y="2883"/>
                        </a:lnTo>
                        <a:lnTo>
                          <a:pt x="2804" y="2892"/>
                        </a:lnTo>
                        <a:lnTo>
                          <a:pt x="2789" y="2910"/>
                        </a:lnTo>
                        <a:lnTo>
                          <a:pt x="2771" y="2916"/>
                        </a:lnTo>
                        <a:lnTo>
                          <a:pt x="2765" y="2903"/>
                        </a:lnTo>
                        <a:lnTo>
                          <a:pt x="2769" y="2881"/>
                        </a:lnTo>
                        <a:lnTo>
                          <a:pt x="2760" y="2875"/>
                        </a:lnTo>
                        <a:lnTo>
                          <a:pt x="2758" y="2860"/>
                        </a:lnTo>
                        <a:lnTo>
                          <a:pt x="2770" y="2850"/>
                        </a:lnTo>
                        <a:lnTo>
                          <a:pt x="2786" y="2848"/>
                        </a:lnTo>
                        <a:lnTo>
                          <a:pt x="2798" y="2852"/>
                        </a:lnTo>
                        <a:lnTo>
                          <a:pt x="2805" y="2837"/>
                        </a:lnTo>
                        <a:lnTo>
                          <a:pt x="2818" y="2835"/>
                        </a:lnTo>
                        <a:lnTo>
                          <a:pt x="2818" y="2822"/>
                        </a:lnTo>
                        <a:lnTo>
                          <a:pt x="2805" y="2801"/>
                        </a:lnTo>
                        <a:lnTo>
                          <a:pt x="2785" y="2790"/>
                        </a:lnTo>
                        <a:lnTo>
                          <a:pt x="2769" y="2786"/>
                        </a:lnTo>
                        <a:lnTo>
                          <a:pt x="2759" y="2791"/>
                        </a:lnTo>
                        <a:lnTo>
                          <a:pt x="2753" y="2781"/>
                        </a:lnTo>
                        <a:lnTo>
                          <a:pt x="2739" y="2770"/>
                        </a:lnTo>
                        <a:lnTo>
                          <a:pt x="2738" y="2761"/>
                        </a:lnTo>
                        <a:lnTo>
                          <a:pt x="2744" y="2748"/>
                        </a:lnTo>
                        <a:lnTo>
                          <a:pt x="2760" y="2752"/>
                        </a:lnTo>
                        <a:lnTo>
                          <a:pt x="2761" y="2742"/>
                        </a:lnTo>
                        <a:lnTo>
                          <a:pt x="2744" y="2742"/>
                        </a:lnTo>
                        <a:lnTo>
                          <a:pt x="2734" y="2767"/>
                        </a:lnTo>
                        <a:lnTo>
                          <a:pt x="2713" y="2765"/>
                        </a:lnTo>
                        <a:lnTo>
                          <a:pt x="2701" y="2760"/>
                        </a:lnTo>
                        <a:lnTo>
                          <a:pt x="2704" y="2752"/>
                        </a:lnTo>
                        <a:lnTo>
                          <a:pt x="2719" y="2748"/>
                        </a:lnTo>
                        <a:lnTo>
                          <a:pt x="2714" y="2726"/>
                        </a:lnTo>
                        <a:lnTo>
                          <a:pt x="2698" y="2730"/>
                        </a:lnTo>
                        <a:lnTo>
                          <a:pt x="2676" y="2726"/>
                        </a:lnTo>
                        <a:lnTo>
                          <a:pt x="2678" y="2742"/>
                        </a:lnTo>
                        <a:lnTo>
                          <a:pt x="2666" y="2735"/>
                        </a:lnTo>
                        <a:lnTo>
                          <a:pt x="2659" y="2706"/>
                        </a:lnTo>
                        <a:lnTo>
                          <a:pt x="2654" y="2672"/>
                        </a:lnTo>
                        <a:lnTo>
                          <a:pt x="2639" y="2661"/>
                        </a:lnTo>
                        <a:lnTo>
                          <a:pt x="2625" y="2675"/>
                        </a:lnTo>
                        <a:lnTo>
                          <a:pt x="2611" y="2676"/>
                        </a:lnTo>
                        <a:lnTo>
                          <a:pt x="2604" y="2666"/>
                        </a:lnTo>
                        <a:lnTo>
                          <a:pt x="2590" y="2655"/>
                        </a:lnTo>
                        <a:lnTo>
                          <a:pt x="2581" y="2637"/>
                        </a:lnTo>
                        <a:lnTo>
                          <a:pt x="2571" y="2642"/>
                        </a:lnTo>
                        <a:lnTo>
                          <a:pt x="2556" y="2635"/>
                        </a:lnTo>
                        <a:lnTo>
                          <a:pt x="2555" y="2650"/>
                        </a:lnTo>
                        <a:lnTo>
                          <a:pt x="2544" y="2643"/>
                        </a:lnTo>
                        <a:lnTo>
                          <a:pt x="2534" y="2651"/>
                        </a:lnTo>
                        <a:lnTo>
                          <a:pt x="2536" y="2658"/>
                        </a:lnTo>
                        <a:lnTo>
                          <a:pt x="2554" y="2661"/>
                        </a:lnTo>
                        <a:lnTo>
                          <a:pt x="2564" y="2667"/>
                        </a:lnTo>
                        <a:lnTo>
                          <a:pt x="2573" y="2663"/>
                        </a:lnTo>
                        <a:lnTo>
                          <a:pt x="2590" y="2685"/>
                        </a:lnTo>
                        <a:lnTo>
                          <a:pt x="2595" y="2703"/>
                        </a:lnTo>
                        <a:lnTo>
                          <a:pt x="2601" y="2713"/>
                        </a:lnTo>
                        <a:lnTo>
                          <a:pt x="2603" y="2728"/>
                        </a:lnTo>
                        <a:lnTo>
                          <a:pt x="2593" y="2737"/>
                        </a:lnTo>
                        <a:lnTo>
                          <a:pt x="2560" y="2745"/>
                        </a:lnTo>
                        <a:lnTo>
                          <a:pt x="2546" y="2753"/>
                        </a:lnTo>
                        <a:lnTo>
                          <a:pt x="2534" y="2737"/>
                        </a:lnTo>
                        <a:lnTo>
                          <a:pt x="2510" y="2731"/>
                        </a:lnTo>
                        <a:lnTo>
                          <a:pt x="2501" y="2736"/>
                        </a:lnTo>
                        <a:lnTo>
                          <a:pt x="2489" y="2728"/>
                        </a:lnTo>
                        <a:lnTo>
                          <a:pt x="2461" y="2730"/>
                        </a:lnTo>
                        <a:lnTo>
                          <a:pt x="2456" y="2725"/>
                        </a:lnTo>
                        <a:lnTo>
                          <a:pt x="2426" y="2727"/>
                        </a:lnTo>
                        <a:lnTo>
                          <a:pt x="2428" y="2735"/>
                        </a:lnTo>
                        <a:lnTo>
                          <a:pt x="2439" y="2743"/>
                        </a:lnTo>
                        <a:lnTo>
                          <a:pt x="2451" y="2743"/>
                        </a:lnTo>
                        <a:lnTo>
                          <a:pt x="2456" y="2753"/>
                        </a:lnTo>
                        <a:lnTo>
                          <a:pt x="2468" y="2761"/>
                        </a:lnTo>
                        <a:lnTo>
                          <a:pt x="2484" y="2781"/>
                        </a:lnTo>
                        <a:lnTo>
                          <a:pt x="2474" y="2786"/>
                        </a:lnTo>
                        <a:lnTo>
                          <a:pt x="2458" y="2772"/>
                        </a:lnTo>
                        <a:lnTo>
                          <a:pt x="2450" y="2770"/>
                        </a:lnTo>
                        <a:lnTo>
                          <a:pt x="2428" y="2751"/>
                        </a:lnTo>
                        <a:lnTo>
                          <a:pt x="2419" y="2753"/>
                        </a:lnTo>
                        <a:lnTo>
                          <a:pt x="2394" y="2731"/>
                        </a:lnTo>
                        <a:lnTo>
                          <a:pt x="2346" y="2713"/>
                        </a:lnTo>
                        <a:lnTo>
                          <a:pt x="2350" y="2721"/>
                        </a:lnTo>
                        <a:lnTo>
                          <a:pt x="2386" y="2733"/>
                        </a:lnTo>
                        <a:lnTo>
                          <a:pt x="2399" y="2741"/>
                        </a:lnTo>
                        <a:lnTo>
                          <a:pt x="2411" y="2755"/>
                        </a:lnTo>
                        <a:lnTo>
                          <a:pt x="2423" y="2760"/>
                        </a:lnTo>
                        <a:lnTo>
                          <a:pt x="2416" y="2773"/>
                        </a:lnTo>
                        <a:lnTo>
                          <a:pt x="2405" y="2775"/>
                        </a:lnTo>
                        <a:lnTo>
                          <a:pt x="2401" y="2783"/>
                        </a:lnTo>
                        <a:lnTo>
                          <a:pt x="2381" y="2782"/>
                        </a:lnTo>
                        <a:lnTo>
                          <a:pt x="2350" y="2767"/>
                        </a:lnTo>
                        <a:lnTo>
                          <a:pt x="2341" y="2758"/>
                        </a:lnTo>
                        <a:lnTo>
                          <a:pt x="2328" y="2758"/>
                        </a:lnTo>
                        <a:lnTo>
                          <a:pt x="2324" y="2766"/>
                        </a:lnTo>
                        <a:lnTo>
                          <a:pt x="2305" y="2775"/>
                        </a:lnTo>
                        <a:lnTo>
                          <a:pt x="2280" y="2771"/>
                        </a:lnTo>
                        <a:lnTo>
                          <a:pt x="2243" y="2772"/>
                        </a:lnTo>
                        <a:lnTo>
                          <a:pt x="2226" y="2763"/>
                        </a:lnTo>
                        <a:lnTo>
                          <a:pt x="2200" y="2758"/>
                        </a:lnTo>
                        <a:lnTo>
                          <a:pt x="2186" y="2766"/>
                        </a:lnTo>
                        <a:lnTo>
                          <a:pt x="2203" y="2772"/>
                        </a:lnTo>
                        <a:lnTo>
                          <a:pt x="2178" y="2782"/>
                        </a:lnTo>
                        <a:lnTo>
                          <a:pt x="2146" y="2765"/>
                        </a:lnTo>
                        <a:lnTo>
                          <a:pt x="2128" y="2745"/>
                        </a:lnTo>
                        <a:lnTo>
                          <a:pt x="2120" y="2730"/>
                        </a:lnTo>
                        <a:lnTo>
                          <a:pt x="2108" y="2731"/>
                        </a:lnTo>
                        <a:lnTo>
                          <a:pt x="2095" y="2706"/>
                        </a:lnTo>
                        <a:lnTo>
                          <a:pt x="2086" y="2722"/>
                        </a:lnTo>
                        <a:lnTo>
                          <a:pt x="2100" y="2726"/>
                        </a:lnTo>
                        <a:lnTo>
                          <a:pt x="2099" y="2738"/>
                        </a:lnTo>
                        <a:lnTo>
                          <a:pt x="2074" y="2736"/>
                        </a:lnTo>
                        <a:lnTo>
                          <a:pt x="2050" y="2752"/>
                        </a:lnTo>
                        <a:lnTo>
                          <a:pt x="2039" y="2742"/>
                        </a:lnTo>
                        <a:lnTo>
                          <a:pt x="2041" y="2735"/>
                        </a:lnTo>
                        <a:lnTo>
                          <a:pt x="2030" y="2725"/>
                        </a:lnTo>
                        <a:lnTo>
                          <a:pt x="1996" y="2716"/>
                        </a:lnTo>
                        <a:lnTo>
                          <a:pt x="1983" y="2702"/>
                        </a:lnTo>
                        <a:lnTo>
                          <a:pt x="1970" y="2676"/>
                        </a:lnTo>
                        <a:lnTo>
                          <a:pt x="1956" y="2663"/>
                        </a:lnTo>
                        <a:lnTo>
                          <a:pt x="1946" y="2641"/>
                        </a:lnTo>
                        <a:lnTo>
                          <a:pt x="1958" y="2626"/>
                        </a:lnTo>
                        <a:lnTo>
                          <a:pt x="1938" y="2607"/>
                        </a:lnTo>
                        <a:lnTo>
                          <a:pt x="1956" y="2610"/>
                        </a:lnTo>
                        <a:lnTo>
                          <a:pt x="1963" y="2617"/>
                        </a:lnTo>
                        <a:lnTo>
                          <a:pt x="1991" y="2611"/>
                        </a:lnTo>
                        <a:lnTo>
                          <a:pt x="2008" y="2617"/>
                        </a:lnTo>
                        <a:lnTo>
                          <a:pt x="2011" y="2626"/>
                        </a:lnTo>
                        <a:lnTo>
                          <a:pt x="2036" y="2628"/>
                        </a:lnTo>
                        <a:lnTo>
                          <a:pt x="2048" y="2622"/>
                        </a:lnTo>
                        <a:lnTo>
                          <a:pt x="2068" y="2622"/>
                        </a:lnTo>
                        <a:lnTo>
                          <a:pt x="2074" y="2611"/>
                        </a:lnTo>
                        <a:lnTo>
                          <a:pt x="2061" y="2601"/>
                        </a:lnTo>
                        <a:lnTo>
                          <a:pt x="2041" y="2591"/>
                        </a:lnTo>
                        <a:lnTo>
                          <a:pt x="2029" y="2568"/>
                        </a:lnTo>
                        <a:lnTo>
                          <a:pt x="2021" y="2580"/>
                        </a:lnTo>
                        <a:lnTo>
                          <a:pt x="1995" y="2576"/>
                        </a:lnTo>
                        <a:lnTo>
                          <a:pt x="1990" y="2578"/>
                        </a:lnTo>
                        <a:lnTo>
                          <a:pt x="1920" y="2566"/>
                        </a:lnTo>
                        <a:lnTo>
                          <a:pt x="1910" y="2551"/>
                        </a:lnTo>
                        <a:lnTo>
                          <a:pt x="1908" y="2535"/>
                        </a:lnTo>
                        <a:lnTo>
                          <a:pt x="1906" y="2507"/>
                        </a:lnTo>
                        <a:lnTo>
                          <a:pt x="1915" y="2487"/>
                        </a:lnTo>
                        <a:lnTo>
                          <a:pt x="1896" y="2461"/>
                        </a:lnTo>
                        <a:lnTo>
                          <a:pt x="1901" y="2447"/>
                        </a:lnTo>
                        <a:lnTo>
                          <a:pt x="1900" y="2432"/>
                        </a:lnTo>
                        <a:lnTo>
                          <a:pt x="1913" y="2422"/>
                        </a:lnTo>
                        <a:lnTo>
                          <a:pt x="1900" y="2398"/>
                        </a:lnTo>
                        <a:lnTo>
                          <a:pt x="1900" y="2382"/>
                        </a:lnTo>
                        <a:lnTo>
                          <a:pt x="1905" y="2371"/>
                        </a:lnTo>
                        <a:lnTo>
                          <a:pt x="1906" y="2333"/>
                        </a:lnTo>
                        <a:lnTo>
                          <a:pt x="1916" y="2323"/>
                        </a:lnTo>
                        <a:lnTo>
                          <a:pt x="1915" y="2311"/>
                        </a:lnTo>
                        <a:lnTo>
                          <a:pt x="1928" y="2281"/>
                        </a:lnTo>
                        <a:lnTo>
                          <a:pt x="1924" y="2266"/>
                        </a:lnTo>
                        <a:lnTo>
                          <a:pt x="1925" y="2251"/>
                        </a:lnTo>
                        <a:lnTo>
                          <a:pt x="1936" y="2211"/>
                        </a:lnTo>
                        <a:lnTo>
                          <a:pt x="1946" y="2201"/>
                        </a:lnTo>
                        <a:lnTo>
                          <a:pt x="1954" y="2178"/>
                        </a:lnTo>
                        <a:lnTo>
                          <a:pt x="1963" y="2170"/>
                        </a:lnTo>
                        <a:lnTo>
                          <a:pt x="1966" y="2157"/>
                        </a:lnTo>
                        <a:lnTo>
                          <a:pt x="1998" y="2118"/>
                        </a:lnTo>
                        <a:lnTo>
                          <a:pt x="2029" y="2100"/>
                        </a:lnTo>
                        <a:lnTo>
                          <a:pt x="2059" y="2087"/>
                        </a:lnTo>
                        <a:close/>
                        <a:moveTo>
                          <a:pt x="1361" y="2100"/>
                        </a:moveTo>
                        <a:lnTo>
                          <a:pt x="1369" y="2110"/>
                        </a:lnTo>
                        <a:lnTo>
                          <a:pt x="1378" y="2112"/>
                        </a:lnTo>
                        <a:lnTo>
                          <a:pt x="1393" y="2131"/>
                        </a:lnTo>
                        <a:lnTo>
                          <a:pt x="1418" y="2127"/>
                        </a:lnTo>
                        <a:lnTo>
                          <a:pt x="1429" y="2122"/>
                        </a:lnTo>
                        <a:lnTo>
                          <a:pt x="1453" y="2118"/>
                        </a:lnTo>
                        <a:lnTo>
                          <a:pt x="1459" y="2112"/>
                        </a:lnTo>
                        <a:lnTo>
                          <a:pt x="1480" y="2105"/>
                        </a:lnTo>
                        <a:lnTo>
                          <a:pt x="1496" y="2111"/>
                        </a:lnTo>
                        <a:lnTo>
                          <a:pt x="1513" y="2135"/>
                        </a:lnTo>
                        <a:lnTo>
                          <a:pt x="1510" y="2156"/>
                        </a:lnTo>
                        <a:lnTo>
                          <a:pt x="1486" y="2172"/>
                        </a:lnTo>
                        <a:lnTo>
                          <a:pt x="1478" y="2171"/>
                        </a:lnTo>
                        <a:lnTo>
                          <a:pt x="1474" y="2181"/>
                        </a:lnTo>
                        <a:lnTo>
                          <a:pt x="1500" y="2188"/>
                        </a:lnTo>
                        <a:lnTo>
                          <a:pt x="1500" y="2206"/>
                        </a:lnTo>
                        <a:lnTo>
                          <a:pt x="1494" y="2203"/>
                        </a:lnTo>
                        <a:lnTo>
                          <a:pt x="1465" y="2220"/>
                        </a:lnTo>
                        <a:lnTo>
                          <a:pt x="1463" y="2227"/>
                        </a:lnTo>
                        <a:lnTo>
                          <a:pt x="1435" y="2263"/>
                        </a:lnTo>
                        <a:lnTo>
                          <a:pt x="1428" y="2267"/>
                        </a:lnTo>
                        <a:lnTo>
                          <a:pt x="1431" y="2290"/>
                        </a:lnTo>
                        <a:lnTo>
                          <a:pt x="1440" y="2276"/>
                        </a:lnTo>
                        <a:lnTo>
                          <a:pt x="1455" y="2263"/>
                        </a:lnTo>
                        <a:lnTo>
                          <a:pt x="1473" y="2265"/>
                        </a:lnTo>
                        <a:lnTo>
                          <a:pt x="1494" y="2280"/>
                        </a:lnTo>
                        <a:lnTo>
                          <a:pt x="1493" y="2296"/>
                        </a:lnTo>
                        <a:lnTo>
                          <a:pt x="1504" y="2313"/>
                        </a:lnTo>
                        <a:lnTo>
                          <a:pt x="1506" y="2323"/>
                        </a:lnTo>
                        <a:lnTo>
                          <a:pt x="1498" y="2333"/>
                        </a:lnTo>
                        <a:lnTo>
                          <a:pt x="1504" y="2343"/>
                        </a:lnTo>
                        <a:lnTo>
                          <a:pt x="1511" y="2332"/>
                        </a:lnTo>
                        <a:lnTo>
                          <a:pt x="1524" y="2326"/>
                        </a:lnTo>
                        <a:lnTo>
                          <a:pt x="1538" y="2338"/>
                        </a:lnTo>
                        <a:lnTo>
                          <a:pt x="1538" y="2347"/>
                        </a:lnTo>
                        <a:lnTo>
                          <a:pt x="1546" y="2378"/>
                        </a:lnTo>
                        <a:lnTo>
                          <a:pt x="1523" y="2402"/>
                        </a:lnTo>
                        <a:lnTo>
                          <a:pt x="1531" y="2408"/>
                        </a:lnTo>
                        <a:lnTo>
                          <a:pt x="1535" y="2433"/>
                        </a:lnTo>
                        <a:lnTo>
                          <a:pt x="1533" y="2442"/>
                        </a:lnTo>
                        <a:lnTo>
                          <a:pt x="1535" y="2472"/>
                        </a:lnTo>
                        <a:lnTo>
                          <a:pt x="1531" y="2486"/>
                        </a:lnTo>
                        <a:lnTo>
                          <a:pt x="1521" y="2493"/>
                        </a:lnTo>
                        <a:lnTo>
                          <a:pt x="1509" y="2492"/>
                        </a:lnTo>
                        <a:lnTo>
                          <a:pt x="1501" y="2511"/>
                        </a:lnTo>
                        <a:lnTo>
                          <a:pt x="1479" y="2526"/>
                        </a:lnTo>
                        <a:lnTo>
                          <a:pt x="1466" y="2526"/>
                        </a:lnTo>
                        <a:lnTo>
                          <a:pt x="1450" y="2517"/>
                        </a:lnTo>
                        <a:lnTo>
                          <a:pt x="1428" y="2518"/>
                        </a:lnTo>
                        <a:lnTo>
                          <a:pt x="1446" y="2541"/>
                        </a:lnTo>
                        <a:lnTo>
                          <a:pt x="1435" y="2562"/>
                        </a:lnTo>
                        <a:lnTo>
                          <a:pt x="1416" y="2583"/>
                        </a:lnTo>
                        <a:lnTo>
                          <a:pt x="1400" y="2581"/>
                        </a:lnTo>
                        <a:lnTo>
                          <a:pt x="1393" y="2567"/>
                        </a:lnTo>
                        <a:lnTo>
                          <a:pt x="1376" y="2572"/>
                        </a:lnTo>
                        <a:lnTo>
                          <a:pt x="1368" y="2536"/>
                        </a:lnTo>
                        <a:lnTo>
                          <a:pt x="1369" y="2528"/>
                        </a:lnTo>
                        <a:lnTo>
                          <a:pt x="1358" y="2518"/>
                        </a:lnTo>
                        <a:lnTo>
                          <a:pt x="1353" y="2493"/>
                        </a:lnTo>
                        <a:lnTo>
                          <a:pt x="1344" y="2478"/>
                        </a:lnTo>
                        <a:lnTo>
                          <a:pt x="1334" y="2476"/>
                        </a:lnTo>
                        <a:lnTo>
                          <a:pt x="1313" y="2440"/>
                        </a:lnTo>
                        <a:lnTo>
                          <a:pt x="1315" y="2433"/>
                        </a:lnTo>
                        <a:lnTo>
                          <a:pt x="1304" y="2416"/>
                        </a:lnTo>
                        <a:lnTo>
                          <a:pt x="1288" y="2412"/>
                        </a:lnTo>
                        <a:lnTo>
                          <a:pt x="1274" y="2388"/>
                        </a:lnTo>
                        <a:lnTo>
                          <a:pt x="1261" y="2397"/>
                        </a:lnTo>
                        <a:lnTo>
                          <a:pt x="1238" y="2387"/>
                        </a:lnTo>
                        <a:lnTo>
                          <a:pt x="1233" y="2355"/>
                        </a:lnTo>
                        <a:lnTo>
                          <a:pt x="1220" y="2346"/>
                        </a:lnTo>
                        <a:lnTo>
                          <a:pt x="1199" y="2322"/>
                        </a:lnTo>
                        <a:lnTo>
                          <a:pt x="1193" y="2308"/>
                        </a:lnTo>
                        <a:lnTo>
                          <a:pt x="1194" y="2293"/>
                        </a:lnTo>
                        <a:lnTo>
                          <a:pt x="1203" y="2276"/>
                        </a:lnTo>
                        <a:lnTo>
                          <a:pt x="1211" y="2252"/>
                        </a:lnTo>
                        <a:lnTo>
                          <a:pt x="1231" y="2245"/>
                        </a:lnTo>
                        <a:lnTo>
                          <a:pt x="1250" y="2260"/>
                        </a:lnTo>
                        <a:lnTo>
                          <a:pt x="1246" y="2268"/>
                        </a:lnTo>
                        <a:lnTo>
                          <a:pt x="1256" y="2283"/>
                        </a:lnTo>
                        <a:lnTo>
                          <a:pt x="1261" y="2285"/>
                        </a:lnTo>
                        <a:lnTo>
                          <a:pt x="1273" y="2316"/>
                        </a:lnTo>
                        <a:lnTo>
                          <a:pt x="1295" y="2322"/>
                        </a:lnTo>
                        <a:lnTo>
                          <a:pt x="1303" y="2312"/>
                        </a:lnTo>
                        <a:lnTo>
                          <a:pt x="1320" y="2315"/>
                        </a:lnTo>
                        <a:lnTo>
                          <a:pt x="1326" y="2307"/>
                        </a:lnTo>
                        <a:lnTo>
                          <a:pt x="1328" y="2291"/>
                        </a:lnTo>
                        <a:lnTo>
                          <a:pt x="1341" y="2286"/>
                        </a:lnTo>
                        <a:lnTo>
                          <a:pt x="1340" y="2262"/>
                        </a:lnTo>
                        <a:lnTo>
                          <a:pt x="1330" y="2241"/>
                        </a:lnTo>
                        <a:lnTo>
                          <a:pt x="1320" y="2251"/>
                        </a:lnTo>
                        <a:lnTo>
                          <a:pt x="1314" y="2238"/>
                        </a:lnTo>
                        <a:lnTo>
                          <a:pt x="1323" y="2228"/>
                        </a:lnTo>
                        <a:lnTo>
                          <a:pt x="1328" y="2213"/>
                        </a:lnTo>
                        <a:lnTo>
                          <a:pt x="1345" y="2222"/>
                        </a:lnTo>
                        <a:lnTo>
                          <a:pt x="1330" y="2193"/>
                        </a:lnTo>
                        <a:lnTo>
                          <a:pt x="1328" y="2203"/>
                        </a:lnTo>
                        <a:lnTo>
                          <a:pt x="1313" y="2213"/>
                        </a:lnTo>
                        <a:lnTo>
                          <a:pt x="1301" y="2217"/>
                        </a:lnTo>
                        <a:lnTo>
                          <a:pt x="1291" y="2205"/>
                        </a:lnTo>
                        <a:lnTo>
                          <a:pt x="1280" y="2197"/>
                        </a:lnTo>
                        <a:lnTo>
                          <a:pt x="1266" y="2176"/>
                        </a:lnTo>
                        <a:lnTo>
                          <a:pt x="1273" y="2162"/>
                        </a:lnTo>
                        <a:lnTo>
                          <a:pt x="1283" y="2160"/>
                        </a:lnTo>
                        <a:lnTo>
                          <a:pt x="1285" y="2151"/>
                        </a:lnTo>
                        <a:lnTo>
                          <a:pt x="1301" y="2153"/>
                        </a:lnTo>
                        <a:lnTo>
                          <a:pt x="1318" y="2170"/>
                        </a:lnTo>
                        <a:lnTo>
                          <a:pt x="1321" y="2155"/>
                        </a:lnTo>
                        <a:lnTo>
                          <a:pt x="1304" y="2150"/>
                        </a:lnTo>
                        <a:lnTo>
                          <a:pt x="1305" y="2141"/>
                        </a:lnTo>
                        <a:lnTo>
                          <a:pt x="1296" y="2137"/>
                        </a:lnTo>
                        <a:lnTo>
                          <a:pt x="1294" y="2126"/>
                        </a:lnTo>
                        <a:lnTo>
                          <a:pt x="1306" y="2110"/>
                        </a:lnTo>
                        <a:lnTo>
                          <a:pt x="1319" y="2106"/>
                        </a:lnTo>
                        <a:lnTo>
                          <a:pt x="1330" y="2108"/>
                        </a:lnTo>
                        <a:lnTo>
                          <a:pt x="1350" y="2125"/>
                        </a:lnTo>
                        <a:lnTo>
                          <a:pt x="1348" y="2112"/>
                        </a:lnTo>
                        <a:lnTo>
                          <a:pt x="1336" y="2106"/>
                        </a:lnTo>
                        <a:lnTo>
                          <a:pt x="1341" y="2095"/>
                        </a:lnTo>
                        <a:lnTo>
                          <a:pt x="1354" y="2090"/>
                        </a:lnTo>
                        <a:lnTo>
                          <a:pt x="1361" y="2100"/>
                        </a:lnTo>
                        <a:close/>
                        <a:moveTo>
                          <a:pt x="1478" y="2071"/>
                        </a:moveTo>
                        <a:lnTo>
                          <a:pt x="1468" y="2088"/>
                        </a:lnTo>
                        <a:lnTo>
                          <a:pt x="1459" y="2095"/>
                        </a:lnTo>
                        <a:lnTo>
                          <a:pt x="1450" y="2107"/>
                        </a:lnTo>
                        <a:lnTo>
                          <a:pt x="1414" y="2115"/>
                        </a:lnTo>
                        <a:lnTo>
                          <a:pt x="1411" y="2110"/>
                        </a:lnTo>
                        <a:lnTo>
                          <a:pt x="1386" y="2107"/>
                        </a:lnTo>
                        <a:lnTo>
                          <a:pt x="1385" y="2096"/>
                        </a:lnTo>
                        <a:lnTo>
                          <a:pt x="1400" y="2090"/>
                        </a:lnTo>
                        <a:lnTo>
                          <a:pt x="1419" y="2076"/>
                        </a:lnTo>
                        <a:lnTo>
                          <a:pt x="1431" y="2077"/>
                        </a:lnTo>
                        <a:lnTo>
                          <a:pt x="1450" y="2065"/>
                        </a:lnTo>
                        <a:lnTo>
                          <a:pt x="1473" y="2061"/>
                        </a:lnTo>
                        <a:lnTo>
                          <a:pt x="1478" y="2071"/>
                        </a:lnTo>
                        <a:close/>
                        <a:moveTo>
                          <a:pt x="1733" y="2066"/>
                        </a:moveTo>
                        <a:lnTo>
                          <a:pt x="1738" y="2062"/>
                        </a:lnTo>
                        <a:lnTo>
                          <a:pt x="1749" y="2070"/>
                        </a:lnTo>
                        <a:lnTo>
                          <a:pt x="1758" y="2082"/>
                        </a:lnTo>
                        <a:lnTo>
                          <a:pt x="1766" y="2083"/>
                        </a:lnTo>
                        <a:lnTo>
                          <a:pt x="1781" y="2075"/>
                        </a:lnTo>
                        <a:lnTo>
                          <a:pt x="1794" y="2073"/>
                        </a:lnTo>
                        <a:lnTo>
                          <a:pt x="1824" y="2077"/>
                        </a:lnTo>
                        <a:lnTo>
                          <a:pt x="1844" y="2086"/>
                        </a:lnTo>
                        <a:lnTo>
                          <a:pt x="1868" y="2093"/>
                        </a:lnTo>
                        <a:lnTo>
                          <a:pt x="1853" y="2133"/>
                        </a:lnTo>
                        <a:lnTo>
                          <a:pt x="1834" y="2172"/>
                        </a:lnTo>
                        <a:lnTo>
                          <a:pt x="1821" y="2200"/>
                        </a:lnTo>
                        <a:lnTo>
                          <a:pt x="1806" y="2248"/>
                        </a:lnTo>
                        <a:lnTo>
                          <a:pt x="1789" y="2296"/>
                        </a:lnTo>
                        <a:lnTo>
                          <a:pt x="1773" y="2318"/>
                        </a:lnTo>
                        <a:lnTo>
                          <a:pt x="1761" y="2322"/>
                        </a:lnTo>
                        <a:lnTo>
                          <a:pt x="1748" y="2317"/>
                        </a:lnTo>
                        <a:lnTo>
                          <a:pt x="1705" y="2308"/>
                        </a:lnTo>
                        <a:lnTo>
                          <a:pt x="1664" y="2315"/>
                        </a:lnTo>
                        <a:lnTo>
                          <a:pt x="1663" y="2321"/>
                        </a:lnTo>
                        <a:lnTo>
                          <a:pt x="1684" y="2328"/>
                        </a:lnTo>
                        <a:lnTo>
                          <a:pt x="1685" y="2340"/>
                        </a:lnTo>
                        <a:lnTo>
                          <a:pt x="1698" y="2351"/>
                        </a:lnTo>
                        <a:lnTo>
                          <a:pt x="1704" y="2370"/>
                        </a:lnTo>
                        <a:lnTo>
                          <a:pt x="1691" y="2393"/>
                        </a:lnTo>
                        <a:lnTo>
                          <a:pt x="1685" y="2397"/>
                        </a:lnTo>
                        <a:lnTo>
                          <a:pt x="1674" y="2427"/>
                        </a:lnTo>
                        <a:lnTo>
                          <a:pt x="1670" y="2445"/>
                        </a:lnTo>
                        <a:lnTo>
                          <a:pt x="1656" y="2451"/>
                        </a:lnTo>
                        <a:lnTo>
                          <a:pt x="1634" y="2453"/>
                        </a:lnTo>
                        <a:lnTo>
                          <a:pt x="1611" y="2463"/>
                        </a:lnTo>
                        <a:lnTo>
                          <a:pt x="1609" y="2445"/>
                        </a:lnTo>
                        <a:lnTo>
                          <a:pt x="1614" y="2438"/>
                        </a:lnTo>
                        <a:lnTo>
                          <a:pt x="1606" y="2421"/>
                        </a:lnTo>
                        <a:lnTo>
                          <a:pt x="1609" y="2392"/>
                        </a:lnTo>
                        <a:lnTo>
                          <a:pt x="1605" y="2376"/>
                        </a:lnTo>
                        <a:lnTo>
                          <a:pt x="1610" y="2372"/>
                        </a:lnTo>
                        <a:lnTo>
                          <a:pt x="1601" y="2357"/>
                        </a:lnTo>
                        <a:lnTo>
                          <a:pt x="1600" y="2345"/>
                        </a:lnTo>
                        <a:lnTo>
                          <a:pt x="1593" y="2331"/>
                        </a:lnTo>
                        <a:lnTo>
                          <a:pt x="1585" y="2328"/>
                        </a:lnTo>
                        <a:lnTo>
                          <a:pt x="1586" y="2315"/>
                        </a:lnTo>
                        <a:lnTo>
                          <a:pt x="1581" y="2310"/>
                        </a:lnTo>
                        <a:lnTo>
                          <a:pt x="1584" y="2286"/>
                        </a:lnTo>
                        <a:lnTo>
                          <a:pt x="1578" y="2271"/>
                        </a:lnTo>
                        <a:lnTo>
                          <a:pt x="1580" y="2256"/>
                        </a:lnTo>
                        <a:lnTo>
                          <a:pt x="1585" y="2242"/>
                        </a:lnTo>
                        <a:lnTo>
                          <a:pt x="1584" y="2200"/>
                        </a:lnTo>
                        <a:lnTo>
                          <a:pt x="1580" y="2186"/>
                        </a:lnTo>
                        <a:lnTo>
                          <a:pt x="1584" y="2161"/>
                        </a:lnTo>
                        <a:lnTo>
                          <a:pt x="1578" y="2152"/>
                        </a:lnTo>
                        <a:lnTo>
                          <a:pt x="1581" y="2141"/>
                        </a:lnTo>
                        <a:lnTo>
                          <a:pt x="1593" y="2127"/>
                        </a:lnTo>
                        <a:lnTo>
                          <a:pt x="1603" y="2130"/>
                        </a:lnTo>
                        <a:lnTo>
                          <a:pt x="1615" y="2147"/>
                        </a:lnTo>
                        <a:lnTo>
                          <a:pt x="1624" y="2143"/>
                        </a:lnTo>
                        <a:lnTo>
                          <a:pt x="1611" y="2127"/>
                        </a:lnTo>
                        <a:lnTo>
                          <a:pt x="1599" y="2105"/>
                        </a:lnTo>
                        <a:lnTo>
                          <a:pt x="1603" y="2083"/>
                        </a:lnTo>
                        <a:lnTo>
                          <a:pt x="1613" y="2080"/>
                        </a:lnTo>
                        <a:lnTo>
                          <a:pt x="1629" y="2065"/>
                        </a:lnTo>
                        <a:lnTo>
                          <a:pt x="1643" y="2066"/>
                        </a:lnTo>
                        <a:lnTo>
                          <a:pt x="1648" y="2058"/>
                        </a:lnTo>
                        <a:lnTo>
                          <a:pt x="1679" y="2057"/>
                        </a:lnTo>
                        <a:lnTo>
                          <a:pt x="1684" y="2051"/>
                        </a:lnTo>
                        <a:lnTo>
                          <a:pt x="1704" y="2048"/>
                        </a:lnTo>
                        <a:lnTo>
                          <a:pt x="1729" y="2057"/>
                        </a:lnTo>
                        <a:lnTo>
                          <a:pt x="1733" y="2066"/>
                        </a:lnTo>
                        <a:close/>
                        <a:moveTo>
                          <a:pt x="1498" y="1968"/>
                        </a:moveTo>
                        <a:lnTo>
                          <a:pt x="1493" y="1987"/>
                        </a:lnTo>
                        <a:lnTo>
                          <a:pt x="1479" y="1996"/>
                        </a:lnTo>
                        <a:lnTo>
                          <a:pt x="1473" y="1985"/>
                        </a:lnTo>
                        <a:lnTo>
                          <a:pt x="1486" y="1965"/>
                        </a:lnTo>
                        <a:lnTo>
                          <a:pt x="1498" y="1968"/>
                        </a:lnTo>
                        <a:close/>
                        <a:moveTo>
                          <a:pt x="1595" y="1972"/>
                        </a:moveTo>
                        <a:lnTo>
                          <a:pt x="1601" y="1986"/>
                        </a:lnTo>
                        <a:lnTo>
                          <a:pt x="1596" y="1990"/>
                        </a:lnTo>
                        <a:lnTo>
                          <a:pt x="1578" y="1983"/>
                        </a:lnTo>
                        <a:lnTo>
                          <a:pt x="1569" y="1973"/>
                        </a:lnTo>
                        <a:lnTo>
                          <a:pt x="1585" y="1962"/>
                        </a:lnTo>
                        <a:lnTo>
                          <a:pt x="1595" y="1972"/>
                        </a:lnTo>
                        <a:close/>
                        <a:moveTo>
                          <a:pt x="1180" y="1821"/>
                        </a:moveTo>
                        <a:lnTo>
                          <a:pt x="1179" y="1830"/>
                        </a:lnTo>
                        <a:lnTo>
                          <a:pt x="1185" y="1843"/>
                        </a:lnTo>
                        <a:lnTo>
                          <a:pt x="1170" y="1863"/>
                        </a:lnTo>
                        <a:lnTo>
                          <a:pt x="1151" y="1871"/>
                        </a:lnTo>
                        <a:lnTo>
                          <a:pt x="1128" y="1858"/>
                        </a:lnTo>
                        <a:lnTo>
                          <a:pt x="1119" y="1847"/>
                        </a:lnTo>
                        <a:lnTo>
                          <a:pt x="1130" y="1823"/>
                        </a:lnTo>
                        <a:lnTo>
                          <a:pt x="1135" y="1806"/>
                        </a:lnTo>
                        <a:lnTo>
                          <a:pt x="1150" y="1790"/>
                        </a:lnTo>
                        <a:lnTo>
                          <a:pt x="1163" y="1791"/>
                        </a:lnTo>
                        <a:lnTo>
                          <a:pt x="1178" y="1805"/>
                        </a:lnTo>
                        <a:lnTo>
                          <a:pt x="1180" y="1821"/>
                        </a:lnTo>
                        <a:close/>
                        <a:moveTo>
                          <a:pt x="1641" y="1775"/>
                        </a:moveTo>
                        <a:lnTo>
                          <a:pt x="1673" y="1818"/>
                        </a:lnTo>
                        <a:lnTo>
                          <a:pt x="1675" y="1831"/>
                        </a:lnTo>
                        <a:lnTo>
                          <a:pt x="1686" y="1840"/>
                        </a:lnTo>
                        <a:lnTo>
                          <a:pt x="1683" y="1852"/>
                        </a:lnTo>
                        <a:lnTo>
                          <a:pt x="1689" y="1868"/>
                        </a:lnTo>
                        <a:lnTo>
                          <a:pt x="1686" y="1883"/>
                        </a:lnTo>
                        <a:lnTo>
                          <a:pt x="1694" y="1912"/>
                        </a:lnTo>
                        <a:lnTo>
                          <a:pt x="1691" y="1946"/>
                        </a:lnTo>
                        <a:lnTo>
                          <a:pt x="1685" y="1958"/>
                        </a:lnTo>
                        <a:lnTo>
                          <a:pt x="1641" y="1965"/>
                        </a:lnTo>
                        <a:lnTo>
                          <a:pt x="1628" y="1963"/>
                        </a:lnTo>
                        <a:lnTo>
                          <a:pt x="1609" y="1952"/>
                        </a:lnTo>
                        <a:lnTo>
                          <a:pt x="1611" y="1945"/>
                        </a:lnTo>
                        <a:lnTo>
                          <a:pt x="1598" y="1931"/>
                        </a:lnTo>
                        <a:lnTo>
                          <a:pt x="1568" y="1927"/>
                        </a:lnTo>
                        <a:lnTo>
                          <a:pt x="1558" y="1911"/>
                        </a:lnTo>
                        <a:lnTo>
                          <a:pt x="1543" y="1906"/>
                        </a:lnTo>
                        <a:lnTo>
                          <a:pt x="1533" y="1881"/>
                        </a:lnTo>
                        <a:lnTo>
                          <a:pt x="1539" y="1856"/>
                        </a:lnTo>
                        <a:lnTo>
                          <a:pt x="1559" y="1845"/>
                        </a:lnTo>
                        <a:lnTo>
                          <a:pt x="1554" y="1837"/>
                        </a:lnTo>
                        <a:lnTo>
                          <a:pt x="1565" y="1820"/>
                        </a:lnTo>
                        <a:lnTo>
                          <a:pt x="1561" y="1815"/>
                        </a:lnTo>
                        <a:lnTo>
                          <a:pt x="1573" y="1796"/>
                        </a:lnTo>
                        <a:lnTo>
                          <a:pt x="1598" y="1775"/>
                        </a:lnTo>
                        <a:lnTo>
                          <a:pt x="1604" y="1777"/>
                        </a:lnTo>
                        <a:lnTo>
                          <a:pt x="1616" y="1767"/>
                        </a:lnTo>
                        <a:lnTo>
                          <a:pt x="1641" y="1775"/>
                        </a:lnTo>
                        <a:close/>
                        <a:moveTo>
                          <a:pt x="1549" y="1766"/>
                        </a:moveTo>
                        <a:lnTo>
                          <a:pt x="1561" y="1775"/>
                        </a:lnTo>
                        <a:lnTo>
                          <a:pt x="1568" y="1783"/>
                        </a:lnTo>
                        <a:lnTo>
                          <a:pt x="1551" y="1802"/>
                        </a:lnTo>
                        <a:lnTo>
                          <a:pt x="1538" y="1786"/>
                        </a:lnTo>
                        <a:lnTo>
                          <a:pt x="1538" y="1803"/>
                        </a:lnTo>
                        <a:lnTo>
                          <a:pt x="1530" y="1808"/>
                        </a:lnTo>
                        <a:lnTo>
                          <a:pt x="1530" y="1817"/>
                        </a:lnTo>
                        <a:lnTo>
                          <a:pt x="1515" y="1818"/>
                        </a:lnTo>
                        <a:lnTo>
                          <a:pt x="1511" y="1796"/>
                        </a:lnTo>
                        <a:lnTo>
                          <a:pt x="1529" y="1782"/>
                        </a:lnTo>
                        <a:lnTo>
                          <a:pt x="1543" y="1777"/>
                        </a:lnTo>
                        <a:lnTo>
                          <a:pt x="1549" y="1766"/>
                        </a:lnTo>
                        <a:close/>
                        <a:moveTo>
                          <a:pt x="1271" y="1692"/>
                        </a:moveTo>
                        <a:lnTo>
                          <a:pt x="1269" y="1703"/>
                        </a:lnTo>
                        <a:lnTo>
                          <a:pt x="1255" y="1708"/>
                        </a:lnTo>
                        <a:lnTo>
                          <a:pt x="1248" y="1726"/>
                        </a:lnTo>
                        <a:lnTo>
                          <a:pt x="1229" y="1733"/>
                        </a:lnTo>
                        <a:lnTo>
                          <a:pt x="1208" y="1732"/>
                        </a:lnTo>
                        <a:lnTo>
                          <a:pt x="1213" y="1717"/>
                        </a:lnTo>
                        <a:lnTo>
                          <a:pt x="1224" y="1702"/>
                        </a:lnTo>
                        <a:lnTo>
                          <a:pt x="1265" y="1688"/>
                        </a:lnTo>
                        <a:lnTo>
                          <a:pt x="1271" y="1692"/>
                        </a:lnTo>
                        <a:close/>
                        <a:moveTo>
                          <a:pt x="1645" y="1743"/>
                        </a:moveTo>
                        <a:lnTo>
                          <a:pt x="1628" y="1747"/>
                        </a:lnTo>
                        <a:lnTo>
                          <a:pt x="1620" y="1735"/>
                        </a:lnTo>
                        <a:lnTo>
                          <a:pt x="1619" y="1718"/>
                        </a:lnTo>
                        <a:lnTo>
                          <a:pt x="1615" y="1710"/>
                        </a:lnTo>
                        <a:lnTo>
                          <a:pt x="1636" y="1703"/>
                        </a:lnTo>
                        <a:lnTo>
                          <a:pt x="1639" y="1721"/>
                        </a:lnTo>
                        <a:lnTo>
                          <a:pt x="1645" y="1743"/>
                        </a:lnTo>
                        <a:close/>
                        <a:moveTo>
                          <a:pt x="1260" y="1673"/>
                        </a:moveTo>
                        <a:lnTo>
                          <a:pt x="1258" y="1683"/>
                        </a:lnTo>
                        <a:lnTo>
                          <a:pt x="1193" y="1703"/>
                        </a:lnTo>
                        <a:lnTo>
                          <a:pt x="1181" y="1700"/>
                        </a:lnTo>
                        <a:lnTo>
                          <a:pt x="1193" y="1686"/>
                        </a:lnTo>
                        <a:lnTo>
                          <a:pt x="1203" y="1686"/>
                        </a:lnTo>
                        <a:lnTo>
                          <a:pt x="1213" y="1678"/>
                        </a:lnTo>
                        <a:lnTo>
                          <a:pt x="1255" y="1668"/>
                        </a:lnTo>
                        <a:lnTo>
                          <a:pt x="1260" y="1673"/>
                        </a:lnTo>
                        <a:close/>
                        <a:moveTo>
                          <a:pt x="2369" y="1596"/>
                        </a:moveTo>
                        <a:lnTo>
                          <a:pt x="2380" y="1602"/>
                        </a:lnTo>
                        <a:lnTo>
                          <a:pt x="2379" y="1611"/>
                        </a:lnTo>
                        <a:lnTo>
                          <a:pt x="2368" y="1626"/>
                        </a:lnTo>
                        <a:lnTo>
                          <a:pt x="2370" y="1637"/>
                        </a:lnTo>
                        <a:lnTo>
                          <a:pt x="2365" y="1647"/>
                        </a:lnTo>
                        <a:lnTo>
                          <a:pt x="2353" y="1653"/>
                        </a:lnTo>
                        <a:lnTo>
                          <a:pt x="2344" y="1650"/>
                        </a:lnTo>
                        <a:lnTo>
                          <a:pt x="2349" y="1635"/>
                        </a:lnTo>
                        <a:lnTo>
                          <a:pt x="2360" y="1617"/>
                        </a:lnTo>
                        <a:lnTo>
                          <a:pt x="2369" y="1596"/>
                        </a:lnTo>
                        <a:close/>
                        <a:moveTo>
                          <a:pt x="1248" y="1631"/>
                        </a:moveTo>
                        <a:lnTo>
                          <a:pt x="1253" y="1640"/>
                        </a:lnTo>
                        <a:lnTo>
                          <a:pt x="1251" y="1655"/>
                        </a:lnTo>
                        <a:lnTo>
                          <a:pt x="1236" y="1668"/>
                        </a:lnTo>
                        <a:lnTo>
                          <a:pt x="1216" y="1673"/>
                        </a:lnTo>
                        <a:lnTo>
                          <a:pt x="1189" y="1675"/>
                        </a:lnTo>
                        <a:lnTo>
                          <a:pt x="1163" y="1663"/>
                        </a:lnTo>
                        <a:lnTo>
                          <a:pt x="1159" y="1650"/>
                        </a:lnTo>
                        <a:lnTo>
                          <a:pt x="1169" y="1637"/>
                        </a:lnTo>
                        <a:lnTo>
                          <a:pt x="1210" y="1627"/>
                        </a:lnTo>
                        <a:lnTo>
                          <a:pt x="1245" y="1622"/>
                        </a:lnTo>
                        <a:lnTo>
                          <a:pt x="1248" y="1631"/>
                        </a:lnTo>
                        <a:close/>
                        <a:moveTo>
                          <a:pt x="1193" y="1556"/>
                        </a:moveTo>
                        <a:lnTo>
                          <a:pt x="1199" y="1557"/>
                        </a:lnTo>
                        <a:lnTo>
                          <a:pt x="1208" y="1577"/>
                        </a:lnTo>
                        <a:lnTo>
                          <a:pt x="1224" y="1590"/>
                        </a:lnTo>
                        <a:lnTo>
                          <a:pt x="1233" y="1601"/>
                        </a:lnTo>
                        <a:lnTo>
                          <a:pt x="1216" y="1617"/>
                        </a:lnTo>
                        <a:lnTo>
                          <a:pt x="1190" y="1617"/>
                        </a:lnTo>
                        <a:lnTo>
                          <a:pt x="1168" y="1613"/>
                        </a:lnTo>
                        <a:lnTo>
                          <a:pt x="1170" y="1605"/>
                        </a:lnTo>
                        <a:lnTo>
                          <a:pt x="1169" y="1585"/>
                        </a:lnTo>
                        <a:lnTo>
                          <a:pt x="1161" y="1580"/>
                        </a:lnTo>
                        <a:lnTo>
                          <a:pt x="1160" y="1557"/>
                        </a:lnTo>
                        <a:lnTo>
                          <a:pt x="1175" y="1546"/>
                        </a:lnTo>
                        <a:lnTo>
                          <a:pt x="1190" y="1546"/>
                        </a:lnTo>
                        <a:lnTo>
                          <a:pt x="1193" y="1556"/>
                        </a:lnTo>
                        <a:close/>
                        <a:moveTo>
                          <a:pt x="1451" y="1562"/>
                        </a:moveTo>
                        <a:lnTo>
                          <a:pt x="1450" y="1571"/>
                        </a:lnTo>
                        <a:lnTo>
                          <a:pt x="1459" y="1576"/>
                        </a:lnTo>
                        <a:lnTo>
                          <a:pt x="1465" y="1590"/>
                        </a:lnTo>
                        <a:lnTo>
                          <a:pt x="1485" y="1600"/>
                        </a:lnTo>
                        <a:lnTo>
                          <a:pt x="1484" y="1612"/>
                        </a:lnTo>
                        <a:lnTo>
                          <a:pt x="1479" y="1632"/>
                        </a:lnTo>
                        <a:lnTo>
                          <a:pt x="1489" y="1651"/>
                        </a:lnTo>
                        <a:lnTo>
                          <a:pt x="1491" y="1665"/>
                        </a:lnTo>
                        <a:lnTo>
                          <a:pt x="1486" y="1681"/>
                        </a:lnTo>
                        <a:lnTo>
                          <a:pt x="1484" y="1706"/>
                        </a:lnTo>
                        <a:lnTo>
                          <a:pt x="1488" y="1723"/>
                        </a:lnTo>
                        <a:lnTo>
                          <a:pt x="1483" y="1736"/>
                        </a:lnTo>
                        <a:lnTo>
                          <a:pt x="1470" y="1748"/>
                        </a:lnTo>
                        <a:lnTo>
                          <a:pt x="1494" y="1756"/>
                        </a:lnTo>
                        <a:lnTo>
                          <a:pt x="1493" y="1791"/>
                        </a:lnTo>
                        <a:lnTo>
                          <a:pt x="1479" y="1781"/>
                        </a:lnTo>
                        <a:lnTo>
                          <a:pt x="1469" y="1791"/>
                        </a:lnTo>
                        <a:lnTo>
                          <a:pt x="1458" y="1820"/>
                        </a:lnTo>
                        <a:lnTo>
                          <a:pt x="1458" y="1833"/>
                        </a:lnTo>
                        <a:lnTo>
                          <a:pt x="1475" y="1846"/>
                        </a:lnTo>
                        <a:lnTo>
                          <a:pt x="1479" y="1860"/>
                        </a:lnTo>
                        <a:lnTo>
                          <a:pt x="1461" y="1887"/>
                        </a:lnTo>
                        <a:lnTo>
                          <a:pt x="1425" y="1893"/>
                        </a:lnTo>
                        <a:lnTo>
                          <a:pt x="1415" y="1888"/>
                        </a:lnTo>
                        <a:lnTo>
                          <a:pt x="1380" y="1895"/>
                        </a:lnTo>
                        <a:lnTo>
                          <a:pt x="1346" y="1885"/>
                        </a:lnTo>
                        <a:lnTo>
                          <a:pt x="1343" y="1876"/>
                        </a:lnTo>
                        <a:lnTo>
                          <a:pt x="1344" y="1856"/>
                        </a:lnTo>
                        <a:lnTo>
                          <a:pt x="1336" y="1847"/>
                        </a:lnTo>
                        <a:lnTo>
                          <a:pt x="1353" y="1837"/>
                        </a:lnTo>
                        <a:lnTo>
                          <a:pt x="1331" y="1822"/>
                        </a:lnTo>
                        <a:lnTo>
                          <a:pt x="1338" y="1805"/>
                        </a:lnTo>
                        <a:lnTo>
                          <a:pt x="1364" y="1800"/>
                        </a:lnTo>
                        <a:lnTo>
                          <a:pt x="1369" y="1792"/>
                        </a:lnTo>
                        <a:lnTo>
                          <a:pt x="1353" y="1786"/>
                        </a:lnTo>
                        <a:lnTo>
                          <a:pt x="1381" y="1773"/>
                        </a:lnTo>
                        <a:lnTo>
                          <a:pt x="1376" y="1761"/>
                        </a:lnTo>
                        <a:lnTo>
                          <a:pt x="1419" y="1757"/>
                        </a:lnTo>
                        <a:lnTo>
                          <a:pt x="1420" y="1751"/>
                        </a:lnTo>
                        <a:lnTo>
                          <a:pt x="1384" y="1757"/>
                        </a:lnTo>
                        <a:lnTo>
                          <a:pt x="1358" y="1758"/>
                        </a:lnTo>
                        <a:lnTo>
                          <a:pt x="1315" y="1766"/>
                        </a:lnTo>
                        <a:lnTo>
                          <a:pt x="1300" y="1772"/>
                        </a:lnTo>
                        <a:lnTo>
                          <a:pt x="1296" y="1766"/>
                        </a:lnTo>
                        <a:lnTo>
                          <a:pt x="1266" y="1776"/>
                        </a:lnTo>
                        <a:lnTo>
                          <a:pt x="1249" y="1777"/>
                        </a:lnTo>
                        <a:lnTo>
                          <a:pt x="1238" y="1785"/>
                        </a:lnTo>
                        <a:lnTo>
                          <a:pt x="1231" y="1775"/>
                        </a:lnTo>
                        <a:lnTo>
                          <a:pt x="1238" y="1748"/>
                        </a:lnTo>
                        <a:lnTo>
                          <a:pt x="1246" y="1740"/>
                        </a:lnTo>
                        <a:lnTo>
                          <a:pt x="1259" y="1741"/>
                        </a:lnTo>
                        <a:lnTo>
                          <a:pt x="1254" y="1723"/>
                        </a:lnTo>
                        <a:lnTo>
                          <a:pt x="1260" y="1712"/>
                        </a:lnTo>
                        <a:lnTo>
                          <a:pt x="1281" y="1707"/>
                        </a:lnTo>
                        <a:lnTo>
                          <a:pt x="1284" y="1713"/>
                        </a:lnTo>
                        <a:lnTo>
                          <a:pt x="1303" y="1733"/>
                        </a:lnTo>
                        <a:lnTo>
                          <a:pt x="1301" y="1716"/>
                        </a:lnTo>
                        <a:lnTo>
                          <a:pt x="1294" y="1703"/>
                        </a:lnTo>
                        <a:lnTo>
                          <a:pt x="1304" y="1695"/>
                        </a:lnTo>
                        <a:lnTo>
                          <a:pt x="1289" y="1691"/>
                        </a:lnTo>
                        <a:lnTo>
                          <a:pt x="1280" y="1671"/>
                        </a:lnTo>
                        <a:lnTo>
                          <a:pt x="1290" y="1652"/>
                        </a:lnTo>
                        <a:lnTo>
                          <a:pt x="1285" y="1642"/>
                        </a:lnTo>
                        <a:lnTo>
                          <a:pt x="1273" y="1643"/>
                        </a:lnTo>
                        <a:lnTo>
                          <a:pt x="1275" y="1625"/>
                        </a:lnTo>
                        <a:lnTo>
                          <a:pt x="1280" y="1617"/>
                        </a:lnTo>
                        <a:lnTo>
                          <a:pt x="1279" y="1605"/>
                        </a:lnTo>
                        <a:lnTo>
                          <a:pt x="1290" y="1597"/>
                        </a:lnTo>
                        <a:lnTo>
                          <a:pt x="1309" y="1602"/>
                        </a:lnTo>
                        <a:lnTo>
                          <a:pt x="1323" y="1622"/>
                        </a:lnTo>
                        <a:lnTo>
                          <a:pt x="1320" y="1638"/>
                        </a:lnTo>
                        <a:lnTo>
                          <a:pt x="1339" y="1656"/>
                        </a:lnTo>
                        <a:lnTo>
                          <a:pt x="1343" y="1667"/>
                        </a:lnTo>
                        <a:lnTo>
                          <a:pt x="1350" y="1672"/>
                        </a:lnTo>
                        <a:lnTo>
                          <a:pt x="1364" y="1701"/>
                        </a:lnTo>
                        <a:lnTo>
                          <a:pt x="1376" y="1711"/>
                        </a:lnTo>
                        <a:lnTo>
                          <a:pt x="1371" y="1685"/>
                        </a:lnTo>
                        <a:lnTo>
                          <a:pt x="1361" y="1665"/>
                        </a:lnTo>
                        <a:lnTo>
                          <a:pt x="1370" y="1661"/>
                        </a:lnTo>
                        <a:lnTo>
                          <a:pt x="1350" y="1645"/>
                        </a:lnTo>
                        <a:lnTo>
                          <a:pt x="1353" y="1636"/>
                        </a:lnTo>
                        <a:lnTo>
                          <a:pt x="1370" y="1638"/>
                        </a:lnTo>
                        <a:lnTo>
                          <a:pt x="1374" y="1633"/>
                        </a:lnTo>
                        <a:lnTo>
                          <a:pt x="1359" y="1615"/>
                        </a:lnTo>
                        <a:lnTo>
                          <a:pt x="1343" y="1616"/>
                        </a:lnTo>
                        <a:lnTo>
                          <a:pt x="1330" y="1595"/>
                        </a:lnTo>
                        <a:lnTo>
                          <a:pt x="1341" y="1578"/>
                        </a:lnTo>
                        <a:lnTo>
                          <a:pt x="1364" y="1562"/>
                        </a:lnTo>
                        <a:lnTo>
                          <a:pt x="1383" y="1571"/>
                        </a:lnTo>
                        <a:lnTo>
                          <a:pt x="1395" y="1568"/>
                        </a:lnTo>
                        <a:lnTo>
                          <a:pt x="1410" y="1601"/>
                        </a:lnTo>
                        <a:lnTo>
                          <a:pt x="1429" y="1602"/>
                        </a:lnTo>
                        <a:lnTo>
                          <a:pt x="1420" y="1586"/>
                        </a:lnTo>
                        <a:lnTo>
                          <a:pt x="1421" y="1575"/>
                        </a:lnTo>
                        <a:lnTo>
                          <a:pt x="1428" y="1570"/>
                        </a:lnTo>
                        <a:lnTo>
                          <a:pt x="1441" y="1573"/>
                        </a:lnTo>
                        <a:lnTo>
                          <a:pt x="1451" y="1562"/>
                        </a:lnTo>
                        <a:close/>
                        <a:moveTo>
                          <a:pt x="1361" y="1550"/>
                        </a:moveTo>
                        <a:lnTo>
                          <a:pt x="1321" y="1573"/>
                        </a:lnTo>
                        <a:lnTo>
                          <a:pt x="1314" y="1577"/>
                        </a:lnTo>
                        <a:lnTo>
                          <a:pt x="1298" y="1571"/>
                        </a:lnTo>
                        <a:lnTo>
                          <a:pt x="1310" y="1561"/>
                        </a:lnTo>
                        <a:lnTo>
                          <a:pt x="1319" y="1561"/>
                        </a:lnTo>
                        <a:lnTo>
                          <a:pt x="1333" y="1543"/>
                        </a:lnTo>
                        <a:lnTo>
                          <a:pt x="1349" y="1540"/>
                        </a:lnTo>
                        <a:lnTo>
                          <a:pt x="1361" y="1550"/>
                        </a:lnTo>
                        <a:close/>
                        <a:moveTo>
                          <a:pt x="1858" y="1582"/>
                        </a:moveTo>
                        <a:lnTo>
                          <a:pt x="1853" y="1590"/>
                        </a:lnTo>
                        <a:lnTo>
                          <a:pt x="1841" y="1591"/>
                        </a:lnTo>
                        <a:lnTo>
                          <a:pt x="1815" y="1546"/>
                        </a:lnTo>
                        <a:lnTo>
                          <a:pt x="1815" y="1531"/>
                        </a:lnTo>
                        <a:lnTo>
                          <a:pt x="1830" y="1521"/>
                        </a:lnTo>
                        <a:lnTo>
                          <a:pt x="1840" y="1518"/>
                        </a:lnTo>
                        <a:lnTo>
                          <a:pt x="1855" y="1536"/>
                        </a:lnTo>
                        <a:lnTo>
                          <a:pt x="1856" y="1545"/>
                        </a:lnTo>
                        <a:lnTo>
                          <a:pt x="1849" y="1563"/>
                        </a:lnTo>
                        <a:lnTo>
                          <a:pt x="1858" y="1582"/>
                        </a:lnTo>
                        <a:close/>
                        <a:moveTo>
                          <a:pt x="859" y="1867"/>
                        </a:moveTo>
                        <a:lnTo>
                          <a:pt x="879" y="1735"/>
                        </a:lnTo>
                        <a:lnTo>
                          <a:pt x="931" y="1752"/>
                        </a:lnTo>
                        <a:lnTo>
                          <a:pt x="929" y="1737"/>
                        </a:lnTo>
                        <a:lnTo>
                          <a:pt x="939" y="1727"/>
                        </a:lnTo>
                        <a:lnTo>
                          <a:pt x="935" y="1711"/>
                        </a:lnTo>
                        <a:lnTo>
                          <a:pt x="929" y="1701"/>
                        </a:lnTo>
                        <a:lnTo>
                          <a:pt x="903" y="1686"/>
                        </a:lnTo>
                        <a:lnTo>
                          <a:pt x="903" y="1671"/>
                        </a:lnTo>
                        <a:lnTo>
                          <a:pt x="890" y="1668"/>
                        </a:lnTo>
                        <a:lnTo>
                          <a:pt x="890" y="1662"/>
                        </a:lnTo>
                        <a:lnTo>
                          <a:pt x="906" y="1658"/>
                        </a:lnTo>
                        <a:lnTo>
                          <a:pt x="920" y="1648"/>
                        </a:lnTo>
                        <a:lnTo>
                          <a:pt x="925" y="1632"/>
                        </a:lnTo>
                        <a:lnTo>
                          <a:pt x="921" y="1611"/>
                        </a:lnTo>
                        <a:lnTo>
                          <a:pt x="909" y="1600"/>
                        </a:lnTo>
                        <a:lnTo>
                          <a:pt x="900" y="1601"/>
                        </a:lnTo>
                        <a:lnTo>
                          <a:pt x="908" y="1550"/>
                        </a:lnTo>
                        <a:lnTo>
                          <a:pt x="934" y="1523"/>
                        </a:lnTo>
                        <a:lnTo>
                          <a:pt x="939" y="1506"/>
                        </a:lnTo>
                        <a:lnTo>
                          <a:pt x="956" y="1488"/>
                        </a:lnTo>
                        <a:lnTo>
                          <a:pt x="969" y="1491"/>
                        </a:lnTo>
                        <a:lnTo>
                          <a:pt x="976" y="1483"/>
                        </a:lnTo>
                        <a:lnTo>
                          <a:pt x="988" y="1511"/>
                        </a:lnTo>
                        <a:lnTo>
                          <a:pt x="985" y="1520"/>
                        </a:lnTo>
                        <a:lnTo>
                          <a:pt x="973" y="1535"/>
                        </a:lnTo>
                        <a:lnTo>
                          <a:pt x="974" y="1550"/>
                        </a:lnTo>
                        <a:lnTo>
                          <a:pt x="971" y="1571"/>
                        </a:lnTo>
                        <a:lnTo>
                          <a:pt x="983" y="1577"/>
                        </a:lnTo>
                        <a:lnTo>
                          <a:pt x="993" y="1602"/>
                        </a:lnTo>
                        <a:lnTo>
                          <a:pt x="978" y="1620"/>
                        </a:lnTo>
                        <a:lnTo>
                          <a:pt x="969" y="1636"/>
                        </a:lnTo>
                        <a:lnTo>
                          <a:pt x="973" y="1646"/>
                        </a:lnTo>
                        <a:lnTo>
                          <a:pt x="996" y="1647"/>
                        </a:lnTo>
                        <a:lnTo>
                          <a:pt x="1005" y="1660"/>
                        </a:lnTo>
                        <a:lnTo>
                          <a:pt x="1005" y="1666"/>
                        </a:lnTo>
                        <a:lnTo>
                          <a:pt x="991" y="1680"/>
                        </a:lnTo>
                        <a:lnTo>
                          <a:pt x="981" y="1697"/>
                        </a:lnTo>
                        <a:lnTo>
                          <a:pt x="990" y="1697"/>
                        </a:lnTo>
                        <a:lnTo>
                          <a:pt x="999" y="1683"/>
                        </a:lnTo>
                        <a:lnTo>
                          <a:pt x="1016" y="1678"/>
                        </a:lnTo>
                        <a:lnTo>
                          <a:pt x="1031" y="1687"/>
                        </a:lnTo>
                        <a:lnTo>
                          <a:pt x="1028" y="1696"/>
                        </a:lnTo>
                        <a:lnTo>
                          <a:pt x="1039" y="1700"/>
                        </a:lnTo>
                        <a:lnTo>
                          <a:pt x="1040" y="1677"/>
                        </a:lnTo>
                        <a:lnTo>
                          <a:pt x="1056" y="1655"/>
                        </a:lnTo>
                        <a:lnTo>
                          <a:pt x="1069" y="1657"/>
                        </a:lnTo>
                        <a:lnTo>
                          <a:pt x="1095" y="1673"/>
                        </a:lnTo>
                        <a:lnTo>
                          <a:pt x="1105" y="1695"/>
                        </a:lnTo>
                        <a:lnTo>
                          <a:pt x="1106" y="1741"/>
                        </a:lnTo>
                        <a:lnTo>
                          <a:pt x="1099" y="1758"/>
                        </a:lnTo>
                        <a:lnTo>
                          <a:pt x="1089" y="1765"/>
                        </a:lnTo>
                        <a:lnTo>
                          <a:pt x="1091" y="1778"/>
                        </a:lnTo>
                        <a:lnTo>
                          <a:pt x="1085" y="1787"/>
                        </a:lnTo>
                        <a:lnTo>
                          <a:pt x="1086" y="1798"/>
                        </a:lnTo>
                        <a:lnTo>
                          <a:pt x="1073" y="1816"/>
                        </a:lnTo>
                        <a:lnTo>
                          <a:pt x="1074" y="1831"/>
                        </a:lnTo>
                        <a:lnTo>
                          <a:pt x="1063" y="1841"/>
                        </a:lnTo>
                        <a:lnTo>
                          <a:pt x="1063" y="1855"/>
                        </a:lnTo>
                        <a:lnTo>
                          <a:pt x="1024" y="1861"/>
                        </a:lnTo>
                        <a:lnTo>
                          <a:pt x="1010" y="1875"/>
                        </a:lnTo>
                        <a:lnTo>
                          <a:pt x="999" y="1873"/>
                        </a:lnTo>
                        <a:lnTo>
                          <a:pt x="985" y="1867"/>
                        </a:lnTo>
                        <a:lnTo>
                          <a:pt x="978" y="1858"/>
                        </a:lnTo>
                        <a:lnTo>
                          <a:pt x="976" y="1845"/>
                        </a:lnTo>
                        <a:lnTo>
                          <a:pt x="958" y="1865"/>
                        </a:lnTo>
                        <a:lnTo>
                          <a:pt x="940" y="1867"/>
                        </a:lnTo>
                        <a:lnTo>
                          <a:pt x="931" y="1838"/>
                        </a:lnTo>
                        <a:lnTo>
                          <a:pt x="924" y="1835"/>
                        </a:lnTo>
                        <a:lnTo>
                          <a:pt x="909" y="1848"/>
                        </a:lnTo>
                        <a:lnTo>
                          <a:pt x="894" y="1855"/>
                        </a:lnTo>
                        <a:lnTo>
                          <a:pt x="880" y="1870"/>
                        </a:lnTo>
                        <a:lnTo>
                          <a:pt x="865" y="1865"/>
                        </a:lnTo>
                        <a:lnTo>
                          <a:pt x="859" y="1867"/>
                        </a:lnTo>
                        <a:close/>
                        <a:moveTo>
                          <a:pt x="1598" y="1493"/>
                        </a:moveTo>
                        <a:lnTo>
                          <a:pt x="1611" y="1500"/>
                        </a:lnTo>
                        <a:lnTo>
                          <a:pt x="1631" y="1501"/>
                        </a:lnTo>
                        <a:lnTo>
                          <a:pt x="1635" y="1512"/>
                        </a:lnTo>
                        <a:lnTo>
                          <a:pt x="1650" y="1518"/>
                        </a:lnTo>
                        <a:lnTo>
                          <a:pt x="1659" y="1507"/>
                        </a:lnTo>
                        <a:lnTo>
                          <a:pt x="1669" y="1511"/>
                        </a:lnTo>
                        <a:lnTo>
                          <a:pt x="1694" y="1551"/>
                        </a:lnTo>
                        <a:lnTo>
                          <a:pt x="1689" y="1585"/>
                        </a:lnTo>
                        <a:lnTo>
                          <a:pt x="1680" y="1600"/>
                        </a:lnTo>
                        <a:lnTo>
                          <a:pt x="1686" y="1602"/>
                        </a:lnTo>
                        <a:lnTo>
                          <a:pt x="1693" y="1585"/>
                        </a:lnTo>
                        <a:lnTo>
                          <a:pt x="1705" y="1568"/>
                        </a:lnTo>
                        <a:lnTo>
                          <a:pt x="1718" y="1575"/>
                        </a:lnTo>
                        <a:lnTo>
                          <a:pt x="1743" y="1570"/>
                        </a:lnTo>
                        <a:lnTo>
                          <a:pt x="1749" y="1560"/>
                        </a:lnTo>
                        <a:lnTo>
                          <a:pt x="1775" y="1552"/>
                        </a:lnTo>
                        <a:lnTo>
                          <a:pt x="1795" y="1558"/>
                        </a:lnTo>
                        <a:lnTo>
                          <a:pt x="1805" y="1572"/>
                        </a:lnTo>
                        <a:lnTo>
                          <a:pt x="1816" y="1577"/>
                        </a:lnTo>
                        <a:lnTo>
                          <a:pt x="1821" y="1596"/>
                        </a:lnTo>
                        <a:lnTo>
                          <a:pt x="1798" y="1601"/>
                        </a:lnTo>
                        <a:lnTo>
                          <a:pt x="1824" y="1607"/>
                        </a:lnTo>
                        <a:lnTo>
                          <a:pt x="1880" y="1626"/>
                        </a:lnTo>
                        <a:lnTo>
                          <a:pt x="1885" y="1636"/>
                        </a:lnTo>
                        <a:lnTo>
                          <a:pt x="1878" y="1648"/>
                        </a:lnTo>
                        <a:lnTo>
                          <a:pt x="1826" y="1653"/>
                        </a:lnTo>
                        <a:lnTo>
                          <a:pt x="1793" y="1651"/>
                        </a:lnTo>
                        <a:lnTo>
                          <a:pt x="1789" y="1658"/>
                        </a:lnTo>
                        <a:lnTo>
                          <a:pt x="1816" y="1665"/>
                        </a:lnTo>
                        <a:lnTo>
                          <a:pt x="1823" y="1670"/>
                        </a:lnTo>
                        <a:lnTo>
                          <a:pt x="1841" y="1675"/>
                        </a:lnTo>
                        <a:lnTo>
                          <a:pt x="1836" y="1682"/>
                        </a:lnTo>
                        <a:lnTo>
                          <a:pt x="1813" y="1690"/>
                        </a:lnTo>
                        <a:lnTo>
                          <a:pt x="1839" y="1695"/>
                        </a:lnTo>
                        <a:lnTo>
                          <a:pt x="1846" y="1690"/>
                        </a:lnTo>
                        <a:lnTo>
                          <a:pt x="1859" y="1693"/>
                        </a:lnTo>
                        <a:lnTo>
                          <a:pt x="1866" y="1706"/>
                        </a:lnTo>
                        <a:lnTo>
                          <a:pt x="1893" y="1725"/>
                        </a:lnTo>
                        <a:lnTo>
                          <a:pt x="1894" y="1733"/>
                        </a:lnTo>
                        <a:lnTo>
                          <a:pt x="1891" y="1757"/>
                        </a:lnTo>
                        <a:lnTo>
                          <a:pt x="1873" y="1761"/>
                        </a:lnTo>
                        <a:lnTo>
                          <a:pt x="1869" y="1768"/>
                        </a:lnTo>
                        <a:lnTo>
                          <a:pt x="1879" y="1773"/>
                        </a:lnTo>
                        <a:lnTo>
                          <a:pt x="1885" y="1767"/>
                        </a:lnTo>
                        <a:lnTo>
                          <a:pt x="1895" y="1766"/>
                        </a:lnTo>
                        <a:lnTo>
                          <a:pt x="1901" y="1785"/>
                        </a:lnTo>
                        <a:lnTo>
                          <a:pt x="1911" y="1796"/>
                        </a:lnTo>
                        <a:lnTo>
                          <a:pt x="1919" y="1785"/>
                        </a:lnTo>
                        <a:lnTo>
                          <a:pt x="1909" y="1761"/>
                        </a:lnTo>
                        <a:lnTo>
                          <a:pt x="1924" y="1750"/>
                        </a:lnTo>
                        <a:lnTo>
                          <a:pt x="1938" y="1768"/>
                        </a:lnTo>
                        <a:lnTo>
                          <a:pt x="1944" y="1783"/>
                        </a:lnTo>
                        <a:lnTo>
                          <a:pt x="1966" y="1761"/>
                        </a:lnTo>
                        <a:lnTo>
                          <a:pt x="1978" y="1767"/>
                        </a:lnTo>
                        <a:lnTo>
                          <a:pt x="1984" y="1753"/>
                        </a:lnTo>
                        <a:lnTo>
                          <a:pt x="1996" y="1756"/>
                        </a:lnTo>
                        <a:lnTo>
                          <a:pt x="2000" y="1765"/>
                        </a:lnTo>
                        <a:lnTo>
                          <a:pt x="2015" y="1777"/>
                        </a:lnTo>
                        <a:lnTo>
                          <a:pt x="2025" y="1776"/>
                        </a:lnTo>
                        <a:lnTo>
                          <a:pt x="2035" y="1785"/>
                        </a:lnTo>
                        <a:lnTo>
                          <a:pt x="2045" y="1786"/>
                        </a:lnTo>
                        <a:lnTo>
                          <a:pt x="2064" y="1781"/>
                        </a:lnTo>
                        <a:lnTo>
                          <a:pt x="2048" y="1772"/>
                        </a:lnTo>
                        <a:lnTo>
                          <a:pt x="2051" y="1762"/>
                        </a:lnTo>
                        <a:lnTo>
                          <a:pt x="2085" y="1750"/>
                        </a:lnTo>
                        <a:lnTo>
                          <a:pt x="2095" y="1733"/>
                        </a:lnTo>
                        <a:lnTo>
                          <a:pt x="2114" y="1732"/>
                        </a:lnTo>
                        <a:lnTo>
                          <a:pt x="2113" y="1723"/>
                        </a:lnTo>
                        <a:lnTo>
                          <a:pt x="2130" y="1717"/>
                        </a:lnTo>
                        <a:lnTo>
                          <a:pt x="2135" y="1707"/>
                        </a:lnTo>
                        <a:lnTo>
                          <a:pt x="2146" y="1695"/>
                        </a:lnTo>
                        <a:lnTo>
                          <a:pt x="2165" y="1696"/>
                        </a:lnTo>
                        <a:lnTo>
                          <a:pt x="2171" y="1703"/>
                        </a:lnTo>
                        <a:lnTo>
                          <a:pt x="2188" y="1703"/>
                        </a:lnTo>
                        <a:lnTo>
                          <a:pt x="2208" y="1685"/>
                        </a:lnTo>
                        <a:lnTo>
                          <a:pt x="2221" y="1678"/>
                        </a:lnTo>
                        <a:lnTo>
                          <a:pt x="2281" y="1682"/>
                        </a:lnTo>
                        <a:lnTo>
                          <a:pt x="2276" y="1706"/>
                        </a:lnTo>
                        <a:lnTo>
                          <a:pt x="2290" y="1708"/>
                        </a:lnTo>
                        <a:lnTo>
                          <a:pt x="2314" y="1700"/>
                        </a:lnTo>
                        <a:lnTo>
                          <a:pt x="2338" y="1711"/>
                        </a:lnTo>
                        <a:lnTo>
                          <a:pt x="2344" y="1722"/>
                        </a:lnTo>
                        <a:lnTo>
                          <a:pt x="2328" y="1737"/>
                        </a:lnTo>
                        <a:lnTo>
                          <a:pt x="2363" y="1730"/>
                        </a:lnTo>
                        <a:lnTo>
                          <a:pt x="2373" y="1743"/>
                        </a:lnTo>
                        <a:lnTo>
                          <a:pt x="2371" y="1763"/>
                        </a:lnTo>
                        <a:lnTo>
                          <a:pt x="2379" y="1762"/>
                        </a:lnTo>
                        <a:lnTo>
                          <a:pt x="2374" y="1785"/>
                        </a:lnTo>
                        <a:lnTo>
                          <a:pt x="2360" y="1795"/>
                        </a:lnTo>
                        <a:lnTo>
                          <a:pt x="2359" y="1803"/>
                        </a:lnTo>
                        <a:lnTo>
                          <a:pt x="2338" y="1818"/>
                        </a:lnTo>
                        <a:lnTo>
                          <a:pt x="2353" y="1832"/>
                        </a:lnTo>
                        <a:lnTo>
                          <a:pt x="2371" y="1815"/>
                        </a:lnTo>
                        <a:lnTo>
                          <a:pt x="2380" y="1815"/>
                        </a:lnTo>
                        <a:lnTo>
                          <a:pt x="2395" y="1841"/>
                        </a:lnTo>
                        <a:lnTo>
                          <a:pt x="2370" y="1857"/>
                        </a:lnTo>
                        <a:lnTo>
                          <a:pt x="2358" y="1871"/>
                        </a:lnTo>
                        <a:lnTo>
                          <a:pt x="2366" y="1896"/>
                        </a:lnTo>
                        <a:lnTo>
                          <a:pt x="2363" y="1905"/>
                        </a:lnTo>
                        <a:lnTo>
                          <a:pt x="2349" y="1911"/>
                        </a:lnTo>
                        <a:lnTo>
                          <a:pt x="2319" y="1912"/>
                        </a:lnTo>
                        <a:lnTo>
                          <a:pt x="2310" y="1917"/>
                        </a:lnTo>
                        <a:lnTo>
                          <a:pt x="2289" y="1941"/>
                        </a:lnTo>
                        <a:lnTo>
                          <a:pt x="2274" y="1940"/>
                        </a:lnTo>
                        <a:lnTo>
                          <a:pt x="2265" y="1935"/>
                        </a:lnTo>
                        <a:lnTo>
                          <a:pt x="2246" y="1937"/>
                        </a:lnTo>
                        <a:lnTo>
                          <a:pt x="2229" y="1932"/>
                        </a:lnTo>
                        <a:lnTo>
                          <a:pt x="2219" y="1916"/>
                        </a:lnTo>
                        <a:lnTo>
                          <a:pt x="2214" y="1903"/>
                        </a:lnTo>
                        <a:lnTo>
                          <a:pt x="2216" y="1890"/>
                        </a:lnTo>
                        <a:lnTo>
                          <a:pt x="2214" y="1882"/>
                        </a:lnTo>
                        <a:lnTo>
                          <a:pt x="2188" y="1871"/>
                        </a:lnTo>
                        <a:lnTo>
                          <a:pt x="2194" y="1885"/>
                        </a:lnTo>
                        <a:lnTo>
                          <a:pt x="2203" y="1891"/>
                        </a:lnTo>
                        <a:lnTo>
                          <a:pt x="2199" y="1931"/>
                        </a:lnTo>
                        <a:lnTo>
                          <a:pt x="2190" y="1936"/>
                        </a:lnTo>
                        <a:lnTo>
                          <a:pt x="2173" y="1941"/>
                        </a:lnTo>
                        <a:lnTo>
                          <a:pt x="2163" y="1950"/>
                        </a:lnTo>
                        <a:lnTo>
                          <a:pt x="2141" y="1948"/>
                        </a:lnTo>
                        <a:lnTo>
                          <a:pt x="2115" y="1958"/>
                        </a:lnTo>
                        <a:lnTo>
                          <a:pt x="2108" y="1958"/>
                        </a:lnTo>
                        <a:lnTo>
                          <a:pt x="2101" y="1941"/>
                        </a:lnTo>
                        <a:lnTo>
                          <a:pt x="2094" y="1960"/>
                        </a:lnTo>
                        <a:lnTo>
                          <a:pt x="2068" y="1965"/>
                        </a:lnTo>
                        <a:lnTo>
                          <a:pt x="2058" y="1963"/>
                        </a:lnTo>
                        <a:lnTo>
                          <a:pt x="2044" y="1970"/>
                        </a:lnTo>
                        <a:lnTo>
                          <a:pt x="2010" y="1975"/>
                        </a:lnTo>
                        <a:lnTo>
                          <a:pt x="2000" y="1972"/>
                        </a:lnTo>
                        <a:lnTo>
                          <a:pt x="1991" y="1978"/>
                        </a:lnTo>
                        <a:lnTo>
                          <a:pt x="1979" y="1975"/>
                        </a:lnTo>
                        <a:lnTo>
                          <a:pt x="1960" y="1976"/>
                        </a:lnTo>
                        <a:lnTo>
                          <a:pt x="1945" y="1973"/>
                        </a:lnTo>
                        <a:lnTo>
                          <a:pt x="1943" y="1962"/>
                        </a:lnTo>
                        <a:lnTo>
                          <a:pt x="1946" y="1923"/>
                        </a:lnTo>
                        <a:lnTo>
                          <a:pt x="1939" y="1906"/>
                        </a:lnTo>
                        <a:lnTo>
                          <a:pt x="1930" y="1918"/>
                        </a:lnTo>
                        <a:lnTo>
                          <a:pt x="1930" y="1930"/>
                        </a:lnTo>
                        <a:lnTo>
                          <a:pt x="1914" y="1933"/>
                        </a:lnTo>
                        <a:lnTo>
                          <a:pt x="1911" y="1956"/>
                        </a:lnTo>
                        <a:lnTo>
                          <a:pt x="1900" y="1961"/>
                        </a:lnTo>
                        <a:lnTo>
                          <a:pt x="1898" y="1967"/>
                        </a:lnTo>
                        <a:lnTo>
                          <a:pt x="1873" y="1973"/>
                        </a:lnTo>
                        <a:lnTo>
                          <a:pt x="1833" y="1953"/>
                        </a:lnTo>
                        <a:lnTo>
                          <a:pt x="1828" y="1937"/>
                        </a:lnTo>
                        <a:lnTo>
                          <a:pt x="1821" y="1932"/>
                        </a:lnTo>
                        <a:lnTo>
                          <a:pt x="1805" y="1937"/>
                        </a:lnTo>
                        <a:lnTo>
                          <a:pt x="1813" y="1958"/>
                        </a:lnTo>
                        <a:lnTo>
                          <a:pt x="1791" y="1956"/>
                        </a:lnTo>
                        <a:lnTo>
                          <a:pt x="1785" y="1943"/>
                        </a:lnTo>
                        <a:lnTo>
                          <a:pt x="1764" y="1932"/>
                        </a:lnTo>
                        <a:lnTo>
                          <a:pt x="1760" y="1896"/>
                        </a:lnTo>
                        <a:lnTo>
                          <a:pt x="1754" y="1885"/>
                        </a:lnTo>
                        <a:lnTo>
                          <a:pt x="1753" y="1873"/>
                        </a:lnTo>
                        <a:lnTo>
                          <a:pt x="1761" y="1870"/>
                        </a:lnTo>
                        <a:lnTo>
                          <a:pt x="1736" y="1847"/>
                        </a:lnTo>
                        <a:lnTo>
                          <a:pt x="1739" y="1823"/>
                        </a:lnTo>
                        <a:lnTo>
                          <a:pt x="1738" y="1817"/>
                        </a:lnTo>
                        <a:lnTo>
                          <a:pt x="1744" y="1790"/>
                        </a:lnTo>
                        <a:lnTo>
                          <a:pt x="1758" y="1771"/>
                        </a:lnTo>
                        <a:lnTo>
                          <a:pt x="1758" y="1760"/>
                        </a:lnTo>
                        <a:lnTo>
                          <a:pt x="1749" y="1742"/>
                        </a:lnTo>
                        <a:lnTo>
                          <a:pt x="1751" y="1727"/>
                        </a:lnTo>
                        <a:lnTo>
                          <a:pt x="1746" y="1713"/>
                        </a:lnTo>
                        <a:lnTo>
                          <a:pt x="1735" y="1708"/>
                        </a:lnTo>
                        <a:lnTo>
                          <a:pt x="1724" y="1690"/>
                        </a:lnTo>
                        <a:lnTo>
                          <a:pt x="1723" y="1670"/>
                        </a:lnTo>
                        <a:lnTo>
                          <a:pt x="1715" y="1652"/>
                        </a:lnTo>
                        <a:lnTo>
                          <a:pt x="1709" y="1647"/>
                        </a:lnTo>
                        <a:lnTo>
                          <a:pt x="1699" y="1621"/>
                        </a:lnTo>
                        <a:lnTo>
                          <a:pt x="1690" y="1621"/>
                        </a:lnTo>
                        <a:lnTo>
                          <a:pt x="1676" y="1636"/>
                        </a:lnTo>
                        <a:lnTo>
                          <a:pt x="1654" y="1645"/>
                        </a:lnTo>
                        <a:lnTo>
                          <a:pt x="1649" y="1640"/>
                        </a:lnTo>
                        <a:lnTo>
                          <a:pt x="1618" y="1643"/>
                        </a:lnTo>
                        <a:lnTo>
                          <a:pt x="1609" y="1651"/>
                        </a:lnTo>
                        <a:lnTo>
                          <a:pt x="1591" y="1650"/>
                        </a:lnTo>
                        <a:lnTo>
                          <a:pt x="1596" y="1640"/>
                        </a:lnTo>
                        <a:lnTo>
                          <a:pt x="1609" y="1630"/>
                        </a:lnTo>
                        <a:lnTo>
                          <a:pt x="1604" y="1623"/>
                        </a:lnTo>
                        <a:lnTo>
                          <a:pt x="1591" y="1626"/>
                        </a:lnTo>
                        <a:lnTo>
                          <a:pt x="1571" y="1617"/>
                        </a:lnTo>
                        <a:lnTo>
                          <a:pt x="1558" y="1597"/>
                        </a:lnTo>
                        <a:lnTo>
                          <a:pt x="1573" y="1593"/>
                        </a:lnTo>
                        <a:lnTo>
                          <a:pt x="1571" y="1583"/>
                        </a:lnTo>
                        <a:lnTo>
                          <a:pt x="1556" y="1581"/>
                        </a:lnTo>
                        <a:lnTo>
                          <a:pt x="1545" y="1570"/>
                        </a:lnTo>
                        <a:lnTo>
                          <a:pt x="1540" y="1557"/>
                        </a:lnTo>
                        <a:lnTo>
                          <a:pt x="1523" y="1556"/>
                        </a:lnTo>
                        <a:lnTo>
                          <a:pt x="1518" y="1548"/>
                        </a:lnTo>
                        <a:lnTo>
                          <a:pt x="1529" y="1537"/>
                        </a:lnTo>
                        <a:lnTo>
                          <a:pt x="1533" y="1546"/>
                        </a:lnTo>
                        <a:lnTo>
                          <a:pt x="1549" y="1535"/>
                        </a:lnTo>
                        <a:lnTo>
                          <a:pt x="1535" y="1528"/>
                        </a:lnTo>
                        <a:lnTo>
                          <a:pt x="1524" y="1518"/>
                        </a:lnTo>
                        <a:lnTo>
                          <a:pt x="1524" y="1510"/>
                        </a:lnTo>
                        <a:lnTo>
                          <a:pt x="1546" y="1497"/>
                        </a:lnTo>
                        <a:lnTo>
                          <a:pt x="1548" y="1491"/>
                        </a:lnTo>
                        <a:lnTo>
                          <a:pt x="1574" y="1480"/>
                        </a:lnTo>
                        <a:lnTo>
                          <a:pt x="1589" y="1483"/>
                        </a:lnTo>
                        <a:lnTo>
                          <a:pt x="1598" y="1493"/>
                        </a:lnTo>
                        <a:close/>
                        <a:moveTo>
                          <a:pt x="2051" y="1372"/>
                        </a:moveTo>
                        <a:lnTo>
                          <a:pt x="2036" y="1347"/>
                        </a:lnTo>
                        <a:lnTo>
                          <a:pt x="2050" y="1347"/>
                        </a:lnTo>
                        <a:lnTo>
                          <a:pt x="2061" y="1362"/>
                        </a:lnTo>
                        <a:lnTo>
                          <a:pt x="2051" y="1372"/>
                        </a:lnTo>
                        <a:close/>
                        <a:moveTo>
                          <a:pt x="1815" y="1358"/>
                        </a:moveTo>
                        <a:lnTo>
                          <a:pt x="1844" y="1392"/>
                        </a:lnTo>
                        <a:lnTo>
                          <a:pt x="1849" y="1420"/>
                        </a:lnTo>
                        <a:lnTo>
                          <a:pt x="1843" y="1431"/>
                        </a:lnTo>
                        <a:lnTo>
                          <a:pt x="1830" y="1446"/>
                        </a:lnTo>
                        <a:lnTo>
                          <a:pt x="1791" y="1427"/>
                        </a:lnTo>
                        <a:lnTo>
                          <a:pt x="1778" y="1407"/>
                        </a:lnTo>
                        <a:lnTo>
                          <a:pt x="1778" y="1363"/>
                        </a:lnTo>
                        <a:lnTo>
                          <a:pt x="1789" y="1355"/>
                        </a:lnTo>
                        <a:lnTo>
                          <a:pt x="1815" y="1358"/>
                        </a:lnTo>
                        <a:close/>
                        <a:moveTo>
                          <a:pt x="1159" y="1391"/>
                        </a:moveTo>
                        <a:lnTo>
                          <a:pt x="1169" y="1391"/>
                        </a:lnTo>
                        <a:lnTo>
                          <a:pt x="1184" y="1416"/>
                        </a:lnTo>
                        <a:lnTo>
                          <a:pt x="1184" y="1431"/>
                        </a:lnTo>
                        <a:lnTo>
                          <a:pt x="1179" y="1447"/>
                        </a:lnTo>
                        <a:lnTo>
                          <a:pt x="1165" y="1455"/>
                        </a:lnTo>
                        <a:lnTo>
                          <a:pt x="1155" y="1440"/>
                        </a:lnTo>
                        <a:lnTo>
                          <a:pt x="1145" y="1432"/>
                        </a:lnTo>
                        <a:lnTo>
                          <a:pt x="1134" y="1411"/>
                        </a:lnTo>
                        <a:lnTo>
                          <a:pt x="1134" y="1396"/>
                        </a:lnTo>
                        <a:lnTo>
                          <a:pt x="1126" y="1377"/>
                        </a:lnTo>
                        <a:lnTo>
                          <a:pt x="1131" y="1367"/>
                        </a:lnTo>
                        <a:lnTo>
                          <a:pt x="1125" y="1361"/>
                        </a:lnTo>
                        <a:lnTo>
                          <a:pt x="1125" y="1337"/>
                        </a:lnTo>
                        <a:lnTo>
                          <a:pt x="1119" y="1320"/>
                        </a:lnTo>
                        <a:lnTo>
                          <a:pt x="1128" y="1315"/>
                        </a:lnTo>
                        <a:lnTo>
                          <a:pt x="1144" y="1326"/>
                        </a:lnTo>
                        <a:lnTo>
                          <a:pt x="1163" y="1366"/>
                        </a:lnTo>
                        <a:lnTo>
                          <a:pt x="1164" y="1376"/>
                        </a:lnTo>
                        <a:lnTo>
                          <a:pt x="1159" y="1391"/>
                        </a:lnTo>
                        <a:close/>
                        <a:moveTo>
                          <a:pt x="1589" y="1335"/>
                        </a:moveTo>
                        <a:lnTo>
                          <a:pt x="1596" y="1342"/>
                        </a:lnTo>
                        <a:lnTo>
                          <a:pt x="1609" y="1332"/>
                        </a:lnTo>
                        <a:lnTo>
                          <a:pt x="1648" y="1336"/>
                        </a:lnTo>
                        <a:lnTo>
                          <a:pt x="1654" y="1343"/>
                        </a:lnTo>
                        <a:lnTo>
                          <a:pt x="1668" y="1333"/>
                        </a:lnTo>
                        <a:lnTo>
                          <a:pt x="1686" y="1346"/>
                        </a:lnTo>
                        <a:lnTo>
                          <a:pt x="1691" y="1357"/>
                        </a:lnTo>
                        <a:lnTo>
                          <a:pt x="1681" y="1362"/>
                        </a:lnTo>
                        <a:lnTo>
                          <a:pt x="1675" y="1380"/>
                        </a:lnTo>
                        <a:lnTo>
                          <a:pt x="1675" y="1395"/>
                        </a:lnTo>
                        <a:lnTo>
                          <a:pt x="1661" y="1405"/>
                        </a:lnTo>
                        <a:lnTo>
                          <a:pt x="1638" y="1397"/>
                        </a:lnTo>
                        <a:lnTo>
                          <a:pt x="1564" y="1397"/>
                        </a:lnTo>
                        <a:lnTo>
                          <a:pt x="1549" y="1375"/>
                        </a:lnTo>
                        <a:lnTo>
                          <a:pt x="1553" y="1351"/>
                        </a:lnTo>
                        <a:lnTo>
                          <a:pt x="1568" y="1340"/>
                        </a:lnTo>
                        <a:lnTo>
                          <a:pt x="1589" y="1335"/>
                        </a:lnTo>
                        <a:close/>
                        <a:moveTo>
                          <a:pt x="2360" y="1252"/>
                        </a:moveTo>
                        <a:lnTo>
                          <a:pt x="2350" y="1245"/>
                        </a:lnTo>
                        <a:lnTo>
                          <a:pt x="2361" y="1236"/>
                        </a:lnTo>
                        <a:lnTo>
                          <a:pt x="2366" y="1246"/>
                        </a:lnTo>
                        <a:lnTo>
                          <a:pt x="2360" y="1252"/>
                        </a:lnTo>
                        <a:close/>
                        <a:moveTo>
                          <a:pt x="1345" y="1337"/>
                        </a:moveTo>
                        <a:lnTo>
                          <a:pt x="1335" y="1341"/>
                        </a:lnTo>
                        <a:lnTo>
                          <a:pt x="1318" y="1338"/>
                        </a:lnTo>
                        <a:lnTo>
                          <a:pt x="1306" y="1348"/>
                        </a:lnTo>
                        <a:lnTo>
                          <a:pt x="1290" y="1343"/>
                        </a:lnTo>
                        <a:lnTo>
                          <a:pt x="1279" y="1335"/>
                        </a:lnTo>
                        <a:lnTo>
                          <a:pt x="1276" y="1322"/>
                        </a:lnTo>
                        <a:lnTo>
                          <a:pt x="1283" y="1303"/>
                        </a:lnTo>
                        <a:lnTo>
                          <a:pt x="1316" y="1305"/>
                        </a:lnTo>
                        <a:lnTo>
                          <a:pt x="1334" y="1316"/>
                        </a:lnTo>
                        <a:lnTo>
                          <a:pt x="1345" y="1337"/>
                        </a:lnTo>
                        <a:close/>
                        <a:moveTo>
                          <a:pt x="954" y="1257"/>
                        </a:moveTo>
                        <a:lnTo>
                          <a:pt x="959" y="1222"/>
                        </a:lnTo>
                        <a:lnTo>
                          <a:pt x="973" y="1225"/>
                        </a:lnTo>
                        <a:lnTo>
                          <a:pt x="975" y="1235"/>
                        </a:lnTo>
                        <a:lnTo>
                          <a:pt x="969" y="1251"/>
                        </a:lnTo>
                        <a:lnTo>
                          <a:pt x="954" y="1257"/>
                        </a:lnTo>
                        <a:close/>
                        <a:moveTo>
                          <a:pt x="1259" y="1251"/>
                        </a:moveTo>
                        <a:lnTo>
                          <a:pt x="1250" y="1250"/>
                        </a:lnTo>
                        <a:lnTo>
                          <a:pt x="1251" y="1236"/>
                        </a:lnTo>
                        <a:lnTo>
                          <a:pt x="1260" y="1222"/>
                        </a:lnTo>
                        <a:lnTo>
                          <a:pt x="1271" y="1225"/>
                        </a:lnTo>
                        <a:lnTo>
                          <a:pt x="1271" y="1233"/>
                        </a:lnTo>
                        <a:lnTo>
                          <a:pt x="1259" y="1251"/>
                        </a:lnTo>
                        <a:close/>
                        <a:moveTo>
                          <a:pt x="966" y="1175"/>
                        </a:moveTo>
                        <a:lnTo>
                          <a:pt x="978" y="1098"/>
                        </a:lnTo>
                        <a:lnTo>
                          <a:pt x="990" y="1122"/>
                        </a:lnTo>
                        <a:lnTo>
                          <a:pt x="1000" y="1135"/>
                        </a:lnTo>
                        <a:lnTo>
                          <a:pt x="1001" y="1152"/>
                        </a:lnTo>
                        <a:lnTo>
                          <a:pt x="995" y="1173"/>
                        </a:lnTo>
                        <a:lnTo>
                          <a:pt x="986" y="1180"/>
                        </a:lnTo>
                        <a:lnTo>
                          <a:pt x="973" y="1182"/>
                        </a:lnTo>
                        <a:lnTo>
                          <a:pt x="966" y="1175"/>
                        </a:lnTo>
                        <a:close/>
                        <a:moveTo>
                          <a:pt x="2466" y="1035"/>
                        </a:moveTo>
                        <a:lnTo>
                          <a:pt x="2446" y="1032"/>
                        </a:lnTo>
                        <a:lnTo>
                          <a:pt x="2445" y="1018"/>
                        </a:lnTo>
                        <a:lnTo>
                          <a:pt x="2468" y="1026"/>
                        </a:lnTo>
                        <a:lnTo>
                          <a:pt x="2466" y="1035"/>
                        </a:lnTo>
                        <a:close/>
                        <a:moveTo>
                          <a:pt x="1525" y="1141"/>
                        </a:moveTo>
                        <a:lnTo>
                          <a:pt x="1540" y="1145"/>
                        </a:lnTo>
                        <a:lnTo>
                          <a:pt x="1549" y="1157"/>
                        </a:lnTo>
                        <a:lnTo>
                          <a:pt x="1556" y="1157"/>
                        </a:lnTo>
                        <a:lnTo>
                          <a:pt x="1551" y="1176"/>
                        </a:lnTo>
                        <a:lnTo>
                          <a:pt x="1566" y="1187"/>
                        </a:lnTo>
                        <a:lnTo>
                          <a:pt x="1575" y="1178"/>
                        </a:lnTo>
                        <a:lnTo>
                          <a:pt x="1585" y="1181"/>
                        </a:lnTo>
                        <a:lnTo>
                          <a:pt x="1600" y="1193"/>
                        </a:lnTo>
                        <a:lnTo>
                          <a:pt x="1613" y="1212"/>
                        </a:lnTo>
                        <a:lnTo>
                          <a:pt x="1610" y="1218"/>
                        </a:lnTo>
                        <a:lnTo>
                          <a:pt x="1590" y="1237"/>
                        </a:lnTo>
                        <a:lnTo>
                          <a:pt x="1598" y="1246"/>
                        </a:lnTo>
                        <a:lnTo>
                          <a:pt x="1611" y="1266"/>
                        </a:lnTo>
                        <a:lnTo>
                          <a:pt x="1611" y="1275"/>
                        </a:lnTo>
                        <a:lnTo>
                          <a:pt x="1604" y="1295"/>
                        </a:lnTo>
                        <a:lnTo>
                          <a:pt x="1590" y="1295"/>
                        </a:lnTo>
                        <a:lnTo>
                          <a:pt x="1571" y="1310"/>
                        </a:lnTo>
                        <a:lnTo>
                          <a:pt x="1546" y="1318"/>
                        </a:lnTo>
                        <a:lnTo>
                          <a:pt x="1535" y="1315"/>
                        </a:lnTo>
                        <a:lnTo>
                          <a:pt x="1525" y="1333"/>
                        </a:lnTo>
                        <a:lnTo>
                          <a:pt x="1514" y="1330"/>
                        </a:lnTo>
                        <a:lnTo>
                          <a:pt x="1514" y="1315"/>
                        </a:lnTo>
                        <a:lnTo>
                          <a:pt x="1519" y="1305"/>
                        </a:lnTo>
                        <a:lnTo>
                          <a:pt x="1504" y="1297"/>
                        </a:lnTo>
                        <a:lnTo>
                          <a:pt x="1488" y="1280"/>
                        </a:lnTo>
                        <a:lnTo>
                          <a:pt x="1491" y="1268"/>
                        </a:lnTo>
                        <a:lnTo>
                          <a:pt x="1523" y="1272"/>
                        </a:lnTo>
                        <a:lnTo>
                          <a:pt x="1525" y="1261"/>
                        </a:lnTo>
                        <a:lnTo>
                          <a:pt x="1510" y="1248"/>
                        </a:lnTo>
                        <a:lnTo>
                          <a:pt x="1484" y="1241"/>
                        </a:lnTo>
                        <a:lnTo>
                          <a:pt x="1486" y="1237"/>
                        </a:lnTo>
                        <a:lnTo>
                          <a:pt x="1476" y="1217"/>
                        </a:lnTo>
                        <a:lnTo>
                          <a:pt x="1475" y="1203"/>
                        </a:lnTo>
                        <a:lnTo>
                          <a:pt x="1463" y="1193"/>
                        </a:lnTo>
                        <a:lnTo>
                          <a:pt x="1463" y="1175"/>
                        </a:lnTo>
                        <a:lnTo>
                          <a:pt x="1475" y="1176"/>
                        </a:lnTo>
                        <a:lnTo>
                          <a:pt x="1478" y="1168"/>
                        </a:lnTo>
                        <a:lnTo>
                          <a:pt x="1465" y="1152"/>
                        </a:lnTo>
                        <a:lnTo>
                          <a:pt x="1465" y="1125"/>
                        </a:lnTo>
                        <a:lnTo>
                          <a:pt x="1474" y="1115"/>
                        </a:lnTo>
                        <a:lnTo>
                          <a:pt x="1503" y="1120"/>
                        </a:lnTo>
                        <a:lnTo>
                          <a:pt x="1523" y="1133"/>
                        </a:lnTo>
                        <a:lnTo>
                          <a:pt x="1525" y="1141"/>
                        </a:lnTo>
                        <a:close/>
                        <a:moveTo>
                          <a:pt x="1254" y="990"/>
                        </a:moveTo>
                        <a:lnTo>
                          <a:pt x="1265" y="1000"/>
                        </a:lnTo>
                        <a:lnTo>
                          <a:pt x="1275" y="1002"/>
                        </a:lnTo>
                        <a:lnTo>
                          <a:pt x="1283" y="1030"/>
                        </a:lnTo>
                        <a:lnTo>
                          <a:pt x="1293" y="1051"/>
                        </a:lnTo>
                        <a:lnTo>
                          <a:pt x="1289" y="1070"/>
                        </a:lnTo>
                        <a:lnTo>
                          <a:pt x="1311" y="1060"/>
                        </a:lnTo>
                        <a:lnTo>
                          <a:pt x="1321" y="1050"/>
                        </a:lnTo>
                        <a:lnTo>
                          <a:pt x="1331" y="1052"/>
                        </a:lnTo>
                        <a:lnTo>
                          <a:pt x="1344" y="1076"/>
                        </a:lnTo>
                        <a:lnTo>
                          <a:pt x="1356" y="1086"/>
                        </a:lnTo>
                        <a:lnTo>
                          <a:pt x="1346" y="1108"/>
                        </a:lnTo>
                        <a:lnTo>
                          <a:pt x="1359" y="1120"/>
                        </a:lnTo>
                        <a:lnTo>
                          <a:pt x="1375" y="1110"/>
                        </a:lnTo>
                        <a:lnTo>
                          <a:pt x="1396" y="1130"/>
                        </a:lnTo>
                        <a:lnTo>
                          <a:pt x="1400" y="1138"/>
                        </a:lnTo>
                        <a:lnTo>
                          <a:pt x="1393" y="1151"/>
                        </a:lnTo>
                        <a:lnTo>
                          <a:pt x="1413" y="1160"/>
                        </a:lnTo>
                        <a:lnTo>
                          <a:pt x="1406" y="1186"/>
                        </a:lnTo>
                        <a:lnTo>
                          <a:pt x="1400" y="1190"/>
                        </a:lnTo>
                        <a:lnTo>
                          <a:pt x="1403" y="1206"/>
                        </a:lnTo>
                        <a:lnTo>
                          <a:pt x="1400" y="1221"/>
                        </a:lnTo>
                        <a:lnTo>
                          <a:pt x="1410" y="1225"/>
                        </a:lnTo>
                        <a:lnTo>
                          <a:pt x="1415" y="1242"/>
                        </a:lnTo>
                        <a:lnTo>
                          <a:pt x="1421" y="1248"/>
                        </a:lnTo>
                        <a:lnTo>
                          <a:pt x="1431" y="1270"/>
                        </a:lnTo>
                        <a:lnTo>
                          <a:pt x="1434" y="1286"/>
                        </a:lnTo>
                        <a:lnTo>
                          <a:pt x="1428" y="1295"/>
                        </a:lnTo>
                        <a:lnTo>
                          <a:pt x="1431" y="1310"/>
                        </a:lnTo>
                        <a:lnTo>
                          <a:pt x="1423" y="1320"/>
                        </a:lnTo>
                        <a:lnTo>
                          <a:pt x="1396" y="1323"/>
                        </a:lnTo>
                        <a:lnTo>
                          <a:pt x="1390" y="1331"/>
                        </a:lnTo>
                        <a:lnTo>
                          <a:pt x="1361" y="1312"/>
                        </a:lnTo>
                        <a:lnTo>
                          <a:pt x="1360" y="1302"/>
                        </a:lnTo>
                        <a:lnTo>
                          <a:pt x="1353" y="1281"/>
                        </a:lnTo>
                        <a:lnTo>
                          <a:pt x="1355" y="1263"/>
                        </a:lnTo>
                        <a:lnTo>
                          <a:pt x="1348" y="1257"/>
                        </a:lnTo>
                        <a:lnTo>
                          <a:pt x="1346" y="1242"/>
                        </a:lnTo>
                        <a:lnTo>
                          <a:pt x="1335" y="1243"/>
                        </a:lnTo>
                        <a:lnTo>
                          <a:pt x="1326" y="1232"/>
                        </a:lnTo>
                        <a:lnTo>
                          <a:pt x="1299" y="1220"/>
                        </a:lnTo>
                        <a:lnTo>
                          <a:pt x="1283" y="1228"/>
                        </a:lnTo>
                        <a:lnTo>
                          <a:pt x="1273" y="1221"/>
                        </a:lnTo>
                        <a:lnTo>
                          <a:pt x="1275" y="1198"/>
                        </a:lnTo>
                        <a:lnTo>
                          <a:pt x="1235" y="1208"/>
                        </a:lnTo>
                        <a:lnTo>
                          <a:pt x="1221" y="1223"/>
                        </a:lnTo>
                        <a:lnTo>
                          <a:pt x="1200" y="1215"/>
                        </a:lnTo>
                        <a:lnTo>
                          <a:pt x="1186" y="1195"/>
                        </a:lnTo>
                        <a:lnTo>
                          <a:pt x="1181" y="1178"/>
                        </a:lnTo>
                        <a:lnTo>
                          <a:pt x="1181" y="1160"/>
                        </a:lnTo>
                        <a:lnTo>
                          <a:pt x="1191" y="1150"/>
                        </a:lnTo>
                        <a:lnTo>
                          <a:pt x="1199" y="1148"/>
                        </a:lnTo>
                        <a:lnTo>
                          <a:pt x="1223" y="1165"/>
                        </a:lnTo>
                        <a:lnTo>
                          <a:pt x="1245" y="1170"/>
                        </a:lnTo>
                        <a:lnTo>
                          <a:pt x="1253" y="1152"/>
                        </a:lnTo>
                        <a:lnTo>
                          <a:pt x="1250" y="1145"/>
                        </a:lnTo>
                        <a:lnTo>
                          <a:pt x="1226" y="1143"/>
                        </a:lnTo>
                        <a:lnTo>
                          <a:pt x="1231" y="1133"/>
                        </a:lnTo>
                        <a:lnTo>
                          <a:pt x="1249" y="1135"/>
                        </a:lnTo>
                        <a:lnTo>
                          <a:pt x="1247" y="1127"/>
                        </a:lnTo>
                        <a:lnTo>
                          <a:pt x="1257" y="1121"/>
                        </a:lnTo>
                        <a:lnTo>
                          <a:pt x="1255" y="1113"/>
                        </a:lnTo>
                        <a:lnTo>
                          <a:pt x="1232" y="1112"/>
                        </a:lnTo>
                        <a:lnTo>
                          <a:pt x="1220" y="1107"/>
                        </a:lnTo>
                        <a:lnTo>
                          <a:pt x="1237" y="1088"/>
                        </a:lnTo>
                        <a:lnTo>
                          <a:pt x="1230" y="1065"/>
                        </a:lnTo>
                        <a:lnTo>
                          <a:pt x="1214" y="1070"/>
                        </a:lnTo>
                        <a:lnTo>
                          <a:pt x="1207" y="1090"/>
                        </a:lnTo>
                        <a:lnTo>
                          <a:pt x="1195" y="1102"/>
                        </a:lnTo>
                        <a:lnTo>
                          <a:pt x="1187" y="1096"/>
                        </a:lnTo>
                        <a:lnTo>
                          <a:pt x="1195" y="1082"/>
                        </a:lnTo>
                        <a:lnTo>
                          <a:pt x="1206" y="1057"/>
                        </a:lnTo>
                        <a:lnTo>
                          <a:pt x="1196" y="1047"/>
                        </a:lnTo>
                        <a:lnTo>
                          <a:pt x="1176" y="1055"/>
                        </a:lnTo>
                        <a:lnTo>
                          <a:pt x="1170" y="1051"/>
                        </a:lnTo>
                        <a:lnTo>
                          <a:pt x="1171" y="1021"/>
                        </a:lnTo>
                        <a:lnTo>
                          <a:pt x="1180" y="998"/>
                        </a:lnTo>
                        <a:lnTo>
                          <a:pt x="1184" y="985"/>
                        </a:lnTo>
                        <a:lnTo>
                          <a:pt x="1192" y="993"/>
                        </a:lnTo>
                        <a:lnTo>
                          <a:pt x="1251" y="985"/>
                        </a:lnTo>
                        <a:lnTo>
                          <a:pt x="1254" y="990"/>
                        </a:lnTo>
                        <a:close/>
                        <a:moveTo>
                          <a:pt x="1430" y="830"/>
                        </a:moveTo>
                        <a:lnTo>
                          <a:pt x="1443" y="826"/>
                        </a:lnTo>
                        <a:lnTo>
                          <a:pt x="1453" y="837"/>
                        </a:lnTo>
                        <a:lnTo>
                          <a:pt x="1458" y="863"/>
                        </a:lnTo>
                        <a:lnTo>
                          <a:pt x="1455" y="878"/>
                        </a:lnTo>
                        <a:lnTo>
                          <a:pt x="1459" y="902"/>
                        </a:lnTo>
                        <a:lnTo>
                          <a:pt x="1453" y="921"/>
                        </a:lnTo>
                        <a:lnTo>
                          <a:pt x="1433" y="908"/>
                        </a:lnTo>
                        <a:lnTo>
                          <a:pt x="1433" y="888"/>
                        </a:lnTo>
                        <a:lnTo>
                          <a:pt x="1423" y="877"/>
                        </a:lnTo>
                        <a:lnTo>
                          <a:pt x="1404" y="881"/>
                        </a:lnTo>
                        <a:lnTo>
                          <a:pt x="1400" y="873"/>
                        </a:lnTo>
                        <a:lnTo>
                          <a:pt x="1400" y="846"/>
                        </a:lnTo>
                        <a:lnTo>
                          <a:pt x="1406" y="832"/>
                        </a:lnTo>
                        <a:lnTo>
                          <a:pt x="1418" y="821"/>
                        </a:lnTo>
                        <a:lnTo>
                          <a:pt x="1430" y="830"/>
                        </a:lnTo>
                        <a:close/>
                        <a:moveTo>
                          <a:pt x="1583" y="697"/>
                        </a:moveTo>
                        <a:lnTo>
                          <a:pt x="1598" y="702"/>
                        </a:lnTo>
                        <a:lnTo>
                          <a:pt x="1601" y="712"/>
                        </a:lnTo>
                        <a:lnTo>
                          <a:pt x="1593" y="718"/>
                        </a:lnTo>
                        <a:lnTo>
                          <a:pt x="1561" y="701"/>
                        </a:lnTo>
                        <a:lnTo>
                          <a:pt x="1583" y="697"/>
                        </a:lnTo>
                        <a:close/>
                        <a:moveTo>
                          <a:pt x="1678" y="553"/>
                        </a:moveTo>
                        <a:lnTo>
                          <a:pt x="1696" y="567"/>
                        </a:lnTo>
                        <a:lnTo>
                          <a:pt x="1713" y="588"/>
                        </a:lnTo>
                        <a:lnTo>
                          <a:pt x="1718" y="617"/>
                        </a:lnTo>
                        <a:lnTo>
                          <a:pt x="1725" y="638"/>
                        </a:lnTo>
                        <a:lnTo>
                          <a:pt x="1741" y="668"/>
                        </a:lnTo>
                        <a:lnTo>
                          <a:pt x="1744" y="683"/>
                        </a:lnTo>
                        <a:lnTo>
                          <a:pt x="1759" y="692"/>
                        </a:lnTo>
                        <a:lnTo>
                          <a:pt x="1763" y="708"/>
                        </a:lnTo>
                        <a:lnTo>
                          <a:pt x="1763" y="723"/>
                        </a:lnTo>
                        <a:lnTo>
                          <a:pt x="1794" y="730"/>
                        </a:lnTo>
                        <a:lnTo>
                          <a:pt x="1813" y="727"/>
                        </a:lnTo>
                        <a:lnTo>
                          <a:pt x="1824" y="742"/>
                        </a:lnTo>
                        <a:lnTo>
                          <a:pt x="1824" y="757"/>
                        </a:lnTo>
                        <a:lnTo>
                          <a:pt x="1819" y="780"/>
                        </a:lnTo>
                        <a:lnTo>
                          <a:pt x="1829" y="803"/>
                        </a:lnTo>
                        <a:lnTo>
                          <a:pt x="1848" y="820"/>
                        </a:lnTo>
                        <a:lnTo>
                          <a:pt x="1865" y="822"/>
                        </a:lnTo>
                        <a:lnTo>
                          <a:pt x="1840" y="781"/>
                        </a:lnTo>
                        <a:lnTo>
                          <a:pt x="1839" y="761"/>
                        </a:lnTo>
                        <a:lnTo>
                          <a:pt x="1846" y="746"/>
                        </a:lnTo>
                        <a:lnTo>
                          <a:pt x="1875" y="750"/>
                        </a:lnTo>
                        <a:lnTo>
                          <a:pt x="1881" y="768"/>
                        </a:lnTo>
                        <a:lnTo>
                          <a:pt x="1885" y="802"/>
                        </a:lnTo>
                        <a:lnTo>
                          <a:pt x="1869" y="813"/>
                        </a:lnTo>
                        <a:lnTo>
                          <a:pt x="1874" y="828"/>
                        </a:lnTo>
                        <a:lnTo>
                          <a:pt x="1881" y="825"/>
                        </a:lnTo>
                        <a:lnTo>
                          <a:pt x="1900" y="825"/>
                        </a:lnTo>
                        <a:lnTo>
                          <a:pt x="1911" y="851"/>
                        </a:lnTo>
                        <a:lnTo>
                          <a:pt x="1915" y="866"/>
                        </a:lnTo>
                        <a:lnTo>
                          <a:pt x="1915" y="898"/>
                        </a:lnTo>
                        <a:lnTo>
                          <a:pt x="1911" y="923"/>
                        </a:lnTo>
                        <a:lnTo>
                          <a:pt x="1904" y="932"/>
                        </a:lnTo>
                        <a:lnTo>
                          <a:pt x="1903" y="945"/>
                        </a:lnTo>
                        <a:lnTo>
                          <a:pt x="1913" y="943"/>
                        </a:lnTo>
                        <a:lnTo>
                          <a:pt x="1914" y="935"/>
                        </a:lnTo>
                        <a:lnTo>
                          <a:pt x="1934" y="916"/>
                        </a:lnTo>
                        <a:lnTo>
                          <a:pt x="1946" y="915"/>
                        </a:lnTo>
                        <a:lnTo>
                          <a:pt x="1959" y="931"/>
                        </a:lnTo>
                        <a:lnTo>
                          <a:pt x="1956" y="942"/>
                        </a:lnTo>
                        <a:lnTo>
                          <a:pt x="1966" y="946"/>
                        </a:lnTo>
                        <a:lnTo>
                          <a:pt x="1965" y="925"/>
                        </a:lnTo>
                        <a:lnTo>
                          <a:pt x="1978" y="927"/>
                        </a:lnTo>
                        <a:lnTo>
                          <a:pt x="1988" y="953"/>
                        </a:lnTo>
                        <a:lnTo>
                          <a:pt x="2001" y="970"/>
                        </a:lnTo>
                        <a:lnTo>
                          <a:pt x="2010" y="986"/>
                        </a:lnTo>
                        <a:lnTo>
                          <a:pt x="2010" y="993"/>
                        </a:lnTo>
                        <a:lnTo>
                          <a:pt x="2000" y="1000"/>
                        </a:lnTo>
                        <a:lnTo>
                          <a:pt x="1990" y="1016"/>
                        </a:lnTo>
                        <a:lnTo>
                          <a:pt x="1951" y="1042"/>
                        </a:lnTo>
                        <a:lnTo>
                          <a:pt x="1949" y="1062"/>
                        </a:lnTo>
                        <a:lnTo>
                          <a:pt x="1933" y="1061"/>
                        </a:lnTo>
                        <a:lnTo>
                          <a:pt x="1938" y="1076"/>
                        </a:lnTo>
                        <a:lnTo>
                          <a:pt x="1924" y="1101"/>
                        </a:lnTo>
                        <a:lnTo>
                          <a:pt x="1918" y="1131"/>
                        </a:lnTo>
                        <a:lnTo>
                          <a:pt x="1904" y="1127"/>
                        </a:lnTo>
                        <a:lnTo>
                          <a:pt x="1895" y="1098"/>
                        </a:lnTo>
                        <a:lnTo>
                          <a:pt x="1893" y="1071"/>
                        </a:lnTo>
                        <a:lnTo>
                          <a:pt x="1884" y="1073"/>
                        </a:lnTo>
                        <a:lnTo>
                          <a:pt x="1885" y="1100"/>
                        </a:lnTo>
                        <a:lnTo>
                          <a:pt x="1891" y="1132"/>
                        </a:lnTo>
                        <a:lnTo>
                          <a:pt x="1901" y="1143"/>
                        </a:lnTo>
                        <a:lnTo>
                          <a:pt x="1904" y="1157"/>
                        </a:lnTo>
                        <a:lnTo>
                          <a:pt x="1900" y="1173"/>
                        </a:lnTo>
                        <a:lnTo>
                          <a:pt x="1893" y="1177"/>
                        </a:lnTo>
                        <a:lnTo>
                          <a:pt x="1874" y="1148"/>
                        </a:lnTo>
                        <a:lnTo>
                          <a:pt x="1869" y="1161"/>
                        </a:lnTo>
                        <a:lnTo>
                          <a:pt x="1879" y="1185"/>
                        </a:lnTo>
                        <a:lnTo>
                          <a:pt x="1874" y="1238"/>
                        </a:lnTo>
                        <a:lnTo>
                          <a:pt x="1863" y="1240"/>
                        </a:lnTo>
                        <a:lnTo>
                          <a:pt x="1853" y="1223"/>
                        </a:lnTo>
                        <a:lnTo>
                          <a:pt x="1846" y="1207"/>
                        </a:lnTo>
                        <a:lnTo>
                          <a:pt x="1833" y="1188"/>
                        </a:lnTo>
                        <a:lnTo>
                          <a:pt x="1818" y="1155"/>
                        </a:lnTo>
                        <a:lnTo>
                          <a:pt x="1811" y="1162"/>
                        </a:lnTo>
                        <a:lnTo>
                          <a:pt x="1819" y="1188"/>
                        </a:lnTo>
                        <a:lnTo>
                          <a:pt x="1828" y="1196"/>
                        </a:lnTo>
                        <a:lnTo>
                          <a:pt x="1845" y="1245"/>
                        </a:lnTo>
                        <a:lnTo>
                          <a:pt x="1838" y="1246"/>
                        </a:lnTo>
                        <a:lnTo>
                          <a:pt x="1833" y="1232"/>
                        </a:lnTo>
                        <a:lnTo>
                          <a:pt x="1825" y="1235"/>
                        </a:lnTo>
                        <a:lnTo>
                          <a:pt x="1814" y="1213"/>
                        </a:lnTo>
                        <a:lnTo>
                          <a:pt x="1805" y="1211"/>
                        </a:lnTo>
                        <a:lnTo>
                          <a:pt x="1806" y="1251"/>
                        </a:lnTo>
                        <a:lnTo>
                          <a:pt x="1784" y="1253"/>
                        </a:lnTo>
                        <a:lnTo>
                          <a:pt x="1770" y="1247"/>
                        </a:lnTo>
                        <a:lnTo>
                          <a:pt x="1753" y="1245"/>
                        </a:lnTo>
                        <a:lnTo>
                          <a:pt x="1740" y="1235"/>
                        </a:lnTo>
                        <a:lnTo>
                          <a:pt x="1730" y="1238"/>
                        </a:lnTo>
                        <a:lnTo>
                          <a:pt x="1721" y="1222"/>
                        </a:lnTo>
                        <a:lnTo>
                          <a:pt x="1713" y="1221"/>
                        </a:lnTo>
                        <a:lnTo>
                          <a:pt x="1708" y="1212"/>
                        </a:lnTo>
                        <a:lnTo>
                          <a:pt x="1693" y="1195"/>
                        </a:lnTo>
                        <a:lnTo>
                          <a:pt x="1695" y="1180"/>
                        </a:lnTo>
                        <a:lnTo>
                          <a:pt x="1705" y="1182"/>
                        </a:lnTo>
                        <a:lnTo>
                          <a:pt x="1713" y="1177"/>
                        </a:lnTo>
                        <a:lnTo>
                          <a:pt x="1743" y="1167"/>
                        </a:lnTo>
                        <a:lnTo>
                          <a:pt x="1704" y="1157"/>
                        </a:lnTo>
                        <a:lnTo>
                          <a:pt x="1675" y="1160"/>
                        </a:lnTo>
                        <a:lnTo>
                          <a:pt x="1654" y="1126"/>
                        </a:lnTo>
                        <a:lnTo>
                          <a:pt x="1664" y="1121"/>
                        </a:lnTo>
                        <a:lnTo>
                          <a:pt x="1681" y="1131"/>
                        </a:lnTo>
                        <a:lnTo>
                          <a:pt x="1685" y="1122"/>
                        </a:lnTo>
                        <a:lnTo>
                          <a:pt x="1665" y="1110"/>
                        </a:lnTo>
                        <a:lnTo>
                          <a:pt x="1651" y="1112"/>
                        </a:lnTo>
                        <a:lnTo>
                          <a:pt x="1648" y="1101"/>
                        </a:lnTo>
                        <a:lnTo>
                          <a:pt x="1634" y="1083"/>
                        </a:lnTo>
                        <a:lnTo>
                          <a:pt x="1636" y="1075"/>
                        </a:lnTo>
                        <a:lnTo>
                          <a:pt x="1648" y="1066"/>
                        </a:lnTo>
                        <a:lnTo>
                          <a:pt x="1661" y="1062"/>
                        </a:lnTo>
                        <a:lnTo>
                          <a:pt x="1668" y="1041"/>
                        </a:lnTo>
                        <a:lnTo>
                          <a:pt x="1676" y="1038"/>
                        </a:lnTo>
                        <a:lnTo>
                          <a:pt x="1691" y="1043"/>
                        </a:lnTo>
                        <a:lnTo>
                          <a:pt x="1704" y="1038"/>
                        </a:lnTo>
                        <a:lnTo>
                          <a:pt x="1714" y="1041"/>
                        </a:lnTo>
                        <a:lnTo>
                          <a:pt x="1731" y="1037"/>
                        </a:lnTo>
                        <a:lnTo>
                          <a:pt x="1785" y="1022"/>
                        </a:lnTo>
                        <a:lnTo>
                          <a:pt x="1789" y="1013"/>
                        </a:lnTo>
                        <a:lnTo>
                          <a:pt x="1764" y="1017"/>
                        </a:lnTo>
                        <a:lnTo>
                          <a:pt x="1751" y="1022"/>
                        </a:lnTo>
                        <a:lnTo>
                          <a:pt x="1723" y="1028"/>
                        </a:lnTo>
                        <a:lnTo>
                          <a:pt x="1700" y="1021"/>
                        </a:lnTo>
                        <a:lnTo>
                          <a:pt x="1701" y="1007"/>
                        </a:lnTo>
                        <a:lnTo>
                          <a:pt x="1728" y="1007"/>
                        </a:lnTo>
                        <a:lnTo>
                          <a:pt x="1738" y="1000"/>
                        </a:lnTo>
                        <a:lnTo>
                          <a:pt x="1758" y="995"/>
                        </a:lnTo>
                        <a:lnTo>
                          <a:pt x="1759" y="986"/>
                        </a:lnTo>
                        <a:lnTo>
                          <a:pt x="1718" y="997"/>
                        </a:lnTo>
                        <a:lnTo>
                          <a:pt x="1700" y="991"/>
                        </a:lnTo>
                        <a:lnTo>
                          <a:pt x="1699" y="976"/>
                        </a:lnTo>
                        <a:lnTo>
                          <a:pt x="1680" y="995"/>
                        </a:lnTo>
                        <a:lnTo>
                          <a:pt x="1674" y="985"/>
                        </a:lnTo>
                        <a:lnTo>
                          <a:pt x="1666" y="985"/>
                        </a:lnTo>
                        <a:lnTo>
                          <a:pt x="1664" y="997"/>
                        </a:lnTo>
                        <a:lnTo>
                          <a:pt x="1653" y="1015"/>
                        </a:lnTo>
                        <a:lnTo>
                          <a:pt x="1643" y="1020"/>
                        </a:lnTo>
                        <a:lnTo>
                          <a:pt x="1638" y="1011"/>
                        </a:lnTo>
                        <a:lnTo>
                          <a:pt x="1640" y="991"/>
                        </a:lnTo>
                        <a:lnTo>
                          <a:pt x="1628" y="996"/>
                        </a:lnTo>
                        <a:lnTo>
                          <a:pt x="1605" y="1013"/>
                        </a:lnTo>
                        <a:lnTo>
                          <a:pt x="1594" y="1015"/>
                        </a:lnTo>
                        <a:lnTo>
                          <a:pt x="1596" y="1000"/>
                        </a:lnTo>
                        <a:lnTo>
                          <a:pt x="1578" y="991"/>
                        </a:lnTo>
                        <a:lnTo>
                          <a:pt x="1573" y="973"/>
                        </a:lnTo>
                        <a:lnTo>
                          <a:pt x="1573" y="958"/>
                        </a:lnTo>
                        <a:lnTo>
                          <a:pt x="1579" y="955"/>
                        </a:lnTo>
                        <a:lnTo>
                          <a:pt x="1614" y="943"/>
                        </a:lnTo>
                        <a:lnTo>
                          <a:pt x="1629" y="926"/>
                        </a:lnTo>
                        <a:lnTo>
                          <a:pt x="1628" y="916"/>
                        </a:lnTo>
                        <a:lnTo>
                          <a:pt x="1619" y="913"/>
                        </a:lnTo>
                        <a:lnTo>
                          <a:pt x="1611" y="927"/>
                        </a:lnTo>
                        <a:lnTo>
                          <a:pt x="1595" y="936"/>
                        </a:lnTo>
                        <a:lnTo>
                          <a:pt x="1569" y="935"/>
                        </a:lnTo>
                        <a:lnTo>
                          <a:pt x="1558" y="916"/>
                        </a:lnTo>
                        <a:lnTo>
                          <a:pt x="1551" y="901"/>
                        </a:lnTo>
                        <a:lnTo>
                          <a:pt x="1541" y="891"/>
                        </a:lnTo>
                        <a:lnTo>
                          <a:pt x="1541" y="868"/>
                        </a:lnTo>
                        <a:lnTo>
                          <a:pt x="1533" y="841"/>
                        </a:lnTo>
                        <a:lnTo>
                          <a:pt x="1535" y="823"/>
                        </a:lnTo>
                        <a:lnTo>
                          <a:pt x="1549" y="826"/>
                        </a:lnTo>
                        <a:lnTo>
                          <a:pt x="1563" y="841"/>
                        </a:lnTo>
                        <a:lnTo>
                          <a:pt x="1595" y="850"/>
                        </a:lnTo>
                        <a:lnTo>
                          <a:pt x="1608" y="847"/>
                        </a:lnTo>
                        <a:lnTo>
                          <a:pt x="1609" y="835"/>
                        </a:lnTo>
                        <a:lnTo>
                          <a:pt x="1619" y="821"/>
                        </a:lnTo>
                        <a:lnTo>
                          <a:pt x="1586" y="828"/>
                        </a:lnTo>
                        <a:lnTo>
                          <a:pt x="1576" y="817"/>
                        </a:lnTo>
                        <a:lnTo>
                          <a:pt x="1578" y="802"/>
                        </a:lnTo>
                        <a:lnTo>
                          <a:pt x="1564" y="812"/>
                        </a:lnTo>
                        <a:lnTo>
                          <a:pt x="1550" y="798"/>
                        </a:lnTo>
                        <a:lnTo>
                          <a:pt x="1541" y="795"/>
                        </a:lnTo>
                        <a:lnTo>
                          <a:pt x="1544" y="783"/>
                        </a:lnTo>
                        <a:lnTo>
                          <a:pt x="1553" y="773"/>
                        </a:lnTo>
                        <a:lnTo>
                          <a:pt x="1573" y="763"/>
                        </a:lnTo>
                        <a:lnTo>
                          <a:pt x="1570" y="756"/>
                        </a:lnTo>
                        <a:lnTo>
                          <a:pt x="1560" y="748"/>
                        </a:lnTo>
                        <a:lnTo>
                          <a:pt x="1566" y="735"/>
                        </a:lnTo>
                        <a:lnTo>
                          <a:pt x="1561" y="726"/>
                        </a:lnTo>
                        <a:lnTo>
                          <a:pt x="1589" y="725"/>
                        </a:lnTo>
                        <a:lnTo>
                          <a:pt x="1601" y="721"/>
                        </a:lnTo>
                        <a:lnTo>
                          <a:pt x="1616" y="732"/>
                        </a:lnTo>
                        <a:lnTo>
                          <a:pt x="1638" y="723"/>
                        </a:lnTo>
                        <a:lnTo>
                          <a:pt x="1624" y="717"/>
                        </a:lnTo>
                        <a:lnTo>
                          <a:pt x="1611" y="706"/>
                        </a:lnTo>
                        <a:lnTo>
                          <a:pt x="1611" y="691"/>
                        </a:lnTo>
                        <a:lnTo>
                          <a:pt x="1594" y="676"/>
                        </a:lnTo>
                        <a:lnTo>
                          <a:pt x="1581" y="675"/>
                        </a:lnTo>
                        <a:lnTo>
                          <a:pt x="1581" y="651"/>
                        </a:lnTo>
                        <a:lnTo>
                          <a:pt x="1589" y="642"/>
                        </a:lnTo>
                        <a:lnTo>
                          <a:pt x="1590" y="626"/>
                        </a:lnTo>
                        <a:lnTo>
                          <a:pt x="1604" y="615"/>
                        </a:lnTo>
                        <a:lnTo>
                          <a:pt x="1619" y="626"/>
                        </a:lnTo>
                        <a:lnTo>
                          <a:pt x="1630" y="626"/>
                        </a:lnTo>
                        <a:lnTo>
                          <a:pt x="1634" y="617"/>
                        </a:lnTo>
                        <a:lnTo>
                          <a:pt x="1629" y="606"/>
                        </a:lnTo>
                        <a:lnTo>
                          <a:pt x="1641" y="605"/>
                        </a:lnTo>
                        <a:lnTo>
                          <a:pt x="1660" y="608"/>
                        </a:lnTo>
                        <a:lnTo>
                          <a:pt x="1665" y="606"/>
                        </a:lnTo>
                        <a:lnTo>
                          <a:pt x="1666" y="592"/>
                        </a:lnTo>
                        <a:lnTo>
                          <a:pt x="1663" y="578"/>
                        </a:lnTo>
                        <a:lnTo>
                          <a:pt x="1649" y="576"/>
                        </a:lnTo>
                        <a:lnTo>
                          <a:pt x="1643" y="581"/>
                        </a:lnTo>
                        <a:lnTo>
                          <a:pt x="1629" y="577"/>
                        </a:lnTo>
                        <a:lnTo>
                          <a:pt x="1620" y="568"/>
                        </a:lnTo>
                        <a:lnTo>
                          <a:pt x="1626" y="543"/>
                        </a:lnTo>
                        <a:lnTo>
                          <a:pt x="1651" y="551"/>
                        </a:lnTo>
                        <a:lnTo>
                          <a:pt x="1660" y="541"/>
                        </a:lnTo>
                        <a:lnTo>
                          <a:pt x="1678" y="553"/>
                        </a:lnTo>
                        <a:close/>
                        <a:moveTo>
                          <a:pt x="2358" y="0"/>
                        </a:moveTo>
                        <a:lnTo>
                          <a:pt x="2368" y="15"/>
                        </a:lnTo>
                        <a:lnTo>
                          <a:pt x="2369" y="30"/>
                        </a:lnTo>
                        <a:lnTo>
                          <a:pt x="2385" y="16"/>
                        </a:lnTo>
                        <a:lnTo>
                          <a:pt x="2389" y="26"/>
                        </a:lnTo>
                        <a:lnTo>
                          <a:pt x="2399" y="16"/>
                        </a:lnTo>
                        <a:lnTo>
                          <a:pt x="2410" y="15"/>
                        </a:lnTo>
                        <a:lnTo>
                          <a:pt x="2414" y="27"/>
                        </a:lnTo>
                        <a:lnTo>
                          <a:pt x="2429" y="16"/>
                        </a:lnTo>
                        <a:lnTo>
                          <a:pt x="2445" y="21"/>
                        </a:lnTo>
                        <a:lnTo>
                          <a:pt x="2455" y="20"/>
                        </a:lnTo>
                        <a:lnTo>
                          <a:pt x="2466" y="11"/>
                        </a:lnTo>
                        <a:lnTo>
                          <a:pt x="2473" y="22"/>
                        </a:lnTo>
                        <a:lnTo>
                          <a:pt x="2455" y="61"/>
                        </a:lnTo>
                        <a:lnTo>
                          <a:pt x="2426" y="92"/>
                        </a:lnTo>
                        <a:lnTo>
                          <a:pt x="2425" y="107"/>
                        </a:lnTo>
                        <a:lnTo>
                          <a:pt x="2459" y="90"/>
                        </a:lnTo>
                        <a:lnTo>
                          <a:pt x="2461" y="80"/>
                        </a:lnTo>
                        <a:lnTo>
                          <a:pt x="2491" y="30"/>
                        </a:lnTo>
                        <a:lnTo>
                          <a:pt x="2503" y="26"/>
                        </a:lnTo>
                        <a:lnTo>
                          <a:pt x="2508" y="8"/>
                        </a:lnTo>
                        <a:lnTo>
                          <a:pt x="2520" y="1"/>
                        </a:lnTo>
                        <a:lnTo>
                          <a:pt x="2525" y="21"/>
                        </a:lnTo>
                        <a:lnTo>
                          <a:pt x="2538" y="33"/>
                        </a:lnTo>
                        <a:lnTo>
                          <a:pt x="2543" y="12"/>
                        </a:lnTo>
                        <a:lnTo>
                          <a:pt x="2564" y="7"/>
                        </a:lnTo>
                        <a:lnTo>
                          <a:pt x="2571" y="21"/>
                        </a:lnTo>
                        <a:lnTo>
                          <a:pt x="2568" y="36"/>
                        </a:lnTo>
                        <a:lnTo>
                          <a:pt x="2574" y="43"/>
                        </a:lnTo>
                        <a:lnTo>
                          <a:pt x="2586" y="47"/>
                        </a:lnTo>
                        <a:lnTo>
                          <a:pt x="2585" y="57"/>
                        </a:lnTo>
                        <a:lnTo>
                          <a:pt x="2599" y="57"/>
                        </a:lnTo>
                        <a:lnTo>
                          <a:pt x="2600" y="71"/>
                        </a:lnTo>
                        <a:lnTo>
                          <a:pt x="2625" y="66"/>
                        </a:lnTo>
                        <a:lnTo>
                          <a:pt x="2633" y="70"/>
                        </a:lnTo>
                        <a:lnTo>
                          <a:pt x="2650" y="65"/>
                        </a:lnTo>
                        <a:lnTo>
                          <a:pt x="2660" y="71"/>
                        </a:lnTo>
                        <a:lnTo>
                          <a:pt x="2673" y="83"/>
                        </a:lnTo>
                        <a:lnTo>
                          <a:pt x="2685" y="112"/>
                        </a:lnTo>
                        <a:lnTo>
                          <a:pt x="2684" y="128"/>
                        </a:lnTo>
                        <a:lnTo>
                          <a:pt x="2668" y="150"/>
                        </a:lnTo>
                        <a:lnTo>
                          <a:pt x="2675" y="155"/>
                        </a:lnTo>
                        <a:lnTo>
                          <a:pt x="2670" y="180"/>
                        </a:lnTo>
                        <a:lnTo>
                          <a:pt x="2638" y="250"/>
                        </a:lnTo>
                        <a:lnTo>
                          <a:pt x="2630" y="251"/>
                        </a:lnTo>
                        <a:lnTo>
                          <a:pt x="2633" y="265"/>
                        </a:lnTo>
                        <a:lnTo>
                          <a:pt x="2629" y="272"/>
                        </a:lnTo>
                        <a:lnTo>
                          <a:pt x="2596" y="281"/>
                        </a:lnTo>
                        <a:lnTo>
                          <a:pt x="2589" y="297"/>
                        </a:lnTo>
                        <a:lnTo>
                          <a:pt x="2588" y="311"/>
                        </a:lnTo>
                        <a:lnTo>
                          <a:pt x="2563" y="320"/>
                        </a:lnTo>
                        <a:lnTo>
                          <a:pt x="2531" y="338"/>
                        </a:lnTo>
                        <a:lnTo>
                          <a:pt x="2515" y="351"/>
                        </a:lnTo>
                        <a:lnTo>
                          <a:pt x="2506" y="366"/>
                        </a:lnTo>
                        <a:lnTo>
                          <a:pt x="2546" y="338"/>
                        </a:lnTo>
                        <a:lnTo>
                          <a:pt x="2569" y="341"/>
                        </a:lnTo>
                        <a:lnTo>
                          <a:pt x="2571" y="348"/>
                        </a:lnTo>
                        <a:lnTo>
                          <a:pt x="2534" y="392"/>
                        </a:lnTo>
                        <a:lnTo>
                          <a:pt x="2525" y="410"/>
                        </a:lnTo>
                        <a:lnTo>
                          <a:pt x="2499" y="436"/>
                        </a:lnTo>
                        <a:lnTo>
                          <a:pt x="2499" y="450"/>
                        </a:lnTo>
                        <a:lnTo>
                          <a:pt x="2548" y="402"/>
                        </a:lnTo>
                        <a:lnTo>
                          <a:pt x="2563" y="382"/>
                        </a:lnTo>
                        <a:lnTo>
                          <a:pt x="2598" y="348"/>
                        </a:lnTo>
                        <a:lnTo>
                          <a:pt x="2603" y="340"/>
                        </a:lnTo>
                        <a:lnTo>
                          <a:pt x="2618" y="330"/>
                        </a:lnTo>
                        <a:lnTo>
                          <a:pt x="2638" y="313"/>
                        </a:lnTo>
                        <a:lnTo>
                          <a:pt x="2646" y="327"/>
                        </a:lnTo>
                        <a:lnTo>
                          <a:pt x="2645" y="350"/>
                        </a:lnTo>
                        <a:lnTo>
                          <a:pt x="2635" y="368"/>
                        </a:lnTo>
                        <a:lnTo>
                          <a:pt x="2631" y="386"/>
                        </a:lnTo>
                        <a:lnTo>
                          <a:pt x="2614" y="401"/>
                        </a:lnTo>
                        <a:lnTo>
                          <a:pt x="2606" y="431"/>
                        </a:lnTo>
                        <a:lnTo>
                          <a:pt x="2605" y="451"/>
                        </a:lnTo>
                        <a:lnTo>
                          <a:pt x="2593" y="480"/>
                        </a:lnTo>
                        <a:lnTo>
                          <a:pt x="2581" y="482"/>
                        </a:lnTo>
                        <a:lnTo>
                          <a:pt x="2585" y="492"/>
                        </a:lnTo>
                        <a:lnTo>
                          <a:pt x="2580" y="512"/>
                        </a:lnTo>
                        <a:lnTo>
                          <a:pt x="2569" y="531"/>
                        </a:lnTo>
                        <a:lnTo>
                          <a:pt x="2554" y="588"/>
                        </a:lnTo>
                        <a:lnTo>
                          <a:pt x="2555" y="621"/>
                        </a:lnTo>
                        <a:lnTo>
                          <a:pt x="2546" y="633"/>
                        </a:lnTo>
                        <a:lnTo>
                          <a:pt x="2523" y="640"/>
                        </a:lnTo>
                        <a:lnTo>
                          <a:pt x="2519" y="645"/>
                        </a:lnTo>
                        <a:lnTo>
                          <a:pt x="2541" y="657"/>
                        </a:lnTo>
                        <a:lnTo>
                          <a:pt x="2538" y="676"/>
                        </a:lnTo>
                        <a:lnTo>
                          <a:pt x="2516" y="677"/>
                        </a:lnTo>
                        <a:lnTo>
                          <a:pt x="2505" y="686"/>
                        </a:lnTo>
                        <a:lnTo>
                          <a:pt x="2494" y="703"/>
                        </a:lnTo>
                        <a:lnTo>
                          <a:pt x="2480" y="710"/>
                        </a:lnTo>
                        <a:lnTo>
                          <a:pt x="2473" y="725"/>
                        </a:lnTo>
                        <a:lnTo>
                          <a:pt x="2496" y="716"/>
                        </a:lnTo>
                        <a:lnTo>
                          <a:pt x="2513" y="698"/>
                        </a:lnTo>
                        <a:lnTo>
                          <a:pt x="2524" y="690"/>
                        </a:lnTo>
                        <a:lnTo>
                          <a:pt x="2535" y="706"/>
                        </a:lnTo>
                        <a:lnTo>
                          <a:pt x="2531" y="723"/>
                        </a:lnTo>
                        <a:lnTo>
                          <a:pt x="2509" y="741"/>
                        </a:lnTo>
                        <a:lnTo>
                          <a:pt x="2530" y="747"/>
                        </a:lnTo>
                        <a:lnTo>
                          <a:pt x="2528" y="771"/>
                        </a:lnTo>
                        <a:lnTo>
                          <a:pt x="2518" y="786"/>
                        </a:lnTo>
                        <a:lnTo>
                          <a:pt x="2503" y="798"/>
                        </a:lnTo>
                        <a:lnTo>
                          <a:pt x="2493" y="810"/>
                        </a:lnTo>
                        <a:lnTo>
                          <a:pt x="2478" y="811"/>
                        </a:lnTo>
                        <a:lnTo>
                          <a:pt x="2464" y="807"/>
                        </a:lnTo>
                        <a:lnTo>
                          <a:pt x="2453" y="787"/>
                        </a:lnTo>
                        <a:lnTo>
                          <a:pt x="2439" y="783"/>
                        </a:lnTo>
                        <a:lnTo>
                          <a:pt x="2424" y="791"/>
                        </a:lnTo>
                        <a:lnTo>
                          <a:pt x="2424" y="782"/>
                        </a:lnTo>
                        <a:lnTo>
                          <a:pt x="2404" y="780"/>
                        </a:lnTo>
                        <a:lnTo>
                          <a:pt x="2401" y="785"/>
                        </a:lnTo>
                        <a:lnTo>
                          <a:pt x="2384" y="795"/>
                        </a:lnTo>
                        <a:lnTo>
                          <a:pt x="2393" y="805"/>
                        </a:lnTo>
                        <a:lnTo>
                          <a:pt x="2404" y="798"/>
                        </a:lnTo>
                        <a:lnTo>
                          <a:pt x="2444" y="802"/>
                        </a:lnTo>
                        <a:lnTo>
                          <a:pt x="2458" y="820"/>
                        </a:lnTo>
                        <a:lnTo>
                          <a:pt x="2465" y="841"/>
                        </a:lnTo>
                        <a:lnTo>
                          <a:pt x="2460" y="853"/>
                        </a:lnTo>
                        <a:lnTo>
                          <a:pt x="2436" y="865"/>
                        </a:lnTo>
                        <a:lnTo>
                          <a:pt x="2435" y="873"/>
                        </a:lnTo>
                        <a:lnTo>
                          <a:pt x="2426" y="877"/>
                        </a:lnTo>
                        <a:lnTo>
                          <a:pt x="2409" y="880"/>
                        </a:lnTo>
                        <a:lnTo>
                          <a:pt x="2400" y="898"/>
                        </a:lnTo>
                        <a:lnTo>
                          <a:pt x="2380" y="898"/>
                        </a:lnTo>
                        <a:lnTo>
                          <a:pt x="2359" y="895"/>
                        </a:lnTo>
                        <a:lnTo>
                          <a:pt x="2355" y="905"/>
                        </a:lnTo>
                        <a:lnTo>
                          <a:pt x="2366" y="912"/>
                        </a:lnTo>
                        <a:lnTo>
                          <a:pt x="2328" y="920"/>
                        </a:lnTo>
                        <a:lnTo>
                          <a:pt x="2318" y="910"/>
                        </a:lnTo>
                        <a:lnTo>
                          <a:pt x="2315" y="900"/>
                        </a:lnTo>
                        <a:lnTo>
                          <a:pt x="2304" y="902"/>
                        </a:lnTo>
                        <a:lnTo>
                          <a:pt x="2316" y="928"/>
                        </a:lnTo>
                        <a:lnTo>
                          <a:pt x="2313" y="938"/>
                        </a:lnTo>
                        <a:lnTo>
                          <a:pt x="2335" y="935"/>
                        </a:lnTo>
                        <a:lnTo>
                          <a:pt x="2348" y="936"/>
                        </a:lnTo>
                        <a:lnTo>
                          <a:pt x="2361" y="930"/>
                        </a:lnTo>
                        <a:lnTo>
                          <a:pt x="2370" y="936"/>
                        </a:lnTo>
                        <a:lnTo>
                          <a:pt x="2406" y="930"/>
                        </a:lnTo>
                        <a:lnTo>
                          <a:pt x="2416" y="923"/>
                        </a:lnTo>
                        <a:lnTo>
                          <a:pt x="2430" y="925"/>
                        </a:lnTo>
                        <a:lnTo>
                          <a:pt x="2421" y="942"/>
                        </a:lnTo>
                        <a:lnTo>
                          <a:pt x="2438" y="956"/>
                        </a:lnTo>
                        <a:lnTo>
                          <a:pt x="2439" y="965"/>
                        </a:lnTo>
                        <a:lnTo>
                          <a:pt x="2426" y="965"/>
                        </a:lnTo>
                        <a:lnTo>
                          <a:pt x="2415" y="971"/>
                        </a:lnTo>
                        <a:lnTo>
                          <a:pt x="2396" y="966"/>
                        </a:lnTo>
                        <a:lnTo>
                          <a:pt x="2385" y="967"/>
                        </a:lnTo>
                        <a:lnTo>
                          <a:pt x="2376" y="950"/>
                        </a:lnTo>
                        <a:lnTo>
                          <a:pt x="2366" y="945"/>
                        </a:lnTo>
                        <a:lnTo>
                          <a:pt x="2331" y="955"/>
                        </a:lnTo>
                        <a:lnTo>
                          <a:pt x="2323" y="955"/>
                        </a:lnTo>
                        <a:lnTo>
                          <a:pt x="2289" y="966"/>
                        </a:lnTo>
                        <a:lnTo>
                          <a:pt x="2333" y="963"/>
                        </a:lnTo>
                        <a:lnTo>
                          <a:pt x="2343" y="961"/>
                        </a:lnTo>
                        <a:lnTo>
                          <a:pt x="2369" y="961"/>
                        </a:lnTo>
                        <a:lnTo>
                          <a:pt x="2369" y="972"/>
                        </a:lnTo>
                        <a:lnTo>
                          <a:pt x="2348" y="973"/>
                        </a:lnTo>
                        <a:lnTo>
                          <a:pt x="2330" y="982"/>
                        </a:lnTo>
                        <a:lnTo>
                          <a:pt x="2310" y="1001"/>
                        </a:lnTo>
                        <a:lnTo>
                          <a:pt x="2311" y="1007"/>
                        </a:lnTo>
                        <a:lnTo>
                          <a:pt x="2349" y="985"/>
                        </a:lnTo>
                        <a:lnTo>
                          <a:pt x="2390" y="988"/>
                        </a:lnTo>
                        <a:lnTo>
                          <a:pt x="2390" y="1001"/>
                        </a:lnTo>
                        <a:lnTo>
                          <a:pt x="2374" y="1008"/>
                        </a:lnTo>
                        <a:lnTo>
                          <a:pt x="2375" y="1015"/>
                        </a:lnTo>
                        <a:lnTo>
                          <a:pt x="2395" y="1006"/>
                        </a:lnTo>
                        <a:lnTo>
                          <a:pt x="2414" y="1005"/>
                        </a:lnTo>
                        <a:lnTo>
                          <a:pt x="2438" y="1010"/>
                        </a:lnTo>
                        <a:lnTo>
                          <a:pt x="2443" y="1051"/>
                        </a:lnTo>
                        <a:lnTo>
                          <a:pt x="2450" y="1052"/>
                        </a:lnTo>
                        <a:lnTo>
                          <a:pt x="2443" y="1073"/>
                        </a:lnTo>
                        <a:lnTo>
                          <a:pt x="2428" y="1082"/>
                        </a:lnTo>
                        <a:lnTo>
                          <a:pt x="2380" y="1086"/>
                        </a:lnTo>
                        <a:lnTo>
                          <a:pt x="2398" y="1092"/>
                        </a:lnTo>
                        <a:lnTo>
                          <a:pt x="2401" y="1098"/>
                        </a:lnTo>
                        <a:lnTo>
                          <a:pt x="2446" y="1108"/>
                        </a:lnTo>
                        <a:lnTo>
                          <a:pt x="2450" y="1121"/>
                        </a:lnTo>
                        <a:lnTo>
                          <a:pt x="2439" y="1125"/>
                        </a:lnTo>
                        <a:lnTo>
                          <a:pt x="2436" y="1145"/>
                        </a:lnTo>
                        <a:lnTo>
                          <a:pt x="2433" y="1150"/>
                        </a:lnTo>
                        <a:lnTo>
                          <a:pt x="2406" y="1145"/>
                        </a:lnTo>
                        <a:lnTo>
                          <a:pt x="2400" y="1150"/>
                        </a:lnTo>
                        <a:lnTo>
                          <a:pt x="2389" y="1147"/>
                        </a:lnTo>
                        <a:lnTo>
                          <a:pt x="2379" y="1156"/>
                        </a:lnTo>
                        <a:lnTo>
                          <a:pt x="2383" y="1163"/>
                        </a:lnTo>
                        <a:lnTo>
                          <a:pt x="2406" y="1166"/>
                        </a:lnTo>
                        <a:lnTo>
                          <a:pt x="2413" y="1168"/>
                        </a:lnTo>
                        <a:lnTo>
                          <a:pt x="2434" y="1162"/>
                        </a:lnTo>
                        <a:lnTo>
                          <a:pt x="2439" y="1167"/>
                        </a:lnTo>
                        <a:lnTo>
                          <a:pt x="2431" y="1200"/>
                        </a:lnTo>
                        <a:lnTo>
                          <a:pt x="2415" y="1192"/>
                        </a:lnTo>
                        <a:lnTo>
                          <a:pt x="2406" y="1200"/>
                        </a:lnTo>
                        <a:lnTo>
                          <a:pt x="2405" y="1210"/>
                        </a:lnTo>
                        <a:lnTo>
                          <a:pt x="2393" y="1222"/>
                        </a:lnTo>
                        <a:lnTo>
                          <a:pt x="2379" y="1215"/>
                        </a:lnTo>
                        <a:lnTo>
                          <a:pt x="2349" y="1223"/>
                        </a:lnTo>
                        <a:lnTo>
                          <a:pt x="2335" y="1221"/>
                        </a:lnTo>
                        <a:lnTo>
                          <a:pt x="2326" y="1233"/>
                        </a:lnTo>
                        <a:lnTo>
                          <a:pt x="2335" y="1242"/>
                        </a:lnTo>
                        <a:lnTo>
                          <a:pt x="2349" y="1250"/>
                        </a:lnTo>
                        <a:lnTo>
                          <a:pt x="2354" y="1261"/>
                        </a:lnTo>
                        <a:lnTo>
                          <a:pt x="2350" y="1267"/>
                        </a:lnTo>
                        <a:lnTo>
                          <a:pt x="2369" y="1291"/>
                        </a:lnTo>
                        <a:lnTo>
                          <a:pt x="2360" y="1305"/>
                        </a:lnTo>
                        <a:lnTo>
                          <a:pt x="2361" y="1320"/>
                        </a:lnTo>
                        <a:lnTo>
                          <a:pt x="2353" y="1331"/>
                        </a:lnTo>
                        <a:lnTo>
                          <a:pt x="2354" y="1341"/>
                        </a:lnTo>
                        <a:lnTo>
                          <a:pt x="2345" y="1346"/>
                        </a:lnTo>
                        <a:lnTo>
                          <a:pt x="2330" y="1345"/>
                        </a:lnTo>
                        <a:lnTo>
                          <a:pt x="2320" y="1366"/>
                        </a:lnTo>
                        <a:lnTo>
                          <a:pt x="2296" y="1363"/>
                        </a:lnTo>
                        <a:lnTo>
                          <a:pt x="2283" y="1375"/>
                        </a:lnTo>
                        <a:lnTo>
                          <a:pt x="2264" y="1375"/>
                        </a:lnTo>
                        <a:lnTo>
                          <a:pt x="2245" y="1370"/>
                        </a:lnTo>
                        <a:lnTo>
                          <a:pt x="2231" y="1358"/>
                        </a:lnTo>
                        <a:lnTo>
                          <a:pt x="2219" y="1353"/>
                        </a:lnTo>
                        <a:lnTo>
                          <a:pt x="2215" y="1346"/>
                        </a:lnTo>
                        <a:lnTo>
                          <a:pt x="2199" y="1338"/>
                        </a:lnTo>
                        <a:lnTo>
                          <a:pt x="2199" y="1357"/>
                        </a:lnTo>
                        <a:lnTo>
                          <a:pt x="2213" y="1367"/>
                        </a:lnTo>
                        <a:lnTo>
                          <a:pt x="2225" y="1366"/>
                        </a:lnTo>
                        <a:lnTo>
                          <a:pt x="2226" y="1376"/>
                        </a:lnTo>
                        <a:lnTo>
                          <a:pt x="2199" y="1387"/>
                        </a:lnTo>
                        <a:lnTo>
                          <a:pt x="2200" y="1408"/>
                        </a:lnTo>
                        <a:lnTo>
                          <a:pt x="2213" y="1403"/>
                        </a:lnTo>
                        <a:lnTo>
                          <a:pt x="2233" y="1382"/>
                        </a:lnTo>
                        <a:lnTo>
                          <a:pt x="2278" y="1390"/>
                        </a:lnTo>
                        <a:lnTo>
                          <a:pt x="2284" y="1393"/>
                        </a:lnTo>
                        <a:lnTo>
                          <a:pt x="2295" y="1381"/>
                        </a:lnTo>
                        <a:lnTo>
                          <a:pt x="2309" y="1378"/>
                        </a:lnTo>
                        <a:lnTo>
                          <a:pt x="2329" y="1392"/>
                        </a:lnTo>
                        <a:lnTo>
                          <a:pt x="2333" y="1406"/>
                        </a:lnTo>
                        <a:lnTo>
                          <a:pt x="2321" y="1431"/>
                        </a:lnTo>
                        <a:lnTo>
                          <a:pt x="2323" y="1441"/>
                        </a:lnTo>
                        <a:lnTo>
                          <a:pt x="2338" y="1436"/>
                        </a:lnTo>
                        <a:lnTo>
                          <a:pt x="2345" y="1437"/>
                        </a:lnTo>
                        <a:lnTo>
                          <a:pt x="2344" y="1455"/>
                        </a:lnTo>
                        <a:lnTo>
                          <a:pt x="2356" y="1456"/>
                        </a:lnTo>
                        <a:lnTo>
                          <a:pt x="2354" y="1445"/>
                        </a:lnTo>
                        <a:lnTo>
                          <a:pt x="2360" y="1440"/>
                        </a:lnTo>
                        <a:lnTo>
                          <a:pt x="2359" y="1428"/>
                        </a:lnTo>
                        <a:lnTo>
                          <a:pt x="2366" y="1415"/>
                        </a:lnTo>
                        <a:lnTo>
                          <a:pt x="2376" y="1411"/>
                        </a:lnTo>
                        <a:lnTo>
                          <a:pt x="2386" y="1421"/>
                        </a:lnTo>
                        <a:lnTo>
                          <a:pt x="2391" y="1440"/>
                        </a:lnTo>
                        <a:lnTo>
                          <a:pt x="2401" y="1447"/>
                        </a:lnTo>
                        <a:lnTo>
                          <a:pt x="2400" y="1457"/>
                        </a:lnTo>
                        <a:lnTo>
                          <a:pt x="2405" y="1480"/>
                        </a:lnTo>
                        <a:lnTo>
                          <a:pt x="2395" y="1487"/>
                        </a:lnTo>
                        <a:lnTo>
                          <a:pt x="2390" y="1503"/>
                        </a:lnTo>
                        <a:lnTo>
                          <a:pt x="2394" y="1510"/>
                        </a:lnTo>
                        <a:lnTo>
                          <a:pt x="2380" y="1526"/>
                        </a:lnTo>
                        <a:lnTo>
                          <a:pt x="2373" y="1520"/>
                        </a:lnTo>
                        <a:lnTo>
                          <a:pt x="2371" y="1508"/>
                        </a:lnTo>
                        <a:lnTo>
                          <a:pt x="2363" y="1506"/>
                        </a:lnTo>
                        <a:lnTo>
                          <a:pt x="2358" y="1537"/>
                        </a:lnTo>
                        <a:lnTo>
                          <a:pt x="2351" y="1541"/>
                        </a:lnTo>
                        <a:lnTo>
                          <a:pt x="2346" y="1566"/>
                        </a:lnTo>
                        <a:lnTo>
                          <a:pt x="2336" y="1563"/>
                        </a:lnTo>
                        <a:lnTo>
                          <a:pt x="2314" y="1586"/>
                        </a:lnTo>
                        <a:lnTo>
                          <a:pt x="2309" y="1582"/>
                        </a:lnTo>
                        <a:lnTo>
                          <a:pt x="2290" y="1603"/>
                        </a:lnTo>
                        <a:lnTo>
                          <a:pt x="2279" y="1603"/>
                        </a:lnTo>
                        <a:lnTo>
                          <a:pt x="2268" y="1596"/>
                        </a:lnTo>
                        <a:lnTo>
                          <a:pt x="2278" y="1560"/>
                        </a:lnTo>
                        <a:lnTo>
                          <a:pt x="2276" y="1553"/>
                        </a:lnTo>
                        <a:lnTo>
                          <a:pt x="2250" y="1531"/>
                        </a:lnTo>
                        <a:lnTo>
                          <a:pt x="2245" y="1546"/>
                        </a:lnTo>
                        <a:lnTo>
                          <a:pt x="2239" y="1548"/>
                        </a:lnTo>
                        <a:lnTo>
                          <a:pt x="2220" y="1547"/>
                        </a:lnTo>
                        <a:lnTo>
                          <a:pt x="2206" y="1568"/>
                        </a:lnTo>
                        <a:lnTo>
                          <a:pt x="2183" y="1575"/>
                        </a:lnTo>
                        <a:lnTo>
                          <a:pt x="2166" y="1561"/>
                        </a:lnTo>
                        <a:lnTo>
                          <a:pt x="2161" y="1536"/>
                        </a:lnTo>
                        <a:lnTo>
                          <a:pt x="2155" y="1537"/>
                        </a:lnTo>
                        <a:lnTo>
                          <a:pt x="2160" y="1573"/>
                        </a:lnTo>
                        <a:lnTo>
                          <a:pt x="2140" y="1572"/>
                        </a:lnTo>
                        <a:lnTo>
                          <a:pt x="2120" y="1550"/>
                        </a:lnTo>
                        <a:lnTo>
                          <a:pt x="2111" y="1555"/>
                        </a:lnTo>
                        <a:lnTo>
                          <a:pt x="2115" y="1572"/>
                        </a:lnTo>
                        <a:lnTo>
                          <a:pt x="2100" y="1577"/>
                        </a:lnTo>
                        <a:lnTo>
                          <a:pt x="2091" y="1573"/>
                        </a:lnTo>
                        <a:lnTo>
                          <a:pt x="2080" y="1552"/>
                        </a:lnTo>
                        <a:lnTo>
                          <a:pt x="2076" y="1572"/>
                        </a:lnTo>
                        <a:lnTo>
                          <a:pt x="2083" y="1581"/>
                        </a:lnTo>
                        <a:lnTo>
                          <a:pt x="2110" y="1595"/>
                        </a:lnTo>
                        <a:lnTo>
                          <a:pt x="2110" y="1601"/>
                        </a:lnTo>
                        <a:lnTo>
                          <a:pt x="2073" y="1610"/>
                        </a:lnTo>
                        <a:lnTo>
                          <a:pt x="2070" y="1603"/>
                        </a:lnTo>
                        <a:lnTo>
                          <a:pt x="2034" y="1596"/>
                        </a:lnTo>
                        <a:lnTo>
                          <a:pt x="2024" y="1597"/>
                        </a:lnTo>
                        <a:lnTo>
                          <a:pt x="2014" y="1590"/>
                        </a:lnTo>
                        <a:lnTo>
                          <a:pt x="2013" y="1577"/>
                        </a:lnTo>
                        <a:lnTo>
                          <a:pt x="2004" y="1578"/>
                        </a:lnTo>
                        <a:lnTo>
                          <a:pt x="2000" y="1605"/>
                        </a:lnTo>
                        <a:lnTo>
                          <a:pt x="1983" y="1601"/>
                        </a:lnTo>
                        <a:lnTo>
                          <a:pt x="1978" y="1587"/>
                        </a:lnTo>
                        <a:lnTo>
                          <a:pt x="1960" y="1588"/>
                        </a:lnTo>
                        <a:lnTo>
                          <a:pt x="1965" y="1598"/>
                        </a:lnTo>
                        <a:lnTo>
                          <a:pt x="1958" y="1612"/>
                        </a:lnTo>
                        <a:lnTo>
                          <a:pt x="1920" y="1603"/>
                        </a:lnTo>
                        <a:lnTo>
                          <a:pt x="1921" y="1585"/>
                        </a:lnTo>
                        <a:lnTo>
                          <a:pt x="1908" y="1535"/>
                        </a:lnTo>
                        <a:lnTo>
                          <a:pt x="1901" y="1541"/>
                        </a:lnTo>
                        <a:lnTo>
                          <a:pt x="1908" y="1556"/>
                        </a:lnTo>
                        <a:lnTo>
                          <a:pt x="1915" y="1581"/>
                        </a:lnTo>
                        <a:lnTo>
                          <a:pt x="1911" y="1590"/>
                        </a:lnTo>
                        <a:lnTo>
                          <a:pt x="1896" y="1602"/>
                        </a:lnTo>
                        <a:lnTo>
                          <a:pt x="1884" y="1600"/>
                        </a:lnTo>
                        <a:lnTo>
                          <a:pt x="1859" y="1573"/>
                        </a:lnTo>
                        <a:lnTo>
                          <a:pt x="1861" y="1561"/>
                        </a:lnTo>
                        <a:lnTo>
                          <a:pt x="1869" y="1548"/>
                        </a:lnTo>
                        <a:lnTo>
                          <a:pt x="1860" y="1515"/>
                        </a:lnTo>
                        <a:lnTo>
                          <a:pt x="1863" y="1510"/>
                        </a:lnTo>
                        <a:lnTo>
                          <a:pt x="1884" y="1492"/>
                        </a:lnTo>
                        <a:lnTo>
                          <a:pt x="1895" y="1480"/>
                        </a:lnTo>
                        <a:lnTo>
                          <a:pt x="1913" y="1453"/>
                        </a:lnTo>
                        <a:lnTo>
                          <a:pt x="1921" y="1458"/>
                        </a:lnTo>
                        <a:lnTo>
                          <a:pt x="1933" y="1451"/>
                        </a:lnTo>
                        <a:lnTo>
                          <a:pt x="1950" y="1455"/>
                        </a:lnTo>
                        <a:lnTo>
                          <a:pt x="1954" y="1441"/>
                        </a:lnTo>
                        <a:lnTo>
                          <a:pt x="1964" y="1432"/>
                        </a:lnTo>
                        <a:lnTo>
                          <a:pt x="1951" y="1410"/>
                        </a:lnTo>
                        <a:lnTo>
                          <a:pt x="1936" y="1406"/>
                        </a:lnTo>
                        <a:lnTo>
                          <a:pt x="1930" y="1390"/>
                        </a:lnTo>
                        <a:lnTo>
                          <a:pt x="1935" y="1378"/>
                        </a:lnTo>
                        <a:lnTo>
                          <a:pt x="1918" y="1355"/>
                        </a:lnTo>
                        <a:lnTo>
                          <a:pt x="1909" y="1350"/>
                        </a:lnTo>
                        <a:lnTo>
                          <a:pt x="1906" y="1316"/>
                        </a:lnTo>
                        <a:lnTo>
                          <a:pt x="1911" y="1311"/>
                        </a:lnTo>
                        <a:lnTo>
                          <a:pt x="1947" y="1291"/>
                        </a:lnTo>
                        <a:lnTo>
                          <a:pt x="1963" y="1292"/>
                        </a:lnTo>
                        <a:lnTo>
                          <a:pt x="1993" y="1310"/>
                        </a:lnTo>
                        <a:lnTo>
                          <a:pt x="2005" y="1325"/>
                        </a:lnTo>
                        <a:lnTo>
                          <a:pt x="2018" y="1367"/>
                        </a:lnTo>
                        <a:lnTo>
                          <a:pt x="2038" y="1386"/>
                        </a:lnTo>
                        <a:lnTo>
                          <a:pt x="2056" y="1387"/>
                        </a:lnTo>
                        <a:lnTo>
                          <a:pt x="2068" y="1398"/>
                        </a:lnTo>
                        <a:lnTo>
                          <a:pt x="2081" y="1401"/>
                        </a:lnTo>
                        <a:lnTo>
                          <a:pt x="2072" y="1386"/>
                        </a:lnTo>
                        <a:lnTo>
                          <a:pt x="2097" y="1378"/>
                        </a:lnTo>
                        <a:lnTo>
                          <a:pt x="2125" y="1386"/>
                        </a:lnTo>
                        <a:lnTo>
                          <a:pt x="2122" y="1377"/>
                        </a:lnTo>
                        <a:lnTo>
                          <a:pt x="2107" y="1371"/>
                        </a:lnTo>
                        <a:lnTo>
                          <a:pt x="2125" y="1348"/>
                        </a:lnTo>
                        <a:lnTo>
                          <a:pt x="2140" y="1305"/>
                        </a:lnTo>
                        <a:lnTo>
                          <a:pt x="2149" y="1255"/>
                        </a:lnTo>
                        <a:lnTo>
                          <a:pt x="2135" y="1243"/>
                        </a:lnTo>
                        <a:lnTo>
                          <a:pt x="2140" y="1265"/>
                        </a:lnTo>
                        <a:lnTo>
                          <a:pt x="2132" y="1273"/>
                        </a:lnTo>
                        <a:lnTo>
                          <a:pt x="2127" y="1293"/>
                        </a:lnTo>
                        <a:lnTo>
                          <a:pt x="2126" y="1310"/>
                        </a:lnTo>
                        <a:lnTo>
                          <a:pt x="2120" y="1332"/>
                        </a:lnTo>
                        <a:lnTo>
                          <a:pt x="2110" y="1350"/>
                        </a:lnTo>
                        <a:lnTo>
                          <a:pt x="2094" y="1357"/>
                        </a:lnTo>
                        <a:lnTo>
                          <a:pt x="2081" y="1353"/>
                        </a:lnTo>
                        <a:lnTo>
                          <a:pt x="2063" y="1358"/>
                        </a:lnTo>
                        <a:lnTo>
                          <a:pt x="2058" y="1345"/>
                        </a:lnTo>
                        <a:lnTo>
                          <a:pt x="2036" y="1332"/>
                        </a:lnTo>
                        <a:lnTo>
                          <a:pt x="2038" y="1303"/>
                        </a:lnTo>
                        <a:lnTo>
                          <a:pt x="2029" y="1301"/>
                        </a:lnTo>
                        <a:lnTo>
                          <a:pt x="2030" y="1288"/>
                        </a:lnTo>
                        <a:lnTo>
                          <a:pt x="2013" y="1275"/>
                        </a:lnTo>
                        <a:lnTo>
                          <a:pt x="2036" y="1248"/>
                        </a:lnTo>
                        <a:lnTo>
                          <a:pt x="2036" y="1227"/>
                        </a:lnTo>
                        <a:lnTo>
                          <a:pt x="2051" y="1216"/>
                        </a:lnTo>
                        <a:lnTo>
                          <a:pt x="2036" y="1210"/>
                        </a:lnTo>
                        <a:lnTo>
                          <a:pt x="2041" y="1187"/>
                        </a:lnTo>
                        <a:lnTo>
                          <a:pt x="2032" y="1187"/>
                        </a:lnTo>
                        <a:lnTo>
                          <a:pt x="2025" y="1220"/>
                        </a:lnTo>
                        <a:lnTo>
                          <a:pt x="2016" y="1238"/>
                        </a:lnTo>
                        <a:lnTo>
                          <a:pt x="1986" y="1253"/>
                        </a:lnTo>
                        <a:lnTo>
                          <a:pt x="1984" y="1232"/>
                        </a:lnTo>
                        <a:lnTo>
                          <a:pt x="1994" y="1216"/>
                        </a:lnTo>
                        <a:lnTo>
                          <a:pt x="1987" y="1213"/>
                        </a:lnTo>
                        <a:lnTo>
                          <a:pt x="1980" y="1226"/>
                        </a:lnTo>
                        <a:lnTo>
                          <a:pt x="1970" y="1225"/>
                        </a:lnTo>
                        <a:lnTo>
                          <a:pt x="1961" y="1243"/>
                        </a:lnTo>
                        <a:lnTo>
                          <a:pt x="1930" y="1246"/>
                        </a:lnTo>
                        <a:lnTo>
                          <a:pt x="1925" y="1203"/>
                        </a:lnTo>
                        <a:lnTo>
                          <a:pt x="1924" y="1177"/>
                        </a:lnTo>
                        <a:lnTo>
                          <a:pt x="1936" y="1156"/>
                        </a:lnTo>
                        <a:lnTo>
                          <a:pt x="1941" y="1133"/>
                        </a:lnTo>
                        <a:lnTo>
                          <a:pt x="1941" y="1120"/>
                        </a:lnTo>
                        <a:lnTo>
                          <a:pt x="1952" y="1097"/>
                        </a:lnTo>
                        <a:lnTo>
                          <a:pt x="1957" y="1098"/>
                        </a:lnTo>
                        <a:lnTo>
                          <a:pt x="1977" y="1088"/>
                        </a:lnTo>
                        <a:lnTo>
                          <a:pt x="1987" y="1090"/>
                        </a:lnTo>
                        <a:lnTo>
                          <a:pt x="2006" y="1068"/>
                        </a:lnTo>
                        <a:lnTo>
                          <a:pt x="2015" y="1066"/>
                        </a:lnTo>
                        <a:lnTo>
                          <a:pt x="2030" y="1076"/>
                        </a:lnTo>
                        <a:lnTo>
                          <a:pt x="2070" y="1077"/>
                        </a:lnTo>
                        <a:lnTo>
                          <a:pt x="2090" y="1090"/>
                        </a:lnTo>
                        <a:lnTo>
                          <a:pt x="2097" y="1098"/>
                        </a:lnTo>
                        <a:lnTo>
                          <a:pt x="2115" y="1102"/>
                        </a:lnTo>
                        <a:lnTo>
                          <a:pt x="2124" y="1117"/>
                        </a:lnTo>
                        <a:lnTo>
                          <a:pt x="2136" y="1126"/>
                        </a:lnTo>
                        <a:lnTo>
                          <a:pt x="2140" y="1118"/>
                        </a:lnTo>
                        <a:lnTo>
                          <a:pt x="2122" y="1098"/>
                        </a:lnTo>
                        <a:lnTo>
                          <a:pt x="2107" y="1087"/>
                        </a:lnTo>
                        <a:lnTo>
                          <a:pt x="2092" y="1081"/>
                        </a:lnTo>
                        <a:lnTo>
                          <a:pt x="2092" y="1072"/>
                        </a:lnTo>
                        <a:lnTo>
                          <a:pt x="2101" y="1070"/>
                        </a:lnTo>
                        <a:lnTo>
                          <a:pt x="2126" y="1071"/>
                        </a:lnTo>
                        <a:lnTo>
                          <a:pt x="2141" y="1061"/>
                        </a:lnTo>
                        <a:lnTo>
                          <a:pt x="2151" y="1060"/>
                        </a:lnTo>
                        <a:lnTo>
                          <a:pt x="2150" y="1035"/>
                        </a:lnTo>
                        <a:lnTo>
                          <a:pt x="2141" y="1027"/>
                        </a:lnTo>
                        <a:lnTo>
                          <a:pt x="2135" y="1051"/>
                        </a:lnTo>
                        <a:lnTo>
                          <a:pt x="2119" y="1061"/>
                        </a:lnTo>
                        <a:lnTo>
                          <a:pt x="2100" y="1051"/>
                        </a:lnTo>
                        <a:lnTo>
                          <a:pt x="2071" y="1057"/>
                        </a:lnTo>
                        <a:lnTo>
                          <a:pt x="2057" y="1052"/>
                        </a:lnTo>
                        <a:lnTo>
                          <a:pt x="2045" y="1056"/>
                        </a:lnTo>
                        <a:lnTo>
                          <a:pt x="2034" y="1043"/>
                        </a:lnTo>
                        <a:lnTo>
                          <a:pt x="2024" y="1040"/>
                        </a:lnTo>
                        <a:lnTo>
                          <a:pt x="2021" y="1030"/>
                        </a:lnTo>
                        <a:lnTo>
                          <a:pt x="2031" y="1016"/>
                        </a:lnTo>
                        <a:lnTo>
                          <a:pt x="2045" y="1017"/>
                        </a:lnTo>
                        <a:lnTo>
                          <a:pt x="2055" y="1033"/>
                        </a:lnTo>
                        <a:lnTo>
                          <a:pt x="2066" y="1027"/>
                        </a:lnTo>
                        <a:lnTo>
                          <a:pt x="2045" y="1006"/>
                        </a:lnTo>
                        <a:lnTo>
                          <a:pt x="2036" y="1005"/>
                        </a:lnTo>
                        <a:lnTo>
                          <a:pt x="2024" y="958"/>
                        </a:lnTo>
                        <a:lnTo>
                          <a:pt x="2006" y="943"/>
                        </a:lnTo>
                        <a:lnTo>
                          <a:pt x="1997" y="922"/>
                        </a:lnTo>
                        <a:lnTo>
                          <a:pt x="1997" y="916"/>
                        </a:lnTo>
                        <a:lnTo>
                          <a:pt x="1984" y="903"/>
                        </a:lnTo>
                        <a:lnTo>
                          <a:pt x="1971" y="898"/>
                        </a:lnTo>
                        <a:lnTo>
                          <a:pt x="1962" y="902"/>
                        </a:lnTo>
                        <a:lnTo>
                          <a:pt x="1937" y="892"/>
                        </a:lnTo>
                        <a:lnTo>
                          <a:pt x="1935" y="880"/>
                        </a:lnTo>
                        <a:lnTo>
                          <a:pt x="1934" y="852"/>
                        </a:lnTo>
                        <a:lnTo>
                          <a:pt x="1939" y="843"/>
                        </a:lnTo>
                        <a:lnTo>
                          <a:pt x="1926" y="827"/>
                        </a:lnTo>
                        <a:lnTo>
                          <a:pt x="1921" y="805"/>
                        </a:lnTo>
                        <a:lnTo>
                          <a:pt x="1925" y="766"/>
                        </a:lnTo>
                        <a:lnTo>
                          <a:pt x="1945" y="760"/>
                        </a:lnTo>
                        <a:lnTo>
                          <a:pt x="1969" y="773"/>
                        </a:lnTo>
                        <a:lnTo>
                          <a:pt x="1995" y="767"/>
                        </a:lnTo>
                        <a:lnTo>
                          <a:pt x="2017" y="767"/>
                        </a:lnTo>
                        <a:lnTo>
                          <a:pt x="2027" y="770"/>
                        </a:lnTo>
                        <a:lnTo>
                          <a:pt x="2047" y="791"/>
                        </a:lnTo>
                        <a:lnTo>
                          <a:pt x="2059" y="806"/>
                        </a:lnTo>
                        <a:lnTo>
                          <a:pt x="2077" y="821"/>
                        </a:lnTo>
                        <a:lnTo>
                          <a:pt x="2101" y="846"/>
                        </a:lnTo>
                        <a:lnTo>
                          <a:pt x="2114" y="871"/>
                        </a:lnTo>
                        <a:lnTo>
                          <a:pt x="2132" y="901"/>
                        </a:lnTo>
                        <a:lnTo>
                          <a:pt x="2140" y="890"/>
                        </a:lnTo>
                        <a:lnTo>
                          <a:pt x="2174" y="901"/>
                        </a:lnTo>
                        <a:lnTo>
                          <a:pt x="2171" y="893"/>
                        </a:lnTo>
                        <a:lnTo>
                          <a:pt x="2190" y="880"/>
                        </a:lnTo>
                        <a:lnTo>
                          <a:pt x="2196" y="880"/>
                        </a:lnTo>
                        <a:lnTo>
                          <a:pt x="2201" y="865"/>
                        </a:lnTo>
                        <a:lnTo>
                          <a:pt x="2176" y="873"/>
                        </a:lnTo>
                        <a:lnTo>
                          <a:pt x="2159" y="885"/>
                        </a:lnTo>
                        <a:lnTo>
                          <a:pt x="2126" y="865"/>
                        </a:lnTo>
                        <a:lnTo>
                          <a:pt x="2126" y="856"/>
                        </a:lnTo>
                        <a:lnTo>
                          <a:pt x="2120" y="833"/>
                        </a:lnTo>
                        <a:lnTo>
                          <a:pt x="2126" y="822"/>
                        </a:lnTo>
                        <a:lnTo>
                          <a:pt x="2104" y="817"/>
                        </a:lnTo>
                        <a:lnTo>
                          <a:pt x="2096" y="812"/>
                        </a:lnTo>
                        <a:lnTo>
                          <a:pt x="2059" y="767"/>
                        </a:lnTo>
                        <a:lnTo>
                          <a:pt x="2049" y="747"/>
                        </a:lnTo>
                        <a:lnTo>
                          <a:pt x="2090" y="726"/>
                        </a:lnTo>
                        <a:lnTo>
                          <a:pt x="2104" y="722"/>
                        </a:lnTo>
                        <a:lnTo>
                          <a:pt x="2147" y="700"/>
                        </a:lnTo>
                        <a:lnTo>
                          <a:pt x="2146" y="692"/>
                        </a:lnTo>
                        <a:lnTo>
                          <a:pt x="2157" y="686"/>
                        </a:lnTo>
                        <a:lnTo>
                          <a:pt x="2194" y="675"/>
                        </a:lnTo>
                        <a:lnTo>
                          <a:pt x="2205" y="667"/>
                        </a:lnTo>
                        <a:lnTo>
                          <a:pt x="2227" y="665"/>
                        </a:lnTo>
                        <a:lnTo>
                          <a:pt x="2229" y="656"/>
                        </a:lnTo>
                        <a:lnTo>
                          <a:pt x="2200" y="657"/>
                        </a:lnTo>
                        <a:lnTo>
                          <a:pt x="2157" y="667"/>
                        </a:lnTo>
                        <a:lnTo>
                          <a:pt x="2174" y="643"/>
                        </a:lnTo>
                        <a:lnTo>
                          <a:pt x="2185" y="638"/>
                        </a:lnTo>
                        <a:lnTo>
                          <a:pt x="2202" y="618"/>
                        </a:lnTo>
                        <a:lnTo>
                          <a:pt x="2214" y="611"/>
                        </a:lnTo>
                        <a:lnTo>
                          <a:pt x="2236" y="600"/>
                        </a:lnTo>
                        <a:lnTo>
                          <a:pt x="2270" y="590"/>
                        </a:lnTo>
                        <a:lnTo>
                          <a:pt x="2266" y="577"/>
                        </a:lnTo>
                        <a:lnTo>
                          <a:pt x="2251" y="583"/>
                        </a:lnTo>
                        <a:lnTo>
                          <a:pt x="2237" y="582"/>
                        </a:lnTo>
                        <a:lnTo>
                          <a:pt x="2215" y="587"/>
                        </a:lnTo>
                        <a:lnTo>
                          <a:pt x="2212" y="591"/>
                        </a:lnTo>
                        <a:lnTo>
                          <a:pt x="2187" y="603"/>
                        </a:lnTo>
                        <a:lnTo>
                          <a:pt x="2179" y="568"/>
                        </a:lnTo>
                        <a:lnTo>
                          <a:pt x="2190" y="545"/>
                        </a:lnTo>
                        <a:lnTo>
                          <a:pt x="2187" y="530"/>
                        </a:lnTo>
                        <a:lnTo>
                          <a:pt x="2196" y="522"/>
                        </a:lnTo>
                        <a:lnTo>
                          <a:pt x="2204" y="500"/>
                        </a:lnTo>
                        <a:lnTo>
                          <a:pt x="2217" y="483"/>
                        </a:lnTo>
                        <a:lnTo>
                          <a:pt x="2234" y="457"/>
                        </a:lnTo>
                        <a:lnTo>
                          <a:pt x="2230" y="452"/>
                        </a:lnTo>
                        <a:lnTo>
                          <a:pt x="2202" y="482"/>
                        </a:lnTo>
                        <a:lnTo>
                          <a:pt x="2190" y="497"/>
                        </a:lnTo>
                        <a:lnTo>
                          <a:pt x="2179" y="526"/>
                        </a:lnTo>
                        <a:lnTo>
                          <a:pt x="2180" y="545"/>
                        </a:lnTo>
                        <a:lnTo>
                          <a:pt x="2166" y="550"/>
                        </a:lnTo>
                        <a:lnTo>
                          <a:pt x="2164" y="575"/>
                        </a:lnTo>
                        <a:lnTo>
                          <a:pt x="2171" y="580"/>
                        </a:lnTo>
                        <a:lnTo>
                          <a:pt x="2165" y="591"/>
                        </a:lnTo>
                        <a:lnTo>
                          <a:pt x="2161" y="616"/>
                        </a:lnTo>
                        <a:lnTo>
                          <a:pt x="2147" y="633"/>
                        </a:lnTo>
                        <a:lnTo>
                          <a:pt x="2137" y="640"/>
                        </a:lnTo>
                        <a:lnTo>
                          <a:pt x="2121" y="661"/>
                        </a:lnTo>
                        <a:lnTo>
                          <a:pt x="2110" y="671"/>
                        </a:lnTo>
                        <a:lnTo>
                          <a:pt x="2051" y="701"/>
                        </a:lnTo>
                        <a:lnTo>
                          <a:pt x="2040" y="691"/>
                        </a:lnTo>
                        <a:lnTo>
                          <a:pt x="2042" y="676"/>
                        </a:lnTo>
                        <a:lnTo>
                          <a:pt x="2049" y="667"/>
                        </a:lnTo>
                        <a:lnTo>
                          <a:pt x="2072" y="653"/>
                        </a:lnTo>
                        <a:lnTo>
                          <a:pt x="2084" y="631"/>
                        </a:lnTo>
                        <a:lnTo>
                          <a:pt x="2075" y="627"/>
                        </a:lnTo>
                        <a:lnTo>
                          <a:pt x="2057" y="646"/>
                        </a:lnTo>
                        <a:lnTo>
                          <a:pt x="2056" y="653"/>
                        </a:lnTo>
                        <a:lnTo>
                          <a:pt x="2031" y="666"/>
                        </a:lnTo>
                        <a:lnTo>
                          <a:pt x="2020" y="658"/>
                        </a:lnTo>
                        <a:lnTo>
                          <a:pt x="2011" y="660"/>
                        </a:lnTo>
                        <a:lnTo>
                          <a:pt x="2017" y="683"/>
                        </a:lnTo>
                        <a:lnTo>
                          <a:pt x="2017" y="701"/>
                        </a:lnTo>
                        <a:lnTo>
                          <a:pt x="1996" y="715"/>
                        </a:lnTo>
                        <a:lnTo>
                          <a:pt x="1985" y="711"/>
                        </a:lnTo>
                        <a:lnTo>
                          <a:pt x="1970" y="720"/>
                        </a:lnTo>
                        <a:lnTo>
                          <a:pt x="1949" y="713"/>
                        </a:lnTo>
                        <a:lnTo>
                          <a:pt x="1932" y="716"/>
                        </a:lnTo>
                        <a:lnTo>
                          <a:pt x="1906" y="703"/>
                        </a:lnTo>
                        <a:lnTo>
                          <a:pt x="1911" y="677"/>
                        </a:lnTo>
                        <a:lnTo>
                          <a:pt x="1934" y="621"/>
                        </a:lnTo>
                        <a:lnTo>
                          <a:pt x="1952" y="601"/>
                        </a:lnTo>
                        <a:lnTo>
                          <a:pt x="1987" y="588"/>
                        </a:lnTo>
                        <a:lnTo>
                          <a:pt x="1989" y="585"/>
                        </a:lnTo>
                        <a:lnTo>
                          <a:pt x="2036" y="563"/>
                        </a:lnTo>
                        <a:lnTo>
                          <a:pt x="2049" y="550"/>
                        </a:lnTo>
                        <a:lnTo>
                          <a:pt x="1986" y="580"/>
                        </a:lnTo>
                        <a:lnTo>
                          <a:pt x="1945" y="593"/>
                        </a:lnTo>
                        <a:lnTo>
                          <a:pt x="1931" y="601"/>
                        </a:lnTo>
                        <a:lnTo>
                          <a:pt x="1921" y="612"/>
                        </a:lnTo>
                        <a:lnTo>
                          <a:pt x="1907" y="641"/>
                        </a:lnTo>
                        <a:lnTo>
                          <a:pt x="1906" y="650"/>
                        </a:lnTo>
                        <a:lnTo>
                          <a:pt x="1892" y="675"/>
                        </a:lnTo>
                        <a:lnTo>
                          <a:pt x="1886" y="698"/>
                        </a:lnTo>
                        <a:lnTo>
                          <a:pt x="1870" y="697"/>
                        </a:lnTo>
                        <a:lnTo>
                          <a:pt x="1855" y="691"/>
                        </a:lnTo>
                        <a:lnTo>
                          <a:pt x="1834" y="672"/>
                        </a:lnTo>
                        <a:lnTo>
                          <a:pt x="1822" y="666"/>
                        </a:lnTo>
                        <a:lnTo>
                          <a:pt x="1805" y="648"/>
                        </a:lnTo>
                        <a:lnTo>
                          <a:pt x="1801" y="637"/>
                        </a:lnTo>
                        <a:lnTo>
                          <a:pt x="1807" y="632"/>
                        </a:lnTo>
                        <a:lnTo>
                          <a:pt x="1837" y="618"/>
                        </a:lnTo>
                        <a:lnTo>
                          <a:pt x="1859" y="617"/>
                        </a:lnTo>
                        <a:lnTo>
                          <a:pt x="1866" y="620"/>
                        </a:lnTo>
                        <a:lnTo>
                          <a:pt x="1899" y="611"/>
                        </a:lnTo>
                        <a:lnTo>
                          <a:pt x="1912" y="595"/>
                        </a:lnTo>
                        <a:lnTo>
                          <a:pt x="1922" y="591"/>
                        </a:lnTo>
                        <a:lnTo>
                          <a:pt x="1936" y="565"/>
                        </a:lnTo>
                        <a:lnTo>
                          <a:pt x="1959" y="545"/>
                        </a:lnTo>
                        <a:lnTo>
                          <a:pt x="1951" y="536"/>
                        </a:lnTo>
                        <a:lnTo>
                          <a:pt x="1944" y="537"/>
                        </a:lnTo>
                        <a:lnTo>
                          <a:pt x="1922" y="553"/>
                        </a:lnTo>
                        <a:lnTo>
                          <a:pt x="1902" y="583"/>
                        </a:lnTo>
                        <a:lnTo>
                          <a:pt x="1889" y="587"/>
                        </a:lnTo>
                        <a:lnTo>
                          <a:pt x="1872" y="598"/>
                        </a:lnTo>
                        <a:lnTo>
                          <a:pt x="1856" y="598"/>
                        </a:lnTo>
                        <a:lnTo>
                          <a:pt x="1786" y="620"/>
                        </a:lnTo>
                        <a:lnTo>
                          <a:pt x="1772" y="607"/>
                        </a:lnTo>
                        <a:lnTo>
                          <a:pt x="1765" y="583"/>
                        </a:lnTo>
                        <a:lnTo>
                          <a:pt x="1777" y="565"/>
                        </a:lnTo>
                        <a:lnTo>
                          <a:pt x="1792" y="573"/>
                        </a:lnTo>
                        <a:lnTo>
                          <a:pt x="1797" y="562"/>
                        </a:lnTo>
                        <a:lnTo>
                          <a:pt x="1781" y="551"/>
                        </a:lnTo>
                        <a:lnTo>
                          <a:pt x="1777" y="542"/>
                        </a:lnTo>
                        <a:lnTo>
                          <a:pt x="1789" y="537"/>
                        </a:lnTo>
                        <a:lnTo>
                          <a:pt x="1800" y="525"/>
                        </a:lnTo>
                        <a:lnTo>
                          <a:pt x="1811" y="502"/>
                        </a:lnTo>
                        <a:lnTo>
                          <a:pt x="1825" y="496"/>
                        </a:lnTo>
                        <a:lnTo>
                          <a:pt x="1844" y="492"/>
                        </a:lnTo>
                        <a:lnTo>
                          <a:pt x="1846" y="497"/>
                        </a:lnTo>
                        <a:lnTo>
                          <a:pt x="1866" y="493"/>
                        </a:lnTo>
                        <a:lnTo>
                          <a:pt x="1826" y="481"/>
                        </a:lnTo>
                        <a:lnTo>
                          <a:pt x="1820" y="490"/>
                        </a:lnTo>
                        <a:lnTo>
                          <a:pt x="1807" y="493"/>
                        </a:lnTo>
                        <a:lnTo>
                          <a:pt x="1790" y="507"/>
                        </a:lnTo>
                        <a:lnTo>
                          <a:pt x="1762" y="536"/>
                        </a:lnTo>
                        <a:lnTo>
                          <a:pt x="1742" y="520"/>
                        </a:lnTo>
                        <a:lnTo>
                          <a:pt x="1744" y="516"/>
                        </a:lnTo>
                        <a:lnTo>
                          <a:pt x="1774" y="482"/>
                        </a:lnTo>
                        <a:lnTo>
                          <a:pt x="1767" y="476"/>
                        </a:lnTo>
                        <a:lnTo>
                          <a:pt x="1746" y="465"/>
                        </a:lnTo>
                        <a:lnTo>
                          <a:pt x="1736" y="482"/>
                        </a:lnTo>
                        <a:lnTo>
                          <a:pt x="1737" y="492"/>
                        </a:lnTo>
                        <a:lnTo>
                          <a:pt x="1722" y="498"/>
                        </a:lnTo>
                        <a:lnTo>
                          <a:pt x="1720" y="486"/>
                        </a:lnTo>
                        <a:lnTo>
                          <a:pt x="1702" y="478"/>
                        </a:lnTo>
                        <a:lnTo>
                          <a:pt x="1710" y="453"/>
                        </a:lnTo>
                        <a:lnTo>
                          <a:pt x="1729" y="436"/>
                        </a:lnTo>
                        <a:lnTo>
                          <a:pt x="1732" y="426"/>
                        </a:lnTo>
                        <a:lnTo>
                          <a:pt x="1742" y="426"/>
                        </a:lnTo>
                        <a:lnTo>
                          <a:pt x="1746" y="417"/>
                        </a:lnTo>
                        <a:lnTo>
                          <a:pt x="1757" y="411"/>
                        </a:lnTo>
                        <a:lnTo>
                          <a:pt x="1779" y="418"/>
                        </a:lnTo>
                        <a:lnTo>
                          <a:pt x="1789" y="428"/>
                        </a:lnTo>
                        <a:lnTo>
                          <a:pt x="1795" y="412"/>
                        </a:lnTo>
                        <a:lnTo>
                          <a:pt x="1787" y="407"/>
                        </a:lnTo>
                        <a:lnTo>
                          <a:pt x="1790" y="397"/>
                        </a:lnTo>
                        <a:lnTo>
                          <a:pt x="1807" y="368"/>
                        </a:lnTo>
                        <a:lnTo>
                          <a:pt x="1830" y="356"/>
                        </a:lnTo>
                        <a:lnTo>
                          <a:pt x="1837" y="362"/>
                        </a:lnTo>
                        <a:lnTo>
                          <a:pt x="1851" y="361"/>
                        </a:lnTo>
                        <a:lnTo>
                          <a:pt x="1859" y="375"/>
                        </a:lnTo>
                        <a:lnTo>
                          <a:pt x="1865" y="366"/>
                        </a:lnTo>
                        <a:lnTo>
                          <a:pt x="1876" y="362"/>
                        </a:lnTo>
                        <a:lnTo>
                          <a:pt x="1892" y="363"/>
                        </a:lnTo>
                        <a:lnTo>
                          <a:pt x="1909" y="371"/>
                        </a:lnTo>
                        <a:lnTo>
                          <a:pt x="1940" y="372"/>
                        </a:lnTo>
                        <a:lnTo>
                          <a:pt x="1871" y="343"/>
                        </a:lnTo>
                        <a:lnTo>
                          <a:pt x="1865" y="325"/>
                        </a:lnTo>
                        <a:lnTo>
                          <a:pt x="1902" y="313"/>
                        </a:lnTo>
                        <a:lnTo>
                          <a:pt x="1912" y="302"/>
                        </a:lnTo>
                        <a:lnTo>
                          <a:pt x="1906" y="295"/>
                        </a:lnTo>
                        <a:lnTo>
                          <a:pt x="1904" y="276"/>
                        </a:lnTo>
                        <a:lnTo>
                          <a:pt x="1890" y="271"/>
                        </a:lnTo>
                        <a:lnTo>
                          <a:pt x="1894" y="260"/>
                        </a:lnTo>
                        <a:lnTo>
                          <a:pt x="1927" y="252"/>
                        </a:lnTo>
                        <a:lnTo>
                          <a:pt x="1930" y="262"/>
                        </a:lnTo>
                        <a:lnTo>
                          <a:pt x="1921" y="267"/>
                        </a:lnTo>
                        <a:lnTo>
                          <a:pt x="1947" y="277"/>
                        </a:lnTo>
                        <a:lnTo>
                          <a:pt x="1965" y="281"/>
                        </a:lnTo>
                        <a:lnTo>
                          <a:pt x="1975" y="291"/>
                        </a:lnTo>
                        <a:lnTo>
                          <a:pt x="1980" y="308"/>
                        </a:lnTo>
                        <a:lnTo>
                          <a:pt x="1991" y="321"/>
                        </a:lnTo>
                        <a:lnTo>
                          <a:pt x="1996" y="331"/>
                        </a:lnTo>
                        <a:lnTo>
                          <a:pt x="1992" y="345"/>
                        </a:lnTo>
                        <a:lnTo>
                          <a:pt x="2026" y="343"/>
                        </a:lnTo>
                        <a:lnTo>
                          <a:pt x="2025" y="333"/>
                        </a:lnTo>
                        <a:lnTo>
                          <a:pt x="2009" y="337"/>
                        </a:lnTo>
                        <a:lnTo>
                          <a:pt x="1990" y="306"/>
                        </a:lnTo>
                        <a:lnTo>
                          <a:pt x="1990" y="290"/>
                        </a:lnTo>
                        <a:lnTo>
                          <a:pt x="2004" y="300"/>
                        </a:lnTo>
                        <a:lnTo>
                          <a:pt x="2010" y="300"/>
                        </a:lnTo>
                        <a:lnTo>
                          <a:pt x="2021" y="312"/>
                        </a:lnTo>
                        <a:lnTo>
                          <a:pt x="2041" y="326"/>
                        </a:lnTo>
                        <a:lnTo>
                          <a:pt x="2077" y="346"/>
                        </a:lnTo>
                        <a:lnTo>
                          <a:pt x="2099" y="353"/>
                        </a:lnTo>
                        <a:lnTo>
                          <a:pt x="2121" y="385"/>
                        </a:lnTo>
                        <a:lnTo>
                          <a:pt x="2132" y="385"/>
                        </a:lnTo>
                        <a:lnTo>
                          <a:pt x="2101" y="348"/>
                        </a:lnTo>
                        <a:lnTo>
                          <a:pt x="2101" y="338"/>
                        </a:lnTo>
                        <a:lnTo>
                          <a:pt x="2064" y="326"/>
                        </a:lnTo>
                        <a:lnTo>
                          <a:pt x="2064" y="312"/>
                        </a:lnTo>
                        <a:lnTo>
                          <a:pt x="2049" y="313"/>
                        </a:lnTo>
                        <a:lnTo>
                          <a:pt x="1995" y="268"/>
                        </a:lnTo>
                        <a:lnTo>
                          <a:pt x="1994" y="261"/>
                        </a:lnTo>
                        <a:lnTo>
                          <a:pt x="1997" y="236"/>
                        </a:lnTo>
                        <a:lnTo>
                          <a:pt x="2015" y="230"/>
                        </a:lnTo>
                        <a:lnTo>
                          <a:pt x="2001" y="216"/>
                        </a:lnTo>
                        <a:lnTo>
                          <a:pt x="1997" y="198"/>
                        </a:lnTo>
                        <a:lnTo>
                          <a:pt x="2005" y="193"/>
                        </a:lnTo>
                        <a:lnTo>
                          <a:pt x="2026" y="201"/>
                        </a:lnTo>
                        <a:lnTo>
                          <a:pt x="2047" y="221"/>
                        </a:lnTo>
                        <a:lnTo>
                          <a:pt x="2055" y="215"/>
                        </a:lnTo>
                        <a:lnTo>
                          <a:pt x="2035" y="188"/>
                        </a:lnTo>
                        <a:lnTo>
                          <a:pt x="2031" y="178"/>
                        </a:lnTo>
                        <a:lnTo>
                          <a:pt x="2015" y="162"/>
                        </a:lnTo>
                        <a:lnTo>
                          <a:pt x="2017" y="152"/>
                        </a:lnTo>
                        <a:lnTo>
                          <a:pt x="2055" y="156"/>
                        </a:lnTo>
                        <a:lnTo>
                          <a:pt x="2062" y="172"/>
                        </a:lnTo>
                        <a:lnTo>
                          <a:pt x="2071" y="171"/>
                        </a:lnTo>
                        <a:lnTo>
                          <a:pt x="2097" y="178"/>
                        </a:lnTo>
                        <a:lnTo>
                          <a:pt x="2115" y="171"/>
                        </a:lnTo>
                        <a:lnTo>
                          <a:pt x="2069" y="160"/>
                        </a:lnTo>
                        <a:lnTo>
                          <a:pt x="2065" y="146"/>
                        </a:lnTo>
                        <a:lnTo>
                          <a:pt x="2050" y="137"/>
                        </a:lnTo>
                        <a:lnTo>
                          <a:pt x="2046" y="128"/>
                        </a:lnTo>
                        <a:lnTo>
                          <a:pt x="2052" y="117"/>
                        </a:lnTo>
                        <a:lnTo>
                          <a:pt x="2076" y="105"/>
                        </a:lnTo>
                        <a:lnTo>
                          <a:pt x="2091" y="126"/>
                        </a:lnTo>
                        <a:lnTo>
                          <a:pt x="2095" y="108"/>
                        </a:lnTo>
                        <a:lnTo>
                          <a:pt x="2100" y="108"/>
                        </a:lnTo>
                        <a:lnTo>
                          <a:pt x="2109" y="125"/>
                        </a:lnTo>
                        <a:lnTo>
                          <a:pt x="2124" y="107"/>
                        </a:lnTo>
                        <a:lnTo>
                          <a:pt x="2149" y="118"/>
                        </a:lnTo>
                        <a:lnTo>
                          <a:pt x="2177" y="161"/>
                        </a:lnTo>
                        <a:lnTo>
                          <a:pt x="2201" y="175"/>
                        </a:lnTo>
                        <a:lnTo>
                          <a:pt x="2196" y="197"/>
                        </a:lnTo>
                        <a:lnTo>
                          <a:pt x="2201" y="212"/>
                        </a:lnTo>
                        <a:lnTo>
                          <a:pt x="2209" y="175"/>
                        </a:lnTo>
                        <a:lnTo>
                          <a:pt x="2214" y="165"/>
                        </a:lnTo>
                        <a:lnTo>
                          <a:pt x="2190" y="155"/>
                        </a:lnTo>
                        <a:lnTo>
                          <a:pt x="2162" y="111"/>
                        </a:lnTo>
                        <a:lnTo>
                          <a:pt x="2135" y="88"/>
                        </a:lnTo>
                        <a:lnTo>
                          <a:pt x="2141" y="82"/>
                        </a:lnTo>
                        <a:lnTo>
                          <a:pt x="2167" y="70"/>
                        </a:lnTo>
                        <a:lnTo>
                          <a:pt x="2169" y="65"/>
                        </a:lnTo>
                        <a:lnTo>
                          <a:pt x="2202" y="61"/>
                        </a:lnTo>
                        <a:lnTo>
                          <a:pt x="2230" y="65"/>
                        </a:lnTo>
                        <a:lnTo>
                          <a:pt x="2245" y="83"/>
                        </a:lnTo>
                        <a:lnTo>
                          <a:pt x="2250" y="95"/>
                        </a:lnTo>
                        <a:lnTo>
                          <a:pt x="2297" y="125"/>
                        </a:lnTo>
                        <a:lnTo>
                          <a:pt x="2299" y="117"/>
                        </a:lnTo>
                        <a:lnTo>
                          <a:pt x="2276" y="107"/>
                        </a:lnTo>
                        <a:lnTo>
                          <a:pt x="2259" y="83"/>
                        </a:lnTo>
                        <a:lnTo>
                          <a:pt x="2251" y="78"/>
                        </a:lnTo>
                        <a:lnTo>
                          <a:pt x="2257" y="52"/>
                        </a:lnTo>
                        <a:lnTo>
                          <a:pt x="2266" y="45"/>
                        </a:lnTo>
                        <a:lnTo>
                          <a:pt x="2262" y="37"/>
                        </a:lnTo>
                        <a:lnTo>
                          <a:pt x="2272" y="27"/>
                        </a:lnTo>
                        <a:lnTo>
                          <a:pt x="2301" y="20"/>
                        </a:lnTo>
                        <a:lnTo>
                          <a:pt x="2304" y="46"/>
                        </a:lnTo>
                        <a:lnTo>
                          <a:pt x="2312" y="57"/>
                        </a:lnTo>
                        <a:lnTo>
                          <a:pt x="2337" y="61"/>
                        </a:lnTo>
                        <a:lnTo>
                          <a:pt x="2310" y="38"/>
                        </a:lnTo>
                        <a:lnTo>
                          <a:pt x="2324" y="11"/>
                        </a:lnTo>
                        <a:lnTo>
                          <a:pt x="2358" y="0"/>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6" name="Nortwest territories" descr="{&quot;Key&quot;:&quot;nortwest territories&quot;,&quot;Name&quot;:&quot;Nortwest territories&quot;,&quot;Value&quot;:1.0,&quot;Formula&quot;:&quot;&quot;,&quot;Text&quot;:&quot;&quot;,&quot;OfficeApplication&quot;:1,&quot;HasValue&quot;:true}">
                    <a:extLst>
                      <a:ext uri="{FF2B5EF4-FFF2-40B4-BE49-F238E27FC236}">
                        <a16:creationId xmlns:a16="http://schemas.microsoft.com/office/drawing/2014/main" id="{7360F590-D515-48E5-252D-C834DC3E96B9}"/>
                      </a:ext>
                    </a:extLst>
                  </p:cNvPr>
                  <p:cNvSpPr>
                    <a:spLocks noEditPoints="1"/>
                  </p:cNvSpPr>
                  <p:nvPr/>
                </p:nvSpPr>
                <p:spPr bwMode="auto">
                  <a:xfrm>
                    <a:off x="5476436" y="1359481"/>
                    <a:ext cx="1113560" cy="1756540"/>
                  </a:xfrm>
                  <a:custGeom>
                    <a:avLst/>
                    <a:gdLst>
                      <a:gd name="T0" fmla="*/ 1437 w 2139"/>
                      <a:gd name="T1" fmla="*/ 2401 h 3376"/>
                      <a:gd name="T2" fmla="*/ 2017 w 2139"/>
                      <a:gd name="T3" fmla="*/ 3370 h 3376"/>
                      <a:gd name="T4" fmla="*/ 703 w 2139"/>
                      <a:gd name="T5" fmla="*/ 3143 h 3376"/>
                      <a:gd name="T6" fmla="*/ 379 w 2139"/>
                      <a:gd name="T7" fmla="*/ 2905 h 3376"/>
                      <a:gd name="T8" fmla="*/ 245 w 2139"/>
                      <a:gd name="T9" fmla="*/ 2757 h 3376"/>
                      <a:gd name="T10" fmla="*/ 147 w 2139"/>
                      <a:gd name="T11" fmla="*/ 2557 h 3376"/>
                      <a:gd name="T12" fmla="*/ 172 w 2139"/>
                      <a:gd name="T13" fmla="*/ 2332 h 3376"/>
                      <a:gd name="T14" fmla="*/ 87 w 2139"/>
                      <a:gd name="T15" fmla="*/ 2123 h 3376"/>
                      <a:gd name="T16" fmla="*/ 148 w 2139"/>
                      <a:gd name="T17" fmla="*/ 1968 h 3376"/>
                      <a:gd name="T18" fmla="*/ 108 w 2139"/>
                      <a:gd name="T19" fmla="*/ 1856 h 3376"/>
                      <a:gd name="T20" fmla="*/ 28 w 2139"/>
                      <a:gd name="T21" fmla="*/ 1613 h 3376"/>
                      <a:gd name="T22" fmla="*/ 168 w 2139"/>
                      <a:gd name="T23" fmla="*/ 1356 h 3376"/>
                      <a:gd name="T24" fmla="*/ 305 w 2139"/>
                      <a:gd name="T25" fmla="*/ 1308 h 3376"/>
                      <a:gd name="T26" fmla="*/ 427 w 2139"/>
                      <a:gd name="T27" fmla="*/ 1353 h 3376"/>
                      <a:gd name="T28" fmla="*/ 604 w 2139"/>
                      <a:gd name="T29" fmla="*/ 1350 h 3376"/>
                      <a:gd name="T30" fmla="*/ 340 w 2139"/>
                      <a:gd name="T31" fmla="*/ 1430 h 3376"/>
                      <a:gd name="T32" fmla="*/ 339 w 2139"/>
                      <a:gd name="T33" fmla="*/ 1440 h 3376"/>
                      <a:gd name="T34" fmla="*/ 509 w 2139"/>
                      <a:gd name="T35" fmla="*/ 1415 h 3376"/>
                      <a:gd name="T36" fmla="*/ 689 w 2139"/>
                      <a:gd name="T37" fmla="*/ 1332 h 3376"/>
                      <a:gd name="T38" fmla="*/ 779 w 2139"/>
                      <a:gd name="T39" fmla="*/ 1541 h 3376"/>
                      <a:gd name="T40" fmla="*/ 878 w 2139"/>
                      <a:gd name="T41" fmla="*/ 1465 h 3376"/>
                      <a:gd name="T42" fmla="*/ 926 w 2139"/>
                      <a:gd name="T43" fmla="*/ 1577 h 3376"/>
                      <a:gd name="T44" fmla="*/ 1777 w 2139"/>
                      <a:gd name="T45" fmla="*/ 1160 h 3376"/>
                      <a:gd name="T46" fmla="*/ 1371 w 2139"/>
                      <a:gd name="T47" fmla="*/ 1603 h 3376"/>
                      <a:gd name="T48" fmla="*/ 1488 w 2139"/>
                      <a:gd name="T49" fmla="*/ 1571 h 3376"/>
                      <a:gd name="T50" fmla="*/ 1582 w 2139"/>
                      <a:gd name="T51" fmla="*/ 1543 h 3376"/>
                      <a:gd name="T52" fmla="*/ 1380 w 2139"/>
                      <a:gd name="T53" fmla="*/ 1489 h 3376"/>
                      <a:gd name="T54" fmla="*/ 1374 w 2139"/>
                      <a:gd name="T55" fmla="*/ 1368 h 3376"/>
                      <a:gd name="T56" fmla="*/ 1311 w 2139"/>
                      <a:gd name="T57" fmla="*/ 1307 h 3376"/>
                      <a:gd name="T58" fmla="*/ 1340 w 2139"/>
                      <a:gd name="T59" fmla="*/ 1162 h 3376"/>
                      <a:gd name="T60" fmla="*/ 1601 w 2139"/>
                      <a:gd name="T61" fmla="*/ 1057 h 3376"/>
                      <a:gd name="T62" fmla="*/ 1623 w 2139"/>
                      <a:gd name="T63" fmla="*/ 1118 h 3376"/>
                      <a:gd name="T64" fmla="*/ 1704 w 2139"/>
                      <a:gd name="T65" fmla="*/ 1232 h 3376"/>
                      <a:gd name="T66" fmla="*/ 1379 w 2139"/>
                      <a:gd name="T67" fmla="*/ 851 h 3376"/>
                      <a:gd name="T68" fmla="*/ 1427 w 2139"/>
                      <a:gd name="T69" fmla="*/ 1047 h 3376"/>
                      <a:gd name="T70" fmla="*/ 1202 w 2139"/>
                      <a:gd name="T71" fmla="*/ 1214 h 3376"/>
                      <a:gd name="T72" fmla="*/ 1003 w 2139"/>
                      <a:gd name="T73" fmla="*/ 1234 h 3376"/>
                      <a:gd name="T74" fmla="*/ 988 w 2139"/>
                      <a:gd name="T75" fmla="*/ 1018 h 3376"/>
                      <a:gd name="T76" fmla="*/ 1123 w 2139"/>
                      <a:gd name="T77" fmla="*/ 827 h 3376"/>
                      <a:gd name="T78" fmla="*/ 1276 w 2139"/>
                      <a:gd name="T79" fmla="*/ 716 h 3376"/>
                      <a:gd name="T80" fmla="*/ 1513 w 2139"/>
                      <a:gd name="T81" fmla="*/ 491 h 3376"/>
                      <a:gd name="T82" fmla="*/ 1783 w 2139"/>
                      <a:gd name="T83" fmla="*/ 829 h 3376"/>
                      <a:gd name="T84" fmla="*/ 1764 w 2139"/>
                      <a:gd name="T85" fmla="*/ 741 h 3376"/>
                      <a:gd name="T86" fmla="*/ 1688 w 2139"/>
                      <a:gd name="T87" fmla="*/ 716 h 3376"/>
                      <a:gd name="T88" fmla="*/ 1564 w 2139"/>
                      <a:gd name="T89" fmla="*/ 693 h 3376"/>
                      <a:gd name="T90" fmla="*/ 1613 w 2139"/>
                      <a:gd name="T91" fmla="*/ 583 h 3376"/>
                      <a:gd name="T92" fmla="*/ 1614 w 2139"/>
                      <a:gd name="T93" fmla="*/ 471 h 3376"/>
                      <a:gd name="T94" fmla="*/ 1717 w 2139"/>
                      <a:gd name="T95" fmla="*/ 494 h 3376"/>
                      <a:gd name="T96" fmla="*/ 1821 w 2139"/>
                      <a:gd name="T97" fmla="*/ 647 h 3376"/>
                      <a:gd name="T98" fmla="*/ 1673 w 2139"/>
                      <a:gd name="T99" fmla="*/ 219 h 3376"/>
                      <a:gd name="T100" fmla="*/ 1649 w 2139"/>
                      <a:gd name="T101" fmla="*/ 376 h 3376"/>
                      <a:gd name="T102" fmla="*/ 1569 w 2139"/>
                      <a:gd name="T103" fmla="*/ 341 h 3376"/>
                      <a:gd name="T104" fmla="*/ 1469 w 2139"/>
                      <a:gd name="T105" fmla="*/ 438 h 3376"/>
                      <a:gd name="T106" fmla="*/ 1397 w 2139"/>
                      <a:gd name="T107" fmla="*/ 416 h 3376"/>
                      <a:gd name="T108" fmla="*/ 1320 w 2139"/>
                      <a:gd name="T109" fmla="*/ 380 h 3376"/>
                      <a:gd name="T110" fmla="*/ 1483 w 2139"/>
                      <a:gd name="T111" fmla="*/ 268 h 3376"/>
                      <a:gd name="T112" fmla="*/ 1639 w 2139"/>
                      <a:gd name="T113" fmla="*/ 211 h 3376"/>
                      <a:gd name="T114" fmla="*/ 1778 w 2139"/>
                      <a:gd name="T115" fmla="*/ 117 h 3376"/>
                      <a:gd name="T116" fmla="*/ 1844 w 2139"/>
                      <a:gd name="T117" fmla="*/ 284 h 3376"/>
                      <a:gd name="T118" fmla="*/ 1980 w 2139"/>
                      <a:gd name="T119" fmla="*/ 18 h 3376"/>
                      <a:gd name="T120" fmla="*/ 1887 w 2139"/>
                      <a:gd name="T121" fmla="*/ 31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9" h="3376">
                        <a:moveTo>
                          <a:pt x="1339" y="1496"/>
                        </a:moveTo>
                        <a:lnTo>
                          <a:pt x="1319" y="1493"/>
                        </a:lnTo>
                        <a:lnTo>
                          <a:pt x="1322" y="1485"/>
                        </a:lnTo>
                        <a:lnTo>
                          <a:pt x="1339" y="1496"/>
                        </a:lnTo>
                        <a:close/>
                        <a:moveTo>
                          <a:pt x="1074" y="1610"/>
                        </a:moveTo>
                        <a:lnTo>
                          <a:pt x="1003" y="1867"/>
                        </a:lnTo>
                        <a:lnTo>
                          <a:pt x="1004" y="1871"/>
                        </a:lnTo>
                        <a:lnTo>
                          <a:pt x="1047" y="1931"/>
                        </a:lnTo>
                        <a:lnTo>
                          <a:pt x="1097" y="1997"/>
                        </a:lnTo>
                        <a:lnTo>
                          <a:pt x="1147" y="2063"/>
                        </a:lnTo>
                        <a:lnTo>
                          <a:pt x="1209" y="2141"/>
                        </a:lnTo>
                        <a:lnTo>
                          <a:pt x="1273" y="2217"/>
                        </a:lnTo>
                        <a:lnTo>
                          <a:pt x="1328" y="2281"/>
                        </a:lnTo>
                        <a:lnTo>
                          <a:pt x="1398" y="2358"/>
                        </a:lnTo>
                        <a:lnTo>
                          <a:pt x="1437" y="2401"/>
                        </a:lnTo>
                        <a:lnTo>
                          <a:pt x="1498" y="2412"/>
                        </a:lnTo>
                        <a:lnTo>
                          <a:pt x="1559" y="2422"/>
                        </a:lnTo>
                        <a:lnTo>
                          <a:pt x="1563" y="2426"/>
                        </a:lnTo>
                        <a:lnTo>
                          <a:pt x="1622" y="2527"/>
                        </a:lnTo>
                        <a:lnTo>
                          <a:pt x="1629" y="2538"/>
                        </a:lnTo>
                        <a:lnTo>
                          <a:pt x="1644" y="2551"/>
                        </a:lnTo>
                        <a:lnTo>
                          <a:pt x="1659" y="2558"/>
                        </a:lnTo>
                        <a:lnTo>
                          <a:pt x="1799" y="2603"/>
                        </a:lnTo>
                        <a:lnTo>
                          <a:pt x="1876" y="2627"/>
                        </a:lnTo>
                        <a:lnTo>
                          <a:pt x="1961" y="2651"/>
                        </a:lnTo>
                        <a:lnTo>
                          <a:pt x="2139" y="2700"/>
                        </a:lnTo>
                        <a:lnTo>
                          <a:pt x="2138" y="2732"/>
                        </a:lnTo>
                        <a:lnTo>
                          <a:pt x="2136" y="2762"/>
                        </a:lnTo>
                        <a:lnTo>
                          <a:pt x="2094" y="3376"/>
                        </a:lnTo>
                        <a:lnTo>
                          <a:pt x="2017" y="3370"/>
                        </a:lnTo>
                        <a:lnTo>
                          <a:pt x="1938" y="3363"/>
                        </a:lnTo>
                        <a:lnTo>
                          <a:pt x="1861" y="3356"/>
                        </a:lnTo>
                        <a:lnTo>
                          <a:pt x="1782" y="3347"/>
                        </a:lnTo>
                        <a:lnTo>
                          <a:pt x="1704" y="3338"/>
                        </a:lnTo>
                        <a:lnTo>
                          <a:pt x="1627" y="3328"/>
                        </a:lnTo>
                        <a:lnTo>
                          <a:pt x="1548" y="3318"/>
                        </a:lnTo>
                        <a:lnTo>
                          <a:pt x="1470" y="3306"/>
                        </a:lnTo>
                        <a:lnTo>
                          <a:pt x="1374" y="3291"/>
                        </a:lnTo>
                        <a:lnTo>
                          <a:pt x="1277" y="3273"/>
                        </a:lnTo>
                        <a:lnTo>
                          <a:pt x="1180" y="3255"/>
                        </a:lnTo>
                        <a:lnTo>
                          <a:pt x="1084" y="3236"/>
                        </a:lnTo>
                        <a:lnTo>
                          <a:pt x="989" y="3215"/>
                        </a:lnTo>
                        <a:lnTo>
                          <a:pt x="893" y="3192"/>
                        </a:lnTo>
                        <a:lnTo>
                          <a:pt x="798" y="3168"/>
                        </a:lnTo>
                        <a:lnTo>
                          <a:pt x="703" y="3143"/>
                        </a:lnTo>
                        <a:lnTo>
                          <a:pt x="630" y="3123"/>
                        </a:lnTo>
                        <a:lnTo>
                          <a:pt x="559" y="3102"/>
                        </a:lnTo>
                        <a:lnTo>
                          <a:pt x="487" y="3081"/>
                        </a:lnTo>
                        <a:lnTo>
                          <a:pt x="415" y="3058"/>
                        </a:lnTo>
                        <a:lnTo>
                          <a:pt x="408" y="3041"/>
                        </a:lnTo>
                        <a:lnTo>
                          <a:pt x="403" y="3001"/>
                        </a:lnTo>
                        <a:lnTo>
                          <a:pt x="408" y="2981"/>
                        </a:lnTo>
                        <a:lnTo>
                          <a:pt x="394" y="2973"/>
                        </a:lnTo>
                        <a:lnTo>
                          <a:pt x="395" y="2961"/>
                        </a:lnTo>
                        <a:lnTo>
                          <a:pt x="390" y="2945"/>
                        </a:lnTo>
                        <a:lnTo>
                          <a:pt x="392" y="2932"/>
                        </a:lnTo>
                        <a:lnTo>
                          <a:pt x="404" y="2925"/>
                        </a:lnTo>
                        <a:lnTo>
                          <a:pt x="405" y="2900"/>
                        </a:lnTo>
                        <a:lnTo>
                          <a:pt x="388" y="2891"/>
                        </a:lnTo>
                        <a:lnTo>
                          <a:pt x="379" y="2905"/>
                        </a:lnTo>
                        <a:lnTo>
                          <a:pt x="358" y="2900"/>
                        </a:lnTo>
                        <a:lnTo>
                          <a:pt x="343" y="2905"/>
                        </a:lnTo>
                        <a:lnTo>
                          <a:pt x="317" y="2888"/>
                        </a:lnTo>
                        <a:lnTo>
                          <a:pt x="310" y="2878"/>
                        </a:lnTo>
                        <a:lnTo>
                          <a:pt x="300" y="2877"/>
                        </a:lnTo>
                        <a:lnTo>
                          <a:pt x="288" y="2882"/>
                        </a:lnTo>
                        <a:lnTo>
                          <a:pt x="264" y="2880"/>
                        </a:lnTo>
                        <a:lnTo>
                          <a:pt x="257" y="2871"/>
                        </a:lnTo>
                        <a:lnTo>
                          <a:pt x="243" y="2877"/>
                        </a:lnTo>
                        <a:lnTo>
                          <a:pt x="228" y="2866"/>
                        </a:lnTo>
                        <a:lnTo>
                          <a:pt x="239" y="2825"/>
                        </a:lnTo>
                        <a:lnTo>
                          <a:pt x="229" y="2822"/>
                        </a:lnTo>
                        <a:lnTo>
                          <a:pt x="240" y="2802"/>
                        </a:lnTo>
                        <a:lnTo>
                          <a:pt x="247" y="2772"/>
                        </a:lnTo>
                        <a:lnTo>
                          <a:pt x="245" y="2757"/>
                        </a:lnTo>
                        <a:lnTo>
                          <a:pt x="237" y="2745"/>
                        </a:lnTo>
                        <a:lnTo>
                          <a:pt x="220" y="2741"/>
                        </a:lnTo>
                        <a:lnTo>
                          <a:pt x="199" y="2703"/>
                        </a:lnTo>
                        <a:lnTo>
                          <a:pt x="200" y="2691"/>
                        </a:lnTo>
                        <a:lnTo>
                          <a:pt x="199" y="2673"/>
                        </a:lnTo>
                        <a:lnTo>
                          <a:pt x="192" y="2673"/>
                        </a:lnTo>
                        <a:lnTo>
                          <a:pt x="188" y="2638"/>
                        </a:lnTo>
                        <a:lnTo>
                          <a:pt x="183" y="2623"/>
                        </a:lnTo>
                        <a:lnTo>
                          <a:pt x="173" y="2620"/>
                        </a:lnTo>
                        <a:lnTo>
                          <a:pt x="164" y="2626"/>
                        </a:lnTo>
                        <a:lnTo>
                          <a:pt x="152" y="2608"/>
                        </a:lnTo>
                        <a:lnTo>
                          <a:pt x="142" y="2608"/>
                        </a:lnTo>
                        <a:lnTo>
                          <a:pt x="140" y="2573"/>
                        </a:lnTo>
                        <a:lnTo>
                          <a:pt x="150" y="2567"/>
                        </a:lnTo>
                        <a:lnTo>
                          <a:pt x="147" y="2557"/>
                        </a:lnTo>
                        <a:lnTo>
                          <a:pt x="159" y="2548"/>
                        </a:lnTo>
                        <a:lnTo>
                          <a:pt x="152" y="2540"/>
                        </a:lnTo>
                        <a:lnTo>
                          <a:pt x="144" y="2525"/>
                        </a:lnTo>
                        <a:lnTo>
                          <a:pt x="147" y="2513"/>
                        </a:lnTo>
                        <a:lnTo>
                          <a:pt x="140" y="2481"/>
                        </a:lnTo>
                        <a:lnTo>
                          <a:pt x="163" y="2452"/>
                        </a:lnTo>
                        <a:lnTo>
                          <a:pt x="148" y="2443"/>
                        </a:lnTo>
                        <a:lnTo>
                          <a:pt x="150" y="2428"/>
                        </a:lnTo>
                        <a:lnTo>
                          <a:pt x="143" y="2401"/>
                        </a:lnTo>
                        <a:lnTo>
                          <a:pt x="160" y="2398"/>
                        </a:lnTo>
                        <a:lnTo>
                          <a:pt x="173" y="2385"/>
                        </a:lnTo>
                        <a:lnTo>
                          <a:pt x="172" y="2358"/>
                        </a:lnTo>
                        <a:lnTo>
                          <a:pt x="164" y="2356"/>
                        </a:lnTo>
                        <a:lnTo>
                          <a:pt x="165" y="2343"/>
                        </a:lnTo>
                        <a:lnTo>
                          <a:pt x="172" y="2332"/>
                        </a:lnTo>
                        <a:lnTo>
                          <a:pt x="158" y="2316"/>
                        </a:lnTo>
                        <a:lnTo>
                          <a:pt x="152" y="2297"/>
                        </a:lnTo>
                        <a:lnTo>
                          <a:pt x="140" y="2286"/>
                        </a:lnTo>
                        <a:lnTo>
                          <a:pt x="143" y="2273"/>
                        </a:lnTo>
                        <a:lnTo>
                          <a:pt x="138" y="2253"/>
                        </a:lnTo>
                        <a:lnTo>
                          <a:pt x="145" y="2226"/>
                        </a:lnTo>
                        <a:lnTo>
                          <a:pt x="142" y="2207"/>
                        </a:lnTo>
                        <a:lnTo>
                          <a:pt x="130" y="2195"/>
                        </a:lnTo>
                        <a:lnTo>
                          <a:pt x="123" y="2201"/>
                        </a:lnTo>
                        <a:lnTo>
                          <a:pt x="108" y="2202"/>
                        </a:lnTo>
                        <a:lnTo>
                          <a:pt x="99" y="2188"/>
                        </a:lnTo>
                        <a:lnTo>
                          <a:pt x="113" y="2177"/>
                        </a:lnTo>
                        <a:lnTo>
                          <a:pt x="104" y="2168"/>
                        </a:lnTo>
                        <a:lnTo>
                          <a:pt x="100" y="2141"/>
                        </a:lnTo>
                        <a:lnTo>
                          <a:pt x="87" y="2123"/>
                        </a:lnTo>
                        <a:lnTo>
                          <a:pt x="72" y="2115"/>
                        </a:lnTo>
                        <a:lnTo>
                          <a:pt x="72" y="2107"/>
                        </a:lnTo>
                        <a:lnTo>
                          <a:pt x="82" y="2103"/>
                        </a:lnTo>
                        <a:lnTo>
                          <a:pt x="85" y="2091"/>
                        </a:lnTo>
                        <a:lnTo>
                          <a:pt x="104" y="2076"/>
                        </a:lnTo>
                        <a:lnTo>
                          <a:pt x="94" y="2066"/>
                        </a:lnTo>
                        <a:lnTo>
                          <a:pt x="99" y="2058"/>
                        </a:lnTo>
                        <a:lnTo>
                          <a:pt x="92" y="2042"/>
                        </a:lnTo>
                        <a:lnTo>
                          <a:pt x="105" y="2038"/>
                        </a:lnTo>
                        <a:lnTo>
                          <a:pt x="114" y="2026"/>
                        </a:lnTo>
                        <a:lnTo>
                          <a:pt x="130" y="2021"/>
                        </a:lnTo>
                        <a:lnTo>
                          <a:pt x="140" y="2006"/>
                        </a:lnTo>
                        <a:lnTo>
                          <a:pt x="148" y="2002"/>
                        </a:lnTo>
                        <a:lnTo>
                          <a:pt x="150" y="1990"/>
                        </a:lnTo>
                        <a:lnTo>
                          <a:pt x="148" y="1968"/>
                        </a:lnTo>
                        <a:lnTo>
                          <a:pt x="140" y="1952"/>
                        </a:lnTo>
                        <a:lnTo>
                          <a:pt x="148" y="1945"/>
                        </a:lnTo>
                        <a:lnTo>
                          <a:pt x="160" y="1943"/>
                        </a:lnTo>
                        <a:lnTo>
                          <a:pt x="153" y="1925"/>
                        </a:lnTo>
                        <a:lnTo>
                          <a:pt x="145" y="1923"/>
                        </a:lnTo>
                        <a:lnTo>
                          <a:pt x="132" y="1933"/>
                        </a:lnTo>
                        <a:lnTo>
                          <a:pt x="119" y="1928"/>
                        </a:lnTo>
                        <a:lnTo>
                          <a:pt x="130" y="1915"/>
                        </a:lnTo>
                        <a:lnTo>
                          <a:pt x="118" y="1910"/>
                        </a:lnTo>
                        <a:lnTo>
                          <a:pt x="94" y="1913"/>
                        </a:lnTo>
                        <a:lnTo>
                          <a:pt x="83" y="1906"/>
                        </a:lnTo>
                        <a:lnTo>
                          <a:pt x="89" y="1892"/>
                        </a:lnTo>
                        <a:lnTo>
                          <a:pt x="85" y="1887"/>
                        </a:lnTo>
                        <a:lnTo>
                          <a:pt x="99" y="1878"/>
                        </a:lnTo>
                        <a:lnTo>
                          <a:pt x="108" y="1856"/>
                        </a:lnTo>
                        <a:lnTo>
                          <a:pt x="94" y="1847"/>
                        </a:lnTo>
                        <a:lnTo>
                          <a:pt x="107" y="1830"/>
                        </a:lnTo>
                        <a:lnTo>
                          <a:pt x="113" y="1832"/>
                        </a:lnTo>
                        <a:lnTo>
                          <a:pt x="118" y="1816"/>
                        </a:lnTo>
                        <a:lnTo>
                          <a:pt x="124" y="1815"/>
                        </a:lnTo>
                        <a:lnTo>
                          <a:pt x="120" y="1795"/>
                        </a:lnTo>
                        <a:lnTo>
                          <a:pt x="122" y="1783"/>
                        </a:lnTo>
                        <a:lnTo>
                          <a:pt x="130" y="1773"/>
                        </a:lnTo>
                        <a:lnTo>
                          <a:pt x="128" y="1737"/>
                        </a:lnTo>
                        <a:lnTo>
                          <a:pt x="53" y="1701"/>
                        </a:lnTo>
                        <a:lnTo>
                          <a:pt x="0" y="1676"/>
                        </a:lnTo>
                        <a:lnTo>
                          <a:pt x="2" y="1665"/>
                        </a:lnTo>
                        <a:lnTo>
                          <a:pt x="10" y="1646"/>
                        </a:lnTo>
                        <a:lnTo>
                          <a:pt x="25" y="1633"/>
                        </a:lnTo>
                        <a:lnTo>
                          <a:pt x="28" y="1613"/>
                        </a:lnTo>
                        <a:lnTo>
                          <a:pt x="39" y="1590"/>
                        </a:lnTo>
                        <a:lnTo>
                          <a:pt x="39" y="1577"/>
                        </a:lnTo>
                        <a:lnTo>
                          <a:pt x="33" y="1570"/>
                        </a:lnTo>
                        <a:lnTo>
                          <a:pt x="37" y="1557"/>
                        </a:lnTo>
                        <a:lnTo>
                          <a:pt x="124" y="1373"/>
                        </a:lnTo>
                        <a:lnTo>
                          <a:pt x="144" y="1387"/>
                        </a:lnTo>
                        <a:lnTo>
                          <a:pt x="152" y="1398"/>
                        </a:lnTo>
                        <a:lnTo>
                          <a:pt x="159" y="1418"/>
                        </a:lnTo>
                        <a:lnTo>
                          <a:pt x="174" y="1432"/>
                        </a:lnTo>
                        <a:lnTo>
                          <a:pt x="175" y="1422"/>
                        </a:lnTo>
                        <a:lnTo>
                          <a:pt x="169" y="1398"/>
                        </a:lnTo>
                        <a:lnTo>
                          <a:pt x="157" y="1390"/>
                        </a:lnTo>
                        <a:lnTo>
                          <a:pt x="158" y="1370"/>
                        </a:lnTo>
                        <a:lnTo>
                          <a:pt x="175" y="1368"/>
                        </a:lnTo>
                        <a:lnTo>
                          <a:pt x="168" y="1356"/>
                        </a:lnTo>
                        <a:lnTo>
                          <a:pt x="174" y="1337"/>
                        </a:lnTo>
                        <a:lnTo>
                          <a:pt x="184" y="1335"/>
                        </a:lnTo>
                        <a:lnTo>
                          <a:pt x="188" y="1327"/>
                        </a:lnTo>
                        <a:lnTo>
                          <a:pt x="205" y="1328"/>
                        </a:lnTo>
                        <a:lnTo>
                          <a:pt x="214" y="1343"/>
                        </a:lnTo>
                        <a:lnTo>
                          <a:pt x="222" y="1345"/>
                        </a:lnTo>
                        <a:lnTo>
                          <a:pt x="227" y="1325"/>
                        </a:lnTo>
                        <a:lnTo>
                          <a:pt x="239" y="1317"/>
                        </a:lnTo>
                        <a:lnTo>
                          <a:pt x="255" y="1323"/>
                        </a:lnTo>
                        <a:lnTo>
                          <a:pt x="268" y="1330"/>
                        </a:lnTo>
                        <a:lnTo>
                          <a:pt x="274" y="1341"/>
                        </a:lnTo>
                        <a:lnTo>
                          <a:pt x="282" y="1333"/>
                        </a:lnTo>
                        <a:lnTo>
                          <a:pt x="279" y="1325"/>
                        </a:lnTo>
                        <a:lnTo>
                          <a:pt x="293" y="1308"/>
                        </a:lnTo>
                        <a:lnTo>
                          <a:pt x="305" y="1308"/>
                        </a:lnTo>
                        <a:lnTo>
                          <a:pt x="300" y="1333"/>
                        </a:lnTo>
                        <a:lnTo>
                          <a:pt x="315" y="1350"/>
                        </a:lnTo>
                        <a:lnTo>
                          <a:pt x="288" y="1366"/>
                        </a:lnTo>
                        <a:lnTo>
                          <a:pt x="282" y="1377"/>
                        </a:lnTo>
                        <a:lnTo>
                          <a:pt x="310" y="1376"/>
                        </a:lnTo>
                        <a:lnTo>
                          <a:pt x="318" y="1368"/>
                        </a:lnTo>
                        <a:lnTo>
                          <a:pt x="329" y="1370"/>
                        </a:lnTo>
                        <a:lnTo>
                          <a:pt x="344" y="1377"/>
                        </a:lnTo>
                        <a:lnTo>
                          <a:pt x="364" y="1366"/>
                        </a:lnTo>
                        <a:lnTo>
                          <a:pt x="368" y="1353"/>
                        </a:lnTo>
                        <a:lnTo>
                          <a:pt x="378" y="1345"/>
                        </a:lnTo>
                        <a:lnTo>
                          <a:pt x="390" y="1351"/>
                        </a:lnTo>
                        <a:lnTo>
                          <a:pt x="403" y="1340"/>
                        </a:lnTo>
                        <a:lnTo>
                          <a:pt x="422" y="1358"/>
                        </a:lnTo>
                        <a:lnTo>
                          <a:pt x="427" y="1353"/>
                        </a:lnTo>
                        <a:lnTo>
                          <a:pt x="444" y="1352"/>
                        </a:lnTo>
                        <a:lnTo>
                          <a:pt x="464" y="1340"/>
                        </a:lnTo>
                        <a:lnTo>
                          <a:pt x="474" y="1341"/>
                        </a:lnTo>
                        <a:lnTo>
                          <a:pt x="479" y="1332"/>
                        </a:lnTo>
                        <a:lnTo>
                          <a:pt x="488" y="1337"/>
                        </a:lnTo>
                        <a:lnTo>
                          <a:pt x="495" y="1350"/>
                        </a:lnTo>
                        <a:lnTo>
                          <a:pt x="515" y="1322"/>
                        </a:lnTo>
                        <a:lnTo>
                          <a:pt x="534" y="1321"/>
                        </a:lnTo>
                        <a:lnTo>
                          <a:pt x="554" y="1326"/>
                        </a:lnTo>
                        <a:lnTo>
                          <a:pt x="550" y="1336"/>
                        </a:lnTo>
                        <a:lnTo>
                          <a:pt x="564" y="1336"/>
                        </a:lnTo>
                        <a:lnTo>
                          <a:pt x="572" y="1345"/>
                        </a:lnTo>
                        <a:lnTo>
                          <a:pt x="587" y="1331"/>
                        </a:lnTo>
                        <a:lnTo>
                          <a:pt x="597" y="1327"/>
                        </a:lnTo>
                        <a:lnTo>
                          <a:pt x="604" y="1350"/>
                        </a:lnTo>
                        <a:lnTo>
                          <a:pt x="593" y="1362"/>
                        </a:lnTo>
                        <a:lnTo>
                          <a:pt x="584" y="1366"/>
                        </a:lnTo>
                        <a:lnTo>
                          <a:pt x="515" y="1383"/>
                        </a:lnTo>
                        <a:lnTo>
                          <a:pt x="510" y="1391"/>
                        </a:lnTo>
                        <a:lnTo>
                          <a:pt x="499" y="1391"/>
                        </a:lnTo>
                        <a:lnTo>
                          <a:pt x="482" y="1406"/>
                        </a:lnTo>
                        <a:lnTo>
                          <a:pt x="478" y="1392"/>
                        </a:lnTo>
                        <a:lnTo>
                          <a:pt x="450" y="1392"/>
                        </a:lnTo>
                        <a:lnTo>
                          <a:pt x="442" y="1387"/>
                        </a:lnTo>
                        <a:lnTo>
                          <a:pt x="420" y="1386"/>
                        </a:lnTo>
                        <a:lnTo>
                          <a:pt x="403" y="1402"/>
                        </a:lnTo>
                        <a:lnTo>
                          <a:pt x="402" y="1412"/>
                        </a:lnTo>
                        <a:lnTo>
                          <a:pt x="385" y="1413"/>
                        </a:lnTo>
                        <a:lnTo>
                          <a:pt x="357" y="1412"/>
                        </a:lnTo>
                        <a:lnTo>
                          <a:pt x="340" y="1430"/>
                        </a:lnTo>
                        <a:lnTo>
                          <a:pt x="332" y="1442"/>
                        </a:lnTo>
                        <a:lnTo>
                          <a:pt x="327" y="1435"/>
                        </a:lnTo>
                        <a:lnTo>
                          <a:pt x="317" y="1437"/>
                        </a:lnTo>
                        <a:lnTo>
                          <a:pt x="310" y="1451"/>
                        </a:lnTo>
                        <a:lnTo>
                          <a:pt x="298" y="1461"/>
                        </a:lnTo>
                        <a:lnTo>
                          <a:pt x="287" y="1461"/>
                        </a:lnTo>
                        <a:lnTo>
                          <a:pt x="285" y="1470"/>
                        </a:lnTo>
                        <a:lnTo>
                          <a:pt x="307" y="1475"/>
                        </a:lnTo>
                        <a:lnTo>
                          <a:pt x="320" y="1471"/>
                        </a:lnTo>
                        <a:lnTo>
                          <a:pt x="340" y="1491"/>
                        </a:lnTo>
                        <a:lnTo>
                          <a:pt x="352" y="1485"/>
                        </a:lnTo>
                        <a:lnTo>
                          <a:pt x="347" y="1472"/>
                        </a:lnTo>
                        <a:lnTo>
                          <a:pt x="332" y="1473"/>
                        </a:lnTo>
                        <a:lnTo>
                          <a:pt x="330" y="1465"/>
                        </a:lnTo>
                        <a:lnTo>
                          <a:pt x="339" y="1440"/>
                        </a:lnTo>
                        <a:lnTo>
                          <a:pt x="352" y="1442"/>
                        </a:lnTo>
                        <a:lnTo>
                          <a:pt x="359" y="1437"/>
                        </a:lnTo>
                        <a:lnTo>
                          <a:pt x="372" y="1440"/>
                        </a:lnTo>
                        <a:lnTo>
                          <a:pt x="380" y="1432"/>
                        </a:lnTo>
                        <a:lnTo>
                          <a:pt x="388" y="1433"/>
                        </a:lnTo>
                        <a:lnTo>
                          <a:pt x="409" y="1430"/>
                        </a:lnTo>
                        <a:lnTo>
                          <a:pt x="422" y="1418"/>
                        </a:lnTo>
                        <a:lnTo>
                          <a:pt x="418" y="1411"/>
                        </a:lnTo>
                        <a:lnTo>
                          <a:pt x="438" y="1406"/>
                        </a:lnTo>
                        <a:lnTo>
                          <a:pt x="446" y="1416"/>
                        </a:lnTo>
                        <a:lnTo>
                          <a:pt x="464" y="1412"/>
                        </a:lnTo>
                        <a:lnTo>
                          <a:pt x="474" y="1420"/>
                        </a:lnTo>
                        <a:lnTo>
                          <a:pt x="466" y="1447"/>
                        </a:lnTo>
                        <a:lnTo>
                          <a:pt x="486" y="1428"/>
                        </a:lnTo>
                        <a:lnTo>
                          <a:pt x="509" y="1415"/>
                        </a:lnTo>
                        <a:lnTo>
                          <a:pt x="524" y="1397"/>
                        </a:lnTo>
                        <a:lnTo>
                          <a:pt x="534" y="1400"/>
                        </a:lnTo>
                        <a:lnTo>
                          <a:pt x="566" y="1397"/>
                        </a:lnTo>
                        <a:lnTo>
                          <a:pt x="574" y="1393"/>
                        </a:lnTo>
                        <a:lnTo>
                          <a:pt x="599" y="1402"/>
                        </a:lnTo>
                        <a:lnTo>
                          <a:pt x="592" y="1421"/>
                        </a:lnTo>
                        <a:lnTo>
                          <a:pt x="599" y="1431"/>
                        </a:lnTo>
                        <a:lnTo>
                          <a:pt x="633" y="1408"/>
                        </a:lnTo>
                        <a:lnTo>
                          <a:pt x="657" y="1395"/>
                        </a:lnTo>
                        <a:lnTo>
                          <a:pt x="661" y="1376"/>
                        </a:lnTo>
                        <a:lnTo>
                          <a:pt x="681" y="1366"/>
                        </a:lnTo>
                        <a:lnTo>
                          <a:pt x="687" y="1370"/>
                        </a:lnTo>
                        <a:lnTo>
                          <a:pt x="713" y="1368"/>
                        </a:lnTo>
                        <a:lnTo>
                          <a:pt x="692" y="1350"/>
                        </a:lnTo>
                        <a:lnTo>
                          <a:pt x="689" y="1332"/>
                        </a:lnTo>
                        <a:lnTo>
                          <a:pt x="692" y="1321"/>
                        </a:lnTo>
                        <a:lnTo>
                          <a:pt x="706" y="1305"/>
                        </a:lnTo>
                        <a:lnTo>
                          <a:pt x="714" y="1306"/>
                        </a:lnTo>
                        <a:lnTo>
                          <a:pt x="732" y="1343"/>
                        </a:lnTo>
                        <a:lnTo>
                          <a:pt x="739" y="1375"/>
                        </a:lnTo>
                        <a:lnTo>
                          <a:pt x="741" y="1422"/>
                        </a:lnTo>
                        <a:lnTo>
                          <a:pt x="736" y="1465"/>
                        </a:lnTo>
                        <a:lnTo>
                          <a:pt x="748" y="1513"/>
                        </a:lnTo>
                        <a:lnTo>
                          <a:pt x="759" y="1538"/>
                        </a:lnTo>
                        <a:lnTo>
                          <a:pt x="772" y="1546"/>
                        </a:lnTo>
                        <a:lnTo>
                          <a:pt x="783" y="1563"/>
                        </a:lnTo>
                        <a:lnTo>
                          <a:pt x="803" y="1558"/>
                        </a:lnTo>
                        <a:lnTo>
                          <a:pt x="808" y="1547"/>
                        </a:lnTo>
                        <a:lnTo>
                          <a:pt x="799" y="1541"/>
                        </a:lnTo>
                        <a:lnTo>
                          <a:pt x="779" y="1541"/>
                        </a:lnTo>
                        <a:lnTo>
                          <a:pt x="792" y="1531"/>
                        </a:lnTo>
                        <a:lnTo>
                          <a:pt x="806" y="1531"/>
                        </a:lnTo>
                        <a:lnTo>
                          <a:pt x="809" y="1522"/>
                        </a:lnTo>
                        <a:lnTo>
                          <a:pt x="800" y="1517"/>
                        </a:lnTo>
                        <a:lnTo>
                          <a:pt x="808" y="1502"/>
                        </a:lnTo>
                        <a:lnTo>
                          <a:pt x="815" y="1506"/>
                        </a:lnTo>
                        <a:lnTo>
                          <a:pt x="831" y="1501"/>
                        </a:lnTo>
                        <a:lnTo>
                          <a:pt x="834" y="1488"/>
                        </a:lnTo>
                        <a:lnTo>
                          <a:pt x="849" y="1471"/>
                        </a:lnTo>
                        <a:lnTo>
                          <a:pt x="849" y="1451"/>
                        </a:lnTo>
                        <a:lnTo>
                          <a:pt x="869" y="1452"/>
                        </a:lnTo>
                        <a:lnTo>
                          <a:pt x="872" y="1438"/>
                        </a:lnTo>
                        <a:lnTo>
                          <a:pt x="889" y="1447"/>
                        </a:lnTo>
                        <a:lnTo>
                          <a:pt x="887" y="1458"/>
                        </a:lnTo>
                        <a:lnTo>
                          <a:pt x="878" y="1465"/>
                        </a:lnTo>
                        <a:lnTo>
                          <a:pt x="870" y="1482"/>
                        </a:lnTo>
                        <a:lnTo>
                          <a:pt x="873" y="1493"/>
                        </a:lnTo>
                        <a:lnTo>
                          <a:pt x="861" y="1512"/>
                        </a:lnTo>
                        <a:lnTo>
                          <a:pt x="872" y="1522"/>
                        </a:lnTo>
                        <a:lnTo>
                          <a:pt x="886" y="1521"/>
                        </a:lnTo>
                        <a:lnTo>
                          <a:pt x="882" y="1532"/>
                        </a:lnTo>
                        <a:lnTo>
                          <a:pt x="873" y="1536"/>
                        </a:lnTo>
                        <a:lnTo>
                          <a:pt x="863" y="1550"/>
                        </a:lnTo>
                        <a:lnTo>
                          <a:pt x="851" y="1557"/>
                        </a:lnTo>
                        <a:lnTo>
                          <a:pt x="844" y="1575"/>
                        </a:lnTo>
                        <a:lnTo>
                          <a:pt x="859" y="1583"/>
                        </a:lnTo>
                        <a:lnTo>
                          <a:pt x="867" y="1580"/>
                        </a:lnTo>
                        <a:lnTo>
                          <a:pt x="897" y="1590"/>
                        </a:lnTo>
                        <a:lnTo>
                          <a:pt x="916" y="1572"/>
                        </a:lnTo>
                        <a:lnTo>
                          <a:pt x="926" y="1577"/>
                        </a:lnTo>
                        <a:lnTo>
                          <a:pt x="939" y="1548"/>
                        </a:lnTo>
                        <a:lnTo>
                          <a:pt x="941" y="1531"/>
                        </a:lnTo>
                        <a:lnTo>
                          <a:pt x="956" y="1523"/>
                        </a:lnTo>
                        <a:lnTo>
                          <a:pt x="982" y="1538"/>
                        </a:lnTo>
                        <a:lnTo>
                          <a:pt x="1008" y="1542"/>
                        </a:lnTo>
                        <a:lnTo>
                          <a:pt x="1041" y="1562"/>
                        </a:lnTo>
                        <a:lnTo>
                          <a:pt x="1071" y="1596"/>
                        </a:lnTo>
                        <a:lnTo>
                          <a:pt x="1074" y="1610"/>
                        </a:lnTo>
                        <a:close/>
                        <a:moveTo>
                          <a:pt x="1799" y="1187"/>
                        </a:moveTo>
                        <a:lnTo>
                          <a:pt x="1797" y="1202"/>
                        </a:lnTo>
                        <a:lnTo>
                          <a:pt x="1790" y="1189"/>
                        </a:lnTo>
                        <a:lnTo>
                          <a:pt x="1799" y="1187"/>
                        </a:lnTo>
                        <a:close/>
                        <a:moveTo>
                          <a:pt x="1801" y="1178"/>
                        </a:moveTo>
                        <a:lnTo>
                          <a:pt x="1791" y="1165"/>
                        </a:lnTo>
                        <a:lnTo>
                          <a:pt x="1777" y="1160"/>
                        </a:lnTo>
                        <a:lnTo>
                          <a:pt x="1769" y="1141"/>
                        </a:lnTo>
                        <a:lnTo>
                          <a:pt x="1771" y="1126"/>
                        </a:lnTo>
                        <a:lnTo>
                          <a:pt x="1808" y="1137"/>
                        </a:lnTo>
                        <a:lnTo>
                          <a:pt x="1801" y="1178"/>
                        </a:lnTo>
                        <a:close/>
                        <a:moveTo>
                          <a:pt x="1793" y="1233"/>
                        </a:moveTo>
                        <a:lnTo>
                          <a:pt x="1724" y="1671"/>
                        </a:lnTo>
                        <a:lnTo>
                          <a:pt x="1631" y="1655"/>
                        </a:lnTo>
                        <a:lnTo>
                          <a:pt x="1577" y="1646"/>
                        </a:lnTo>
                        <a:lnTo>
                          <a:pt x="1573" y="1661"/>
                        </a:lnTo>
                        <a:lnTo>
                          <a:pt x="1578" y="1669"/>
                        </a:lnTo>
                        <a:lnTo>
                          <a:pt x="1562" y="1672"/>
                        </a:lnTo>
                        <a:lnTo>
                          <a:pt x="1548" y="1671"/>
                        </a:lnTo>
                        <a:lnTo>
                          <a:pt x="1553" y="1641"/>
                        </a:lnTo>
                        <a:lnTo>
                          <a:pt x="1473" y="1626"/>
                        </a:lnTo>
                        <a:lnTo>
                          <a:pt x="1371" y="1603"/>
                        </a:lnTo>
                        <a:lnTo>
                          <a:pt x="1303" y="1588"/>
                        </a:lnTo>
                        <a:lnTo>
                          <a:pt x="1298" y="1607"/>
                        </a:lnTo>
                        <a:lnTo>
                          <a:pt x="1317" y="1658"/>
                        </a:lnTo>
                        <a:lnTo>
                          <a:pt x="1306" y="1652"/>
                        </a:lnTo>
                        <a:lnTo>
                          <a:pt x="1293" y="1639"/>
                        </a:lnTo>
                        <a:lnTo>
                          <a:pt x="1286" y="1627"/>
                        </a:lnTo>
                        <a:lnTo>
                          <a:pt x="1284" y="1586"/>
                        </a:lnTo>
                        <a:lnTo>
                          <a:pt x="1292" y="1577"/>
                        </a:lnTo>
                        <a:lnTo>
                          <a:pt x="1318" y="1568"/>
                        </a:lnTo>
                        <a:lnTo>
                          <a:pt x="1346" y="1568"/>
                        </a:lnTo>
                        <a:lnTo>
                          <a:pt x="1376" y="1564"/>
                        </a:lnTo>
                        <a:lnTo>
                          <a:pt x="1401" y="1564"/>
                        </a:lnTo>
                        <a:lnTo>
                          <a:pt x="1453" y="1568"/>
                        </a:lnTo>
                        <a:lnTo>
                          <a:pt x="1468" y="1567"/>
                        </a:lnTo>
                        <a:lnTo>
                          <a:pt x="1488" y="1571"/>
                        </a:lnTo>
                        <a:lnTo>
                          <a:pt x="1494" y="1580"/>
                        </a:lnTo>
                        <a:lnTo>
                          <a:pt x="1517" y="1587"/>
                        </a:lnTo>
                        <a:lnTo>
                          <a:pt x="1528" y="1585"/>
                        </a:lnTo>
                        <a:lnTo>
                          <a:pt x="1554" y="1599"/>
                        </a:lnTo>
                        <a:lnTo>
                          <a:pt x="1557" y="1596"/>
                        </a:lnTo>
                        <a:lnTo>
                          <a:pt x="1578" y="1609"/>
                        </a:lnTo>
                        <a:lnTo>
                          <a:pt x="1601" y="1594"/>
                        </a:lnTo>
                        <a:lnTo>
                          <a:pt x="1618" y="1606"/>
                        </a:lnTo>
                        <a:lnTo>
                          <a:pt x="1631" y="1608"/>
                        </a:lnTo>
                        <a:lnTo>
                          <a:pt x="1643" y="1592"/>
                        </a:lnTo>
                        <a:lnTo>
                          <a:pt x="1628" y="1591"/>
                        </a:lnTo>
                        <a:lnTo>
                          <a:pt x="1614" y="1578"/>
                        </a:lnTo>
                        <a:lnTo>
                          <a:pt x="1613" y="1563"/>
                        </a:lnTo>
                        <a:lnTo>
                          <a:pt x="1588" y="1552"/>
                        </a:lnTo>
                        <a:lnTo>
                          <a:pt x="1582" y="1543"/>
                        </a:lnTo>
                        <a:lnTo>
                          <a:pt x="1569" y="1542"/>
                        </a:lnTo>
                        <a:lnTo>
                          <a:pt x="1556" y="1524"/>
                        </a:lnTo>
                        <a:lnTo>
                          <a:pt x="1536" y="1522"/>
                        </a:lnTo>
                        <a:lnTo>
                          <a:pt x="1528" y="1511"/>
                        </a:lnTo>
                        <a:lnTo>
                          <a:pt x="1513" y="1503"/>
                        </a:lnTo>
                        <a:lnTo>
                          <a:pt x="1501" y="1510"/>
                        </a:lnTo>
                        <a:lnTo>
                          <a:pt x="1492" y="1505"/>
                        </a:lnTo>
                        <a:lnTo>
                          <a:pt x="1481" y="1511"/>
                        </a:lnTo>
                        <a:lnTo>
                          <a:pt x="1459" y="1508"/>
                        </a:lnTo>
                        <a:lnTo>
                          <a:pt x="1448" y="1511"/>
                        </a:lnTo>
                        <a:lnTo>
                          <a:pt x="1437" y="1507"/>
                        </a:lnTo>
                        <a:lnTo>
                          <a:pt x="1415" y="1508"/>
                        </a:lnTo>
                        <a:lnTo>
                          <a:pt x="1408" y="1502"/>
                        </a:lnTo>
                        <a:lnTo>
                          <a:pt x="1389" y="1502"/>
                        </a:lnTo>
                        <a:lnTo>
                          <a:pt x="1380" y="1489"/>
                        </a:lnTo>
                        <a:lnTo>
                          <a:pt x="1360" y="1486"/>
                        </a:lnTo>
                        <a:lnTo>
                          <a:pt x="1353" y="1489"/>
                        </a:lnTo>
                        <a:lnTo>
                          <a:pt x="1335" y="1486"/>
                        </a:lnTo>
                        <a:lnTo>
                          <a:pt x="1314" y="1476"/>
                        </a:lnTo>
                        <a:lnTo>
                          <a:pt x="1302" y="1477"/>
                        </a:lnTo>
                        <a:lnTo>
                          <a:pt x="1297" y="1471"/>
                        </a:lnTo>
                        <a:lnTo>
                          <a:pt x="1298" y="1459"/>
                        </a:lnTo>
                        <a:lnTo>
                          <a:pt x="1277" y="1428"/>
                        </a:lnTo>
                        <a:lnTo>
                          <a:pt x="1270" y="1402"/>
                        </a:lnTo>
                        <a:lnTo>
                          <a:pt x="1273" y="1393"/>
                        </a:lnTo>
                        <a:lnTo>
                          <a:pt x="1313" y="1376"/>
                        </a:lnTo>
                        <a:lnTo>
                          <a:pt x="1332" y="1378"/>
                        </a:lnTo>
                        <a:lnTo>
                          <a:pt x="1355" y="1373"/>
                        </a:lnTo>
                        <a:lnTo>
                          <a:pt x="1367" y="1376"/>
                        </a:lnTo>
                        <a:lnTo>
                          <a:pt x="1374" y="1368"/>
                        </a:lnTo>
                        <a:lnTo>
                          <a:pt x="1429" y="1362"/>
                        </a:lnTo>
                        <a:lnTo>
                          <a:pt x="1423" y="1351"/>
                        </a:lnTo>
                        <a:lnTo>
                          <a:pt x="1443" y="1343"/>
                        </a:lnTo>
                        <a:lnTo>
                          <a:pt x="1439" y="1336"/>
                        </a:lnTo>
                        <a:lnTo>
                          <a:pt x="1418" y="1339"/>
                        </a:lnTo>
                        <a:lnTo>
                          <a:pt x="1395" y="1338"/>
                        </a:lnTo>
                        <a:lnTo>
                          <a:pt x="1379" y="1343"/>
                        </a:lnTo>
                        <a:lnTo>
                          <a:pt x="1367" y="1339"/>
                        </a:lnTo>
                        <a:lnTo>
                          <a:pt x="1356" y="1343"/>
                        </a:lnTo>
                        <a:lnTo>
                          <a:pt x="1336" y="1343"/>
                        </a:lnTo>
                        <a:lnTo>
                          <a:pt x="1328" y="1339"/>
                        </a:lnTo>
                        <a:lnTo>
                          <a:pt x="1302" y="1334"/>
                        </a:lnTo>
                        <a:lnTo>
                          <a:pt x="1295" y="1323"/>
                        </a:lnTo>
                        <a:lnTo>
                          <a:pt x="1302" y="1312"/>
                        </a:lnTo>
                        <a:lnTo>
                          <a:pt x="1311" y="1307"/>
                        </a:lnTo>
                        <a:lnTo>
                          <a:pt x="1329" y="1313"/>
                        </a:lnTo>
                        <a:lnTo>
                          <a:pt x="1333" y="1303"/>
                        </a:lnTo>
                        <a:lnTo>
                          <a:pt x="1319" y="1286"/>
                        </a:lnTo>
                        <a:lnTo>
                          <a:pt x="1309" y="1296"/>
                        </a:lnTo>
                        <a:lnTo>
                          <a:pt x="1300" y="1294"/>
                        </a:lnTo>
                        <a:lnTo>
                          <a:pt x="1295" y="1281"/>
                        </a:lnTo>
                        <a:lnTo>
                          <a:pt x="1277" y="1276"/>
                        </a:lnTo>
                        <a:lnTo>
                          <a:pt x="1263" y="1278"/>
                        </a:lnTo>
                        <a:lnTo>
                          <a:pt x="1265" y="1251"/>
                        </a:lnTo>
                        <a:lnTo>
                          <a:pt x="1277" y="1224"/>
                        </a:lnTo>
                        <a:lnTo>
                          <a:pt x="1299" y="1207"/>
                        </a:lnTo>
                        <a:lnTo>
                          <a:pt x="1307" y="1193"/>
                        </a:lnTo>
                        <a:lnTo>
                          <a:pt x="1340" y="1186"/>
                        </a:lnTo>
                        <a:lnTo>
                          <a:pt x="1344" y="1171"/>
                        </a:lnTo>
                        <a:lnTo>
                          <a:pt x="1340" y="1162"/>
                        </a:lnTo>
                        <a:lnTo>
                          <a:pt x="1331" y="1159"/>
                        </a:lnTo>
                        <a:lnTo>
                          <a:pt x="1324" y="1143"/>
                        </a:lnTo>
                        <a:lnTo>
                          <a:pt x="1333" y="1129"/>
                        </a:lnTo>
                        <a:lnTo>
                          <a:pt x="1356" y="1112"/>
                        </a:lnTo>
                        <a:lnTo>
                          <a:pt x="1376" y="1104"/>
                        </a:lnTo>
                        <a:lnTo>
                          <a:pt x="1394" y="1089"/>
                        </a:lnTo>
                        <a:lnTo>
                          <a:pt x="1412" y="1072"/>
                        </a:lnTo>
                        <a:lnTo>
                          <a:pt x="1439" y="1068"/>
                        </a:lnTo>
                        <a:lnTo>
                          <a:pt x="1456" y="1059"/>
                        </a:lnTo>
                        <a:lnTo>
                          <a:pt x="1482" y="1049"/>
                        </a:lnTo>
                        <a:lnTo>
                          <a:pt x="1508" y="1042"/>
                        </a:lnTo>
                        <a:lnTo>
                          <a:pt x="1518" y="1042"/>
                        </a:lnTo>
                        <a:lnTo>
                          <a:pt x="1578" y="1019"/>
                        </a:lnTo>
                        <a:lnTo>
                          <a:pt x="1593" y="1032"/>
                        </a:lnTo>
                        <a:lnTo>
                          <a:pt x="1601" y="1057"/>
                        </a:lnTo>
                        <a:lnTo>
                          <a:pt x="1601" y="1074"/>
                        </a:lnTo>
                        <a:lnTo>
                          <a:pt x="1591" y="1101"/>
                        </a:lnTo>
                        <a:lnTo>
                          <a:pt x="1586" y="1132"/>
                        </a:lnTo>
                        <a:lnTo>
                          <a:pt x="1573" y="1131"/>
                        </a:lnTo>
                        <a:lnTo>
                          <a:pt x="1566" y="1138"/>
                        </a:lnTo>
                        <a:lnTo>
                          <a:pt x="1566" y="1152"/>
                        </a:lnTo>
                        <a:lnTo>
                          <a:pt x="1554" y="1159"/>
                        </a:lnTo>
                        <a:lnTo>
                          <a:pt x="1562" y="1167"/>
                        </a:lnTo>
                        <a:lnTo>
                          <a:pt x="1574" y="1161"/>
                        </a:lnTo>
                        <a:lnTo>
                          <a:pt x="1588" y="1158"/>
                        </a:lnTo>
                        <a:lnTo>
                          <a:pt x="1592" y="1163"/>
                        </a:lnTo>
                        <a:lnTo>
                          <a:pt x="1607" y="1156"/>
                        </a:lnTo>
                        <a:lnTo>
                          <a:pt x="1616" y="1147"/>
                        </a:lnTo>
                        <a:lnTo>
                          <a:pt x="1607" y="1141"/>
                        </a:lnTo>
                        <a:lnTo>
                          <a:pt x="1623" y="1118"/>
                        </a:lnTo>
                        <a:lnTo>
                          <a:pt x="1637" y="1106"/>
                        </a:lnTo>
                        <a:lnTo>
                          <a:pt x="1647" y="1103"/>
                        </a:lnTo>
                        <a:lnTo>
                          <a:pt x="1671" y="1118"/>
                        </a:lnTo>
                        <a:lnTo>
                          <a:pt x="1678" y="1128"/>
                        </a:lnTo>
                        <a:lnTo>
                          <a:pt x="1693" y="1134"/>
                        </a:lnTo>
                        <a:lnTo>
                          <a:pt x="1719" y="1156"/>
                        </a:lnTo>
                        <a:lnTo>
                          <a:pt x="1722" y="1167"/>
                        </a:lnTo>
                        <a:lnTo>
                          <a:pt x="1734" y="1173"/>
                        </a:lnTo>
                        <a:lnTo>
                          <a:pt x="1726" y="1202"/>
                        </a:lnTo>
                        <a:lnTo>
                          <a:pt x="1713" y="1211"/>
                        </a:lnTo>
                        <a:lnTo>
                          <a:pt x="1707" y="1222"/>
                        </a:lnTo>
                        <a:lnTo>
                          <a:pt x="1689" y="1231"/>
                        </a:lnTo>
                        <a:lnTo>
                          <a:pt x="1686" y="1236"/>
                        </a:lnTo>
                        <a:lnTo>
                          <a:pt x="1697" y="1248"/>
                        </a:lnTo>
                        <a:lnTo>
                          <a:pt x="1704" y="1232"/>
                        </a:lnTo>
                        <a:lnTo>
                          <a:pt x="1714" y="1226"/>
                        </a:lnTo>
                        <a:lnTo>
                          <a:pt x="1732" y="1232"/>
                        </a:lnTo>
                        <a:lnTo>
                          <a:pt x="1756" y="1206"/>
                        </a:lnTo>
                        <a:lnTo>
                          <a:pt x="1772" y="1217"/>
                        </a:lnTo>
                        <a:lnTo>
                          <a:pt x="1782" y="1218"/>
                        </a:lnTo>
                        <a:lnTo>
                          <a:pt x="1793" y="1233"/>
                        </a:lnTo>
                        <a:close/>
                        <a:moveTo>
                          <a:pt x="1276" y="716"/>
                        </a:moveTo>
                        <a:lnTo>
                          <a:pt x="1296" y="731"/>
                        </a:lnTo>
                        <a:lnTo>
                          <a:pt x="1301" y="749"/>
                        </a:lnTo>
                        <a:lnTo>
                          <a:pt x="1332" y="787"/>
                        </a:lnTo>
                        <a:lnTo>
                          <a:pt x="1354" y="803"/>
                        </a:lnTo>
                        <a:lnTo>
                          <a:pt x="1376" y="808"/>
                        </a:lnTo>
                        <a:lnTo>
                          <a:pt x="1379" y="813"/>
                        </a:lnTo>
                        <a:lnTo>
                          <a:pt x="1377" y="836"/>
                        </a:lnTo>
                        <a:lnTo>
                          <a:pt x="1379" y="851"/>
                        </a:lnTo>
                        <a:lnTo>
                          <a:pt x="1393" y="832"/>
                        </a:lnTo>
                        <a:lnTo>
                          <a:pt x="1390" y="822"/>
                        </a:lnTo>
                        <a:lnTo>
                          <a:pt x="1400" y="816"/>
                        </a:lnTo>
                        <a:lnTo>
                          <a:pt x="1437" y="813"/>
                        </a:lnTo>
                        <a:lnTo>
                          <a:pt x="1467" y="831"/>
                        </a:lnTo>
                        <a:lnTo>
                          <a:pt x="1488" y="863"/>
                        </a:lnTo>
                        <a:lnTo>
                          <a:pt x="1522" y="941"/>
                        </a:lnTo>
                        <a:lnTo>
                          <a:pt x="1534" y="953"/>
                        </a:lnTo>
                        <a:lnTo>
                          <a:pt x="1542" y="977"/>
                        </a:lnTo>
                        <a:lnTo>
                          <a:pt x="1544" y="988"/>
                        </a:lnTo>
                        <a:lnTo>
                          <a:pt x="1533" y="1001"/>
                        </a:lnTo>
                        <a:lnTo>
                          <a:pt x="1516" y="1011"/>
                        </a:lnTo>
                        <a:lnTo>
                          <a:pt x="1488" y="1020"/>
                        </a:lnTo>
                        <a:lnTo>
                          <a:pt x="1474" y="1021"/>
                        </a:lnTo>
                        <a:lnTo>
                          <a:pt x="1427" y="1047"/>
                        </a:lnTo>
                        <a:lnTo>
                          <a:pt x="1417" y="1046"/>
                        </a:lnTo>
                        <a:lnTo>
                          <a:pt x="1374" y="1068"/>
                        </a:lnTo>
                        <a:lnTo>
                          <a:pt x="1351" y="1077"/>
                        </a:lnTo>
                        <a:lnTo>
                          <a:pt x="1343" y="1086"/>
                        </a:lnTo>
                        <a:lnTo>
                          <a:pt x="1333" y="1085"/>
                        </a:lnTo>
                        <a:lnTo>
                          <a:pt x="1303" y="1099"/>
                        </a:lnTo>
                        <a:lnTo>
                          <a:pt x="1297" y="1117"/>
                        </a:lnTo>
                        <a:lnTo>
                          <a:pt x="1288" y="1130"/>
                        </a:lnTo>
                        <a:lnTo>
                          <a:pt x="1281" y="1147"/>
                        </a:lnTo>
                        <a:lnTo>
                          <a:pt x="1252" y="1162"/>
                        </a:lnTo>
                        <a:lnTo>
                          <a:pt x="1228" y="1158"/>
                        </a:lnTo>
                        <a:lnTo>
                          <a:pt x="1227" y="1172"/>
                        </a:lnTo>
                        <a:lnTo>
                          <a:pt x="1222" y="1181"/>
                        </a:lnTo>
                        <a:lnTo>
                          <a:pt x="1203" y="1199"/>
                        </a:lnTo>
                        <a:lnTo>
                          <a:pt x="1202" y="1214"/>
                        </a:lnTo>
                        <a:lnTo>
                          <a:pt x="1194" y="1237"/>
                        </a:lnTo>
                        <a:lnTo>
                          <a:pt x="1193" y="1246"/>
                        </a:lnTo>
                        <a:lnTo>
                          <a:pt x="1178" y="1272"/>
                        </a:lnTo>
                        <a:lnTo>
                          <a:pt x="1169" y="1278"/>
                        </a:lnTo>
                        <a:lnTo>
                          <a:pt x="1147" y="1284"/>
                        </a:lnTo>
                        <a:lnTo>
                          <a:pt x="1121" y="1286"/>
                        </a:lnTo>
                        <a:lnTo>
                          <a:pt x="1114" y="1268"/>
                        </a:lnTo>
                        <a:lnTo>
                          <a:pt x="1109" y="1266"/>
                        </a:lnTo>
                        <a:lnTo>
                          <a:pt x="1074" y="1294"/>
                        </a:lnTo>
                        <a:lnTo>
                          <a:pt x="1043" y="1301"/>
                        </a:lnTo>
                        <a:lnTo>
                          <a:pt x="1029" y="1313"/>
                        </a:lnTo>
                        <a:lnTo>
                          <a:pt x="1012" y="1309"/>
                        </a:lnTo>
                        <a:lnTo>
                          <a:pt x="1006" y="1298"/>
                        </a:lnTo>
                        <a:lnTo>
                          <a:pt x="1002" y="1274"/>
                        </a:lnTo>
                        <a:lnTo>
                          <a:pt x="1003" y="1234"/>
                        </a:lnTo>
                        <a:lnTo>
                          <a:pt x="998" y="1218"/>
                        </a:lnTo>
                        <a:lnTo>
                          <a:pt x="997" y="1197"/>
                        </a:lnTo>
                        <a:lnTo>
                          <a:pt x="993" y="1186"/>
                        </a:lnTo>
                        <a:lnTo>
                          <a:pt x="966" y="1158"/>
                        </a:lnTo>
                        <a:lnTo>
                          <a:pt x="954" y="1137"/>
                        </a:lnTo>
                        <a:lnTo>
                          <a:pt x="943" y="1124"/>
                        </a:lnTo>
                        <a:lnTo>
                          <a:pt x="943" y="1117"/>
                        </a:lnTo>
                        <a:lnTo>
                          <a:pt x="927" y="1112"/>
                        </a:lnTo>
                        <a:lnTo>
                          <a:pt x="914" y="1112"/>
                        </a:lnTo>
                        <a:lnTo>
                          <a:pt x="926" y="1091"/>
                        </a:lnTo>
                        <a:lnTo>
                          <a:pt x="927" y="1079"/>
                        </a:lnTo>
                        <a:lnTo>
                          <a:pt x="936" y="1066"/>
                        </a:lnTo>
                        <a:lnTo>
                          <a:pt x="949" y="1054"/>
                        </a:lnTo>
                        <a:lnTo>
                          <a:pt x="972" y="1028"/>
                        </a:lnTo>
                        <a:lnTo>
                          <a:pt x="988" y="1018"/>
                        </a:lnTo>
                        <a:lnTo>
                          <a:pt x="994" y="1006"/>
                        </a:lnTo>
                        <a:lnTo>
                          <a:pt x="1002" y="996"/>
                        </a:lnTo>
                        <a:lnTo>
                          <a:pt x="1004" y="972"/>
                        </a:lnTo>
                        <a:lnTo>
                          <a:pt x="1022" y="966"/>
                        </a:lnTo>
                        <a:lnTo>
                          <a:pt x="1039" y="964"/>
                        </a:lnTo>
                        <a:lnTo>
                          <a:pt x="1042" y="956"/>
                        </a:lnTo>
                        <a:lnTo>
                          <a:pt x="1031" y="944"/>
                        </a:lnTo>
                        <a:lnTo>
                          <a:pt x="1029" y="929"/>
                        </a:lnTo>
                        <a:lnTo>
                          <a:pt x="1044" y="916"/>
                        </a:lnTo>
                        <a:lnTo>
                          <a:pt x="1063" y="891"/>
                        </a:lnTo>
                        <a:lnTo>
                          <a:pt x="1069" y="878"/>
                        </a:lnTo>
                        <a:lnTo>
                          <a:pt x="1087" y="871"/>
                        </a:lnTo>
                        <a:lnTo>
                          <a:pt x="1096" y="863"/>
                        </a:lnTo>
                        <a:lnTo>
                          <a:pt x="1103" y="841"/>
                        </a:lnTo>
                        <a:lnTo>
                          <a:pt x="1123" y="827"/>
                        </a:lnTo>
                        <a:lnTo>
                          <a:pt x="1122" y="812"/>
                        </a:lnTo>
                        <a:lnTo>
                          <a:pt x="1109" y="806"/>
                        </a:lnTo>
                        <a:lnTo>
                          <a:pt x="1111" y="792"/>
                        </a:lnTo>
                        <a:lnTo>
                          <a:pt x="1107" y="759"/>
                        </a:lnTo>
                        <a:lnTo>
                          <a:pt x="1111" y="752"/>
                        </a:lnTo>
                        <a:lnTo>
                          <a:pt x="1114" y="725"/>
                        </a:lnTo>
                        <a:lnTo>
                          <a:pt x="1107" y="720"/>
                        </a:lnTo>
                        <a:lnTo>
                          <a:pt x="1108" y="706"/>
                        </a:lnTo>
                        <a:lnTo>
                          <a:pt x="1136" y="708"/>
                        </a:lnTo>
                        <a:lnTo>
                          <a:pt x="1144" y="706"/>
                        </a:lnTo>
                        <a:lnTo>
                          <a:pt x="1176" y="712"/>
                        </a:lnTo>
                        <a:lnTo>
                          <a:pt x="1186" y="710"/>
                        </a:lnTo>
                        <a:lnTo>
                          <a:pt x="1219" y="718"/>
                        </a:lnTo>
                        <a:lnTo>
                          <a:pt x="1247" y="720"/>
                        </a:lnTo>
                        <a:lnTo>
                          <a:pt x="1276" y="716"/>
                        </a:lnTo>
                        <a:close/>
                        <a:moveTo>
                          <a:pt x="1542" y="469"/>
                        </a:moveTo>
                        <a:lnTo>
                          <a:pt x="1549" y="478"/>
                        </a:lnTo>
                        <a:lnTo>
                          <a:pt x="1538" y="498"/>
                        </a:lnTo>
                        <a:lnTo>
                          <a:pt x="1527" y="509"/>
                        </a:lnTo>
                        <a:lnTo>
                          <a:pt x="1512" y="533"/>
                        </a:lnTo>
                        <a:lnTo>
                          <a:pt x="1511" y="541"/>
                        </a:lnTo>
                        <a:lnTo>
                          <a:pt x="1489" y="559"/>
                        </a:lnTo>
                        <a:lnTo>
                          <a:pt x="1489" y="565"/>
                        </a:lnTo>
                        <a:lnTo>
                          <a:pt x="1467" y="577"/>
                        </a:lnTo>
                        <a:lnTo>
                          <a:pt x="1443" y="558"/>
                        </a:lnTo>
                        <a:lnTo>
                          <a:pt x="1434" y="550"/>
                        </a:lnTo>
                        <a:lnTo>
                          <a:pt x="1440" y="538"/>
                        </a:lnTo>
                        <a:lnTo>
                          <a:pt x="1462" y="523"/>
                        </a:lnTo>
                        <a:lnTo>
                          <a:pt x="1487" y="497"/>
                        </a:lnTo>
                        <a:lnTo>
                          <a:pt x="1513" y="491"/>
                        </a:lnTo>
                        <a:lnTo>
                          <a:pt x="1518" y="482"/>
                        </a:lnTo>
                        <a:lnTo>
                          <a:pt x="1542" y="469"/>
                        </a:lnTo>
                        <a:close/>
                        <a:moveTo>
                          <a:pt x="1903" y="521"/>
                        </a:moveTo>
                        <a:lnTo>
                          <a:pt x="1898" y="509"/>
                        </a:lnTo>
                        <a:lnTo>
                          <a:pt x="1888" y="503"/>
                        </a:lnTo>
                        <a:lnTo>
                          <a:pt x="1891" y="484"/>
                        </a:lnTo>
                        <a:lnTo>
                          <a:pt x="1911" y="469"/>
                        </a:lnTo>
                        <a:lnTo>
                          <a:pt x="1903" y="521"/>
                        </a:lnTo>
                        <a:close/>
                        <a:moveTo>
                          <a:pt x="1882" y="654"/>
                        </a:moveTo>
                        <a:lnTo>
                          <a:pt x="1862" y="787"/>
                        </a:lnTo>
                        <a:lnTo>
                          <a:pt x="1843" y="796"/>
                        </a:lnTo>
                        <a:lnTo>
                          <a:pt x="1825" y="797"/>
                        </a:lnTo>
                        <a:lnTo>
                          <a:pt x="1828" y="807"/>
                        </a:lnTo>
                        <a:lnTo>
                          <a:pt x="1804" y="824"/>
                        </a:lnTo>
                        <a:lnTo>
                          <a:pt x="1783" y="829"/>
                        </a:lnTo>
                        <a:lnTo>
                          <a:pt x="1768" y="841"/>
                        </a:lnTo>
                        <a:lnTo>
                          <a:pt x="1737" y="845"/>
                        </a:lnTo>
                        <a:lnTo>
                          <a:pt x="1725" y="850"/>
                        </a:lnTo>
                        <a:lnTo>
                          <a:pt x="1695" y="847"/>
                        </a:lnTo>
                        <a:lnTo>
                          <a:pt x="1663" y="832"/>
                        </a:lnTo>
                        <a:lnTo>
                          <a:pt x="1643" y="805"/>
                        </a:lnTo>
                        <a:lnTo>
                          <a:pt x="1635" y="788"/>
                        </a:lnTo>
                        <a:lnTo>
                          <a:pt x="1634" y="780"/>
                        </a:lnTo>
                        <a:lnTo>
                          <a:pt x="1648" y="767"/>
                        </a:lnTo>
                        <a:lnTo>
                          <a:pt x="1674" y="758"/>
                        </a:lnTo>
                        <a:lnTo>
                          <a:pt x="1688" y="760"/>
                        </a:lnTo>
                        <a:lnTo>
                          <a:pt x="1704" y="752"/>
                        </a:lnTo>
                        <a:lnTo>
                          <a:pt x="1710" y="743"/>
                        </a:lnTo>
                        <a:lnTo>
                          <a:pt x="1728" y="738"/>
                        </a:lnTo>
                        <a:lnTo>
                          <a:pt x="1764" y="741"/>
                        </a:lnTo>
                        <a:lnTo>
                          <a:pt x="1778" y="747"/>
                        </a:lnTo>
                        <a:lnTo>
                          <a:pt x="1789" y="745"/>
                        </a:lnTo>
                        <a:lnTo>
                          <a:pt x="1805" y="732"/>
                        </a:lnTo>
                        <a:lnTo>
                          <a:pt x="1808" y="726"/>
                        </a:lnTo>
                        <a:lnTo>
                          <a:pt x="1820" y="717"/>
                        </a:lnTo>
                        <a:lnTo>
                          <a:pt x="1827" y="703"/>
                        </a:lnTo>
                        <a:lnTo>
                          <a:pt x="1813" y="698"/>
                        </a:lnTo>
                        <a:lnTo>
                          <a:pt x="1804" y="712"/>
                        </a:lnTo>
                        <a:lnTo>
                          <a:pt x="1788" y="717"/>
                        </a:lnTo>
                        <a:lnTo>
                          <a:pt x="1769" y="713"/>
                        </a:lnTo>
                        <a:lnTo>
                          <a:pt x="1754" y="716"/>
                        </a:lnTo>
                        <a:lnTo>
                          <a:pt x="1739" y="703"/>
                        </a:lnTo>
                        <a:lnTo>
                          <a:pt x="1729" y="713"/>
                        </a:lnTo>
                        <a:lnTo>
                          <a:pt x="1718" y="712"/>
                        </a:lnTo>
                        <a:lnTo>
                          <a:pt x="1688" y="716"/>
                        </a:lnTo>
                        <a:lnTo>
                          <a:pt x="1677" y="713"/>
                        </a:lnTo>
                        <a:lnTo>
                          <a:pt x="1679" y="690"/>
                        </a:lnTo>
                        <a:lnTo>
                          <a:pt x="1692" y="661"/>
                        </a:lnTo>
                        <a:lnTo>
                          <a:pt x="1680" y="653"/>
                        </a:lnTo>
                        <a:lnTo>
                          <a:pt x="1668" y="680"/>
                        </a:lnTo>
                        <a:lnTo>
                          <a:pt x="1660" y="686"/>
                        </a:lnTo>
                        <a:lnTo>
                          <a:pt x="1649" y="707"/>
                        </a:lnTo>
                        <a:lnTo>
                          <a:pt x="1620" y="720"/>
                        </a:lnTo>
                        <a:lnTo>
                          <a:pt x="1611" y="711"/>
                        </a:lnTo>
                        <a:lnTo>
                          <a:pt x="1615" y="693"/>
                        </a:lnTo>
                        <a:lnTo>
                          <a:pt x="1604" y="690"/>
                        </a:lnTo>
                        <a:lnTo>
                          <a:pt x="1594" y="678"/>
                        </a:lnTo>
                        <a:lnTo>
                          <a:pt x="1594" y="701"/>
                        </a:lnTo>
                        <a:lnTo>
                          <a:pt x="1583" y="712"/>
                        </a:lnTo>
                        <a:lnTo>
                          <a:pt x="1564" y="693"/>
                        </a:lnTo>
                        <a:lnTo>
                          <a:pt x="1559" y="677"/>
                        </a:lnTo>
                        <a:lnTo>
                          <a:pt x="1567" y="660"/>
                        </a:lnTo>
                        <a:lnTo>
                          <a:pt x="1552" y="662"/>
                        </a:lnTo>
                        <a:lnTo>
                          <a:pt x="1538" y="671"/>
                        </a:lnTo>
                        <a:lnTo>
                          <a:pt x="1506" y="648"/>
                        </a:lnTo>
                        <a:lnTo>
                          <a:pt x="1501" y="638"/>
                        </a:lnTo>
                        <a:lnTo>
                          <a:pt x="1502" y="628"/>
                        </a:lnTo>
                        <a:lnTo>
                          <a:pt x="1528" y="601"/>
                        </a:lnTo>
                        <a:lnTo>
                          <a:pt x="1533" y="598"/>
                        </a:lnTo>
                        <a:lnTo>
                          <a:pt x="1569" y="607"/>
                        </a:lnTo>
                        <a:lnTo>
                          <a:pt x="1589" y="611"/>
                        </a:lnTo>
                        <a:lnTo>
                          <a:pt x="1616" y="596"/>
                        </a:lnTo>
                        <a:lnTo>
                          <a:pt x="1632" y="596"/>
                        </a:lnTo>
                        <a:lnTo>
                          <a:pt x="1629" y="583"/>
                        </a:lnTo>
                        <a:lnTo>
                          <a:pt x="1613" y="583"/>
                        </a:lnTo>
                        <a:lnTo>
                          <a:pt x="1589" y="592"/>
                        </a:lnTo>
                        <a:lnTo>
                          <a:pt x="1538" y="581"/>
                        </a:lnTo>
                        <a:lnTo>
                          <a:pt x="1539" y="568"/>
                        </a:lnTo>
                        <a:lnTo>
                          <a:pt x="1563" y="543"/>
                        </a:lnTo>
                        <a:lnTo>
                          <a:pt x="1616" y="546"/>
                        </a:lnTo>
                        <a:lnTo>
                          <a:pt x="1627" y="548"/>
                        </a:lnTo>
                        <a:lnTo>
                          <a:pt x="1661" y="548"/>
                        </a:lnTo>
                        <a:lnTo>
                          <a:pt x="1663" y="541"/>
                        </a:lnTo>
                        <a:lnTo>
                          <a:pt x="1598" y="534"/>
                        </a:lnTo>
                        <a:lnTo>
                          <a:pt x="1576" y="523"/>
                        </a:lnTo>
                        <a:lnTo>
                          <a:pt x="1578" y="512"/>
                        </a:lnTo>
                        <a:lnTo>
                          <a:pt x="1591" y="508"/>
                        </a:lnTo>
                        <a:lnTo>
                          <a:pt x="1583" y="493"/>
                        </a:lnTo>
                        <a:lnTo>
                          <a:pt x="1596" y="474"/>
                        </a:lnTo>
                        <a:lnTo>
                          <a:pt x="1614" y="471"/>
                        </a:lnTo>
                        <a:lnTo>
                          <a:pt x="1629" y="477"/>
                        </a:lnTo>
                        <a:lnTo>
                          <a:pt x="1647" y="481"/>
                        </a:lnTo>
                        <a:lnTo>
                          <a:pt x="1659" y="488"/>
                        </a:lnTo>
                        <a:lnTo>
                          <a:pt x="1667" y="481"/>
                        </a:lnTo>
                        <a:lnTo>
                          <a:pt x="1657" y="473"/>
                        </a:lnTo>
                        <a:lnTo>
                          <a:pt x="1634" y="468"/>
                        </a:lnTo>
                        <a:lnTo>
                          <a:pt x="1629" y="457"/>
                        </a:lnTo>
                        <a:lnTo>
                          <a:pt x="1636" y="442"/>
                        </a:lnTo>
                        <a:lnTo>
                          <a:pt x="1656" y="427"/>
                        </a:lnTo>
                        <a:lnTo>
                          <a:pt x="1707" y="429"/>
                        </a:lnTo>
                        <a:lnTo>
                          <a:pt x="1717" y="437"/>
                        </a:lnTo>
                        <a:lnTo>
                          <a:pt x="1718" y="454"/>
                        </a:lnTo>
                        <a:lnTo>
                          <a:pt x="1713" y="467"/>
                        </a:lnTo>
                        <a:lnTo>
                          <a:pt x="1718" y="482"/>
                        </a:lnTo>
                        <a:lnTo>
                          <a:pt x="1717" y="494"/>
                        </a:lnTo>
                        <a:lnTo>
                          <a:pt x="1729" y="494"/>
                        </a:lnTo>
                        <a:lnTo>
                          <a:pt x="1748" y="486"/>
                        </a:lnTo>
                        <a:lnTo>
                          <a:pt x="1764" y="487"/>
                        </a:lnTo>
                        <a:lnTo>
                          <a:pt x="1773" y="503"/>
                        </a:lnTo>
                        <a:lnTo>
                          <a:pt x="1787" y="512"/>
                        </a:lnTo>
                        <a:lnTo>
                          <a:pt x="1782" y="523"/>
                        </a:lnTo>
                        <a:lnTo>
                          <a:pt x="1786" y="539"/>
                        </a:lnTo>
                        <a:lnTo>
                          <a:pt x="1797" y="546"/>
                        </a:lnTo>
                        <a:lnTo>
                          <a:pt x="1807" y="559"/>
                        </a:lnTo>
                        <a:lnTo>
                          <a:pt x="1808" y="571"/>
                        </a:lnTo>
                        <a:lnTo>
                          <a:pt x="1788" y="577"/>
                        </a:lnTo>
                        <a:lnTo>
                          <a:pt x="1819" y="589"/>
                        </a:lnTo>
                        <a:lnTo>
                          <a:pt x="1822" y="611"/>
                        </a:lnTo>
                        <a:lnTo>
                          <a:pt x="1817" y="629"/>
                        </a:lnTo>
                        <a:lnTo>
                          <a:pt x="1821" y="647"/>
                        </a:lnTo>
                        <a:lnTo>
                          <a:pt x="1858" y="644"/>
                        </a:lnTo>
                        <a:lnTo>
                          <a:pt x="1862" y="652"/>
                        </a:lnTo>
                        <a:lnTo>
                          <a:pt x="1882" y="654"/>
                        </a:lnTo>
                        <a:close/>
                        <a:moveTo>
                          <a:pt x="1754" y="359"/>
                        </a:moveTo>
                        <a:lnTo>
                          <a:pt x="1763" y="371"/>
                        </a:lnTo>
                        <a:lnTo>
                          <a:pt x="1763" y="384"/>
                        </a:lnTo>
                        <a:lnTo>
                          <a:pt x="1750" y="396"/>
                        </a:lnTo>
                        <a:lnTo>
                          <a:pt x="1743" y="391"/>
                        </a:lnTo>
                        <a:lnTo>
                          <a:pt x="1717" y="384"/>
                        </a:lnTo>
                        <a:lnTo>
                          <a:pt x="1698" y="373"/>
                        </a:lnTo>
                        <a:lnTo>
                          <a:pt x="1702" y="364"/>
                        </a:lnTo>
                        <a:lnTo>
                          <a:pt x="1723" y="353"/>
                        </a:lnTo>
                        <a:lnTo>
                          <a:pt x="1749" y="356"/>
                        </a:lnTo>
                        <a:lnTo>
                          <a:pt x="1754" y="359"/>
                        </a:lnTo>
                        <a:close/>
                        <a:moveTo>
                          <a:pt x="1673" y="219"/>
                        </a:moveTo>
                        <a:lnTo>
                          <a:pt x="1687" y="232"/>
                        </a:lnTo>
                        <a:lnTo>
                          <a:pt x="1698" y="257"/>
                        </a:lnTo>
                        <a:lnTo>
                          <a:pt x="1689" y="266"/>
                        </a:lnTo>
                        <a:lnTo>
                          <a:pt x="1678" y="267"/>
                        </a:lnTo>
                        <a:lnTo>
                          <a:pt x="1670" y="273"/>
                        </a:lnTo>
                        <a:lnTo>
                          <a:pt x="1655" y="273"/>
                        </a:lnTo>
                        <a:lnTo>
                          <a:pt x="1650" y="283"/>
                        </a:lnTo>
                        <a:lnTo>
                          <a:pt x="1649" y="304"/>
                        </a:lnTo>
                        <a:lnTo>
                          <a:pt x="1663" y="322"/>
                        </a:lnTo>
                        <a:lnTo>
                          <a:pt x="1665" y="331"/>
                        </a:lnTo>
                        <a:lnTo>
                          <a:pt x="1652" y="336"/>
                        </a:lnTo>
                        <a:lnTo>
                          <a:pt x="1643" y="325"/>
                        </a:lnTo>
                        <a:lnTo>
                          <a:pt x="1637" y="330"/>
                        </a:lnTo>
                        <a:lnTo>
                          <a:pt x="1648" y="350"/>
                        </a:lnTo>
                        <a:lnTo>
                          <a:pt x="1649" y="376"/>
                        </a:lnTo>
                        <a:lnTo>
                          <a:pt x="1637" y="388"/>
                        </a:lnTo>
                        <a:lnTo>
                          <a:pt x="1624" y="394"/>
                        </a:lnTo>
                        <a:lnTo>
                          <a:pt x="1604" y="392"/>
                        </a:lnTo>
                        <a:lnTo>
                          <a:pt x="1587" y="398"/>
                        </a:lnTo>
                        <a:lnTo>
                          <a:pt x="1585" y="432"/>
                        </a:lnTo>
                        <a:lnTo>
                          <a:pt x="1573" y="443"/>
                        </a:lnTo>
                        <a:lnTo>
                          <a:pt x="1562" y="447"/>
                        </a:lnTo>
                        <a:lnTo>
                          <a:pt x="1553" y="442"/>
                        </a:lnTo>
                        <a:lnTo>
                          <a:pt x="1544" y="428"/>
                        </a:lnTo>
                        <a:lnTo>
                          <a:pt x="1539" y="412"/>
                        </a:lnTo>
                        <a:lnTo>
                          <a:pt x="1544" y="392"/>
                        </a:lnTo>
                        <a:lnTo>
                          <a:pt x="1549" y="387"/>
                        </a:lnTo>
                        <a:lnTo>
                          <a:pt x="1549" y="373"/>
                        </a:lnTo>
                        <a:lnTo>
                          <a:pt x="1555" y="358"/>
                        </a:lnTo>
                        <a:lnTo>
                          <a:pt x="1569" y="341"/>
                        </a:lnTo>
                        <a:lnTo>
                          <a:pt x="1565" y="331"/>
                        </a:lnTo>
                        <a:lnTo>
                          <a:pt x="1554" y="341"/>
                        </a:lnTo>
                        <a:lnTo>
                          <a:pt x="1542" y="336"/>
                        </a:lnTo>
                        <a:lnTo>
                          <a:pt x="1535" y="361"/>
                        </a:lnTo>
                        <a:lnTo>
                          <a:pt x="1533" y="376"/>
                        </a:lnTo>
                        <a:lnTo>
                          <a:pt x="1524" y="378"/>
                        </a:lnTo>
                        <a:lnTo>
                          <a:pt x="1502" y="377"/>
                        </a:lnTo>
                        <a:lnTo>
                          <a:pt x="1510" y="398"/>
                        </a:lnTo>
                        <a:lnTo>
                          <a:pt x="1510" y="416"/>
                        </a:lnTo>
                        <a:lnTo>
                          <a:pt x="1504" y="426"/>
                        </a:lnTo>
                        <a:lnTo>
                          <a:pt x="1489" y="430"/>
                        </a:lnTo>
                        <a:lnTo>
                          <a:pt x="1487" y="446"/>
                        </a:lnTo>
                        <a:lnTo>
                          <a:pt x="1477" y="453"/>
                        </a:lnTo>
                        <a:lnTo>
                          <a:pt x="1468" y="453"/>
                        </a:lnTo>
                        <a:lnTo>
                          <a:pt x="1469" y="438"/>
                        </a:lnTo>
                        <a:lnTo>
                          <a:pt x="1465" y="418"/>
                        </a:lnTo>
                        <a:lnTo>
                          <a:pt x="1454" y="418"/>
                        </a:lnTo>
                        <a:lnTo>
                          <a:pt x="1455" y="438"/>
                        </a:lnTo>
                        <a:lnTo>
                          <a:pt x="1447" y="452"/>
                        </a:lnTo>
                        <a:lnTo>
                          <a:pt x="1453" y="464"/>
                        </a:lnTo>
                        <a:lnTo>
                          <a:pt x="1442" y="472"/>
                        </a:lnTo>
                        <a:lnTo>
                          <a:pt x="1437" y="484"/>
                        </a:lnTo>
                        <a:lnTo>
                          <a:pt x="1425" y="494"/>
                        </a:lnTo>
                        <a:lnTo>
                          <a:pt x="1407" y="494"/>
                        </a:lnTo>
                        <a:lnTo>
                          <a:pt x="1397" y="488"/>
                        </a:lnTo>
                        <a:lnTo>
                          <a:pt x="1408" y="466"/>
                        </a:lnTo>
                        <a:lnTo>
                          <a:pt x="1407" y="457"/>
                        </a:lnTo>
                        <a:lnTo>
                          <a:pt x="1395" y="451"/>
                        </a:lnTo>
                        <a:lnTo>
                          <a:pt x="1403" y="426"/>
                        </a:lnTo>
                        <a:lnTo>
                          <a:pt x="1397" y="416"/>
                        </a:lnTo>
                        <a:lnTo>
                          <a:pt x="1390" y="422"/>
                        </a:lnTo>
                        <a:lnTo>
                          <a:pt x="1383" y="441"/>
                        </a:lnTo>
                        <a:lnTo>
                          <a:pt x="1383" y="451"/>
                        </a:lnTo>
                        <a:lnTo>
                          <a:pt x="1358" y="457"/>
                        </a:lnTo>
                        <a:lnTo>
                          <a:pt x="1357" y="448"/>
                        </a:lnTo>
                        <a:lnTo>
                          <a:pt x="1344" y="433"/>
                        </a:lnTo>
                        <a:lnTo>
                          <a:pt x="1330" y="432"/>
                        </a:lnTo>
                        <a:lnTo>
                          <a:pt x="1324" y="441"/>
                        </a:lnTo>
                        <a:lnTo>
                          <a:pt x="1312" y="446"/>
                        </a:lnTo>
                        <a:lnTo>
                          <a:pt x="1299" y="433"/>
                        </a:lnTo>
                        <a:lnTo>
                          <a:pt x="1318" y="413"/>
                        </a:lnTo>
                        <a:lnTo>
                          <a:pt x="1320" y="406"/>
                        </a:lnTo>
                        <a:lnTo>
                          <a:pt x="1305" y="393"/>
                        </a:lnTo>
                        <a:lnTo>
                          <a:pt x="1310" y="383"/>
                        </a:lnTo>
                        <a:lnTo>
                          <a:pt x="1320" y="380"/>
                        </a:lnTo>
                        <a:lnTo>
                          <a:pt x="1328" y="363"/>
                        </a:lnTo>
                        <a:lnTo>
                          <a:pt x="1340" y="356"/>
                        </a:lnTo>
                        <a:lnTo>
                          <a:pt x="1360" y="356"/>
                        </a:lnTo>
                        <a:lnTo>
                          <a:pt x="1379" y="362"/>
                        </a:lnTo>
                        <a:lnTo>
                          <a:pt x="1392" y="341"/>
                        </a:lnTo>
                        <a:lnTo>
                          <a:pt x="1404" y="331"/>
                        </a:lnTo>
                        <a:lnTo>
                          <a:pt x="1408" y="320"/>
                        </a:lnTo>
                        <a:lnTo>
                          <a:pt x="1422" y="320"/>
                        </a:lnTo>
                        <a:lnTo>
                          <a:pt x="1429" y="313"/>
                        </a:lnTo>
                        <a:lnTo>
                          <a:pt x="1442" y="312"/>
                        </a:lnTo>
                        <a:lnTo>
                          <a:pt x="1453" y="303"/>
                        </a:lnTo>
                        <a:lnTo>
                          <a:pt x="1453" y="292"/>
                        </a:lnTo>
                        <a:lnTo>
                          <a:pt x="1464" y="288"/>
                        </a:lnTo>
                        <a:lnTo>
                          <a:pt x="1475" y="270"/>
                        </a:lnTo>
                        <a:lnTo>
                          <a:pt x="1483" y="268"/>
                        </a:lnTo>
                        <a:lnTo>
                          <a:pt x="1492" y="255"/>
                        </a:lnTo>
                        <a:lnTo>
                          <a:pt x="1517" y="241"/>
                        </a:lnTo>
                        <a:lnTo>
                          <a:pt x="1525" y="223"/>
                        </a:lnTo>
                        <a:lnTo>
                          <a:pt x="1535" y="217"/>
                        </a:lnTo>
                        <a:lnTo>
                          <a:pt x="1550" y="213"/>
                        </a:lnTo>
                        <a:lnTo>
                          <a:pt x="1578" y="221"/>
                        </a:lnTo>
                        <a:lnTo>
                          <a:pt x="1594" y="218"/>
                        </a:lnTo>
                        <a:lnTo>
                          <a:pt x="1597" y="230"/>
                        </a:lnTo>
                        <a:lnTo>
                          <a:pt x="1608" y="233"/>
                        </a:lnTo>
                        <a:lnTo>
                          <a:pt x="1615" y="246"/>
                        </a:lnTo>
                        <a:lnTo>
                          <a:pt x="1634" y="243"/>
                        </a:lnTo>
                        <a:lnTo>
                          <a:pt x="1647" y="231"/>
                        </a:lnTo>
                        <a:lnTo>
                          <a:pt x="1632" y="226"/>
                        </a:lnTo>
                        <a:lnTo>
                          <a:pt x="1628" y="212"/>
                        </a:lnTo>
                        <a:lnTo>
                          <a:pt x="1639" y="211"/>
                        </a:lnTo>
                        <a:lnTo>
                          <a:pt x="1664" y="198"/>
                        </a:lnTo>
                        <a:lnTo>
                          <a:pt x="1673" y="219"/>
                        </a:lnTo>
                        <a:close/>
                        <a:moveTo>
                          <a:pt x="1774" y="126"/>
                        </a:moveTo>
                        <a:lnTo>
                          <a:pt x="1783" y="131"/>
                        </a:lnTo>
                        <a:lnTo>
                          <a:pt x="1787" y="150"/>
                        </a:lnTo>
                        <a:lnTo>
                          <a:pt x="1794" y="155"/>
                        </a:lnTo>
                        <a:lnTo>
                          <a:pt x="1797" y="175"/>
                        </a:lnTo>
                        <a:lnTo>
                          <a:pt x="1790" y="182"/>
                        </a:lnTo>
                        <a:lnTo>
                          <a:pt x="1768" y="191"/>
                        </a:lnTo>
                        <a:lnTo>
                          <a:pt x="1763" y="188"/>
                        </a:lnTo>
                        <a:lnTo>
                          <a:pt x="1744" y="153"/>
                        </a:lnTo>
                        <a:lnTo>
                          <a:pt x="1738" y="131"/>
                        </a:lnTo>
                        <a:lnTo>
                          <a:pt x="1753" y="128"/>
                        </a:lnTo>
                        <a:lnTo>
                          <a:pt x="1761" y="119"/>
                        </a:lnTo>
                        <a:lnTo>
                          <a:pt x="1778" y="117"/>
                        </a:lnTo>
                        <a:lnTo>
                          <a:pt x="1774" y="126"/>
                        </a:lnTo>
                        <a:close/>
                        <a:moveTo>
                          <a:pt x="1962" y="142"/>
                        </a:moveTo>
                        <a:lnTo>
                          <a:pt x="1957" y="177"/>
                        </a:lnTo>
                        <a:lnTo>
                          <a:pt x="1945" y="182"/>
                        </a:lnTo>
                        <a:lnTo>
                          <a:pt x="1918" y="183"/>
                        </a:lnTo>
                        <a:lnTo>
                          <a:pt x="1915" y="193"/>
                        </a:lnTo>
                        <a:lnTo>
                          <a:pt x="1920" y="206"/>
                        </a:lnTo>
                        <a:lnTo>
                          <a:pt x="1947" y="207"/>
                        </a:lnTo>
                        <a:lnTo>
                          <a:pt x="1944" y="238"/>
                        </a:lnTo>
                        <a:lnTo>
                          <a:pt x="1942" y="249"/>
                        </a:lnTo>
                        <a:lnTo>
                          <a:pt x="1933" y="263"/>
                        </a:lnTo>
                        <a:lnTo>
                          <a:pt x="1900" y="277"/>
                        </a:lnTo>
                        <a:lnTo>
                          <a:pt x="1884" y="269"/>
                        </a:lnTo>
                        <a:lnTo>
                          <a:pt x="1878" y="274"/>
                        </a:lnTo>
                        <a:lnTo>
                          <a:pt x="1844" y="284"/>
                        </a:lnTo>
                        <a:lnTo>
                          <a:pt x="1829" y="273"/>
                        </a:lnTo>
                        <a:lnTo>
                          <a:pt x="1827" y="254"/>
                        </a:lnTo>
                        <a:lnTo>
                          <a:pt x="1812" y="248"/>
                        </a:lnTo>
                        <a:lnTo>
                          <a:pt x="1803" y="236"/>
                        </a:lnTo>
                        <a:lnTo>
                          <a:pt x="1807" y="206"/>
                        </a:lnTo>
                        <a:lnTo>
                          <a:pt x="1812" y="192"/>
                        </a:lnTo>
                        <a:lnTo>
                          <a:pt x="1809" y="177"/>
                        </a:lnTo>
                        <a:lnTo>
                          <a:pt x="1815" y="158"/>
                        </a:lnTo>
                        <a:lnTo>
                          <a:pt x="1830" y="156"/>
                        </a:lnTo>
                        <a:lnTo>
                          <a:pt x="1862" y="143"/>
                        </a:lnTo>
                        <a:lnTo>
                          <a:pt x="1888" y="143"/>
                        </a:lnTo>
                        <a:lnTo>
                          <a:pt x="1895" y="138"/>
                        </a:lnTo>
                        <a:lnTo>
                          <a:pt x="1932" y="136"/>
                        </a:lnTo>
                        <a:lnTo>
                          <a:pt x="1962" y="142"/>
                        </a:lnTo>
                        <a:close/>
                        <a:moveTo>
                          <a:pt x="1980" y="18"/>
                        </a:moveTo>
                        <a:lnTo>
                          <a:pt x="1969" y="94"/>
                        </a:lnTo>
                        <a:lnTo>
                          <a:pt x="1954" y="101"/>
                        </a:lnTo>
                        <a:lnTo>
                          <a:pt x="1933" y="91"/>
                        </a:lnTo>
                        <a:lnTo>
                          <a:pt x="1923" y="73"/>
                        </a:lnTo>
                        <a:lnTo>
                          <a:pt x="1910" y="84"/>
                        </a:lnTo>
                        <a:lnTo>
                          <a:pt x="1907" y="96"/>
                        </a:lnTo>
                        <a:lnTo>
                          <a:pt x="1892" y="93"/>
                        </a:lnTo>
                        <a:lnTo>
                          <a:pt x="1889" y="81"/>
                        </a:lnTo>
                        <a:lnTo>
                          <a:pt x="1879" y="68"/>
                        </a:lnTo>
                        <a:lnTo>
                          <a:pt x="1853" y="74"/>
                        </a:lnTo>
                        <a:lnTo>
                          <a:pt x="1838" y="83"/>
                        </a:lnTo>
                        <a:lnTo>
                          <a:pt x="1830" y="79"/>
                        </a:lnTo>
                        <a:lnTo>
                          <a:pt x="1829" y="68"/>
                        </a:lnTo>
                        <a:lnTo>
                          <a:pt x="1837" y="54"/>
                        </a:lnTo>
                        <a:lnTo>
                          <a:pt x="1887" y="31"/>
                        </a:lnTo>
                        <a:lnTo>
                          <a:pt x="1900" y="36"/>
                        </a:lnTo>
                        <a:lnTo>
                          <a:pt x="1919" y="26"/>
                        </a:lnTo>
                        <a:lnTo>
                          <a:pt x="1928" y="13"/>
                        </a:lnTo>
                        <a:lnTo>
                          <a:pt x="1954" y="1"/>
                        </a:lnTo>
                        <a:lnTo>
                          <a:pt x="1967" y="0"/>
                        </a:lnTo>
                        <a:lnTo>
                          <a:pt x="1980" y="18"/>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7" name="Yukon" descr="{&quot;Key&quot;:&quot;yukon&quot;,&quot;Name&quot;:&quot;Yukon&quot;,&quot;Value&quot;:1.0,&quot;Formula&quot;:&quot;&quot;,&quot;Text&quot;:&quot;&quot;,&quot;OfficeApplication&quot;:1,&quot;HasValue&quot;:true}">
                    <a:extLst>
                      <a:ext uri="{FF2B5EF4-FFF2-40B4-BE49-F238E27FC236}">
                        <a16:creationId xmlns:a16="http://schemas.microsoft.com/office/drawing/2014/main" id="{77F9AB59-009D-2CE1-62B2-5A78E4D23F32}"/>
                      </a:ext>
                    </a:extLst>
                  </p:cNvPr>
                  <p:cNvSpPr>
                    <a:spLocks noEditPoints="1"/>
                  </p:cNvSpPr>
                  <p:nvPr/>
                </p:nvSpPr>
                <p:spPr bwMode="auto">
                  <a:xfrm>
                    <a:off x="5060071" y="1948247"/>
                    <a:ext cx="633222" cy="1002963"/>
                  </a:xfrm>
                  <a:custGeom>
                    <a:avLst/>
                    <a:gdLst>
                      <a:gd name="T0" fmla="*/ 834 w 1217"/>
                      <a:gd name="T1" fmla="*/ 439 h 1927"/>
                      <a:gd name="T2" fmla="*/ 829 w 1217"/>
                      <a:gd name="T3" fmla="*/ 482 h 1927"/>
                      <a:gd name="T4" fmla="*/ 803 w 1217"/>
                      <a:gd name="T5" fmla="*/ 534 h 1927"/>
                      <a:gd name="T6" fmla="*/ 929 w 1217"/>
                      <a:gd name="T7" fmla="*/ 606 h 1927"/>
                      <a:gd name="T8" fmla="*/ 922 w 1217"/>
                      <a:gd name="T9" fmla="*/ 664 h 1927"/>
                      <a:gd name="T10" fmla="*/ 914 w 1217"/>
                      <a:gd name="T11" fmla="*/ 701 h 1927"/>
                      <a:gd name="T12" fmla="*/ 909 w 1217"/>
                      <a:gd name="T13" fmla="*/ 725 h 1927"/>
                      <a:gd name="T14" fmla="*/ 890 w 1217"/>
                      <a:gd name="T15" fmla="*/ 761 h 1927"/>
                      <a:gd name="T16" fmla="*/ 919 w 1217"/>
                      <a:gd name="T17" fmla="*/ 779 h 1927"/>
                      <a:gd name="T18" fmla="*/ 933 w 1217"/>
                      <a:gd name="T19" fmla="*/ 802 h 1927"/>
                      <a:gd name="T20" fmla="*/ 962 w 1217"/>
                      <a:gd name="T21" fmla="*/ 812 h 1927"/>
                      <a:gd name="T22" fmla="*/ 949 w 1217"/>
                      <a:gd name="T23" fmla="*/ 837 h 1927"/>
                      <a:gd name="T24" fmla="*/ 942 w 1217"/>
                      <a:gd name="T25" fmla="*/ 875 h 1927"/>
                      <a:gd name="T26" fmla="*/ 907 w 1217"/>
                      <a:gd name="T27" fmla="*/ 907 h 1927"/>
                      <a:gd name="T28" fmla="*/ 895 w 1217"/>
                      <a:gd name="T29" fmla="*/ 935 h 1927"/>
                      <a:gd name="T30" fmla="*/ 883 w 1217"/>
                      <a:gd name="T31" fmla="*/ 972 h 1927"/>
                      <a:gd name="T32" fmla="*/ 888 w 1217"/>
                      <a:gd name="T33" fmla="*/ 992 h 1927"/>
                      <a:gd name="T34" fmla="*/ 914 w 1217"/>
                      <a:gd name="T35" fmla="*/ 1046 h 1927"/>
                      <a:gd name="T36" fmla="*/ 924 w 1217"/>
                      <a:gd name="T37" fmla="*/ 1070 h 1927"/>
                      <a:gd name="T38" fmla="*/ 947 w 1217"/>
                      <a:gd name="T39" fmla="*/ 1095 h 1927"/>
                      <a:gd name="T40" fmla="*/ 942 w 1217"/>
                      <a:gd name="T41" fmla="*/ 1155 h 1927"/>
                      <a:gd name="T42" fmla="*/ 973 w 1217"/>
                      <a:gd name="T43" fmla="*/ 1201 h 1927"/>
                      <a:gd name="T44" fmla="*/ 973 w 1217"/>
                      <a:gd name="T45" fmla="*/ 1227 h 1927"/>
                      <a:gd name="T46" fmla="*/ 944 w 1217"/>
                      <a:gd name="T47" fmla="*/ 1270 h 1927"/>
                      <a:gd name="T48" fmla="*/ 964 w 1217"/>
                      <a:gd name="T49" fmla="*/ 1321 h 1927"/>
                      <a:gd name="T50" fmla="*/ 945 w 1217"/>
                      <a:gd name="T51" fmla="*/ 1393 h 1927"/>
                      <a:gd name="T52" fmla="*/ 948 w 1217"/>
                      <a:gd name="T53" fmla="*/ 1426 h 1927"/>
                      <a:gd name="T54" fmla="*/ 943 w 1217"/>
                      <a:gd name="T55" fmla="*/ 1477 h 1927"/>
                      <a:gd name="T56" fmla="*/ 974 w 1217"/>
                      <a:gd name="T57" fmla="*/ 1488 h 1927"/>
                      <a:gd name="T58" fmla="*/ 993 w 1217"/>
                      <a:gd name="T59" fmla="*/ 1542 h 1927"/>
                      <a:gd name="T60" fmla="*/ 1000 w 1217"/>
                      <a:gd name="T61" fmla="*/ 1572 h 1927"/>
                      <a:gd name="T62" fmla="*/ 1047 w 1217"/>
                      <a:gd name="T63" fmla="*/ 1626 h 1927"/>
                      <a:gd name="T64" fmla="*/ 1030 w 1217"/>
                      <a:gd name="T65" fmla="*/ 1691 h 1927"/>
                      <a:gd name="T66" fmla="*/ 1044 w 1217"/>
                      <a:gd name="T67" fmla="*/ 1746 h 1927"/>
                      <a:gd name="T68" fmla="*/ 1089 w 1217"/>
                      <a:gd name="T69" fmla="*/ 1751 h 1927"/>
                      <a:gd name="T70" fmla="*/ 1118 w 1217"/>
                      <a:gd name="T71" fmla="*/ 1757 h 1927"/>
                      <a:gd name="T72" fmla="*/ 1180 w 1217"/>
                      <a:gd name="T73" fmla="*/ 1773 h 1927"/>
                      <a:gd name="T74" fmla="*/ 1205 w 1217"/>
                      <a:gd name="T75" fmla="*/ 1793 h 1927"/>
                      <a:gd name="T76" fmla="*/ 1197 w 1217"/>
                      <a:gd name="T77" fmla="*/ 1830 h 1927"/>
                      <a:gd name="T78" fmla="*/ 1204 w 1217"/>
                      <a:gd name="T79" fmla="*/ 1870 h 1927"/>
                      <a:gd name="T80" fmla="*/ 1145 w 1217"/>
                      <a:gd name="T81" fmla="*/ 1905 h 1927"/>
                      <a:gd name="T82" fmla="*/ 863 w 1217"/>
                      <a:gd name="T83" fmla="*/ 1806 h 1927"/>
                      <a:gd name="T84" fmla="*/ 654 w 1217"/>
                      <a:gd name="T85" fmla="*/ 1723 h 1927"/>
                      <a:gd name="T86" fmla="*/ 414 w 1217"/>
                      <a:gd name="T87" fmla="*/ 1620 h 1927"/>
                      <a:gd name="T88" fmla="*/ 112 w 1217"/>
                      <a:gd name="T89" fmla="*/ 1473 h 1927"/>
                      <a:gd name="T90" fmla="*/ 133 w 1217"/>
                      <a:gd name="T91" fmla="*/ 1423 h 1927"/>
                      <a:gd name="T92" fmla="*/ 67 w 1217"/>
                      <a:gd name="T93" fmla="*/ 1413 h 1927"/>
                      <a:gd name="T94" fmla="*/ 25 w 1217"/>
                      <a:gd name="T95" fmla="*/ 1390 h 1927"/>
                      <a:gd name="T96" fmla="*/ 733 w 1217"/>
                      <a:gd name="T97" fmla="*/ 0 h 1927"/>
                      <a:gd name="T98" fmla="*/ 789 w 1217"/>
                      <a:gd name="T99" fmla="*/ 36 h 1927"/>
                      <a:gd name="T100" fmla="*/ 824 w 1217"/>
                      <a:gd name="T101" fmla="*/ 96 h 1927"/>
                      <a:gd name="T102" fmla="*/ 838 w 1217"/>
                      <a:gd name="T103" fmla="*/ 137 h 1927"/>
                      <a:gd name="T104" fmla="*/ 887 w 1217"/>
                      <a:gd name="T105" fmla="*/ 216 h 1927"/>
                      <a:gd name="T106" fmla="*/ 910 w 1217"/>
                      <a:gd name="T107" fmla="*/ 242 h 1927"/>
                      <a:gd name="T108" fmla="*/ 823 w 1217"/>
                      <a:gd name="T109" fmla="*/ 69 h 1927"/>
                      <a:gd name="T110" fmla="*/ 844 w 1217"/>
                      <a:gd name="T111" fmla="*/ 70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1927">
                        <a:moveTo>
                          <a:pt x="925" y="242"/>
                        </a:moveTo>
                        <a:lnTo>
                          <a:pt x="838" y="426"/>
                        </a:lnTo>
                        <a:lnTo>
                          <a:pt x="834" y="439"/>
                        </a:lnTo>
                        <a:lnTo>
                          <a:pt x="840" y="446"/>
                        </a:lnTo>
                        <a:lnTo>
                          <a:pt x="840" y="459"/>
                        </a:lnTo>
                        <a:lnTo>
                          <a:pt x="829" y="482"/>
                        </a:lnTo>
                        <a:lnTo>
                          <a:pt x="827" y="502"/>
                        </a:lnTo>
                        <a:lnTo>
                          <a:pt x="812" y="515"/>
                        </a:lnTo>
                        <a:lnTo>
                          <a:pt x="803" y="534"/>
                        </a:lnTo>
                        <a:lnTo>
                          <a:pt x="802" y="545"/>
                        </a:lnTo>
                        <a:lnTo>
                          <a:pt x="854" y="570"/>
                        </a:lnTo>
                        <a:lnTo>
                          <a:pt x="929" y="606"/>
                        </a:lnTo>
                        <a:lnTo>
                          <a:pt x="932" y="642"/>
                        </a:lnTo>
                        <a:lnTo>
                          <a:pt x="923" y="652"/>
                        </a:lnTo>
                        <a:lnTo>
                          <a:pt x="922" y="664"/>
                        </a:lnTo>
                        <a:lnTo>
                          <a:pt x="925" y="684"/>
                        </a:lnTo>
                        <a:lnTo>
                          <a:pt x="919" y="685"/>
                        </a:lnTo>
                        <a:lnTo>
                          <a:pt x="914" y="701"/>
                        </a:lnTo>
                        <a:lnTo>
                          <a:pt x="908" y="699"/>
                        </a:lnTo>
                        <a:lnTo>
                          <a:pt x="895" y="716"/>
                        </a:lnTo>
                        <a:lnTo>
                          <a:pt x="909" y="725"/>
                        </a:lnTo>
                        <a:lnTo>
                          <a:pt x="900" y="747"/>
                        </a:lnTo>
                        <a:lnTo>
                          <a:pt x="887" y="756"/>
                        </a:lnTo>
                        <a:lnTo>
                          <a:pt x="890" y="761"/>
                        </a:lnTo>
                        <a:lnTo>
                          <a:pt x="884" y="775"/>
                        </a:lnTo>
                        <a:lnTo>
                          <a:pt x="895" y="782"/>
                        </a:lnTo>
                        <a:lnTo>
                          <a:pt x="919" y="779"/>
                        </a:lnTo>
                        <a:lnTo>
                          <a:pt x="932" y="784"/>
                        </a:lnTo>
                        <a:lnTo>
                          <a:pt x="920" y="797"/>
                        </a:lnTo>
                        <a:lnTo>
                          <a:pt x="933" y="802"/>
                        </a:lnTo>
                        <a:lnTo>
                          <a:pt x="947" y="792"/>
                        </a:lnTo>
                        <a:lnTo>
                          <a:pt x="954" y="794"/>
                        </a:lnTo>
                        <a:lnTo>
                          <a:pt x="962" y="812"/>
                        </a:lnTo>
                        <a:lnTo>
                          <a:pt x="949" y="814"/>
                        </a:lnTo>
                        <a:lnTo>
                          <a:pt x="942" y="821"/>
                        </a:lnTo>
                        <a:lnTo>
                          <a:pt x="949" y="837"/>
                        </a:lnTo>
                        <a:lnTo>
                          <a:pt x="952" y="859"/>
                        </a:lnTo>
                        <a:lnTo>
                          <a:pt x="949" y="871"/>
                        </a:lnTo>
                        <a:lnTo>
                          <a:pt x="942" y="875"/>
                        </a:lnTo>
                        <a:lnTo>
                          <a:pt x="932" y="890"/>
                        </a:lnTo>
                        <a:lnTo>
                          <a:pt x="915" y="895"/>
                        </a:lnTo>
                        <a:lnTo>
                          <a:pt x="907" y="907"/>
                        </a:lnTo>
                        <a:lnTo>
                          <a:pt x="893" y="911"/>
                        </a:lnTo>
                        <a:lnTo>
                          <a:pt x="900" y="927"/>
                        </a:lnTo>
                        <a:lnTo>
                          <a:pt x="895" y="935"/>
                        </a:lnTo>
                        <a:lnTo>
                          <a:pt x="905" y="945"/>
                        </a:lnTo>
                        <a:lnTo>
                          <a:pt x="887" y="960"/>
                        </a:lnTo>
                        <a:lnTo>
                          <a:pt x="883" y="972"/>
                        </a:lnTo>
                        <a:lnTo>
                          <a:pt x="873" y="976"/>
                        </a:lnTo>
                        <a:lnTo>
                          <a:pt x="873" y="984"/>
                        </a:lnTo>
                        <a:lnTo>
                          <a:pt x="888" y="992"/>
                        </a:lnTo>
                        <a:lnTo>
                          <a:pt x="902" y="1010"/>
                        </a:lnTo>
                        <a:lnTo>
                          <a:pt x="905" y="1037"/>
                        </a:lnTo>
                        <a:lnTo>
                          <a:pt x="914" y="1046"/>
                        </a:lnTo>
                        <a:lnTo>
                          <a:pt x="900" y="1057"/>
                        </a:lnTo>
                        <a:lnTo>
                          <a:pt x="909" y="1071"/>
                        </a:lnTo>
                        <a:lnTo>
                          <a:pt x="924" y="1070"/>
                        </a:lnTo>
                        <a:lnTo>
                          <a:pt x="932" y="1063"/>
                        </a:lnTo>
                        <a:lnTo>
                          <a:pt x="943" y="1076"/>
                        </a:lnTo>
                        <a:lnTo>
                          <a:pt x="947" y="1095"/>
                        </a:lnTo>
                        <a:lnTo>
                          <a:pt x="939" y="1122"/>
                        </a:lnTo>
                        <a:lnTo>
                          <a:pt x="944" y="1142"/>
                        </a:lnTo>
                        <a:lnTo>
                          <a:pt x="942" y="1155"/>
                        </a:lnTo>
                        <a:lnTo>
                          <a:pt x="953" y="1166"/>
                        </a:lnTo>
                        <a:lnTo>
                          <a:pt x="959" y="1185"/>
                        </a:lnTo>
                        <a:lnTo>
                          <a:pt x="973" y="1201"/>
                        </a:lnTo>
                        <a:lnTo>
                          <a:pt x="967" y="1212"/>
                        </a:lnTo>
                        <a:lnTo>
                          <a:pt x="965" y="1225"/>
                        </a:lnTo>
                        <a:lnTo>
                          <a:pt x="973" y="1227"/>
                        </a:lnTo>
                        <a:lnTo>
                          <a:pt x="974" y="1253"/>
                        </a:lnTo>
                        <a:lnTo>
                          <a:pt x="962" y="1267"/>
                        </a:lnTo>
                        <a:lnTo>
                          <a:pt x="944" y="1270"/>
                        </a:lnTo>
                        <a:lnTo>
                          <a:pt x="952" y="1297"/>
                        </a:lnTo>
                        <a:lnTo>
                          <a:pt x="949" y="1312"/>
                        </a:lnTo>
                        <a:lnTo>
                          <a:pt x="964" y="1321"/>
                        </a:lnTo>
                        <a:lnTo>
                          <a:pt x="942" y="1350"/>
                        </a:lnTo>
                        <a:lnTo>
                          <a:pt x="948" y="1382"/>
                        </a:lnTo>
                        <a:lnTo>
                          <a:pt x="945" y="1393"/>
                        </a:lnTo>
                        <a:lnTo>
                          <a:pt x="953" y="1408"/>
                        </a:lnTo>
                        <a:lnTo>
                          <a:pt x="960" y="1417"/>
                        </a:lnTo>
                        <a:lnTo>
                          <a:pt x="948" y="1426"/>
                        </a:lnTo>
                        <a:lnTo>
                          <a:pt x="952" y="1436"/>
                        </a:lnTo>
                        <a:lnTo>
                          <a:pt x="942" y="1442"/>
                        </a:lnTo>
                        <a:lnTo>
                          <a:pt x="943" y="1477"/>
                        </a:lnTo>
                        <a:lnTo>
                          <a:pt x="953" y="1477"/>
                        </a:lnTo>
                        <a:lnTo>
                          <a:pt x="965" y="1495"/>
                        </a:lnTo>
                        <a:lnTo>
                          <a:pt x="974" y="1488"/>
                        </a:lnTo>
                        <a:lnTo>
                          <a:pt x="984" y="1492"/>
                        </a:lnTo>
                        <a:lnTo>
                          <a:pt x="989" y="1507"/>
                        </a:lnTo>
                        <a:lnTo>
                          <a:pt x="993" y="1542"/>
                        </a:lnTo>
                        <a:lnTo>
                          <a:pt x="1000" y="1542"/>
                        </a:lnTo>
                        <a:lnTo>
                          <a:pt x="1002" y="1560"/>
                        </a:lnTo>
                        <a:lnTo>
                          <a:pt x="1000" y="1572"/>
                        </a:lnTo>
                        <a:lnTo>
                          <a:pt x="1022" y="1610"/>
                        </a:lnTo>
                        <a:lnTo>
                          <a:pt x="1038" y="1613"/>
                        </a:lnTo>
                        <a:lnTo>
                          <a:pt x="1047" y="1626"/>
                        </a:lnTo>
                        <a:lnTo>
                          <a:pt x="1048" y="1641"/>
                        </a:lnTo>
                        <a:lnTo>
                          <a:pt x="1042" y="1671"/>
                        </a:lnTo>
                        <a:lnTo>
                          <a:pt x="1030" y="1691"/>
                        </a:lnTo>
                        <a:lnTo>
                          <a:pt x="1040" y="1693"/>
                        </a:lnTo>
                        <a:lnTo>
                          <a:pt x="1029" y="1735"/>
                        </a:lnTo>
                        <a:lnTo>
                          <a:pt x="1044" y="1746"/>
                        </a:lnTo>
                        <a:lnTo>
                          <a:pt x="1058" y="1740"/>
                        </a:lnTo>
                        <a:lnTo>
                          <a:pt x="1065" y="1748"/>
                        </a:lnTo>
                        <a:lnTo>
                          <a:pt x="1089" y="1751"/>
                        </a:lnTo>
                        <a:lnTo>
                          <a:pt x="1102" y="1746"/>
                        </a:lnTo>
                        <a:lnTo>
                          <a:pt x="1112" y="1747"/>
                        </a:lnTo>
                        <a:lnTo>
                          <a:pt x="1118" y="1757"/>
                        </a:lnTo>
                        <a:lnTo>
                          <a:pt x="1144" y="1773"/>
                        </a:lnTo>
                        <a:lnTo>
                          <a:pt x="1159" y="1768"/>
                        </a:lnTo>
                        <a:lnTo>
                          <a:pt x="1180" y="1773"/>
                        </a:lnTo>
                        <a:lnTo>
                          <a:pt x="1189" y="1760"/>
                        </a:lnTo>
                        <a:lnTo>
                          <a:pt x="1207" y="1768"/>
                        </a:lnTo>
                        <a:lnTo>
                          <a:pt x="1205" y="1793"/>
                        </a:lnTo>
                        <a:lnTo>
                          <a:pt x="1193" y="1801"/>
                        </a:lnTo>
                        <a:lnTo>
                          <a:pt x="1192" y="1813"/>
                        </a:lnTo>
                        <a:lnTo>
                          <a:pt x="1197" y="1830"/>
                        </a:lnTo>
                        <a:lnTo>
                          <a:pt x="1195" y="1842"/>
                        </a:lnTo>
                        <a:lnTo>
                          <a:pt x="1209" y="1850"/>
                        </a:lnTo>
                        <a:lnTo>
                          <a:pt x="1204" y="1870"/>
                        </a:lnTo>
                        <a:lnTo>
                          <a:pt x="1209" y="1910"/>
                        </a:lnTo>
                        <a:lnTo>
                          <a:pt x="1217" y="1927"/>
                        </a:lnTo>
                        <a:lnTo>
                          <a:pt x="1145" y="1905"/>
                        </a:lnTo>
                        <a:lnTo>
                          <a:pt x="1039" y="1870"/>
                        </a:lnTo>
                        <a:lnTo>
                          <a:pt x="934" y="1832"/>
                        </a:lnTo>
                        <a:lnTo>
                          <a:pt x="863" y="1806"/>
                        </a:lnTo>
                        <a:lnTo>
                          <a:pt x="794" y="1780"/>
                        </a:lnTo>
                        <a:lnTo>
                          <a:pt x="724" y="1752"/>
                        </a:lnTo>
                        <a:lnTo>
                          <a:pt x="654" y="1723"/>
                        </a:lnTo>
                        <a:lnTo>
                          <a:pt x="585" y="1695"/>
                        </a:lnTo>
                        <a:lnTo>
                          <a:pt x="483" y="1651"/>
                        </a:lnTo>
                        <a:lnTo>
                          <a:pt x="414" y="1620"/>
                        </a:lnTo>
                        <a:lnTo>
                          <a:pt x="347" y="1588"/>
                        </a:lnTo>
                        <a:lnTo>
                          <a:pt x="245" y="1541"/>
                        </a:lnTo>
                        <a:lnTo>
                          <a:pt x="112" y="1473"/>
                        </a:lnTo>
                        <a:lnTo>
                          <a:pt x="110" y="1455"/>
                        </a:lnTo>
                        <a:lnTo>
                          <a:pt x="132" y="1431"/>
                        </a:lnTo>
                        <a:lnTo>
                          <a:pt x="133" y="1423"/>
                        </a:lnTo>
                        <a:lnTo>
                          <a:pt x="95" y="1406"/>
                        </a:lnTo>
                        <a:lnTo>
                          <a:pt x="87" y="1406"/>
                        </a:lnTo>
                        <a:lnTo>
                          <a:pt x="67" y="1413"/>
                        </a:lnTo>
                        <a:lnTo>
                          <a:pt x="58" y="1412"/>
                        </a:lnTo>
                        <a:lnTo>
                          <a:pt x="38" y="1383"/>
                        </a:lnTo>
                        <a:lnTo>
                          <a:pt x="25" y="1390"/>
                        </a:lnTo>
                        <a:lnTo>
                          <a:pt x="0" y="1362"/>
                        </a:lnTo>
                        <a:lnTo>
                          <a:pt x="0" y="1357"/>
                        </a:lnTo>
                        <a:lnTo>
                          <a:pt x="733" y="0"/>
                        </a:lnTo>
                        <a:lnTo>
                          <a:pt x="749" y="16"/>
                        </a:lnTo>
                        <a:lnTo>
                          <a:pt x="772" y="30"/>
                        </a:lnTo>
                        <a:lnTo>
                          <a:pt x="789" y="36"/>
                        </a:lnTo>
                        <a:lnTo>
                          <a:pt x="797" y="48"/>
                        </a:lnTo>
                        <a:lnTo>
                          <a:pt x="823" y="73"/>
                        </a:lnTo>
                        <a:lnTo>
                          <a:pt x="824" y="96"/>
                        </a:lnTo>
                        <a:lnTo>
                          <a:pt x="830" y="108"/>
                        </a:lnTo>
                        <a:lnTo>
                          <a:pt x="832" y="123"/>
                        </a:lnTo>
                        <a:lnTo>
                          <a:pt x="838" y="137"/>
                        </a:lnTo>
                        <a:lnTo>
                          <a:pt x="845" y="141"/>
                        </a:lnTo>
                        <a:lnTo>
                          <a:pt x="850" y="161"/>
                        </a:lnTo>
                        <a:lnTo>
                          <a:pt x="887" y="216"/>
                        </a:lnTo>
                        <a:lnTo>
                          <a:pt x="898" y="222"/>
                        </a:lnTo>
                        <a:lnTo>
                          <a:pt x="904" y="236"/>
                        </a:lnTo>
                        <a:lnTo>
                          <a:pt x="910" y="242"/>
                        </a:lnTo>
                        <a:lnTo>
                          <a:pt x="925" y="242"/>
                        </a:lnTo>
                        <a:close/>
                        <a:moveTo>
                          <a:pt x="844" y="70"/>
                        </a:moveTo>
                        <a:lnTo>
                          <a:pt x="823" y="69"/>
                        </a:lnTo>
                        <a:lnTo>
                          <a:pt x="822" y="60"/>
                        </a:lnTo>
                        <a:lnTo>
                          <a:pt x="835" y="54"/>
                        </a:lnTo>
                        <a:lnTo>
                          <a:pt x="844" y="70"/>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8" name="Ontario" descr="{&quot;Key&quot;:&quot;ontario&quot;,&quot;Name&quot;:&quot;Ontario&quot;,&quot;Value&quot;:1.0,&quot;Formula&quot;:&quot;&quot;,&quot;Text&quot;:&quot;&quot;,&quot;OfficeApplication&quot;:1,&quot;HasValue&quot;:true}">
                    <a:extLst>
                      <a:ext uri="{FF2B5EF4-FFF2-40B4-BE49-F238E27FC236}">
                        <a16:creationId xmlns:a16="http://schemas.microsoft.com/office/drawing/2014/main" id="{B27E188B-AE31-294F-5C79-9138DDF9D8C5}"/>
                      </a:ext>
                    </a:extLst>
                  </p:cNvPr>
                  <p:cNvSpPr>
                    <a:spLocks noEditPoints="1"/>
                  </p:cNvSpPr>
                  <p:nvPr/>
                </p:nvSpPr>
                <p:spPr bwMode="auto">
                  <a:xfrm>
                    <a:off x="6852393" y="3366491"/>
                    <a:ext cx="1109223" cy="1108138"/>
                  </a:xfrm>
                  <a:custGeom>
                    <a:avLst/>
                    <a:gdLst>
                      <a:gd name="T0" fmla="*/ 1330 w 2131"/>
                      <a:gd name="T1" fmla="*/ 1559 h 2129"/>
                      <a:gd name="T2" fmla="*/ 1349 w 2131"/>
                      <a:gd name="T3" fmla="*/ 1597 h 2129"/>
                      <a:gd name="T4" fmla="*/ 1220 w 2131"/>
                      <a:gd name="T5" fmla="*/ 1570 h 2129"/>
                      <a:gd name="T6" fmla="*/ 1194 w 2131"/>
                      <a:gd name="T7" fmla="*/ 1567 h 2129"/>
                      <a:gd name="T8" fmla="*/ 1146 w 2131"/>
                      <a:gd name="T9" fmla="*/ 1552 h 2129"/>
                      <a:gd name="T10" fmla="*/ 935 w 2131"/>
                      <a:gd name="T11" fmla="*/ 1322 h 2129"/>
                      <a:gd name="T12" fmla="*/ 720 w 2131"/>
                      <a:gd name="T13" fmla="*/ 1187 h 2129"/>
                      <a:gd name="T14" fmla="*/ 1444 w 2131"/>
                      <a:gd name="T15" fmla="*/ 698 h 2129"/>
                      <a:gd name="T16" fmla="*/ 1570 w 2131"/>
                      <a:gd name="T17" fmla="*/ 1335 h 2129"/>
                      <a:gd name="T18" fmla="*/ 1663 w 2131"/>
                      <a:gd name="T19" fmla="*/ 1429 h 2129"/>
                      <a:gd name="T20" fmla="*/ 1833 w 2131"/>
                      <a:gd name="T21" fmla="*/ 1469 h 2129"/>
                      <a:gd name="T22" fmla="*/ 1913 w 2131"/>
                      <a:gd name="T23" fmla="*/ 1500 h 2129"/>
                      <a:gd name="T24" fmla="*/ 2019 w 2131"/>
                      <a:gd name="T25" fmla="*/ 1472 h 2129"/>
                      <a:gd name="T26" fmla="*/ 2115 w 2131"/>
                      <a:gd name="T27" fmla="*/ 1483 h 2129"/>
                      <a:gd name="T28" fmla="*/ 2050 w 2131"/>
                      <a:gd name="T29" fmla="*/ 1567 h 2129"/>
                      <a:gd name="T30" fmla="*/ 1914 w 2131"/>
                      <a:gd name="T31" fmla="*/ 1702 h 2129"/>
                      <a:gd name="T32" fmla="*/ 1881 w 2131"/>
                      <a:gd name="T33" fmla="*/ 1751 h 2129"/>
                      <a:gd name="T34" fmla="*/ 1750 w 2131"/>
                      <a:gd name="T35" fmla="*/ 1775 h 2129"/>
                      <a:gd name="T36" fmla="*/ 1634 w 2131"/>
                      <a:gd name="T37" fmla="*/ 1881 h 2129"/>
                      <a:gd name="T38" fmla="*/ 1719 w 2131"/>
                      <a:gd name="T39" fmla="*/ 1914 h 2129"/>
                      <a:gd name="T40" fmla="*/ 1651 w 2131"/>
                      <a:gd name="T41" fmla="*/ 1946 h 2129"/>
                      <a:gd name="T42" fmla="*/ 1591 w 2131"/>
                      <a:gd name="T43" fmla="*/ 2000 h 2129"/>
                      <a:gd name="T44" fmla="*/ 1439 w 2131"/>
                      <a:gd name="T45" fmla="*/ 2066 h 2129"/>
                      <a:gd name="T46" fmla="*/ 1343 w 2131"/>
                      <a:gd name="T47" fmla="*/ 2127 h 2129"/>
                      <a:gd name="T48" fmla="*/ 1323 w 2131"/>
                      <a:gd name="T49" fmla="*/ 2077 h 2129"/>
                      <a:gd name="T50" fmla="*/ 1356 w 2131"/>
                      <a:gd name="T51" fmla="*/ 2039 h 2129"/>
                      <a:gd name="T52" fmla="*/ 1428 w 2131"/>
                      <a:gd name="T53" fmla="*/ 1909 h 2129"/>
                      <a:gd name="T54" fmla="*/ 1429 w 2131"/>
                      <a:gd name="T55" fmla="*/ 1755 h 2129"/>
                      <a:gd name="T56" fmla="*/ 1421 w 2131"/>
                      <a:gd name="T57" fmla="*/ 1672 h 2129"/>
                      <a:gd name="T58" fmla="*/ 1453 w 2131"/>
                      <a:gd name="T59" fmla="*/ 1677 h 2129"/>
                      <a:gd name="T60" fmla="*/ 1509 w 2131"/>
                      <a:gd name="T61" fmla="*/ 1697 h 2129"/>
                      <a:gd name="T62" fmla="*/ 1563 w 2131"/>
                      <a:gd name="T63" fmla="*/ 1682 h 2129"/>
                      <a:gd name="T64" fmla="*/ 1560 w 2131"/>
                      <a:gd name="T65" fmla="*/ 1635 h 2129"/>
                      <a:gd name="T66" fmla="*/ 1515 w 2131"/>
                      <a:gd name="T67" fmla="*/ 1573 h 2129"/>
                      <a:gd name="T68" fmla="*/ 1385 w 2131"/>
                      <a:gd name="T69" fmla="*/ 1513 h 2129"/>
                      <a:gd name="T70" fmla="*/ 1211 w 2131"/>
                      <a:gd name="T71" fmla="*/ 1523 h 2129"/>
                      <a:gd name="T72" fmla="*/ 1110 w 2131"/>
                      <a:gd name="T73" fmla="*/ 1487 h 2129"/>
                      <a:gd name="T74" fmla="*/ 1069 w 2131"/>
                      <a:gd name="T75" fmla="*/ 1451 h 2129"/>
                      <a:gd name="T76" fmla="*/ 1058 w 2131"/>
                      <a:gd name="T77" fmla="*/ 1381 h 2129"/>
                      <a:gd name="T78" fmla="*/ 1020 w 2131"/>
                      <a:gd name="T79" fmla="*/ 1296 h 2129"/>
                      <a:gd name="T80" fmla="*/ 876 w 2131"/>
                      <a:gd name="T81" fmla="*/ 1236 h 2129"/>
                      <a:gd name="T82" fmla="*/ 768 w 2131"/>
                      <a:gd name="T83" fmla="*/ 1196 h 2129"/>
                      <a:gd name="T84" fmla="*/ 678 w 2131"/>
                      <a:gd name="T85" fmla="*/ 1194 h 2129"/>
                      <a:gd name="T86" fmla="*/ 656 w 2131"/>
                      <a:gd name="T87" fmla="*/ 1193 h 2129"/>
                      <a:gd name="T88" fmla="*/ 623 w 2131"/>
                      <a:gd name="T89" fmla="*/ 1238 h 2129"/>
                      <a:gd name="T90" fmla="*/ 533 w 2131"/>
                      <a:gd name="T91" fmla="*/ 1327 h 2129"/>
                      <a:gd name="T92" fmla="*/ 429 w 2131"/>
                      <a:gd name="T93" fmla="*/ 1303 h 2129"/>
                      <a:gd name="T94" fmla="*/ 339 w 2131"/>
                      <a:gd name="T95" fmla="*/ 1313 h 2129"/>
                      <a:gd name="T96" fmla="*/ 245 w 2131"/>
                      <a:gd name="T97" fmla="*/ 1280 h 2129"/>
                      <a:gd name="T98" fmla="*/ 141 w 2131"/>
                      <a:gd name="T99" fmla="*/ 1272 h 2129"/>
                      <a:gd name="T100" fmla="*/ 48 w 2131"/>
                      <a:gd name="T101" fmla="*/ 1215 h 2129"/>
                      <a:gd name="T102" fmla="*/ 124 w 2131"/>
                      <a:gd name="T103" fmla="*/ 505 h 2129"/>
                      <a:gd name="T104" fmla="*/ 554 w 2131"/>
                      <a:gd name="T105" fmla="*/ 28 h 2129"/>
                      <a:gd name="T106" fmla="*/ 701 w 2131"/>
                      <a:gd name="T107" fmla="*/ 128 h 2129"/>
                      <a:gd name="T108" fmla="*/ 876 w 2131"/>
                      <a:gd name="T109" fmla="*/ 203 h 2129"/>
                      <a:gd name="T110" fmla="*/ 1025 w 2131"/>
                      <a:gd name="T111" fmla="*/ 195 h 2129"/>
                      <a:gd name="T112" fmla="*/ 1116 w 2131"/>
                      <a:gd name="T113" fmla="*/ 232 h 2129"/>
                      <a:gd name="T114" fmla="*/ 1153 w 2131"/>
                      <a:gd name="T115" fmla="*/ 391 h 2129"/>
                      <a:gd name="T116" fmla="*/ 1175 w 2131"/>
                      <a:gd name="T117" fmla="*/ 528 h 2129"/>
                      <a:gd name="T118" fmla="*/ 1223 w 2131"/>
                      <a:gd name="T119" fmla="*/ 620 h 2129"/>
                      <a:gd name="T120" fmla="*/ 1340 w 2131"/>
                      <a:gd name="T121" fmla="*/ 680 h 2129"/>
                      <a:gd name="T122" fmla="*/ 1356 w 2131"/>
                      <a:gd name="T123" fmla="*/ 741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1" h="2129">
                        <a:moveTo>
                          <a:pt x="1259" y="1555"/>
                        </a:moveTo>
                        <a:lnTo>
                          <a:pt x="1268" y="1569"/>
                        </a:lnTo>
                        <a:lnTo>
                          <a:pt x="1284" y="1560"/>
                        </a:lnTo>
                        <a:lnTo>
                          <a:pt x="1293" y="1550"/>
                        </a:lnTo>
                        <a:lnTo>
                          <a:pt x="1310" y="1541"/>
                        </a:lnTo>
                        <a:lnTo>
                          <a:pt x="1314" y="1550"/>
                        </a:lnTo>
                        <a:lnTo>
                          <a:pt x="1330" y="1559"/>
                        </a:lnTo>
                        <a:lnTo>
                          <a:pt x="1334" y="1545"/>
                        </a:lnTo>
                        <a:lnTo>
                          <a:pt x="1346" y="1536"/>
                        </a:lnTo>
                        <a:lnTo>
                          <a:pt x="1353" y="1547"/>
                        </a:lnTo>
                        <a:lnTo>
                          <a:pt x="1369" y="1552"/>
                        </a:lnTo>
                        <a:lnTo>
                          <a:pt x="1386" y="1565"/>
                        </a:lnTo>
                        <a:lnTo>
                          <a:pt x="1371" y="1597"/>
                        </a:lnTo>
                        <a:lnTo>
                          <a:pt x="1349" y="1597"/>
                        </a:lnTo>
                        <a:lnTo>
                          <a:pt x="1332" y="1595"/>
                        </a:lnTo>
                        <a:lnTo>
                          <a:pt x="1314" y="1585"/>
                        </a:lnTo>
                        <a:lnTo>
                          <a:pt x="1303" y="1585"/>
                        </a:lnTo>
                        <a:lnTo>
                          <a:pt x="1276" y="1575"/>
                        </a:lnTo>
                        <a:lnTo>
                          <a:pt x="1249" y="1576"/>
                        </a:lnTo>
                        <a:lnTo>
                          <a:pt x="1235" y="1570"/>
                        </a:lnTo>
                        <a:lnTo>
                          <a:pt x="1220" y="1570"/>
                        </a:lnTo>
                        <a:lnTo>
                          <a:pt x="1219" y="1564"/>
                        </a:lnTo>
                        <a:lnTo>
                          <a:pt x="1246" y="1555"/>
                        </a:lnTo>
                        <a:lnTo>
                          <a:pt x="1259" y="1555"/>
                        </a:lnTo>
                        <a:close/>
                        <a:moveTo>
                          <a:pt x="1210" y="1558"/>
                        </a:moveTo>
                        <a:lnTo>
                          <a:pt x="1215" y="1565"/>
                        </a:lnTo>
                        <a:lnTo>
                          <a:pt x="1205" y="1575"/>
                        </a:lnTo>
                        <a:lnTo>
                          <a:pt x="1194" y="1567"/>
                        </a:lnTo>
                        <a:lnTo>
                          <a:pt x="1199" y="1557"/>
                        </a:lnTo>
                        <a:lnTo>
                          <a:pt x="1210" y="1558"/>
                        </a:lnTo>
                        <a:close/>
                        <a:moveTo>
                          <a:pt x="1129" y="1521"/>
                        </a:moveTo>
                        <a:lnTo>
                          <a:pt x="1150" y="1522"/>
                        </a:lnTo>
                        <a:lnTo>
                          <a:pt x="1158" y="1528"/>
                        </a:lnTo>
                        <a:lnTo>
                          <a:pt x="1150" y="1538"/>
                        </a:lnTo>
                        <a:lnTo>
                          <a:pt x="1146" y="1552"/>
                        </a:lnTo>
                        <a:lnTo>
                          <a:pt x="1129" y="1535"/>
                        </a:lnTo>
                        <a:lnTo>
                          <a:pt x="1129" y="1521"/>
                        </a:lnTo>
                        <a:close/>
                        <a:moveTo>
                          <a:pt x="950" y="1328"/>
                        </a:moveTo>
                        <a:lnTo>
                          <a:pt x="936" y="1335"/>
                        </a:lnTo>
                        <a:lnTo>
                          <a:pt x="916" y="1336"/>
                        </a:lnTo>
                        <a:lnTo>
                          <a:pt x="923" y="1323"/>
                        </a:lnTo>
                        <a:lnTo>
                          <a:pt x="935" y="1322"/>
                        </a:lnTo>
                        <a:lnTo>
                          <a:pt x="950" y="1328"/>
                        </a:lnTo>
                        <a:close/>
                        <a:moveTo>
                          <a:pt x="721" y="1197"/>
                        </a:moveTo>
                        <a:lnTo>
                          <a:pt x="718" y="1203"/>
                        </a:lnTo>
                        <a:lnTo>
                          <a:pt x="701" y="1205"/>
                        </a:lnTo>
                        <a:lnTo>
                          <a:pt x="690" y="1197"/>
                        </a:lnTo>
                        <a:lnTo>
                          <a:pt x="701" y="1188"/>
                        </a:lnTo>
                        <a:lnTo>
                          <a:pt x="720" y="1187"/>
                        </a:lnTo>
                        <a:lnTo>
                          <a:pt x="721" y="1197"/>
                        </a:lnTo>
                        <a:close/>
                        <a:moveTo>
                          <a:pt x="1458" y="772"/>
                        </a:moveTo>
                        <a:lnTo>
                          <a:pt x="1441" y="761"/>
                        </a:lnTo>
                        <a:lnTo>
                          <a:pt x="1431" y="742"/>
                        </a:lnTo>
                        <a:lnTo>
                          <a:pt x="1434" y="723"/>
                        </a:lnTo>
                        <a:lnTo>
                          <a:pt x="1430" y="713"/>
                        </a:lnTo>
                        <a:lnTo>
                          <a:pt x="1444" y="698"/>
                        </a:lnTo>
                        <a:lnTo>
                          <a:pt x="1458" y="772"/>
                        </a:lnTo>
                        <a:close/>
                        <a:moveTo>
                          <a:pt x="1459" y="776"/>
                        </a:moveTo>
                        <a:lnTo>
                          <a:pt x="1541" y="1230"/>
                        </a:lnTo>
                        <a:lnTo>
                          <a:pt x="1549" y="1266"/>
                        </a:lnTo>
                        <a:lnTo>
                          <a:pt x="1545" y="1285"/>
                        </a:lnTo>
                        <a:lnTo>
                          <a:pt x="1564" y="1307"/>
                        </a:lnTo>
                        <a:lnTo>
                          <a:pt x="1570" y="1335"/>
                        </a:lnTo>
                        <a:lnTo>
                          <a:pt x="1588" y="1355"/>
                        </a:lnTo>
                        <a:lnTo>
                          <a:pt x="1604" y="1367"/>
                        </a:lnTo>
                        <a:lnTo>
                          <a:pt x="1613" y="1384"/>
                        </a:lnTo>
                        <a:lnTo>
                          <a:pt x="1623" y="1391"/>
                        </a:lnTo>
                        <a:lnTo>
                          <a:pt x="1631" y="1406"/>
                        </a:lnTo>
                        <a:lnTo>
                          <a:pt x="1655" y="1421"/>
                        </a:lnTo>
                        <a:lnTo>
                          <a:pt x="1663" y="1429"/>
                        </a:lnTo>
                        <a:lnTo>
                          <a:pt x="1703" y="1432"/>
                        </a:lnTo>
                        <a:lnTo>
                          <a:pt x="1723" y="1429"/>
                        </a:lnTo>
                        <a:lnTo>
                          <a:pt x="1770" y="1430"/>
                        </a:lnTo>
                        <a:lnTo>
                          <a:pt x="1791" y="1436"/>
                        </a:lnTo>
                        <a:lnTo>
                          <a:pt x="1813" y="1449"/>
                        </a:lnTo>
                        <a:lnTo>
                          <a:pt x="1815" y="1456"/>
                        </a:lnTo>
                        <a:lnTo>
                          <a:pt x="1833" y="1469"/>
                        </a:lnTo>
                        <a:lnTo>
                          <a:pt x="1851" y="1472"/>
                        </a:lnTo>
                        <a:lnTo>
                          <a:pt x="1853" y="1460"/>
                        </a:lnTo>
                        <a:lnTo>
                          <a:pt x="1865" y="1456"/>
                        </a:lnTo>
                        <a:lnTo>
                          <a:pt x="1874" y="1475"/>
                        </a:lnTo>
                        <a:lnTo>
                          <a:pt x="1880" y="1478"/>
                        </a:lnTo>
                        <a:lnTo>
                          <a:pt x="1889" y="1496"/>
                        </a:lnTo>
                        <a:lnTo>
                          <a:pt x="1913" y="1500"/>
                        </a:lnTo>
                        <a:lnTo>
                          <a:pt x="1923" y="1505"/>
                        </a:lnTo>
                        <a:lnTo>
                          <a:pt x="1934" y="1495"/>
                        </a:lnTo>
                        <a:lnTo>
                          <a:pt x="1951" y="1491"/>
                        </a:lnTo>
                        <a:lnTo>
                          <a:pt x="1971" y="1505"/>
                        </a:lnTo>
                        <a:lnTo>
                          <a:pt x="1983" y="1502"/>
                        </a:lnTo>
                        <a:lnTo>
                          <a:pt x="1988" y="1492"/>
                        </a:lnTo>
                        <a:lnTo>
                          <a:pt x="2019" y="1472"/>
                        </a:lnTo>
                        <a:lnTo>
                          <a:pt x="2026" y="1466"/>
                        </a:lnTo>
                        <a:lnTo>
                          <a:pt x="2048" y="1457"/>
                        </a:lnTo>
                        <a:lnTo>
                          <a:pt x="2059" y="1448"/>
                        </a:lnTo>
                        <a:lnTo>
                          <a:pt x="2075" y="1446"/>
                        </a:lnTo>
                        <a:lnTo>
                          <a:pt x="2086" y="1440"/>
                        </a:lnTo>
                        <a:lnTo>
                          <a:pt x="2115" y="1445"/>
                        </a:lnTo>
                        <a:lnTo>
                          <a:pt x="2115" y="1483"/>
                        </a:lnTo>
                        <a:lnTo>
                          <a:pt x="2131" y="1495"/>
                        </a:lnTo>
                        <a:lnTo>
                          <a:pt x="2119" y="1508"/>
                        </a:lnTo>
                        <a:lnTo>
                          <a:pt x="2118" y="1517"/>
                        </a:lnTo>
                        <a:lnTo>
                          <a:pt x="2103" y="1535"/>
                        </a:lnTo>
                        <a:lnTo>
                          <a:pt x="2086" y="1536"/>
                        </a:lnTo>
                        <a:lnTo>
                          <a:pt x="2063" y="1555"/>
                        </a:lnTo>
                        <a:lnTo>
                          <a:pt x="2050" y="1567"/>
                        </a:lnTo>
                        <a:lnTo>
                          <a:pt x="2016" y="1617"/>
                        </a:lnTo>
                        <a:lnTo>
                          <a:pt x="2010" y="1631"/>
                        </a:lnTo>
                        <a:lnTo>
                          <a:pt x="1998" y="1648"/>
                        </a:lnTo>
                        <a:lnTo>
                          <a:pt x="1970" y="1665"/>
                        </a:lnTo>
                        <a:lnTo>
                          <a:pt x="1950" y="1682"/>
                        </a:lnTo>
                        <a:lnTo>
                          <a:pt x="1930" y="1690"/>
                        </a:lnTo>
                        <a:lnTo>
                          <a:pt x="1914" y="1702"/>
                        </a:lnTo>
                        <a:lnTo>
                          <a:pt x="1903" y="1717"/>
                        </a:lnTo>
                        <a:lnTo>
                          <a:pt x="1890" y="1705"/>
                        </a:lnTo>
                        <a:lnTo>
                          <a:pt x="1889" y="1725"/>
                        </a:lnTo>
                        <a:lnTo>
                          <a:pt x="1903" y="1727"/>
                        </a:lnTo>
                        <a:lnTo>
                          <a:pt x="1913" y="1735"/>
                        </a:lnTo>
                        <a:lnTo>
                          <a:pt x="1894" y="1751"/>
                        </a:lnTo>
                        <a:lnTo>
                          <a:pt x="1881" y="1751"/>
                        </a:lnTo>
                        <a:lnTo>
                          <a:pt x="1866" y="1741"/>
                        </a:lnTo>
                        <a:lnTo>
                          <a:pt x="1853" y="1746"/>
                        </a:lnTo>
                        <a:lnTo>
                          <a:pt x="1839" y="1736"/>
                        </a:lnTo>
                        <a:lnTo>
                          <a:pt x="1819" y="1744"/>
                        </a:lnTo>
                        <a:lnTo>
                          <a:pt x="1809" y="1750"/>
                        </a:lnTo>
                        <a:lnTo>
                          <a:pt x="1771" y="1762"/>
                        </a:lnTo>
                        <a:lnTo>
                          <a:pt x="1750" y="1775"/>
                        </a:lnTo>
                        <a:lnTo>
                          <a:pt x="1739" y="1775"/>
                        </a:lnTo>
                        <a:lnTo>
                          <a:pt x="1691" y="1797"/>
                        </a:lnTo>
                        <a:lnTo>
                          <a:pt x="1668" y="1829"/>
                        </a:lnTo>
                        <a:lnTo>
                          <a:pt x="1658" y="1830"/>
                        </a:lnTo>
                        <a:lnTo>
                          <a:pt x="1646" y="1844"/>
                        </a:lnTo>
                        <a:lnTo>
                          <a:pt x="1646" y="1855"/>
                        </a:lnTo>
                        <a:lnTo>
                          <a:pt x="1634" y="1881"/>
                        </a:lnTo>
                        <a:lnTo>
                          <a:pt x="1645" y="1892"/>
                        </a:lnTo>
                        <a:lnTo>
                          <a:pt x="1661" y="1895"/>
                        </a:lnTo>
                        <a:lnTo>
                          <a:pt x="1684" y="1892"/>
                        </a:lnTo>
                        <a:lnTo>
                          <a:pt x="1698" y="1880"/>
                        </a:lnTo>
                        <a:lnTo>
                          <a:pt x="1710" y="1875"/>
                        </a:lnTo>
                        <a:lnTo>
                          <a:pt x="1714" y="1900"/>
                        </a:lnTo>
                        <a:lnTo>
                          <a:pt x="1719" y="1914"/>
                        </a:lnTo>
                        <a:lnTo>
                          <a:pt x="1733" y="1920"/>
                        </a:lnTo>
                        <a:lnTo>
                          <a:pt x="1730" y="1929"/>
                        </a:lnTo>
                        <a:lnTo>
                          <a:pt x="1718" y="1937"/>
                        </a:lnTo>
                        <a:lnTo>
                          <a:pt x="1705" y="1935"/>
                        </a:lnTo>
                        <a:lnTo>
                          <a:pt x="1680" y="1940"/>
                        </a:lnTo>
                        <a:lnTo>
                          <a:pt x="1660" y="1949"/>
                        </a:lnTo>
                        <a:lnTo>
                          <a:pt x="1651" y="1946"/>
                        </a:lnTo>
                        <a:lnTo>
                          <a:pt x="1636" y="1955"/>
                        </a:lnTo>
                        <a:lnTo>
                          <a:pt x="1600" y="1969"/>
                        </a:lnTo>
                        <a:lnTo>
                          <a:pt x="1581" y="1994"/>
                        </a:lnTo>
                        <a:lnTo>
                          <a:pt x="1582" y="1999"/>
                        </a:lnTo>
                        <a:lnTo>
                          <a:pt x="1619" y="1996"/>
                        </a:lnTo>
                        <a:lnTo>
                          <a:pt x="1619" y="2001"/>
                        </a:lnTo>
                        <a:lnTo>
                          <a:pt x="1591" y="2000"/>
                        </a:lnTo>
                        <a:lnTo>
                          <a:pt x="1575" y="2004"/>
                        </a:lnTo>
                        <a:lnTo>
                          <a:pt x="1529" y="1997"/>
                        </a:lnTo>
                        <a:lnTo>
                          <a:pt x="1497" y="2002"/>
                        </a:lnTo>
                        <a:lnTo>
                          <a:pt x="1484" y="2007"/>
                        </a:lnTo>
                        <a:lnTo>
                          <a:pt x="1466" y="2022"/>
                        </a:lnTo>
                        <a:lnTo>
                          <a:pt x="1444" y="2050"/>
                        </a:lnTo>
                        <a:lnTo>
                          <a:pt x="1439" y="2066"/>
                        </a:lnTo>
                        <a:lnTo>
                          <a:pt x="1432" y="2072"/>
                        </a:lnTo>
                        <a:lnTo>
                          <a:pt x="1419" y="2075"/>
                        </a:lnTo>
                        <a:lnTo>
                          <a:pt x="1389" y="2099"/>
                        </a:lnTo>
                        <a:lnTo>
                          <a:pt x="1373" y="2122"/>
                        </a:lnTo>
                        <a:lnTo>
                          <a:pt x="1364" y="2116"/>
                        </a:lnTo>
                        <a:lnTo>
                          <a:pt x="1354" y="2119"/>
                        </a:lnTo>
                        <a:lnTo>
                          <a:pt x="1343" y="2127"/>
                        </a:lnTo>
                        <a:lnTo>
                          <a:pt x="1333" y="2129"/>
                        </a:lnTo>
                        <a:lnTo>
                          <a:pt x="1309" y="2120"/>
                        </a:lnTo>
                        <a:lnTo>
                          <a:pt x="1308" y="2095"/>
                        </a:lnTo>
                        <a:lnTo>
                          <a:pt x="1309" y="2086"/>
                        </a:lnTo>
                        <a:lnTo>
                          <a:pt x="1309" y="2085"/>
                        </a:lnTo>
                        <a:lnTo>
                          <a:pt x="1310" y="2085"/>
                        </a:lnTo>
                        <a:lnTo>
                          <a:pt x="1323" y="2077"/>
                        </a:lnTo>
                        <a:lnTo>
                          <a:pt x="1341" y="2080"/>
                        </a:lnTo>
                        <a:lnTo>
                          <a:pt x="1358" y="2077"/>
                        </a:lnTo>
                        <a:lnTo>
                          <a:pt x="1376" y="2070"/>
                        </a:lnTo>
                        <a:lnTo>
                          <a:pt x="1375" y="2047"/>
                        </a:lnTo>
                        <a:lnTo>
                          <a:pt x="1356" y="2049"/>
                        </a:lnTo>
                        <a:lnTo>
                          <a:pt x="1350" y="2042"/>
                        </a:lnTo>
                        <a:lnTo>
                          <a:pt x="1356" y="2039"/>
                        </a:lnTo>
                        <a:lnTo>
                          <a:pt x="1363" y="2027"/>
                        </a:lnTo>
                        <a:lnTo>
                          <a:pt x="1361" y="2002"/>
                        </a:lnTo>
                        <a:lnTo>
                          <a:pt x="1364" y="1972"/>
                        </a:lnTo>
                        <a:lnTo>
                          <a:pt x="1390" y="1957"/>
                        </a:lnTo>
                        <a:lnTo>
                          <a:pt x="1403" y="1937"/>
                        </a:lnTo>
                        <a:lnTo>
                          <a:pt x="1415" y="1929"/>
                        </a:lnTo>
                        <a:lnTo>
                          <a:pt x="1428" y="1909"/>
                        </a:lnTo>
                        <a:lnTo>
                          <a:pt x="1429" y="1889"/>
                        </a:lnTo>
                        <a:lnTo>
                          <a:pt x="1423" y="1865"/>
                        </a:lnTo>
                        <a:lnTo>
                          <a:pt x="1418" y="1827"/>
                        </a:lnTo>
                        <a:lnTo>
                          <a:pt x="1411" y="1807"/>
                        </a:lnTo>
                        <a:lnTo>
                          <a:pt x="1418" y="1796"/>
                        </a:lnTo>
                        <a:lnTo>
                          <a:pt x="1420" y="1770"/>
                        </a:lnTo>
                        <a:lnTo>
                          <a:pt x="1429" y="1755"/>
                        </a:lnTo>
                        <a:lnTo>
                          <a:pt x="1438" y="1748"/>
                        </a:lnTo>
                        <a:lnTo>
                          <a:pt x="1439" y="1740"/>
                        </a:lnTo>
                        <a:lnTo>
                          <a:pt x="1446" y="1718"/>
                        </a:lnTo>
                        <a:lnTo>
                          <a:pt x="1441" y="1695"/>
                        </a:lnTo>
                        <a:lnTo>
                          <a:pt x="1431" y="1685"/>
                        </a:lnTo>
                        <a:lnTo>
                          <a:pt x="1430" y="1672"/>
                        </a:lnTo>
                        <a:lnTo>
                          <a:pt x="1421" y="1672"/>
                        </a:lnTo>
                        <a:lnTo>
                          <a:pt x="1418" y="1663"/>
                        </a:lnTo>
                        <a:lnTo>
                          <a:pt x="1400" y="1647"/>
                        </a:lnTo>
                        <a:lnTo>
                          <a:pt x="1398" y="1637"/>
                        </a:lnTo>
                        <a:lnTo>
                          <a:pt x="1429" y="1632"/>
                        </a:lnTo>
                        <a:lnTo>
                          <a:pt x="1430" y="1647"/>
                        </a:lnTo>
                        <a:lnTo>
                          <a:pt x="1438" y="1665"/>
                        </a:lnTo>
                        <a:lnTo>
                          <a:pt x="1453" y="1677"/>
                        </a:lnTo>
                        <a:lnTo>
                          <a:pt x="1466" y="1675"/>
                        </a:lnTo>
                        <a:lnTo>
                          <a:pt x="1466" y="1691"/>
                        </a:lnTo>
                        <a:lnTo>
                          <a:pt x="1476" y="1690"/>
                        </a:lnTo>
                        <a:lnTo>
                          <a:pt x="1483" y="1697"/>
                        </a:lnTo>
                        <a:lnTo>
                          <a:pt x="1480" y="1716"/>
                        </a:lnTo>
                        <a:lnTo>
                          <a:pt x="1496" y="1700"/>
                        </a:lnTo>
                        <a:lnTo>
                          <a:pt x="1509" y="1697"/>
                        </a:lnTo>
                        <a:lnTo>
                          <a:pt x="1516" y="1710"/>
                        </a:lnTo>
                        <a:lnTo>
                          <a:pt x="1533" y="1716"/>
                        </a:lnTo>
                        <a:lnTo>
                          <a:pt x="1555" y="1719"/>
                        </a:lnTo>
                        <a:lnTo>
                          <a:pt x="1570" y="1723"/>
                        </a:lnTo>
                        <a:lnTo>
                          <a:pt x="1578" y="1714"/>
                        </a:lnTo>
                        <a:lnTo>
                          <a:pt x="1576" y="1690"/>
                        </a:lnTo>
                        <a:lnTo>
                          <a:pt x="1563" y="1682"/>
                        </a:lnTo>
                        <a:lnTo>
                          <a:pt x="1561" y="1673"/>
                        </a:lnTo>
                        <a:lnTo>
                          <a:pt x="1576" y="1664"/>
                        </a:lnTo>
                        <a:lnTo>
                          <a:pt x="1586" y="1676"/>
                        </a:lnTo>
                        <a:lnTo>
                          <a:pt x="1600" y="1676"/>
                        </a:lnTo>
                        <a:lnTo>
                          <a:pt x="1586" y="1651"/>
                        </a:lnTo>
                        <a:lnTo>
                          <a:pt x="1576" y="1650"/>
                        </a:lnTo>
                        <a:lnTo>
                          <a:pt x="1560" y="1635"/>
                        </a:lnTo>
                        <a:lnTo>
                          <a:pt x="1564" y="1622"/>
                        </a:lnTo>
                        <a:lnTo>
                          <a:pt x="1549" y="1613"/>
                        </a:lnTo>
                        <a:lnTo>
                          <a:pt x="1556" y="1598"/>
                        </a:lnTo>
                        <a:lnTo>
                          <a:pt x="1545" y="1588"/>
                        </a:lnTo>
                        <a:lnTo>
                          <a:pt x="1528" y="1598"/>
                        </a:lnTo>
                        <a:lnTo>
                          <a:pt x="1516" y="1586"/>
                        </a:lnTo>
                        <a:lnTo>
                          <a:pt x="1515" y="1573"/>
                        </a:lnTo>
                        <a:lnTo>
                          <a:pt x="1499" y="1563"/>
                        </a:lnTo>
                        <a:lnTo>
                          <a:pt x="1484" y="1551"/>
                        </a:lnTo>
                        <a:lnTo>
                          <a:pt x="1478" y="1535"/>
                        </a:lnTo>
                        <a:lnTo>
                          <a:pt x="1454" y="1523"/>
                        </a:lnTo>
                        <a:lnTo>
                          <a:pt x="1416" y="1527"/>
                        </a:lnTo>
                        <a:lnTo>
                          <a:pt x="1380" y="1525"/>
                        </a:lnTo>
                        <a:lnTo>
                          <a:pt x="1385" y="1513"/>
                        </a:lnTo>
                        <a:lnTo>
                          <a:pt x="1338" y="1518"/>
                        </a:lnTo>
                        <a:lnTo>
                          <a:pt x="1305" y="1517"/>
                        </a:lnTo>
                        <a:lnTo>
                          <a:pt x="1296" y="1512"/>
                        </a:lnTo>
                        <a:lnTo>
                          <a:pt x="1270" y="1521"/>
                        </a:lnTo>
                        <a:lnTo>
                          <a:pt x="1266" y="1516"/>
                        </a:lnTo>
                        <a:lnTo>
                          <a:pt x="1239" y="1523"/>
                        </a:lnTo>
                        <a:lnTo>
                          <a:pt x="1211" y="1523"/>
                        </a:lnTo>
                        <a:lnTo>
                          <a:pt x="1173" y="1517"/>
                        </a:lnTo>
                        <a:lnTo>
                          <a:pt x="1165" y="1520"/>
                        </a:lnTo>
                        <a:lnTo>
                          <a:pt x="1143" y="1515"/>
                        </a:lnTo>
                        <a:lnTo>
                          <a:pt x="1123" y="1515"/>
                        </a:lnTo>
                        <a:lnTo>
                          <a:pt x="1115" y="1504"/>
                        </a:lnTo>
                        <a:lnTo>
                          <a:pt x="1119" y="1489"/>
                        </a:lnTo>
                        <a:lnTo>
                          <a:pt x="1110" y="1487"/>
                        </a:lnTo>
                        <a:lnTo>
                          <a:pt x="1100" y="1495"/>
                        </a:lnTo>
                        <a:lnTo>
                          <a:pt x="1088" y="1495"/>
                        </a:lnTo>
                        <a:lnTo>
                          <a:pt x="1081" y="1504"/>
                        </a:lnTo>
                        <a:lnTo>
                          <a:pt x="1070" y="1492"/>
                        </a:lnTo>
                        <a:lnTo>
                          <a:pt x="1073" y="1484"/>
                        </a:lnTo>
                        <a:lnTo>
                          <a:pt x="1083" y="1469"/>
                        </a:lnTo>
                        <a:lnTo>
                          <a:pt x="1069" y="1451"/>
                        </a:lnTo>
                        <a:lnTo>
                          <a:pt x="1084" y="1447"/>
                        </a:lnTo>
                        <a:lnTo>
                          <a:pt x="1086" y="1439"/>
                        </a:lnTo>
                        <a:lnTo>
                          <a:pt x="1079" y="1432"/>
                        </a:lnTo>
                        <a:lnTo>
                          <a:pt x="1055" y="1434"/>
                        </a:lnTo>
                        <a:lnTo>
                          <a:pt x="1044" y="1430"/>
                        </a:lnTo>
                        <a:lnTo>
                          <a:pt x="1046" y="1406"/>
                        </a:lnTo>
                        <a:lnTo>
                          <a:pt x="1058" y="1381"/>
                        </a:lnTo>
                        <a:lnTo>
                          <a:pt x="1043" y="1365"/>
                        </a:lnTo>
                        <a:lnTo>
                          <a:pt x="1021" y="1355"/>
                        </a:lnTo>
                        <a:lnTo>
                          <a:pt x="1009" y="1342"/>
                        </a:lnTo>
                        <a:lnTo>
                          <a:pt x="1009" y="1327"/>
                        </a:lnTo>
                        <a:lnTo>
                          <a:pt x="1016" y="1315"/>
                        </a:lnTo>
                        <a:lnTo>
                          <a:pt x="1013" y="1306"/>
                        </a:lnTo>
                        <a:lnTo>
                          <a:pt x="1020" y="1296"/>
                        </a:lnTo>
                        <a:lnTo>
                          <a:pt x="1011" y="1289"/>
                        </a:lnTo>
                        <a:lnTo>
                          <a:pt x="976" y="1295"/>
                        </a:lnTo>
                        <a:lnTo>
                          <a:pt x="964" y="1301"/>
                        </a:lnTo>
                        <a:lnTo>
                          <a:pt x="931" y="1301"/>
                        </a:lnTo>
                        <a:lnTo>
                          <a:pt x="920" y="1297"/>
                        </a:lnTo>
                        <a:lnTo>
                          <a:pt x="895" y="1274"/>
                        </a:lnTo>
                        <a:lnTo>
                          <a:pt x="876" y="1236"/>
                        </a:lnTo>
                        <a:lnTo>
                          <a:pt x="870" y="1214"/>
                        </a:lnTo>
                        <a:lnTo>
                          <a:pt x="849" y="1187"/>
                        </a:lnTo>
                        <a:lnTo>
                          <a:pt x="839" y="1194"/>
                        </a:lnTo>
                        <a:lnTo>
                          <a:pt x="823" y="1185"/>
                        </a:lnTo>
                        <a:lnTo>
                          <a:pt x="813" y="1194"/>
                        </a:lnTo>
                        <a:lnTo>
                          <a:pt x="793" y="1191"/>
                        </a:lnTo>
                        <a:lnTo>
                          <a:pt x="768" y="1196"/>
                        </a:lnTo>
                        <a:lnTo>
                          <a:pt x="750" y="1186"/>
                        </a:lnTo>
                        <a:lnTo>
                          <a:pt x="743" y="1188"/>
                        </a:lnTo>
                        <a:lnTo>
                          <a:pt x="730" y="1181"/>
                        </a:lnTo>
                        <a:lnTo>
                          <a:pt x="703" y="1176"/>
                        </a:lnTo>
                        <a:lnTo>
                          <a:pt x="695" y="1171"/>
                        </a:lnTo>
                        <a:lnTo>
                          <a:pt x="670" y="1172"/>
                        </a:lnTo>
                        <a:lnTo>
                          <a:pt x="678" y="1194"/>
                        </a:lnTo>
                        <a:lnTo>
                          <a:pt x="688" y="1198"/>
                        </a:lnTo>
                        <a:lnTo>
                          <a:pt x="690" y="1212"/>
                        </a:lnTo>
                        <a:lnTo>
                          <a:pt x="683" y="1227"/>
                        </a:lnTo>
                        <a:lnTo>
                          <a:pt x="660" y="1236"/>
                        </a:lnTo>
                        <a:lnTo>
                          <a:pt x="669" y="1209"/>
                        </a:lnTo>
                        <a:lnTo>
                          <a:pt x="664" y="1195"/>
                        </a:lnTo>
                        <a:lnTo>
                          <a:pt x="656" y="1193"/>
                        </a:lnTo>
                        <a:lnTo>
                          <a:pt x="646" y="1205"/>
                        </a:lnTo>
                        <a:lnTo>
                          <a:pt x="646" y="1227"/>
                        </a:lnTo>
                        <a:lnTo>
                          <a:pt x="641" y="1230"/>
                        </a:lnTo>
                        <a:lnTo>
                          <a:pt x="640" y="1245"/>
                        </a:lnTo>
                        <a:lnTo>
                          <a:pt x="634" y="1266"/>
                        </a:lnTo>
                        <a:lnTo>
                          <a:pt x="620" y="1267"/>
                        </a:lnTo>
                        <a:lnTo>
                          <a:pt x="623" y="1238"/>
                        </a:lnTo>
                        <a:lnTo>
                          <a:pt x="591" y="1253"/>
                        </a:lnTo>
                        <a:lnTo>
                          <a:pt x="585" y="1260"/>
                        </a:lnTo>
                        <a:lnTo>
                          <a:pt x="588" y="1276"/>
                        </a:lnTo>
                        <a:lnTo>
                          <a:pt x="578" y="1308"/>
                        </a:lnTo>
                        <a:lnTo>
                          <a:pt x="568" y="1312"/>
                        </a:lnTo>
                        <a:lnTo>
                          <a:pt x="554" y="1328"/>
                        </a:lnTo>
                        <a:lnTo>
                          <a:pt x="533" y="1327"/>
                        </a:lnTo>
                        <a:lnTo>
                          <a:pt x="523" y="1332"/>
                        </a:lnTo>
                        <a:lnTo>
                          <a:pt x="515" y="1330"/>
                        </a:lnTo>
                        <a:lnTo>
                          <a:pt x="505" y="1317"/>
                        </a:lnTo>
                        <a:lnTo>
                          <a:pt x="495" y="1315"/>
                        </a:lnTo>
                        <a:lnTo>
                          <a:pt x="460" y="1322"/>
                        </a:lnTo>
                        <a:lnTo>
                          <a:pt x="435" y="1321"/>
                        </a:lnTo>
                        <a:lnTo>
                          <a:pt x="429" y="1303"/>
                        </a:lnTo>
                        <a:lnTo>
                          <a:pt x="420" y="1303"/>
                        </a:lnTo>
                        <a:lnTo>
                          <a:pt x="406" y="1312"/>
                        </a:lnTo>
                        <a:lnTo>
                          <a:pt x="388" y="1328"/>
                        </a:lnTo>
                        <a:lnTo>
                          <a:pt x="373" y="1333"/>
                        </a:lnTo>
                        <a:lnTo>
                          <a:pt x="358" y="1333"/>
                        </a:lnTo>
                        <a:lnTo>
                          <a:pt x="346" y="1326"/>
                        </a:lnTo>
                        <a:lnTo>
                          <a:pt x="339" y="1313"/>
                        </a:lnTo>
                        <a:lnTo>
                          <a:pt x="319" y="1308"/>
                        </a:lnTo>
                        <a:lnTo>
                          <a:pt x="310" y="1293"/>
                        </a:lnTo>
                        <a:lnTo>
                          <a:pt x="299" y="1291"/>
                        </a:lnTo>
                        <a:lnTo>
                          <a:pt x="285" y="1297"/>
                        </a:lnTo>
                        <a:lnTo>
                          <a:pt x="278" y="1310"/>
                        </a:lnTo>
                        <a:lnTo>
                          <a:pt x="263" y="1278"/>
                        </a:lnTo>
                        <a:lnTo>
                          <a:pt x="245" y="1280"/>
                        </a:lnTo>
                        <a:lnTo>
                          <a:pt x="250" y="1266"/>
                        </a:lnTo>
                        <a:lnTo>
                          <a:pt x="226" y="1260"/>
                        </a:lnTo>
                        <a:lnTo>
                          <a:pt x="218" y="1255"/>
                        </a:lnTo>
                        <a:lnTo>
                          <a:pt x="190" y="1253"/>
                        </a:lnTo>
                        <a:lnTo>
                          <a:pt x="171" y="1258"/>
                        </a:lnTo>
                        <a:lnTo>
                          <a:pt x="168" y="1267"/>
                        </a:lnTo>
                        <a:lnTo>
                          <a:pt x="141" y="1272"/>
                        </a:lnTo>
                        <a:lnTo>
                          <a:pt x="130" y="1255"/>
                        </a:lnTo>
                        <a:lnTo>
                          <a:pt x="95" y="1252"/>
                        </a:lnTo>
                        <a:lnTo>
                          <a:pt x="88" y="1243"/>
                        </a:lnTo>
                        <a:lnTo>
                          <a:pt x="71" y="1246"/>
                        </a:lnTo>
                        <a:lnTo>
                          <a:pt x="60" y="1242"/>
                        </a:lnTo>
                        <a:lnTo>
                          <a:pt x="48" y="1231"/>
                        </a:lnTo>
                        <a:lnTo>
                          <a:pt x="48" y="1215"/>
                        </a:lnTo>
                        <a:lnTo>
                          <a:pt x="38" y="1177"/>
                        </a:lnTo>
                        <a:lnTo>
                          <a:pt x="36" y="1160"/>
                        </a:lnTo>
                        <a:lnTo>
                          <a:pt x="21" y="1150"/>
                        </a:lnTo>
                        <a:lnTo>
                          <a:pt x="4" y="1148"/>
                        </a:lnTo>
                        <a:lnTo>
                          <a:pt x="4" y="1088"/>
                        </a:lnTo>
                        <a:lnTo>
                          <a:pt x="0" y="635"/>
                        </a:lnTo>
                        <a:lnTo>
                          <a:pt x="124" y="505"/>
                        </a:lnTo>
                        <a:lnTo>
                          <a:pt x="135" y="492"/>
                        </a:lnTo>
                        <a:lnTo>
                          <a:pt x="298" y="280"/>
                        </a:lnTo>
                        <a:lnTo>
                          <a:pt x="406" y="140"/>
                        </a:lnTo>
                        <a:lnTo>
                          <a:pt x="514" y="0"/>
                        </a:lnTo>
                        <a:lnTo>
                          <a:pt x="534" y="13"/>
                        </a:lnTo>
                        <a:lnTo>
                          <a:pt x="541" y="22"/>
                        </a:lnTo>
                        <a:lnTo>
                          <a:pt x="554" y="28"/>
                        </a:lnTo>
                        <a:lnTo>
                          <a:pt x="571" y="43"/>
                        </a:lnTo>
                        <a:lnTo>
                          <a:pt x="600" y="56"/>
                        </a:lnTo>
                        <a:lnTo>
                          <a:pt x="635" y="106"/>
                        </a:lnTo>
                        <a:lnTo>
                          <a:pt x="648" y="117"/>
                        </a:lnTo>
                        <a:lnTo>
                          <a:pt x="663" y="123"/>
                        </a:lnTo>
                        <a:lnTo>
                          <a:pt x="695" y="130"/>
                        </a:lnTo>
                        <a:lnTo>
                          <a:pt x="701" y="128"/>
                        </a:lnTo>
                        <a:lnTo>
                          <a:pt x="754" y="151"/>
                        </a:lnTo>
                        <a:lnTo>
                          <a:pt x="788" y="157"/>
                        </a:lnTo>
                        <a:lnTo>
                          <a:pt x="809" y="166"/>
                        </a:lnTo>
                        <a:lnTo>
                          <a:pt x="831" y="188"/>
                        </a:lnTo>
                        <a:lnTo>
                          <a:pt x="858" y="195"/>
                        </a:lnTo>
                        <a:lnTo>
                          <a:pt x="861" y="203"/>
                        </a:lnTo>
                        <a:lnTo>
                          <a:pt x="876" y="203"/>
                        </a:lnTo>
                        <a:lnTo>
                          <a:pt x="906" y="207"/>
                        </a:lnTo>
                        <a:lnTo>
                          <a:pt x="939" y="195"/>
                        </a:lnTo>
                        <a:lnTo>
                          <a:pt x="951" y="196"/>
                        </a:lnTo>
                        <a:lnTo>
                          <a:pt x="964" y="187"/>
                        </a:lnTo>
                        <a:lnTo>
                          <a:pt x="978" y="192"/>
                        </a:lnTo>
                        <a:lnTo>
                          <a:pt x="1001" y="195"/>
                        </a:lnTo>
                        <a:lnTo>
                          <a:pt x="1025" y="195"/>
                        </a:lnTo>
                        <a:lnTo>
                          <a:pt x="1041" y="190"/>
                        </a:lnTo>
                        <a:lnTo>
                          <a:pt x="1051" y="191"/>
                        </a:lnTo>
                        <a:lnTo>
                          <a:pt x="1063" y="201"/>
                        </a:lnTo>
                        <a:lnTo>
                          <a:pt x="1074" y="196"/>
                        </a:lnTo>
                        <a:lnTo>
                          <a:pt x="1094" y="197"/>
                        </a:lnTo>
                        <a:lnTo>
                          <a:pt x="1111" y="210"/>
                        </a:lnTo>
                        <a:lnTo>
                          <a:pt x="1116" y="232"/>
                        </a:lnTo>
                        <a:lnTo>
                          <a:pt x="1123" y="240"/>
                        </a:lnTo>
                        <a:lnTo>
                          <a:pt x="1119" y="280"/>
                        </a:lnTo>
                        <a:lnTo>
                          <a:pt x="1114" y="310"/>
                        </a:lnTo>
                        <a:lnTo>
                          <a:pt x="1116" y="334"/>
                        </a:lnTo>
                        <a:lnTo>
                          <a:pt x="1123" y="345"/>
                        </a:lnTo>
                        <a:lnTo>
                          <a:pt x="1136" y="355"/>
                        </a:lnTo>
                        <a:lnTo>
                          <a:pt x="1153" y="391"/>
                        </a:lnTo>
                        <a:lnTo>
                          <a:pt x="1149" y="423"/>
                        </a:lnTo>
                        <a:lnTo>
                          <a:pt x="1159" y="450"/>
                        </a:lnTo>
                        <a:lnTo>
                          <a:pt x="1165" y="471"/>
                        </a:lnTo>
                        <a:lnTo>
                          <a:pt x="1156" y="481"/>
                        </a:lnTo>
                        <a:lnTo>
                          <a:pt x="1154" y="498"/>
                        </a:lnTo>
                        <a:lnTo>
                          <a:pt x="1156" y="520"/>
                        </a:lnTo>
                        <a:lnTo>
                          <a:pt x="1175" y="528"/>
                        </a:lnTo>
                        <a:lnTo>
                          <a:pt x="1188" y="540"/>
                        </a:lnTo>
                        <a:lnTo>
                          <a:pt x="1196" y="557"/>
                        </a:lnTo>
                        <a:lnTo>
                          <a:pt x="1208" y="562"/>
                        </a:lnTo>
                        <a:lnTo>
                          <a:pt x="1219" y="576"/>
                        </a:lnTo>
                        <a:lnTo>
                          <a:pt x="1234" y="585"/>
                        </a:lnTo>
                        <a:lnTo>
                          <a:pt x="1236" y="606"/>
                        </a:lnTo>
                        <a:lnTo>
                          <a:pt x="1223" y="620"/>
                        </a:lnTo>
                        <a:lnTo>
                          <a:pt x="1244" y="616"/>
                        </a:lnTo>
                        <a:lnTo>
                          <a:pt x="1258" y="631"/>
                        </a:lnTo>
                        <a:lnTo>
                          <a:pt x="1281" y="640"/>
                        </a:lnTo>
                        <a:lnTo>
                          <a:pt x="1298" y="643"/>
                        </a:lnTo>
                        <a:lnTo>
                          <a:pt x="1305" y="656"/>
                        </a:lnTo>
                        <a:lnTo>
                          <a:pt x="1320" y="662"/>
                        </a:lnTo>
                        <a:lnTo>
                          <a:pt x="1340" y="680"/>
                        </a:lnTo>
                        <a:lnTo>
                          <a:pt x="1351" y="705"/>
                        </a:lnTo>
                        <a:lnTo>
                          <a:pt x="1360" y="712"/>
                        </a:lnTo>
                        <a:lnTo>
                          <a:pt x="1364" y="730"/>
                        </a:lnTo>
                        <a:lnTo>
                          <a:pt x="1351" y="738"/>
                        </a:lnTo>
                        <a:lnTo>
                          <a:pt x="1340" y="757"/>
                        </a:lnTo>
                        <a:lnTo>
                          <a:pt x="1345" y="762"/>
                        </a:lnTo>
                        <a:lnTo>
                          <a:pt x="1356" y="741"/>
                        </a:lnTo>
                        <a:lnTo>
                          <a:pt x="1369" y="731"/>
                        </a:lnTo>
                        <a:lnTo>
                          <a:pt x="1395" y="733"/>
                        </a:lnTo>
                        <a:lnTo>
                          <a:pt x="1433" y="752"/>
                        </a:lnTo>
                        <a:lnTo>
                          <a:pt x="1438" y="761"/>
                        </a:lnTo>
                        <a:lnTo>
                          <a:pt x="1459" y="776"/>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199" name="Quebec" descr="{&quot;Key&quot;:&quot;quebec&quot;,&quot;Name&quot;:&quot;Quebec&quot;,&quot;Value&quot;:1.0,&quot;Formula&quot;:&quot;&quot;,&quot;Text&quot;:&quot;&quot;,&quot;OfficeApplication&quot;:1,&quot;HasValue&quot;:true}">
                    <a:extLst>
                      <a:ext uri="{FF2B5EF4-FFF2-40B4-BE49-F238E27FC236}">
                        <a16:creationId xmlns:a16="http://schemas.microsoft.com/office/drawing/2014/main" id="{211DFD74-9261-6EA4-FC6B-BCE98393BDEA}"/>
                      </a:ext>
                    </a:extLst>
                  </p:cNvPr>
                  <p:cNvSpPr>
                    <a:spLocks noEditPoints="1"/>
                  </p:cNvSpPr>
                  <p:nvPr/>
                </p:nvSpPr>
                <p:spPr bwMode="auto">
                  <a:xfrm>
                    <a:off x="7499710" y="2813506"/>
                    <a:ext cx="1136330" cy="1352102"/>
                  </a:xfrm>
                  <a:custGeom>
                    <a:avLst/>
                    <a:gdLst>
                      <a:gd name="T0" fmla="*/ 957 w 2184"/>
                      <a:gd name="T1" fmla="*/ 2493 h 2597"/>
                      <a:gd name="T2" fmla="*/ 1432 w 2184"/>
                      <a:gd name="T3" fmla="*/ 1988 h 2597"/>
                      <a:gd name="T4" fmla="*/ 1262 w 2184"/>
                      <a:gd name="T5" fmla="*/ 2273 h 2597"/>
                      <a:gd name="T6" fmla="*/ 1234 w 2184"/>
                      <a:gd name="T7" fmla="*/ 2452 h 2597"/>
                      <a:gd name="T8" fmla="*/ 917 w 2184"/>
                      <a:gd name="T9" fmla="*/ 2547 h 2597"/>
                      <a:gd name="T10" fmla="*/ 1016 w 2184"/>
                      <a:gd name="T11" fmla="*/ 2368 h 2597"/>
                      <a:gd name="T12" fmla="*/ 1215 w 2184"/>
                      <a:gd name="T13" fmla="*/ 2151 h 2597"/>
                      <a:gd name="T14" fmla="*/ 1335 w 2184"/>
                      <a:gd name="T15" fmla="*/ 1923 h 2597"/>
                      <a:gd name="T16" fmla="*/ 1700 w 2184"/>
                      <a:gd name="T17" fmla="*/ 1747 h 2597"/>
                      <a:gd name="T18" fmla="*/ 1667 w 2184"/>
                      <a:gd name="T19" fmla="*/ 1879 h 2597"/>
                      <a:gd name="T20" fmla="*/ 1729 w 2184"/>
                      <a:gd name="T21" fmla="*/ 1589 h 2597"/>
                      <a:gd name="T22" fmla="*/ 1826 w 2184"/>
                      <a:gd name="T23" fmla="*/ 1659 h 2597"/>
                      <a:gd name="T24" fmla="*/ 946 w 2184"/>
                      <a:gd name="T25" fmla="*/ 489 h 2597"/>
                      <a:gd name="T26" fmla="*/ 1080 w 2184"/>
                      <a:gd name="T27" fmla="*/ 187 h 2597"/>
                      <a:gd name="T28" fmla="*/ 1162 w 2184"/>
                      <a:gd name="T29" fmla="*/ 305 h 2597"/>
                      <a:gd name="T30" fmla="*/ 1215 w 2184"/>
                      <a:gd name="T31" fmla="*/ 325 h 2597"/>
                      <a:gd name="T32" fmla="*/ 1217 w 2184"/>
                      <a:gd name="T33" fmla="*/ 427 h 2597"/>
                      <a:gd name="T34" fmla="*/ 1296 w 2184"/>
                      <a:gd name="T35" fmla="*/ 544 h 2597"/>
                      <a:gd name="T36" fmla="*/ 1346 w 2184"/>
                      <a:gd name="T37" fmla="*/ 728 h 2597"/>
                      <a:gd name="T38" fmla="*/ 1430 w 2184"/>
                      <a:gd name="T39" fmla="*/ 837 h 2597"/>
                      <a:gd name="T40" fmla="*/ 1356 w 2184"/>
                      <a:gd name="T41" fmla="*/ 943 h 2597"/>
                      <a:gd name="T42" fmla="*/ 1174 w 2184"/>
                      <a:gd name="T43" fmla="*/ 929 h 2597"/>
                      <a:gd name="T44" fmla="*/ 1165 w 2184"/>
                      <a:gd name="T45" fmla="*/ 1009 h 2597"/>
                      <a:gd name="T46" fmla="*/ 1186 w 2184"/>
                      <a:gd name="T47" fmla="*/ 1168 h 2597"/>
                      <a:gd name="T48" fmla="*/ 1289 w 2184"/>
                      <a:gd name="T49" fmla="*/ 1291 h 2597"/>
                      <a:gd name="T50" fmla="*/ 1349 w 2184"/>
                      <a:gd name="T51" fmla="*/ 1359 h 2597"/>
                      <a:gd name="T52" fmla="*/ 1470 w 2184"/>
                      <a:gd name="T53" fmla="*/ 1376 h 2597"/>
                      <a:gd name="T54" fmla="*/ 1531 w 2184"/>
                      <a:gd name="T55" fmla="*/ 1282 h 2597"/>
                      <a:gd name="T56" fmla="*/ 1564 w 2184"/>
                      <a:gd name="T57" fmla="*/ 1252 h 2597"/>
                      <a:gd name="T58" fmla="*/ 2147 w 2184"/>
                      <a:gd name="T59" fmla="*/ 1154 h 2597"/>
                      <a:gd name="T60" fmla="*/ 2027 w 2184"/>
                      <a:gd name="T61" fmla="*/ 1366 h 2597"/>
                      <a:gd name="T62" fmla="*/ 1905 w 2184"/>
                      <a:gd name="T63" fmla="*/ 1463 h 2597"/>
                      <a:gd name="T64" fmla="*/ 1672 w 2184"/>
                      <a:gd name="T65" fmla="*/ 1534 h 2597"/>
                      <a:gd name="T66" fmla="*/ 1435 w 2184"/>
                      <a:gd name="T67" fmla="*/ 1626 h 2597"/>
                      <a:gd name="T68" fmla="*/ 1359 w 2184"/>
                      <a:gd name="T69" fmla="*/ 1798 h 2597"/>
                      <a:gd name="T70" fmla="*/ 1252 w 2184"/>
                      <a:gd name="T71" fmla="*/ 1943 h 2597"/>
                      <a:gd name="T72" fmla="*/ 1179 w 2184"/>
                      <a:gd name="T73" fmla="*/ 2018 h 2597"/>
                      <a:gd name="T74" fmla="*/ 1137 w 2184"/>
                      <a:gd name="T75" fmla="*/ 2243 h 2597"/>
                      <a:gd name="T76" fmla="*/ 987 w 2184"/>
                      <a:gd name="T77" fmla="*/ 2397 h 2597"/>
                      <a:gd name="T78" fmla="*/ 871 w 2184"/>
                      <a:gd name="T79" fmla="*/ 2507 h 2597"/>
                      <a:gd name="T80" fmla="*/ 669 w 2184"/>
                      <a:gd name="T81" fmla="*/ 2562 h 2597"/>
                      <a:gd name="T82" fmla="*/ 459 w 2184"/>
                      <a:gd name="T83" fmla="*/ 2494 h 2597"/>
                      <a:gd name="T84" fmla="*/ 215 w 2184"/>
                      <a:gd name="T85" fmla="*/ 1838 h 2597"/>
                      <a:gd name="T86" fmla="*/ 249 w 2184"/>
                      <a:gd name="T87" fmla="*/ 1722 h 2597"/>
                      <a:gd name="T88" fmla="*/ 232 w 2184"/>
                      <a:gd name="T89" fmla="*/ 1554 h 2597"/>
                      <a:gd name="T90" fmla="*/ 164 w 2184"/>
                      <a:gd name="T91" fmla="*/ 1364 h 2597"/>
                      <a:gd name="T92" fmla="*/ 245 w 2184"/>
                      <a:gd name="T93" fmla="*/ 1169 h 2597"/>
                      <a:gd name="T94" fmla="*/ 281 w 2184"/>
                      <a:gd name="T95" fmla="*/ 849 h 2597"/>
                      <a:gd name="T96" fmla="*/ 82 w 2184"/>
                      <a:gd name="T97" fmla="*/ 679 h 2597"/>
                      <a:gd name="T98" fmla="*/ 109 w 2184"/>
                      <a:gd name="T99" fmla="*/ 503 h 2597"/>
                      <a:gd name="T100" fmla="*/ 99 w 2184"/>
                      <a:gd name="T101" fmla="*/ 373 h 2597"/>
                      <a:gd name="T102" fmla="*/ 35 w 2184"/>
                      <a:gd name="T103" fmla="*/ 193 h 2597"/>
                      <a:gd name="T104" fmla="*/ 194 w 2184"/>
                      <a:gd name="T105" fmla="*/ 60 h 2597"/>
                      <a:gd name="T106" fmla="*/ 359 w 2184"/>
                      <a:gd name="T107" fmla="*/ 18 h 2597"/>
                      <a:gd name="T108" fmla="*/ 494 w 2184"/>
                      <a:gd name="T109" fmla="*/ 129 h 2597"/>
                      <a:gd name="T110" fmla="*/ 672 w 2184"/>
                      <a:gd name="T111" fmla="*/ 154 h 2597"/>
                      <a:gd name="T112" fmla="*/ 710 w 2184"/>
                      <a:gd name="T113" fmla="*/ 293 h 2597"/>
                      <a:gd name="T114" fmla="*/ 734 w 2184"/>
                      <a:gd name="T115" fmla="*/ 378 h 2597"/>
                      <a:gd name="T116" fmla="*/ 755 w 2184"/>
                      <a:gd name="T117" fmla="*/ 499 h 2597"/>
                      <a:gd name="T118" fmla="*/ 889 w 2184"/>
                      <a:gd name="T119" fmla="*/ 480 h 2597"/>
                      <a:gd name="T120" fmla="*/ 995 w 2184"/>
                      <a:gd name="T121" fmla="*/ 458 h 2597"/>
                      <a:gd name="T122" fmla="*/ 1056 w 2184"/>
                      <a:gd name="T123" fmla="*/ 328 h 2597"/>
                      <a:gd name="T124" fmla="*/ 1055 w 2184"/>
                      <a:gd name="T125" fmla="*/ 145 h 2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4" h="2597">
                        <a:moveTo>
                          <a:pt x="949" y="2469"/>
                        </a:moveTo>
                        <a:lnTo>
                          <a:pt x="937" y="2493"/>
                        </a:lnTo>
                        <a:lnTo>
                          <a:pt x="924" y="2494"/>
                        </a:lnTo>
                        <a:lnTo>
                          <a:pt x="939" y="2472"/>
                        </a:lnTo>
                        <a:lnTo>
                          <a:pt x="949" y="2469"/>
                        </a:lnTo>
                        <a:close/>
                        <a:moveTo>
                          <a:pt x="957" y="2493"/>
                        </a:moveTo>
                        <a:lnTo>
                          <a:pt x="952" y="2507"/>
                        </a:lnTo>
                        <a:lnTo>
                          <a:pt x="934" y="2507"/>
                        </a:lnTo>
                        <a:lnTo>
                          <a:pt x="934" y="2499"/>
                        </a:lnTo>
                        <a:lnTo>
                          <a:pt x="942" y="2489"/>
                        </a:lnTo>
                        <a:lnTo>
                          <a:pt x="945" y="2479"/>
                        </a:lnTo>
                        <a:lnTo>
                          <a:pt x="957" y="2465"/>
                        </a:lnTo>
                        <a:lnTo>
                          <a:pt x="957" y="2493"/>
                        </a:lnTo>
                        <a:close/>
                        <a:moveTo>
                          <a:pt x="1152" y="2238"/>
                        </a:moveTo>
                        <a:lnTo>
                          <a:pt x="1146" y="2233"/>
                        </a:lnTo>
                        <a:lnTo>
                          <a:pt x="1160" y="2211"/>
                        </a:lnTo>
                        <a:lnTo>
                          <a:pt x="1165" y="2222"/>
                        </a:lnTo>
                        <a:lnTo>
                          <a:pt x="1152" y="2238"/>
                        </a:lnTo>
                        <a:close/>
                        <a:moveTo>
                          <a:pt x="1501" y="1957"/>
                        </a:moveTo>
                        <a:lnTo>
                          <a:pt x="1494" y="1963"/>
                        </a:lnTo>
                        <a:lnTo>
                          <a:pt x="1495" y="1974"/>
                        </a:lnTo>
                        <a:lnTo>
                          <a:pt x="1484" y="1973"/>
                        </a:lnTo>
                        <a:lnTo>
                          <a:pt x="1472" y="1983"/>
                        </a:lnTo>
                        <a:lnTo>
                          <a:pt x="1461" y="1985"/>
                        </a:lnTo>
                        <a:lnTo>
                          <a:pt x="1461" y="1993"/>
                        </a:lnTo>
                        <a:lnTo>
                          <a:pt x="1432" y="1988"/>
                        </a:lnTo>
                        <a:lnTo>
                          <a:pt x="1430" y="1979"/>
                        </a:lnTo>
                        <a:lnTo>
                          <a:pt x="1382" y="1994"/>
                        </a:lnTo>
                        <a:lnTo>
                          <a:pt x="1386" y="2004"/>
                        </a:lnTo>
                        <a:lnTo>
                          <a:pt x="1361" y="2012"/>
                        </a:lnTo>
                        <a:lnTo>
                          <a:pt x="1376" y="2064"/>
                        </a:lnTo>
                        <a:lnTo>
                          <a:pt x="1366" y="2087"/>
                        </a:lnTo>
                        <a:lnTo>
                          <a:pt x="1349" y="2103"/>
                        </a:lnTo>
                        <a:lnTo>
                          <a:pt x="1324" y="2122"/>
                        </a:lnTo>
                        <a:lnTo>
                          <a:pt x="1319" y="2104"/>
                        </a:lnTo>
                        <a:lnTo>
                          <a:pt x="1301" y="2103"/>
                        </a:lnTo>
                        <a:lnTo>
                          <a:pt x="1297" y="2107"/>
                        </a:lnTo>
                        <a:lnTo>
                          <a:pt x="1257" y="2232"/>
                        </a:lnTo>
                        <a:lnTo>
                          <a:pt x="1262" y="2273"/>
                        </a:lnTo>
                        <a:lnTo>
                          <a:pt x="1255" y="2286"/>
                        </a:lnTo>
                        <a:lnTo>
                          <a:pt x="1251" y="2309"/>
                        </a:lnTo>
                        <a:lnTo>
                          <a:pt x="1257" y="2318"/>
                        </a:lnTo>
                        <a:lnTo>
                          <a:pt x="1254" y="2329"/>
                        </a:lnTo>
                        <a:lnTo>
                          <a:pt x="1256" y="2339"/>
                        </a:lnTo>
                        <a:lnTo>
                          <a:pt x="1265" y="2349"/>
                        </a:lnTo>
                        <a:lnTo>
                          <a:pt x="1255" y="2372"/>
                        </a:lnTo>
                        <a:lnTo>
                          <a:pt x="1259" y="2379"/>
                        </a:lnTo>
                        <a:lnTo>
                          <a:pt x="1244" y="2397"/>
                        </a:lnTo>
                        <a:lnTo>
                          <a:pt x="1237" y="2411"/>
                        </a:lnTo>
                        <a:lnTo>
                          <a:pt x="1239" y="2426"/>
                        </a:lnTo>
                        <a:lnTo>
                          <a:pt x="1230" y="2439"/>
                        </a:lnTo>
                        <a:lnTo>
                          <a:pt x="1234" y="2452"/>
                        </a:lnTo>
                        <a:lnTo>
                          <a:pt x="1221" y="2452"/>
                        </a:lnTo>
                        <a:lnTo>
                          <a:pt x="1209" y="2459"/>
                        </a:lnTo>
                        <a:lnTo>
                          <a:pt x="1205" y="2468"/>
                        </a:lnTo>
                        <a:lnTo>
                          <a:pt x="1189" y="2467"/>
                        </a:lnTo>
                        <a:lnTo>
                          <a:pt x="1181" y="2477"/>
                        </a:lnTo>
                        <a:lnTo>
                          <a:pt x="1179" y="2512"/>
                        </a:lnTo>
                        <a:lnTo>
                          <a:pt x="1100" y="2534"/>
                        </a:lnTo>
                        <a:lnTo>
                          <a:pt x="995" y="2562"/>
                        </a:lnTo>
                        <a:lnTo>
                          <a:pt x="859" y="2597"/>
                        </a:lnTo>
                        <a:lnTo>
                          <a:pt x="880" y="2581"/>
                        </a:lnTo>
                        <a:lnTo>
                          <a:pt x="885" y="2568"/>
                        </a:lnTo>
                        <a:lnTo>
                          <a:pt x="907" y="2549"/>
                        </a:lnTo>
                        <a:lnTo>
                          <a:pt x="917" y="2547"/>
                        </a:lnTo>
                        <a:lnTo>
                          <a:pt x="929" y="2528"/>
                        </a:lnTo>
                        <a:lnTo>
                          <a:pt x="946" y="2509"/>
                        </a:lnTo>
                        <a:lnTo>
                          <a:pt x="960" y="2509"/>
                        </a:lnTo>
                        <a:lnTo>
                          <a:pt x="964" y="2501"/>
                        </a:lnTo>
                        <a:lnTo>
                          <a:pt x="959" y="2491"/>
                        </a:lnTo>
                        <a:lnTo>
                          <a:pt x="962" y="2479"/>
                        </a:lnTo>
                        <a:lnTo>
                          <a:pt x="961" y="2458"/>
                        </a:lnTo>
                        <a:lnTo>
                          <a:pt x="974" y="2439"/>
                        </a:lnTo>
                        <a:lnTo>
                          <a:pt x="977" y="2407"/>
                        </a:lnTo>
                        <a:lnTo>
                          <a:pt x="986" y="2402"/>
                        </a:lnTo>
                        <a:lnTo>
                          <a:pt x="995" y="2389"/>
                        </a:lnTo>
                        <a:lnTo>
                          <a:pt x="1014" y="2379"/>
                        </a:lnTo>
                        <a:lnTo>
                          <a:pt x="1016" y="2368"/>
                        </a:lnTo>
                        <a:lnTo>
                          <a:pt x="1030" y="2348"/>
                        </a:lnTo>
                        <a:lnTo>
                          <a:pt x="1049" y="2333"/>
                        </a:lnTo>
                        <a:lnTo>
                          <a:pt x="1054" y="2317"/>
                        </a:lnTo>
                        <a:lnTo>
                          <a:pt x="1069" y="2306"/>
                        </a:lnTo>
                        <a:lnTo>
                          <a:pt x="1081" y="2287"/>
                        </a:lnTo>
                        <a:lnTo>
                          <a:pt x="1095" y="2289"/>
                        </a:lnTo>
                        <a:lnTo>
                          <a:pt x="1131" y="2262"/>
                        </a:lnTo>
                        <a:lnTo>
                          <a:pt x="1141" y="2244"/>
                        </a:lnTo>
                        <a:lnTo>
                          <a:pt x="1159" y="2237"/>
                        </a:lnTo>
                        <a:lnTo>
                          <a:pt x="1164" y="2228"/>
                        </a:lnTo>
                        <a:lnTo>
                          <a:pt x="1195" y="2203"/>
                        </a:lnTo>
                        <a:lnTo>
                          <a:pt x="1204" y="2184"/>
                        </a:lnTo>
                        <a:lnTo>
                          <a:pt x="1215" y="2151"/>
                        </a:lnTo>
                        <a:lnTo>
                          <a:pt x="1224" y="2139"/>
                        </a:lnTo>
                        <a:lnTo>
                          <a:pt x="1224" y="2124"/>
                        </a:lnTo>
                        <a:lnTo>
                          <a:pt x="1239" y="2097"/>
                        </a:lnTo>
                        <a:lnTo>
                          <a:pt x="1254" y="2058"/>
                        </a:lnTo>
                        <a:lnTo>
                          <a:pt x="1252" y="2052"/>
                        </a:lnTo>
                        <a:lnTo>
                          <a:pt x="1257" y="2034"/>
                        </a:lnTo>
                        <a:lnTo>
                          <a:pt x="1267" y="2026"/>
                        </a:lnTo>
                        <a:lnTo>
                          <a:pt x="1284" y="1989"/>
                        </a:lnTo>
                        <a:lnTo>
                          <a:pt x="1301" y="1962"/>
                        </a:lnTo>
                        <a:lnTo>
                          <a:pt x="1309" y="1959"/>
                        </a:lnTo>
                        <a:lnTo>
                          <a:pt x="1324" y="1941"/>
                        </a:lnTo>
                        <a:lnTo>
                          <a:pt x="1326" y="1931"/>
                        </a:lnTo>
                        <a:lnTo>
                          <a:pt x="1335" y="1923"/>
                        </a:lnTo>
                        <a:lnTo>
                          <a:pt x="1345" y="1907"/>
                        </a:lnTo>
                        <a:lnTo>
                          <a:pt x="1365" y="1892"/>
                        </a:lnTo>
                        <a:lnTo>
                          <a:pt x="1396" y="1857"/>
                        </a:lnTo>
                        <a:lnTo>
                          <a:pt x="1407" y="1852"/>
                        </a:lnTo>
                        <a:lnTo>
                          <a:pt x="1431" y="1829"/>
                        </a:lnTo>
                        <a:lnTo>
                          <a:pt x="1470" y="1792"/>
                        </a:lnTo>
                        <a:lnTo>
                          <a:pt x="1502" y="1768"/>
                        </a:lnTo>
                        <a:lnTo>
                          <a:pt x="1532" y="1754"/>
                        </a:lnTo>
                        <a:lnTo>
                          <a:pt x="1559" y="1739"/>
                        </a:lnTo>
                        <a:lnTo>
                          <a:pt x="1616" y="1726"/>
                        </a:lnTo>
                        <a:lnTo>
                          <a:pt x="1652" y="1728"/>
                        </a:lnTo>
                        <a:lnTo>
                          <a:pt x="1679" y="1737"/>
                        </a:lnTo>
                        <a:lnTo>
                          <a:pt x="1700" y="1747"/>
                        </a:lnTo>
                        <a:lnTo>
                          <a:pt x="1696" y="1758"/>
                        </a:lnTo>
                        <a:lnTo>
                          <a:pt x="1672" y="1759"/>
                        </a:lnTo>
                        <a:lnTo>
                          <a:pt x="1704" y="1772"/>
                        </a:lnTo>
                        <a:lnTo>
                          <a:pt x="1719" y="1782"/>
                        </a:lnTo>
                        <a:lnTo>
                          <a:pt x="1711" y="1787"/>
                        </a:lnTo>
                        <a:lnTo>
                          <a:pt x="1711" y="1796"/>
                        </a:lnTo>
                        <a:lnTo>
                          <a:pt x="1721" y="1798"/>
                        </a:lnTo>
                        <a:lnTo>
                          <a:pt x="1714" y="1817"/>
                        </a:lnTo>
                        <a:lnTo>
                          <a:pt x="1696" y="1828"/>
                        </a:lnTo>
                        <a:lnTo>
                          <a:pt x="1685" y="1842"/>
                        </a:lnTo>
                        <a:lnTo>
                          <a:pt x="1684" y="1861"/>
                        </a:lnTo>
                        <a:lnTo>
                          <a:pt x="1672" y="1869"/>
                        </a:lnTo>
                        <a:lnTo>
                          <a:pt x="1667" y="1879"/>
                        </a:lnTo>
                        <a:lnTo>
                          <a:pt x="1646" y="1904"/>
                        </a:lnTo>
                        <a:lnTo>
                          <a:pt x="1632" y="1911"/>
                        </a:lnTo>
                        <a:lnTo>
                          <a:pt x="1624" y="1906"/>
                        </a:lnTo>
                        <a:lnTo>
                          <a:pt x="1595" y="1907"/>
                        </a:lnTo>
                        <a:lnTo>
                          <a:pt x="1575" y="1901"/>
                        </a:lnTo>
                        <a:lnTo>
                          <a:pt x="1566" y="1919"/>
                        </a:lnTo>
                        <a:lnTo>
                          <a:pt x="1550" y="1922"/>
                        </a:lnTo>
                        <a:lnTo>
                          <a:pt x="1527" y="1931"/>
                        </a:lnTo>
                        <a:lnTo>
                          <a:pt x="1526" y="1938"/>
                        </a:lnTo>
                        <a:lnTo>
                          <a:pt x="1501" y="1957"/>
                        </a:lnTo>
                        <a:close/>
                        <a:moveTo>
                          <a:pt x="1655" y="1597"/>
                        </a:moveTo>
                        <a:lnTo>
                          <a:pt x="1674" y="1598"/>
                        </a:lnTo>
                        <a:lnTo>
                          <a:pt x="1729" y="1589"/>
                        </a:lnTo>
                        <a:lnTo>
                          <a:pt x="1770" y="1587"/>
                        </a:lnTo>
                        <a:lnTo>
                          <a:pt x="1779" y="1591"/>
                        </a:lnTo>
                        <a:lnTo>
                          <a:pt x="1815" y="1592"/>
                        </a:lnTo>
                        <a:lnTo>
                          <a:pt x="1835" y="1602"/>
                        </a:lnTo>
                        <a:lnTo>
                          <a:pt x="1847" y="1601"/>
                        </a:lnTo>
                        <a:lnTo>
                          <a:pt x="1855" y="1607"/>
                        </a:lnTo>
                        <a:lnTo>
                          <a:pt x="1887" y="1603"/>
                        </a:lnTo>
                        <a:lnTo>
                          <a:pt x="1919" y="1623"/>
                        </a:lnTo>
                        <a:lnTo>
                          <a:pt x="1909" y="1639"/>
                        </a:lnTo>
                        <a:lnTo>
                          <a:pt x="1902" y="1641"/>
                        </a:lnTo>
                        <a:lnTo>
                          <a:pt x="1870" y="1656"/>
                        </a:lnTo>
                        <a:lnTo>
                          <a:pt x="1842" y="1654"/>
                        </a:lnTo>
                        <a:lnTo>
                          <a:pt x="1826" y="1659"/>
                        </a:lnTo>
                        <a:lnTo>
                          <a:pt x="1785" y="1662"/>
                        </a:lnTo>
                        <a:lnTo>
                          <a:pt x="1764" y="1657"/>
                        </a:lnTo>
                        <a:lnTo>
                          <a:pt x="1732" y="1657"/>
                        </a:lnTo>
                        <a:lnTo>
                          <a:pt x="1721" y="1642"/>
                        </a:lnTo>
                        <a:lnTo>
                          <a:pt x="1705" y="1633"/>
                        </a:lnTo>
                        <a:lnTo>
                          <a:pt x="1687" y="1629"/>
                        </a:lnTo>
                        <a:lnTo>
                          <a:pt x="1635" y="1627"/>
                        </a:lnTo>
                        <a:lnTo>
                          <a:pt x="1625" y="1621"/>
                        </a:lnTo>
                        <a:lnTo>
                          <a:pt x="1627" y="1613"/>
                        </a:lnTo>
                        <a:lnTo>
                          <a:pt x="1655" y="1597"/>
                        </a:lnTo>
                        <a:close/>
                        <a:moveTo>
                          <a:pt x="960" y="502"/>
                        </a:moveTo>
                        <a:lnTo>
                          <a:pt x="951" y="506"/>
                        </a:lnTo>
                        <a:lnTo>
                          <a:pt x="946" y="489"/>
                        </a:lnTo>
                        <a:lnTo>
                          <a:pt x="952" y="486"/>
                        </a:lnTo>
                        <a:lnTo>
                          <a:pt x="960" y="502"/>
                        </a:lnTo>
                        <a:close/>
                        <a:moveTo>
                          <a:pt x="791" y="416"/>
                        </a:moveTo>
                        <a:lnTo>
                          <a:pt x="804" y="421"/>
                        </a:lnTo>
                        <a:lnTo>
                          <a:pt x="796" y="442"/>
                        </a:lnTo>
                        <a:lnTo>
                          <a:pt x="780" y="421"/>
                        </a:lnTo>
                        <a:lnTo>
                          <a:pt x="791" y="416"/>
                        </a:lnTo>
                        <a:close/>
                        <a:moveTo>
                          <a:pt x="1084" y="128"/>
                        </a:moveTo>
                        <a:lnTo>
                          <a:pt x="1063" y="142"/>
                        </a:lnTo>
                        <a:lnTo>
                          <a:pt x="1075" y="153"/>
                        </a:lnTo>
                        <a:lnTo>
                          <a:pt x="1088" y="158"/>
                        </a:lnTo>
                        <a:lnTo>
                          <a:pt x="1077" y="174"/>
                        </a:lnTo>
                        <a:lnTo>
                          <a:pt x="1080" y="187"/>
                        </a:lnTo>
                        <a:lnTo>
                          <a:pt x="1094" y="186"/>
                        </a:lnTo>
                        <a:lnTo>
                          <a:pt x="1096" y="194"/>
                        </a:lnTo>
                        <a:lnTo>
                          <a:pt x="1089" y="207"/>
                        </a:lnTo>
                        <a:lnTo>
                          <a:pt x="1099" y="224"/>
                        </a:lnTo>
                        <a:lnTo>
                          <a:pt x="1092" y="232"/>
                        </a:lnTo>
                        <a:lnTo>
                          <a:pt x="1096" y="247"/>
                        </a:lnTo>
                        <a:lnTo>
                          <a:pt x="1118" y="258"/>
                        </a:lnTo>
                        <a:lnTo>
                          <a:pt x="1134" y="239"/>
                        </a:lnTo>
                        <a:lnTo>
                          <a:pt x="1141" y="244"/>
                        </a:lnTo>
                        <a:lnTo>
                          <a:pt x="1134" y="255"/>
                        </a:lnTo>
                        <a:lnTo>
                          <a:pt x="1137" y="278"/>
                        </a:lnTo>
                        <a:lnTo>
                          <a:pt x="1151" y="303"/>
                        </a:lnTo>
                        <a:lnTo>
                          <a:pt x="1162" y="305"/>
                        </a:lnTo>
                        <a:lnTo>
                          <a:pt x="1170" y="315"/>
                        </a:lnTo>
                        <a:lnTo>
                          <a:pt x="1163" y="319"/>
                        </a:lnTo>
                        <a:lnTo>
                          <a:pt x="1142" y="319"/>
                        </a:lnTo>
                        <a:lnTo>
                          <a:pt x="1136" y="315"/>
                        </a:lnTo>
                        <a:lnTo>
                          <a:pt x="1128" y="330"/>
                        </a:lnTo>
                        <a:lnTo>
                          <a:pt x="1136" y="340"/>
                        </a:lnTo>
                        <a:lnTo>
                          <a:pt x="1143" y="333"/>
                        </a:lnTo>
                        <a:lnTo>
                          <a:pt x="1156" y="338"/>
                        </a:lnTo>
                        <a:lnTo>
                          <a:pt x="1176" y="330"/>
                        </a:lnTo>
                        <a:lnTo>
                          <a:pt x="1185" y="344"/>
                        </a:lnTo>
                        <a:lnTo>
                          <a:pt x="1197" y="345"/>
                        </a:lnTo>
                        <a:lnTo>
                          <a:pt x="1205" y="330"/>
                        </a:lnTo>
                        <a:lnTo>
                          <a:pt x="1215" y="325"/>
                        </a:lnTo>
                        <a:lnTo>
                          <a:pt x="1221" y="315"/>
                        </a:lnTo>
                        <a:lnTo>
                          <a:pt x="1232" y="317"/>
                        </a:lnTo>
                        <a:lnTo>
                          <a:pt x="1246" y="327"/>
                        </a:lnTo>
                        <a:lnTo>
                          <a:pt x="1243" y="333"/>
                        </a:lnTo>
                        <a:lnTo>
                          <a:pt x="1209" y="353"/>
                        </a:lnTo>
                        <a:lnTo>
                          <a:pt x="1207" y="368"/>
                        </a:lnTo>
                        <a:lnTo>
                          <a:pt x="1216" y="376"/>
                        </a:lnTo>
                        <a:lnTo>
                          <a:pt x="1225" y="366"/>
                        </a:lnTo>
                        <a:lnTo>
                          <a:pt x="1235" y="376"/>
                        </a:lnTo>
                        <a:lnTo>
                          <a:pt x="1225" y="388"/>
                        </a:lnTo>
                        <a:lnTo>
                          <a:pt x="1224" y="399"/>
                        </a:lnTo>
                        <a:lnTo>
                          <a:pt x="1216" y="407"/>
                        </a:lnTo>
                        <a:lnTo>
                          <a:pt x="1217" y="427"/>
                        </a:lnTo>
                        <a:lnTo>
                          <a:pt x="1207" y="436"/>
                        </a:lnTo>
                        <a:lnTo>
                          <a:pt x="1212" y="453"/>
                        </a:lnTo>
                        <a:lnTo>
                          <a:pt x="1227" y="451"/>
                        </a:lnTo>
                        <a:lnTo>
                          <a:pt x="1232" y="461"/>
                        </a:lnTo>
                        <a:lnTo>
                          <a:pt x="1250" y="482"/>
                        </a:lnTo>
                        <a:lnTo>
                          <a:pt x="1264" y="479"/>
                        </a:lnTo>
                        <a:lnTo>
                          <a:pt x="1270" y="488"/>
                        </a:lnTo>
                        <a:lnTo>
                          <a:pt x="1290" y="489"/>
                        </a:lnTo>
                        <a:lnTo>
                          <a:pt x="1295" y="493"/>
                        </a:lnTo>
                        <a:lnTo>
                          <a:pt x="1289" y="508"/>
                        </a:lnTo>
                        <a:lnTo>
                          <a:pt x="1294" y="523"/>
                        </a:lnTo>
                        <a:lnTo>
                          <a:pt x="1302" y="532"/>
                        </a:lnTo>
                        <a:lnTo>
                          <a:pt x="1296" y="544"/>
                        </a:lnTo>
                        <a:lnTo>
                          <a:pt x="1309" y="556"/>
                        </a:lnTo>
                        <a:lnTo>
                          <a:pt x="1311" y="576"/>
                        </a:lnTo>
                        <a:lnTo>
                          <a:pt x="1306" y="582"/>
                        </a:lnTo>
                        <a:lnTo>
                          <a:pt x="1310" y="603"/>
                        </a:lnTo>
                        <a:lnTo>
                          <a:pt x="1316" y="608"/>
                        </a:lnTo>
                        <a:lnTo>
                          <a:pt x="1309" y="619"/>
                        </a:lnTo>
                        <a:lnTo>
                          <a:pt x="1307" y="644"/>
                        </a:lnTo>
                        <a:lnTo>
                          <a:pt x="1329" y="660"/>
                        </a:lnTo>
                        <a:lnTo>
                          <a:pt x="1332" y="669"/>
                        </a:lnTo>
                        <a:lnTo>
                          <a:pt x="1325" y="689"/>
                        </a:lnTo>
                        <a:lnTo>
                          <a:pt x="1332" y="704"/>
                        </a:lnTo>
                        <a:lnTo>
                          <a:pt x="1345" y="702"/>
                        </a:lnTo>
                        <a:lnTo>
                          <a:pt x="1346" y="728"/>
                        </a:lnTo>
                        <a:lnTo>
                          <a:pt x="1359" y="724"/>
                        </a:lnTo>
                        <a:lnTo>
                          <a:pt x="1375" y="724"/>
                        </a:lnTo>
                        <a:lnTo>
                          <a:pt x="1387" y="728"/>
                        </a:lnTo>
                        <a:lnTo>
                          <a:pt x="1370" y="748"/>
                        </a:lnTo>
                        <a:lnTo>
                          <a:pt x="1384" y="762"/>
                        </a:lnTo>
                        <a:lnTo>
                          <a:pt x="1391" y="766"/>
                        </a:lnTo>
                        <a:lnTo>
                          <a:pt x="1391" y="782"/>
                        </a:lnTo>
                        <a:lnTo>
                          <a:pt x="1400" y="784"/>
                        </a:lnTo>
                        <a:lnTo>
                          <a:pt x="1404" y="812"/>
                        </a:lnTo>
                        <a:lnTo>
                          <a:pt x="1434" y="807"/>
                        </a:lnTo>
                        <a:lnTo>
                          <a:pt x="1424" y="819"/>
                        </a:lnTo>
                        <a:lnTo>
                          <a:pt x="1419" y="834"/>
                        </a:lnTo>
                        <a:lnTo>
                          <a:pt x="1430" y="837"/>
                        </a:lnTo>
                        <a:lnTo>
                          <a:pt x="1434" y="861"/>
                        </a:lnTo>
                        <a:lnTo>
                          <a:pt x="1441" y="873"/>
                        </a:lnTo>
                        <a:lnTo>
                          <a:pt x="1442" y="884"/>
                        </a:lnTo>
                        <a:lnTo>
                          <a:pt x="1424" y="886"/>
                        </a:lnTo>
                        <a:lnTo>
                          <a:pt x="1429" y="902"/>
                        </a:lnTo>
                        <a:lnTo>
                          <a:pt x="1425" y="911"/>
                        </a:lnTo>
                        <a:lnTo>
                          <a:pt x="1446" y="924"/>
                        </a:lnTo>
                        <a:lnTo>
                          <a:pt x="1435" y="937"/>
                        </a:lnTo>
                        <a:lnTo>
                          <a:pt x="1415" y="938"/>
                        </a:lnTo>
                        <a:lnTo>
                          <a:pt x="1406" y="929"/>
                        </a:lnTo>
                        <a:lnTo>
                          <a:pt x="1379" y="926"/>
                        </a:lnTo>
                        <a:lnTo>
                          <a:pt x="1372" y="939"/>
                        </a:lnTo>
                        <a:lnTo>
                          <a:pt x="1356" y="943"/>
                        </a:lnTo>
                        <a:lnTo>
                          <a:pt x="1352" y="932"/>
                        </a:lnTo>
                        <a:lnTo>
                          <a:pt x="1332" y="921"/>
                        </a:lnTo>
                        <a:lnTo>
                          <a:pt x="1317" y="922"/>
                        </a:lnTo>
                        <a:lnTo>
                          <a:pt x="1314" y="941"/>
                        </a:lnTo>
                        <a:lnTo>
                          <a:pt x="1294" y="953"/>
                        </a:lnTo>
                        <a:lnTo>
                          <a:pt x="1300" y="962"/>
                        </a:lnTo>
                        <a:lnTo>
                          <a:pt x="1280" y="972"/>
                        </a:lnTo>
                        <a:lnTo>
                          <a:pt x="1266" y="962"/>
                        </a:lnTo>
                        <a:lnTo>
                          <a:pt x="1259" y="952"/>
                        </a:lnTo>
                        <a:lnTo>
                          <a:pt x="1241" y="954"/>
                        </a:lnTo>
                        <a:lnTo>
                          <a:pt x="1221" y="948"/>
                        </a:lnTo>
                        <a:lnTo>
                          <a:pt x="1181" y="921"/>
                        </a:lnTo>
                        <a:lnTo>
                          <a:pt x="1174" y="929"/>
                        </a:lnTo>
                        <a:lnTo>
                          <a:pt x="1174" y="947"/>
                        </a:lnTo>
                        <a:lnTo>
                          <a:pt x="1187" y="962"/>
                        </a:lnTo>
                        <a:lnTo>
                          <a:pt x="1185" y="971"/>
                        </a:lnTo>
                        <a:lnTo>
                          <a:pt x="1201" y="986"/>
                        </a:lnTo>
                        <a:lnTo>
                          <a:pt x="1193" y="999"/>
                        </a:lnTo>
                        <a:lnTo>
                          <a:pt x="1173" y="996"/>
                        </a:lnTo>
                        <a:lnTo>
                          <a:pt x="1163" y="986"/>
                        </a:lnTo>
                        <a:lnTo>
                          <a:pt x="1135" y="976"/>
                        </a:lnTo>
                        <a:lnTo>
                          <a:pt x="1134" y="967"/>
                        </a:lnTo>
                        <a:lnTo>
                          <a:pt x="1120" y="972"/>
                        </a:lnTo>
                        <a:lnTo>
                          <a:pt x="1125" y="981"/>
                        </a:lnTo>
                        <a:lnTo>
                          <a:pt x="1145" y="999"/>
                        </a:lnTo>
                        <a:lnTo>
                          <a:pt x="1165" y="1009"/>
                        </a:lnTo>
                        <a:lnTo>
                          <a:pt x="1165" y="1028"/>
                        </a:lnTo>
                        <a:lnTo>
                          <a:pt x="1157" y="1038"/>
                        </a:lnTo>
                        <a:lnTo>
                          <a:pt x="1161" y="1051"/>
                        </a:lnTo>
                        <a:lnTo>
                          <a:pt x="1137" y="1041"/>
                        </a:lnTo>
                        <a:lnTo>
                          <a:pt x="1141" y="1057"/>
                        </a:lnTo>
                        <a:lnTo>
                          <a:pt x="1123" y="1072"/>
                        </a:lnTo>
                        <a:lnTo>
                          <a:pt x="1143" y="1103"/>
                        </a:lnTo>
                        <a:lnTo>
                          <a:pt x="1137" y="1111"/>
                        </a:lnTo>
                        <a:lnTo>
                          <a:pt x="1137" y="1129"/>
                        </a:lnTo>
                        <a:lnTo>
                          <a:pt x="1159" y="1141"/>
                        </a:lnTo>
                        <a:lnTo>
                          <a:pt x="1170" y="1151"/>
                        </a:lnTo>
                        <a:lnTo>
                          <a:pt x="1168" y="1162"/>
                        </a:lnTo>
                        <a:lnTo>
                          <a:pt x="1186" y="1168"/>
                        </a:lnTo>
                        <a:lnTo>
                          <a:pt x="1200" y="1183"/>
                        </a:lnTo>
                        <a:lnTo>
                          <a:pt x="1227" y="1183"/>
                        </a:lnTo>
                        <a:lnTo>
                          <a:pt x="1243" y="1193"/>
                        </a:lnTo>
                        <a:lnTo>
                          <a:pt x="1236" y="1206"/>
                        </a:lnTo>
                        <a:lnTo>
                          <a:pt x="1243" y="1212"/>
                        </a:lnTo>
                        <a:lnTo>
                          <a:pt x="1250" y="1239"/>
                        </a:lnTo>
                        <a:lnTo>
                          <a:pt x="1232" y="1238"/>
                        </a:lnTo>
                        <a:lnTo>
                          <a:pt x="1221" y="1242"/>
                        </a:lnTo>
                        <a:lnTo>
                          <a:pt x="1216" y="1251"/>
                        </a:lnTo>
                        <a:lnTo>
                          <a:pt x="1234" y="1283"/>
                        </a:lnTo>
                        <a:lnTo>
                          <a:pt x="1261" y="1288"/>
                        </a:lnTo>
                        <a:lnTo>
                          <a:pt x="1281" y="1299"/>
                        </a:lnTo>
                        <a:lnTo>
                          <a:pt x="1289" y="1291"/>
                        </a:lnTo>
                        <a:lnTo>
                          <a:pt x="1285" y="1282"/>
                        </a:lnTo>
                        <a:lnTo>
                          <a:pt x="1292" y="1274"/>
                        </a:lnTo>
                        <a:lnTo>
                          <a:pt x="1289" y="1253"/>
                        </a:lnTo>
                        <a:lnTo>
                          <a:pt x="1295" y="1251"/>
                        </a:lnTo>
                        <a:lnTo>
                          <a:pt x="1301" y="1233"/>
                        </a:lnTo>
                        <a:lnTo>
                          <a:pt x="1309" y="1237"/>
                        </a:lnTo>
                        <a:lnTo>
                          <a:pt x="1322" y="1257"/>
                        </a:lnTo>
                        <a:lnTo>
                          <a:pt x="1312" y="1261"/>
                        </a:lnTo>
                        <a:lnTo>
                          <a:pt x="1324" y="1273"/>
                        </a:lnTo>
                        <a:lnTo>
                          <a:pt x="1324" y="1297"/>
                        </a:lnTo>
                        <a:lnTo>
                          <a:pt x="1340" y="1328"/>
                        </a:lnTo>
                        <a:lnTo>
                          <a:pt x="1330" y="1334"/>
                        </a:lnTo>
                        <a:lnTo>
                          <a:pt x="1349" y="1359"/>
                        </a:lnTo>
                        <a:lnTo>
                          <a:pt x="1357" y="1354"/>
                        </a:lnTo>
                        <a:lnTo>
                          <a:pt x="1347" y="1337"/>
                        </a:lnTo>
                        <a:lnTo>
                          <a:pt x="1372" y="1347"/>
                        </a:lnTo>
                        <a:lnTo>
                          <a:pt x="1376" y="1358"/>
                        </a:lnTo>
                        <a:lnTo>
                          <a:pt x="1386" y="1359"/>
                        </a:lnTo>
                        <a:lnTo>
                          <a:pt x="1397" y="1348"/>
                        </a:lnTo>
                        <a:lnTo>
                          <a:pt x="1407" y="1348"/>
                        </a:lnTo>
                        <a:lnTo>
                          <a:pt x="1414" y="1356"/>
                        </a:lnTo>
                        <a:lnTo>
                          <a:pt x="1434" y="1348"/>
                        </a:lnTo>
                        <a:lnTo>
                          <a:pt x="1446" y="1356"/>
                        </a:lnTo>
                        <a:lnTo>
                          <a:pt x="1446" y="1364"/>
                        </a:lnTo>
                        <a:lnTo>
                          <a:pt x="1457" y="1366"/>
                        </a:lnTo>
                        <a:lnTo>
                          <a:pt x="1470" y="1376"/>
                        </a:lnTo>
                        <a:lnTo>
                          <a:pt x="1484" y="1373"/>
                        </a:lnTo>
                        <a:lnTo>
                          <a:pt x="1492" y="1376"/>
                        </a:lnTo>
                        <a:lnTo>
                          <a:pt x="1499" y="1366"/>
                        </a:lnTo>
                        <a:lnTo>
                          <a:pt x="1516" y="1367"/>
                        </a:lnTo>
                        <a:lnTo>
                          <a:pt x="1536" y="1381"/>
                        </a:lnTo>
                        <a:lnTo>
                          <a:pt x="1549" y="1364"/>
                        </a:lnTo>
                        <a:lnTo>
                          <a:pt x="1550" y="1352"/>
                        </a:lnTo>
                        <a:lnTo>
                          <a:pt x="1541" y="1343"/>
                        </a:lnTo>
                        <a:lnTo>
                          <a:pt x="1531" y="1323"/>
                        </a:lnTo>
                        <a:lnTo>
                          <a:pt x="1542" y="1317"/>
                        </a:lnTo>
                        <a:lnTo>
                          <a:pt x="1534" y="1298"/>
                        </a:lnTo>
                        <a:lnTo>
                          <a:pt x="1541" y="1293"/>
                        </a:lnTo>
                        <a:lnTo>
                          <a:pt x="1531" y="1282"/>
                        </a:lnTo>
                        <a:lnTo>
                          <a:pt x="1527" y="1271"/>
                        </a:lnTo>
                        <a:lnTo>
                          <a:pt x="1530" y="1257"/>
                        </a:lnTo>
                        <a:lnTo>
                          <a:pt x="1515" y="1232"/>
                        </a:lnTo>
                        <a:lnTo>
                          <a:pt x="1512" y="1217"/>
                        </a:lnTo>
                        <a:lnTo>
                          <a:pt x="1515" y="1209"/>
                        </a:lnTo>
                        <a:lnTo>
                          <a:pt x="1554" y="1184"/>
                        </a:lnTo>
                        <a:lnTo>
                          <a:pt x="1575" y="1191"/>
                        </a:lnTo>
                        <a:lnTo>
                          <a:pt x="1580" y="1196"/>
                        </a:lnTo>
                        <a:lnTo>
                          <a:pt x="1545" y="1213"/>
                        </a:lnTo>
                        <a:lnTo>
                          <a:pt x="1535" y="1224"/>
                        </a:lnTo>
                        <a:lnTo>
                          <a:pt x="1530" y="1243"/>
                        </a:lnTo>
                        <a:lnTo>
                          <a:pt x="1545" y="1256"/>
                        </a:lnTo>
                        <a:lnTo>
                          <a:pt x="1564" y="1252"/>
                        </a:lnTo>
                        <a:lnTo>
                          <a:pt x="1574" y="1266"/>
                        </a:lnTo>
                        <a:lnTo>
                          <a:pt x="1587" y="1291"/>
                        </a:lnTo>
                        <a:lnTo>
                          <a:pt x="1584" y="1298"/>
                        </a:lnTo>
                        <a:lnTo>
                          <a:pt x="1717" y="1248"/>
                        </a:lnTo>
                        <a:lnTo>
                          <a:pt x="1865" y="1188"/>
                        </a:lnTo>
                        <a:lnTo>
                          <a:pt x="1962" y="1147"/>
                        </a:lnTo>
                        <a:lnTo>
                          <a:pt x="2067" y="1102"/>
                        </a:lnTo>
                        <a:lnTo>
                          <a:pt x="2147" y="1066"/>
                        </a:lnTo>
                        <a:lnTo>
                          <a:pt x="2184" y="1144"/>
                        </a:lnTo>
                        <a:lnTo>
                          <a:pt x="2176" y="1148"/>
                        </a:lnTo>
                        <a:lnTo>
                          <a:pt x="2166" y="1138"/>
                        </a:lnTo>
                        <a:lnTo>
                          <a:pt x="2151" y="1148"/>
                        </a:lnTo>
                        <a:lnTo>
                          <a:pt x="2147" y="1154"/>
                        </a:lnTo>
                        <a:lnTo>
                          <a:pt x="2135" y="1164"/>
                        </a:lnTo>
                        <a:lnTo>
                          <a:pt x="2126" y="1163"/>
                        </a:lnTo>
                        <a:lnTo>
                          <a:pt x="2115" y="1189"/>
                        </a:lnTo>
                        <a:lnTo>
                          <a:pt x="2096" y="1207"/>
                        </a:lnTo>
                        <a:lnTo>
                          <a:pt x="2075" y="1209"/>
                        </a:lnTo>
                        <a:lnTo>
                          <a:pt x="2064" y="1232"/>
                        </a:lnTo>
                        <a:lnTo>
                          <a:pt x="2065" y="1248"/>
                        </a:lnTo>
                        <a:lnTo>
                          <a:pt x="2050" y="1266"/>
                        </a:lnTo>
                        <a:lnTo>
                          <a:pt x="2060" y="1302"/>
                        </a:lnTo>
                        <a:lnTo>
                          <a:pt x="2049" y="1304"/>
                        </a:lnTo>
                        <a:lnTo>
                          <a:pt x="2045" y="1317"/>
                        </a:lnTo>
                        <a:lnTo>
                          <a:pt x="2031" y="1334"/>
                        </a:lnTo>
                        <a:lnTo>
                          <a:pt x="2027" y="1366"/>
                        </a:lnTo>
                        <a:lnTo>
                          <a:pt x="2010" y="1378"/>
                        </a:lnTo>
                        <a:lnTo>
                          <a:pt x="2007" y="1391"/>
                        </a:lnTo>
                        <a:lnTo>
                          <a:pt x="2014" y="1398"/>
                        </a:lnTo>
                        <a:lnTo>
                          <a:pt x="1999" y="1414"/>
                        </a:lnTo>
                        <a:lnTo>
                          <a:pt x="1989" y="1413"/>
                        </a:lnTo>
                        <a:lnTo>
                          <a:pt x="1979" y="1423"/>
                        </a:lnTo>
                        <a:lnTo>
                          <a:pt x="1965" y="1427"/>
                        </a:lnTo>
                        <a:lnTo>
                          <a:pt x="1959" y="1436"/>
                        </a:lnTo>
                        <a:lnTo>
                          <a:pt x="1942" y="1442"/>
                        </a:lnTo>
                        <a:lnTo>
                          <a:pt x="1930" y="1442"/>
                        </a:lnTo>
                        <a:lnTo>
                          <a:pt x="1925" y="1453"/>
                        </a:lnTo>
                        <a:lnTo>
                          <a:pt x="1915" y="1453"/>
                        </a:lnTo>
                        <a:lnTo>
                          <a:pt x="1905" y="1463"/>
                        </a:lnTo>
                        <a:lnTo>
                          <a:pt x="1892" y="1467"/>
                        </a:lnTo>
                        <a:lnTo>
                          <a:pt x="1861" y="1494"/>
                        </a:lnTo>
                        <a:lnTo>
                          <a:pt x="1844" y="1483"/>
                        </a:lnTo>
                        <a:lnTo>
                          <a:pt x="1810" y="1492"/>
                        </a:lnTo>
                        <a:lnTo>
                          <a:pt x="1797" y="1489"/>
                        </a:lnTo>
                        <a:lnTo>
                          <a:pt x="1789" y="1497"/>
                        </a:lnTo>
                        <a:lnTo>
                          <a:pt x="1751" y="1507"/>
                        </a:lnTo>
                        <a:lnTo>
                          <a:pt x="1722" y="1518"/>
                        </a:lnTo>
                        <a:lnTo>
                          <a:pt x="1719" y="1528"/>
                        </a:lnTo>
                        <a:lnTo>
                          <a:pt x="1702" y="1537"/>
                        </a:lnTo>
                        <a:lnTo>
                          <a:pt x="1694" y="1533"/>
                        </a:lnTo>
                        <a:lnTo>
                          <a:pt x="1686" y="1538"/>
                        </a:lnTo>
                        <a:lnTo>
                          <a:pt x="1672" y="1534"/>
                        </a:lnTo>
                        <a:lnTo>
                          <a:pt x="1649" y="1543"/>
                        </a:lnTo>
                        <a:lnTo>
                          <a:pt x="1637" y="1553"/>
                        </a:lnTo>
                        <a:lnTo>
                          <a:pt x="1627" y="1557"/>
                        </a:lnTo>
                        <a:lnTo>
                          <a:pt x="1605" y="1557"/>
                        </a:lnTo>
                        <a:lnTo>
                          <a:pt x="1594" y="1567"/>
                        </a:lnTo>
                        <a:lnTo>
                          <a:pt x="1571" y="1577"/>
                        </a:lnTo>
                        <a:lnTo>
                          <a:pt x="1535" y="1582"/>
                        </a:lnTo>
                        <a:lnTo>
                          <a:pt x="1495" y="1606"/>
                        </a:lnTo>
                        <a:lnTo>
                          <a:pt x="1476" y="1607"/>
                        </a:lnTo>
                        <a:lnTo>
                          <a:pt x="1470" y="1619"/>
                        </a:lnTo>
                        <a:lnTo>
                          <a:pt x="1460" y="1627"/>
                        </a:lnTo>
                        <a:lnTo>
                          <a:pt x="1442" y="1632"/>
                        </a:lnTo>
                        <a:lnTo>
                          <a:pt x="1435" y="1626"/>
                        </a:lnTo>
                        <a:lnTo>
                          <a:pt x="1425" y="1636"/>
                        </a:lnTo>
                        <a:lnTo>
                          <a:pt x="1426" y="1644"/>
                        </a:lnTo>
                        <a:lnTo>
                          <a:pt x="1417" y="1651"/>
                        </a:lnTo>
                        <a:lnTo>
                          <a:pt x="1415" y="1666"/>
                        </a:lnTo>
                        <a:lnTo>
                          <a:pt x="1399" y="1681"/>
                        </a:lnTo>
                        <a:lnTo>
                          <a:pt x="1397" y="1706"/>
                        </a:lnTo>
                        <a:lnTo>
                          <a:pt x="1390" y="1708"/>
                        </a:lnTo>
                        <a:lnTo>
                          <a:pt x="1390" y="1722"/>
                        </a:lnTo>
                        <a:lnTo>
                          <a:pt x="1394" y="1731"/>
                        </a:lnTo>
                        <a:lnTo>
                          <a:pt x="1391" y="1742"/>
                        </a:lnTo>
                        <a:lnTo>
                          <a:pt x="1397" y="1763"/>
                        </a:lnTo>
                        <a:lnTo>
                          <a:pt x="1390" y="1784"/>
                        </a:lnTo>
                        <a:lnTo>
                          <a:pt x="1359" y="1798"/>
                        </a:lnTo>
                        <a:lnTo>
                          <a:pt x="1352" y="1806"/>
                        </a:lnTo>
                        <a:lnTo>
                          <a:pt x="1340" y="1807"/>
                        </a:lnTo>
                        <a:lnTo>
                          <a:pt x="1325" y="1816"/>
                        </a:lnTo>
                        <a:lnTo>
                          <a:pt x="1326" y="1838"/>
                        </a:lnTo>
                        <a:lnTo>
                          <a:pt x="1314" y="1846"/>
                        </a:lnTo>
                        <a:lnTo>
                          <a:pt x="1307" y="1842"/>
                        </a:lnTo>
                        <a:lnTo>
                          <a:pt x="1289" y="1867"/>
                        </a:lnTo>
                        <a:lnTo>
                          <a:pt x="1292" y="1881"/>
                        </a:lnTo>
                        <a:lnTo>
                          <a:pt x="1280" y="1886"/>
                        </a:lnTo>
                        <a:lnTo>
                          <a:pt x="1266" y="1909"/>
                        </a:lnTo>
                        <a:lnTo>
                          <a:pt x="1260" y="1916"/>
                        </a:lnTo>
                        <a:lnTo>
                          <a:pt x="1260" y="1939"/>
                        </a:lnTo>
                        <a:lnTo>
                          <a:pt x="1252" y="1943"/>
                        </a:lnTo>
                        <a:lnTo>
                          <a:pt x="1252" y="1963"/>
                        </a:lnTo>
                        <a:lnTo>
                          <a:pt x="1245" y="1992"/>
                        </a:lnTo>
                        <a:lnTo>
                          <a:pt x="1230" y="2016"/>
                        </a:lnTo>
                        <a:lnTo>
                          <a:pt x="1217" y="2021"/>
                        </a:lnTo>
                        <a:lnTo>
                          <a:pt x="1195" y="2009"/>
                        </a:lnTo>
                        <a:lnTo>
                          <a:pt x="1180" y="2014"/>
                        </a:lnTo>
                        <a:lnTo>
                          <a:pt x="1155" y="2006"/>
                        </a:lnTo>
                        <a:lnTo>
                          <a:pt x="1149" y="2009"/>
                        </a:lnTo>
                        <a:lnTo>
                          <a:pt x="1116" y="2008"/>
                        </a:lnTo>
                        <a:lnTo>
                          <a:pt x="1120" y="2019"/>
                        </a:lnTo>
                        <a:lnTo>
                          <a:pt x="1145" y="2012"/>
                        </a:lnTo>
                        <a:lnTo>
                          <a:pt x="1165" y="2013"/>
                        </a:lnTo>
                        <a:lnTo>
                          <a:pt x="1179" y="2018"/>
                        </a:lnTo>
                        <a:lnTo>
                          <a:pt x="1191" y="2014"/>
                        </a:lnTo>
                        <a:lnTo>
                          <a:pt x="1202" y="2016"/>
                        </a:lnTo>
                        <a:lnTo>
                          <a:pt x="1210" y="2023"/>
                        </a:lnTo>
                        <a:lnTo>
                          <a:pt x="1225" y="2024"/>
                        </a:lnTo>
                        <a:lnTo>
                          <a:pt x="1225" y="2044"/>
                        </a:lnTo>
                        <a:lnTo>
                          <a:pt x="1221" y="2079"/>
                        </a:lnTo>
                        <a:lnTo>
                          <a:pt x="1202" y="2112"/>
                        </a:lnTo>
                        <a:lnTo>
                          <a:pt x="1204" y="2127"/>
                        </a:lnTo>
                        <a:lnTo>
                          <a:pt x="1181" y="2143"/>
                        </a:lnTo>
                        <a:lnTo>
                          <a:pt x="1179" y="2172"/>
                        </a:lnTo>
                        <a:lnTo>
                          <a:pt x="1172" y="2193"/>
                        </a:lnTo>
                        <a:lnTo>
                          <a:pt x="1154" y="2213"/>
                        </a:lnTo>
                        <a:lnTo>
                          <a:pt x="1137" y="2243"/>
                        </a:lnTo>
                        <a:lnTo>
                          <a:pt x="1136" y="2252"/>
                        </a:lnTo>
                        <a:lnTo>
                          <a:pt x="1126" y="2264"/>
                        </a:lnTo>
                        <a:lnTo>
                          <a:pt x="1116" y="2268"/>
                        </a:lnTo>
                        <a:lnTo>
                          <a:pt x="1096" y="2282"/>
                        </a:lnTo>
                        <a:lnTo>
                          <a:pt x="1077" y="2284"/>
                        </a:lnTo>
                        <a:lnTo>
                          <a:pt x="1064" y="2303"/>
                        </a:lnTo>
                        <a:lnTo>
                          <a:pt x="1049" y="2313"/>
                        </a:lnTo>
                        <a:lnTo>
                          <a:pt x="1049" y="2326"/>
                        </a:lnTo>
                        <a:lnTo>
                          <a:pt x="1031" y="2341"/>
                        </a:lnTo>
                        <a:lnTo>
                          <a:pt x="1021" y="2359"/>
                        </a:lnTo>
                        <a:lnTo>
                          <a:pt x="999" y="2371"/>
                        </a:lnTo>
                        <a:lnTo>
                          <a:pt x="986" y="2382"/>
                        </a:lnTo>
                        <a:lnTo>
                          <a:pt x="987" y="2397"/>
                        </a:lnTo>
                        <a:lnTo>
                          <a:pt x="975" y="2406"/>
                        </a:lnTo>
                        <a:lnTo>
                          <a:pt x="970" y="2437"/>
                        </a:lnTo>
                        <a:lnTo>
                          <a:pt x="955" y="2463"/>
                        </a:lnTo>
                        <a:lnTo>
                          <a:pt x="937" y="2471"/>
                        </a:lnTo>
                        <a:lnTo>
                          <a:pt x="930" y="2477"/>
                        </a:lnTo>
                        <a:lnTo>
                          <a:pt x="920" y="2501"/>
                        </a:lnTo>
                        <a:lnTo>
                          <a:pt x="906" y="2516"/>
                        </a:lnTo>
                        <a:lnTo>
                          <a:pt x="921" y="2528"/>
                        </a:lnTo>
                        <a:lnTo>
                          <a:pt x="904" y="2537"/>
                        </a:lnTo>
                        <a:lnTo>
                          <a:pt x="900" y="2546"/>
                        </a:lnTo>
                        <a:lnTo>
                          <a:pt x="887" y="2557"/>
                        </a:lnTo>
                        <a:lnTo>
                          <a:pt x="871" y="2546"/>
                        </a:lnTo>
                        <a:lnTo>
                          <a:pt x="871" y="2507"/>
                        </a:lnTo>
                        <a:lnTo>
                          <a:pt x="842" y="2502"/>
                        </a:lnTo>
                        <a:lnTo>
                          <a:pt x="831" y="2508"/>
                        </a:lnTo>
                        <a:lnTo>
                          <a:pt x="815" y="2511"/>
                        </a:lnTo>
                        <a:lnTo>
                          <a:pt x="804" y="2519"/>
                        </a:lnTo>
                        <a:lnTo>
                          <a:pt x="782" y="2528"/>
                        </a:lnTo>
                        <a:lnTo>
                          <a:pt x="775" y="2534"/>
                        </a:lnTo>
                        <a:lnTo>
                          <a:pt x="744" y="2554"/>
                        </a:lnTo>
                        <a:lnTo>
                          <a:pt x="739" y="2564"/>
                        </a:lnTo>
                        <a:lnTo>
                          <a:pt x="727" y="2567"/>
                        </a:lnTo>
                        <a:lnTo>
                          <a:pt x="707" y="2553"/>
                        </a:lnTo>
                        <a:lnTo>
                          <a:pt x="690" y="2557"/>
                        </a:lnTo>
                        <a:lnTo>
                          <a:pt x="679" y="2567"/>
                        </a:lnTo>
                        <a:lnTo>
                          <a:pt x="669" y="2562"/>
                        </a:lnTo>
                        <a:lnTo>
                          <a:pt x="645" y="2558"/>
                        </a:lnTo>
                        <a:lnTo>
                          <a:pt x="636" y="2541"/>
                        </a:lnTo>
                        <a:lnTo>
                          <a:pt x="630" y="2537"/>
                        </a:lnTo>
                        <a:lnTo>
                          <a:pt x="621" y="2518"/>
                        </a:lnTo>
                        <a:lnTo>
                          <a:pt x="609" y="2522"/>
                        </a:lnTo>
                        <a:lnTo>
                          <a:pt x="607" y="2534"/>
                        </a:lnTo>
                        <a:lnTo>
                          <a:pt x="589" y="2531"/>
                        </a:lnTo>
                        <a:lnTo>
                          <a:pt x="571" y="2518"/>
                        </a:lnTo>
                        <a:lnTo>
                          <a:pt x="569" y="2511"/>
                        </a:lnTo>
                        <a:lnTo>
                          <a:pt x="547" y="2498"/>
                        </a:lnTo>
                        <a:lnTo>
                          <a:pt x="526" y="2492"/>
                        </a:lnTo>
                        <a:lnTo>
                          <a:pt x="479" y="2491"/>
                        </a:lnTo>
                        <a:lnTo>
                          <a:pt x="459" y="2494"/>
                        </a:lnTo>
                        <a:lnTo>
                          <a:pt x="419" y="2491"/>
                        </a:lnTo>
                        <a:lnTo>
                          <a:pt x="411" y="2483"/>
                        </a:lnTo>
                        <a:lnTo>
                          <a:pt x="387" y="2468"/>
                        </a:lnTo>
                        <a:lnTo>
                          <a:pt x="379" y="2453"/>
                        </a:lnTo>
                        <a:lnTo>
                          <a:pt x="369" y="2446"/>
                        </a:lnTo>
                        <a:lnTo>
                          <a:pt x="360" y="2429"/>
                        </a:lnTo>
                        <a:lnTo>
                          <a:pt x="344" y="2417"/>
                        </a:lnTo>
                        <a:lnTo>
                          <a:pt x="326" y="2397"/>
                        </a:lnTo>
                        <a:lnTo>
                          <a:pt x="320" y="2369"/>
                        </a:lnTo>
                        <a:lnTo>
                          <a:pt x="301" y="2347"/>
                        </a:lnTo>
                        <a:lnTo>
                          <a:pt x="305" y="2328"/>
                        </a:lnTo>
                        <a:lnTo>
                          <a:pt x="297" y="2292"/>
                        </a:lnTo>
                        <a:lnTo>
                          <a:pt x="215" y="1838"/>
                        </a:lnTo>
                        <a:lnTo>
                          <a:pt x="214" y="1834"/>
                        </a:lnTo>
                        <a:lnTo>
                          <a:pt x="200" y="1761"/>
                        </a:lnTo>
                        <a:lnTo>
                          <a:pt x="195" y="1748"/>
                        </a:lnTo>
                        <a:lnTo>
                          <a:pt x="202" y="1743"/>
                        </a:lnTo>
                        <a:lnTo>
                          <a:pt x="211" y="1729"/>
                        </a:lnTo>
                        <a:lnTo>
                          <a:pt x="221" y="1732"/>
                        </a:lnTo>
                        <a:lnTo>
                          <a:pt x="222" y="1748"/>
                        </a:lnTo>
                        <a:lnTo>
                          <a:pt x="234" y="1743"/>
                        </a:lnTo>
                        <a:lnTo>
                          <a:pt x="247" y="1754"/>
                        </a:lnTo>
                        <a:lnTo>
                          <a:pt x="260" y="1759"/>
                        </a:lnTo>
                        <a:lnTo>
                          <a:pt x="266" y="1747"/>
                        </a:lnTo>
                        <a:lnTo>
                          <a:pt x="262" y="1727"/>
                        </a:lnTo>
                        <a:lnTo>
                          <a:pt x="249" y="1722"/>
                        </a:lnTo>
                        <a:lnTo>
                          <a:pt x="237" y="1704"/>
                        </a:lnTo>
                        <a:lnTo>
                          <a:pt x="252" y="1694"/>
                        </a:lnTo>
                        <a:lnTo>
                          <a:pt x="245" y="1679"/>
                        </a:lnTo>
                        <a:lnTo>
                          <a:pt x="256" y="1673"/>
                        </a:lnTo>
                        <a:lnTo>
                          <a:pt x="257" y="1661"/>
                        </a:lnTo>
                        <a:lnTo>
                          <a:pt x="267" y="1651"/>
                        </a:lnTo>
                        <a:lnTo>
                          <a:pt x="270" y="1637"/>
                        </a:lnTo>
                        <a:lnTo>
                          <a:pt x="265" y="1624"/>
                        </a:lnTo>
                        <a:lnTo>
                          <a:pt x="269" y="1613"/>
                        </a:lnTo>
                        <a:lnTo>
                          <a:pt x="262" y="1594"/>
                        </a:lnTo>
                        <a:lnTo>
                          <a:pt x="251" y="1589"/>
                        </a:lnTo>
                        <a:lnTo>
                          <a:pt x="234" y="1573"/>
                        </a:lnTo>
                        <a:lnTo>
                          <a:pt x="232" y="1554"/>
                        </a:lnTo>
                        <a:lnTo>
                          <a:pt x="229" y="1542"/>
                        </a:lnTo>
                        <a:lnTo>
                          <a:pt x="217" y="1537"/>
                        </a:lnTo>
                        <a:lnTo>
                          <a:pt x="205" y="1516"/>
                        </a:lnTo>
                        <a:lnTo>
                          <a:pt x="209" y="1496"/>
                        </a:lnTo>
                        <a:lnTo>
                          <a:pt x="200" y="1469"/>
                        </a:lnTo>
                        <a:lnTo>
                          <a:pt x="194" y="1459"/>
                        </a:lnTo>
                        <a:lnTo>
                          <a:pt x="181" y="1453"/>
                        </a:lnTo>
                        <a:lnTo>
                          <a:pt x="196" y="1443"/>
                        </a:lnTo>
                        <a:lnTo>
                          <a:pt x="182" y="1436"/>
                        </a:lnTo>
                        <a:lnTo>
                          <a:pt x="184" y="1424"/>
                        </a:lnTo>
                        <a:lnTo>
                          <a:pt x="179" y="1416"/>
                        </a:lnTo>
                        <a:lnTo>
                          <a:pt x="180" y="1402"/>
                        </a:lnTo>
                        <a:lnTo>
                          <a:pt x="164" y="1364"/>
                        </a:lnTo>
                        <a:lnTo>
                          <a:pt x="154" y="1358"/>
                        </a:lnTo>
                        <a:lnTo>
                          <a:pt x="141" y="1356"/>
                        </a:lnTo>
                        <a:lnTo>
                          <a:pt x="141" y="1347"/>
                        </a:lnTo>
                        <a:lnTo>
                          <a:pt x="129" y="1341"/>
                        </a:lnTo>
                        <a:lnTo>
                          <a:pt x="116" y="1308"/>
                        </a:lnTo>
                        <a:lnTo>
                          <a:pt x="115" y="1302"/>
                        </a:lnTo>
                        <a:lnTo>
                          <a:pt x="100" y="1287"/>
                        </a:lnTo>
                        <a:lnTo>
                          <a:pt x="115" y="1274"/>
                        </a:lnTo>
                        <a:lnTo>
                          <a:pt x="156" y="1252"/>
                        </a:lnTo>
                        <a:lnTo>
                          <a:pt x="162" y="1242"/>
                        </a:lnTo>
                        <a:lnTo>
                          <a:pt x="200" y="1216"/>
                        </a:lnTo>
                        <a:lnTo>
                          <a:pt x="217" y="1196"/>
                        </a:lnTo>
                        <a:lnTo>
                          <a:pt x="245" y="1169"/>
                        </a:lnTo>
                        <a:lnTo>
                          <a:pt x="254" y="1151"/>
                        </a:lnTo>
                        <a:lnTo>
                          <a:pt x="281" y="1112"/>
                        </a:lnTo>
                        <a:lnTo>
                          <a:pt x="289" y="1097"/>
                        </a:lnTo>
                        <a:lnTo>
                          <a:pt x="284" y="1093"/>
                        </a:lnTo>
                        <a:lnTo>
                          <a:pt x="291" y="1081"/>
                        </a:lnTo>
                        <a:lnTo>
                          <a:pt x="315" y="1029"/>
                        </a:lnTo>
                        <a:lnTo>
                          <a:pt x="316" y="994"/>
                        </a:lnTo>
                        <a:lnTo>
                          <a:pt x="315" y="973"/>
                        </a:lnTo>
                        <a:lnTo>
                          <a:pt x="309" y="949"/>
                        </a:lnTo>
                        <a:lnTo>
                          <a:pt x="304" y="921"/>
                        </a:lnTo>
                        <a:lnTo>
                          <a:pt x="291" y="884"/>
                        </a:lnTo>
                        <a:lnTo>
                          <a:pt x="291" y="876"/>
                        </a:lnTo>
                        <a:lnTo>
                          <a:pt x="281" y="849"/>
                        </a:lnTo>
                        <a:lnTo>
                          <a:pt x="252" y="802"/>
                        </a:lnTo>
                        <a:lnTo>
                          <a:pt x="250" y="792"/>
                        </a:lnTo>
                        <a:lnTo>
                          <a:pt x="229" y="767"/>
                        </a:lnTo>
                        <a:lnTo>
                          <a:pt x="220" y="753"/>
                        </a:lnTo>
                        <a:lnTo>
                          <a:pt x="200" y="738"/>
                        </a:lnTo>
                        <a:lnTo>
                          <a:pt x="196" y="737"/>
                        </a:lnTo>
                        <a:lnTo>
                          <a:pt x="180" y="722"/>
                        </a:lnTo>
                        <a:lnTo>
                          <a:pt x="167" y="716"/>
                        </a:lnTo>
                        <a:lnTo>
                          <a:pt x="130" y="704"/>
                        </a:lnTo>
                        <a:lnTo>
                          <a:pt x="130" y="698"/>
                        </a:lnTo>
                        <a:lnTo>
                          <a:pt x="107" y="688"/>
                        </a:lnTo>
                        <a:lnTo>
                          <a:pt x="102" y="681"/>
                        </a:lnTo>
                        <a:lnTo>
                          <a:pt x="82" y="679"/>
                        </a:lnTo>
                        <a:lnTo>
                          <a:pt x="80" y="671"/>
                        </a:lnTo>
                        <a:lnTo>
                          <a:pt x="85" y="661"/>
                        </a:lnTo>
                        <a:lnTo>
                          <a:pt x="71" y="628"/>
                        </a:lnTo>
                        <a:lnTo>
                          <a:pt x="91" y="622"/>
                        </a:lnTo>
                        <a:lnTo>
                          <a:pt x="90" y="607"/>
                        </a:lnTo>
                        <a:lnTo>
                          <a:pt x="100" y="597"/>
                        </a:lnTo>
                        <a:lnTo>
                          <a:pt x="99" y="581"/>
                        </a:lnTo>
                        <a:lnTo>
                          <a:pt x="119" y="563"/>
                        </a:lnTo>
                        <a:lnTo>
                          <a:pt x="119" y="544"/>
                        </a:lnTo>
                        <a:lnTo>
                          <a:pt x="107" y="534"/>
                        </a:lnTo>
                        <a:lnTo>
                          <a:pt x="117" y="524"/>
                        </a:lnTo>
                        <a:lnTo>
                          <a:pt x="116" y="510"/>
                        </a:lnTo>
                        <a:lnTo>
                          <a:pt x="109" y="503"/>
                        </a:lnTo>
                        <a:lnTo>
                          <a:pt x="135" y="498"/>
                        </a:lnTo>
                        <a:lnTo>
                          <a:pt x="135" y="479"/>
                        </a:lnTo>
                        <a:lnTo>
                          <a:pt x="144" y="477"/>
                        </a:lnTo>
                        <a:lnTo>
                          <a:pt x="135" y="463"/>
                        </a:lnTo>
                        <a:lnTo>
                          <a:pt x="137" y="442"/>
                        </a:lnTo>
                        <a:lnTo>
                          <a:pt x="131" y="438"/>
                        </a:lnTo>
                        <a:lnTo>
                          <a:pt x="115" y="442"/>
                        </a:lnTo>
                        <a:lnTo>
                          <a:pt x="110" y="433"/>
                        </a:lnTo>
                        <a:lnTo>
                          <a:pt x="116" y="416"/>
                        </a:lnTo>
                        <a:lnTo>
                          <a:pt x="107" y="409"/>
                        </a:lnTo>
                        <a:lnTo>
                          <a:pt x="100" y="396"/>
                        </a:lnTo>
                        <a:lnTo>
                          <a:pt x="90" y="388"/>
                        </a:lnTo>
                        <a:lnTo>
                          <a:pt x="99" y="373"/>
                        </a:lnTo>
                        <a:lnTo>
                          <a:pt x="76" y="356"/>
                        </a:lnTo>
                        <a:lnTo>
                          <a:pt x="89" y="334"/>
                        </a:lnTo>
                        <a:lnTo>
                          <a:pt x="69" y="333"/>
                        </a:lnTo>
                        <a:lnTo>
                          <a:pt x="64" y="327"/>
                        </a:lnTo>
                        <a:lnTo>
                          <a:pt x="44" y="338"/>
                        </a:lnTo>
                        <a:lnTo>
                          <a:pt x="44" y="325"/>
                        </a:lnTo>
                        <a:lnTo>
                          <a:pt x="64" y="285"/>
                        </a:lnTo>
                        <a:lnTo>
                          <a:pt x="64" y="263"/>
                        </a:lnTo>
                        <a:lnTo>
                          <a:pt x="54" y="228"/>
                        </a:lnTo>
                        <a:lnTo>
                          <a:pt x="66" y="224"/>
                        </a:lnTo>
                        <a:lnTo>
                          <a:pt x="54" y="202"/>
                        </a:lnTo>
                        <a:lnTo>
                          <a:pt x="44" y="192"/>
                        </a:lnTo>
                        <a:lnTo>
                          <a:pt x="35" y="193"/>
                        </a:lnTo>
                        <a:lnTo>
                          <a:pt x="17" y="165"/>
                        </a:lnTo>
                        <a:lnTo>
                          <a:pt x="4" y="123"/>
                        </a:lnTo>
                        <a:lnTo>
                          <a:pt x="0" y="102"/>
                        </a:lnTo>
                        <a:lnTo>
                          <a:pt x="6" y="85"/>
                        </a:lnTo>
                        <a:lnTo>
                          <a:pt x="12" y="82"/>
                        </a:lnTo>
                        <a:lnTo>
                          <a:pt x="39" y="47"/>
                        </a:lnTo>
                        <a:lnTo>
                          <a:pt x="64" y="48"/>
                        </a:lnTo>
                        <a:lnTo>
                          <a:pt x="79" y="45"/>
                        </a:lnTo>
                        <a:lnTo>
                          <a:pt x="95" y="48"/>
                        </a:lnTo>
                        <a:lnTo>
                          <a:pt x="109" y="53"/>
                        </a:lnTo>
                        <a:lnTo>
                          <a:pt x="157" y="59"/>
                        </a:lnTo>
                        <a:lnTo>
                          <a:pt x="169" y="63"/>
                        </a:lnTo>
                        <a:lnTo>
                          <a:pt x="194" y="60"/>
                        </a:lnTo>
                        <a:lnTo>
                          <a:pt x="205" y="54"/>
                        </a:lnTo>
                        <a:lnTo>
                          <a:pt x="230" y="57"/>
                        </a:lnTo>
                        <a:lnTo>
                          <a:pt x="249" y="67"/>
                        </a:lnTo>
                        <a:lnTo>
                          <a:pt x="252" y="54"/>
                        </a:lnTo>
                        <a:lnTo>
                          <a:pt x="274" y="49"/>
                        </a:lnTo>
                        <a:lnTo>
                          <a:pt x="281" y="35"/>
                        </a:lnTo>
                        <a:lnTo>
                          <a:pt x="291" y="32"/>
                        </a:lnTo>
                        <a:lnTo>
                          <a:pt x="300" y="22"/>
                        </a:lnTo>
                        <a:lnTo>
                          <a:pt x="305" y="7"/>
                        </a:lnTo>
                        <a:lnTo>
                          <a:pt x="319" y="0"/>
                        </a:lnTo>
                        <a:lnTo>
                          <a:pt x="329" y="12"/>
                        </a:lnTo>
                        <a:lnTo>
                          <a:pt x="344" y="12"/>
                        </a:lnTo>
                        <a:lnTo>
                          <a:pt x="359" y="18"/>
                        </a:lnTo>
                        <a:lnTo>
                          <a:pt x="361" y="25"/>
                        </a:lnTo>
                        <a:lnTo>
                          <a:pt x="374" y="34"/>
                        </a:lnTo>
                        <a:lnTo>
                          <a:pt x="387" y="38"/>
                        </a:lnTo>
                        <a:lnTo>
                          <a:pt x="397" y="34"/>
                        </a:lnTo>
                        <a:lnTo>
                          <a:pt x="410" y="39"/>
                        </a:lnTo>
                        <a:lnTo>
                          <a:pt x="417" y="64"/>
                        </a:lnTo>
                        <a:lnTo>
                          <a:pt x="446" y="67"/>
                        </a:lnTo>
                        <a:lnTo>
                          <a:pt x="472" y="93"/>
                        </a:lnTo>
                        <a:lnTo>
                          <a:pt x="474" y="87"/>
                        </a:lnTo>
                        <a:lnTo>
                          <a:pt x="499" y="90"/>
                        </a:lnTo>
                        <a:lnTo>
                          <a:pt x="510" y="99"/>
                        </a:lnTo>
                        <a:lnTo>
                          <a:pt x="500" y="108"/>
                        </a:lnTo>
                        <a:lnTo>
                          <a:pt x="494" y="129"/>
                        </a:lnTo>
                        <a:lnTo>
                          <a:pt x="509" y="133"/>
                        </a:lnTo>
                        <a:lnTo>
                          <a:pt x="511" y="148"/>
                        </a:lnTo>
                        <a:lnTo>
                          <a:pt x="539" y="162"/>
                        </a:lnTo>
                        <a:lnTo>
                          <a:pt x="550" y="155"/>
                        </a:lnTo>
                        <a:lnTo>
                          <a:pt x="575" y="164"/>
                        </a:lnTo>
                        <a:lnTo>
                          <a:pt x="589" y="158"/>
                        </a:lnTo>
                        <a:lnTo>
                          <a:pt x="602" y="163"/>
                        </a:lnTo>
                        <a:lnTo>
                          <a:pt x="620" y="147"/>
                        </a:lnTo>
                        <a:lnTo>
                          <a:pt x="637" y="148"/>
                        </a:lnTo>
                        <a:lnTo>
                          <a:pt x="650" y="178"/>
                        </a:lnTo>
                        <a:lnTo>
                          <a:pt x="662" y="182"/>
                        </a:lnTo>
                        <a:lnTo>
                          <a:pt x="665" y="165"/>
                        </a:lnTo>
                        <a:lnTo>
                          <a:pt x="672" y="154"/>
                        </a:lnTo>
                        <a:lnTo>
                          <a:pt x="671" y="138"/>
                        </a:lnTo>
                        <a:lnTo>
                          <a:pt x="679" y="133"/>
                        </a:lnTo>
                        <a:lnTo>
                          <a:pt x="699" y="159"/>
                        </a:lnTo>
                        <a:lnTo>
                          <a:pt x="702" y="172"/>
                        </a:lnTo>
                        <a:lnTo>
                          <a:pt x="689" y="187"/>
                        </a:lnTo>
                        <a:lnTo>
                          <a:pt x="682" y="197"/>
                        </a:lnTo>
                        <a:lnTo>
                          <a:pt x="691" y="215"/>
                        </a:lnTo>
                        <a:lnTo>
                          <a:pt x="682" y="223"/>
                        </a:lnTo>
                        <a:lnTo>
                          <a:pt x="691" y="232"/>
                        </a:lnTo>
                        <a:lnTo>
                          <a:pt x="696" y="250"/>
                        </a:lnTo>
                        <a:lnTo>
                          <a:pt x="712" y="264"/>
                        </a:lnTo>
                        <a:lnTo>
                          <a:pt x="717" y="283"/>
                        </a:lnTo>
                        <a:lnTo>
                          <a:pt x="710" y="293"/>
                        </a:lnTo>
                        <a:lnTo>
                          <a:pt x="702" y="292"/>
                        </a:lnTo>
                        <a:lnTo>
                          <a:pt x="700" y="303"/>
                        </a:lnTo>
                        <a:lnTo>
                          <a:pt x="669" y="309"/>
                        </a:lnTo>
                        <a:lnTo>
                          <a:pt x="681" y="315"/>
                        </a:lnTo>
                        <a:lnTo>
                          <a:pt x="691" y="315"/>
                        </a:lnTo>
                        <a:lnTo>
                          <a:pt x="711" y="305"/>
                        </a:lnTo>
                        <a:lnTo>
                          <a:pt x="717" y="315"/>
                        </a:lnTo>
                        <a:lnTo>
                          <a:pt x="729" y="315"/>
                        </a:lnTo>
                        <a:lnTo>
                          <a:pt x="731" y="343"/>
                        </a:lnTo>
                        <a:lnTo>
                          <a:pt x="744" y="344"/>
                        </a:lnTo>
                        <a:lnTo>
                          <a:pt x="742" y="357"/>
                        </a:lnTo>
                        <a:lnTo>
                          <a:pt x="735" y="365"/>
                        </a:lnTo>
                        <a:lnTo>
                          <a:pt x="734" y="378"/>
                        </a:lnTo>
                        <a:lnTo>
                          <a:pt x="741" y="380"/>
                        </a:lnTo>
                        <a:lnTo>
                          <a:pt x="751" y="402"/>
                        </a:lnTo>
                        <a:lnTo>
                          <a:pt x="762" y="390"/>
                        </a:lnTo>
                        <a:lnTo>
                          <a:pt x="779" y="390"/>
                        </a:lnTo>
                        <a:lnTo>
                          <a:pt x="785" y="405"/>
                        </a:lnTo>
                        <a:lnTo>
                          <a:pt x="765" y="418"/>
                        </a:lnTo>
                        <a:lnTo>
                          <a:pt x="784" y="459"/>
                        </a:lnTo>
                        <a:lnTo>
                          <a:pt x="779" y="475"/>
                        </a:lnTo>
                        <a:lnTo>
                          <a:pt x="770" y="478"/>
                        </a:lnTo>
                        <a:lnTo>
                          <a:pt x="764" y="470"/>
                        </a:lnTo>
                        <a:lnTo>
                          <a:pt x="742" y="485"/>
                        </a:lnTo>
                        <a:lnTo>
                          <a:pt x="736" y="497"/>
                        </a:lnTo>
                        <a:lnTo>
                          <a:pt x="755" y="499"/>
                        </a:lnTo>
                        <a:lnTo>
                          <a:pt x="767" y="512"/>
                        </a:lnTo>
                        <a:lnTo>
                          <a:pt x="776" y="493"/>
                        </a:lnTo>
                        <a:lnTo>
                          <a:pt x="777" y="483"/>
                        </a:lnTo>
                        <a:lnTo>
                          <a:pt x="785" y="475"/>
                        </a:lnTo>
                        <a:lnTo>
                          <a:pt x="790" y="462"/>
                        </a:lnTo>
                        <a:lnTo>
                          <a:pt x="799" y="454"/>
                        </a:lnTo>
                        <a:lnTo>
                          <a:pt x="820" y="448"/>
                        </a:lnTo>
                        <a:lnTo>
                          <a:pt x="827" y="449"/>
                        </a:lnTo>
                        <a:lnTo>
                          <a:pt x="834" y="440"/>
                        </a:lnTo>
                        <a:lnTo>
                          <a:pt x="846" y="440"/>
                        </a:lnTo>
                        <a:lnTo>
                          <a:pt x="872" y="450"/>
                        </a:lnTo>
                        <a:lnTo>
                          <a:pt x="881" y="474"/>
                        </a:lnTo>
                        <a:lnTo>
                          <a:pt x="889" y="480"/>
                        </a:lnTo>
                        <a:lnTo>
                          <a:pt x="900" y="497"/>
                        </a:lnTo>
                        <a:lnTo>
                          <a:pt x="901" y="528"/>
                        </a:lnTo>
                        <a:lnTo>
                          <a:pt x="906" y="529"/>
                        </a:lnTo>
                        <a:lnTo>
                          <a:pt x="902" y="484"/>
                        </a:lnTo>
                        <a:lnTo>
                          <a:pt x="922" y="482"/>
                        </a:lnTo>
                        <a:lnTo>
                          <a:pt x="924" y="495"/>
                        </a:lnTo>
                        <a:lnTo>
                          <a:pt x="942" y="487"/>
                        </a:lnTo>
                        <a:lnTo>
                          <a:pt x="942" y="502"/>
                        </a:lnTo>
                        <a:lnTo>
                          <a:pt x="952" y="512"/>
                        </a:lnTo>
                        <a:lnTo>
                          <a:pt x="965" y="502"/>
                        </a:lnTo>
                        <a:lnTo>
                          <a:pt x="984" y="480"/>
                        </a:lnTo>
                        <a:lnTo>
                          <a:pt x="991" y="477"/>
                        </a:lnTo>
                        <a:lnTo>
                          <a:pt x="995" y="458"/>
                        </a:lnTo>
                        <a:lnTo>
                          <a:pt x="1020" y="449"/>
                        </a:lnTo>
                        <a:lnTo>
                          <a:pt x="1015" y="435"/>
                        </a:lnTo>
                        <a:lnTo>
                          <a:pt x="1015" y="417"/>
                        </a:lnTo>
                        <a:lnTo>
                          <a:pt x="1021" y="413"/>
                        </a:lnTo>
                        <a:lnTo>
                          <a:pt x="1017" y="395"/>
                        </a:lnTo>
                        <a:lnTo>
                          <a:pt x="1020" y="392"/>
                        </a:lnTo>
                        <a:lnTo>
                          <a:pt x="1047" y="403"/>
                        </a:lnTo>
                        <a:lnTo>
                          <a:pt x="1045" y="394"/>
                        </a:lnTo>
                        <a:lnTo>
                          <a:pt x="1047" y="370"/>
                        </a:lnTo>
                        <a:lnTo>
                          <a:pt x="1056" y="364"/>
                        </a:lnTo>
                        <a:lnTo>
                          <a:pt x="1057" y="353"/>
                        </a:lnTo>
                        <a:lnTo>
                          <a:pt x="1066" y="339"/>
                        </a:lnTo>
                        <a:lnTo>
                          <a:pt x="1056" y="328"/>
                        </a:lnTo>
                        <a:lnTo>
                          <a:pt x="1049" y="313"/>
                        </a:lnTo>
                        <a:lnTo>
                          <a:pt x="1064" y="308"/>
                        </a:lnTo>
                        <a:lnTo>
                          <a:pt x="1055" y="294"/>
                        </a:lnTo>
                        <a:lnTo>
                          <a:pt x="1065" y="290"/>
                        </a:lnTo>
                        <a:lnTo>
                          <a:pt x="1066" y="282"/>
                        </a:lnTo>
                        <a:lnTo>
                          <a:pt x="1059" y="265"/>
                        </a:lnTo>
                        <a:lnTo>
                          <a:pt x="1039" y="239"/>
                        </a:lnTo>
                        <a:lnTo>
                          <a:pt x="1045" y="224"/>
                        </a:lnTo>
                        <a:lnTo>
                          <a:pt x="1061" y="204"/>
                        </a:lnTo>
                        <a:lnTo>
                          <a:pt x="1056" y="187"/>
                        </a:lnTo>
                        <a:lnTo>
                          <a:pt x="1060" y="174"/>
                        </a:lnTo>
                        <a:lnTo>
                          <a:pt x="1059" y="155"/>
                        </a:lnTo>
                        <a:lnTo>
                          <a:pt x="1055" y="145"/>
                        </a:lnTo>
                        <a:lnTo>
                          <a:pt x="1061" y="135"/>
                        </a:lnTo>
                        <a:lnTo>
                          <a:pt x="1057" y="127"/>
                        </a:lnTo>
                        <a:lnTo>
                          <a:pt x="1084" y="128"/>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0" name="New Brunswick" descr="{&quot;Key&quot;:&quot;new brunswick&quot;,&quot;Name&quot;:&quot;New Brunswick&quot;,&quot;Value&quot;:1.0,&quot;Formula&quot;:&quot;&quot;,&quot;Text&quot;:&quot;&quot;,&quot;OfficeApplication&quot;:1,&quot;HasValue&quot;:true}">
                    <a:extLst>
                      <a:ext uri="{FF2B5EF4-FFF2-40B4-BE49-F238E27FC236}">
                        <a16:creationId xmlns:a16="http://schemas.microsoft.com/office/drawing/2014/main" id="{2D54C051-0DDD-2859-759A-A635597FCB1E}"/>
                      </a:ext>
                    </a:extLst>
                  </p:cNvPr>
                  <p:cNvSpPr>
                    <a:spLocks noEditPoints="1"/>
                  </p:cNvSpPr>
                  <p:nvPr/>
                </p:nvSpPr>
                <p:spPr bwMode="auto">
                  <a:xfrm>
                    <a:off x="8188231" y="3801289"/>
                    <a:ext cx="288420" cy="273240"/>
                  </a:xfrm>
                  <a:custGeom>
                    <a:avLst/>
                    <a:gdLst>
                      <a:gd name="T0" fmla="*/ 343 w 553"/>
                      <a:gd name="T1" fmla="*/ 518 h 524"/>
                      <a:gd name="T2" fmla="*/ 326 w 553"/>
                      <a:gd name="T3" fmla="*/ 520 h 524"/>
                      <a:gd name="T4" fmla="*/ 332 w 553"/>
                      <a:gd name="T5" fmla="*/ 501 h 524"/>
                      <a:gd name="T6" fmla="*/ 398 w 553"/>
                      <a:gd name="T7" fmla="*/ 17 h 524"/>
                      <a:gd name="T8" fmla="*/ 387 w 553"/>
                      <a:gd name="T9" fmla="*/ 5 h 524"/>
                      <a:gd name="T10" fmla="*/ 540 w 553"/>
                      <a:gd name="T11" fmla="*/ 244 h 524"/>
                      <a:gd name="T12" fmla="*/ 525 w 553"/>
                      <a:gd name="T13" fmla="*/ 273 h 524"/>
                      <a:gd name="T14" fmla="*/ 513 w 553"/>
                      <a:gd name="T15" fmla="*/ 284 h 524"/>
                      <a:gd name="T16" fmla="*/ 491 w 553"/>
                      <a:gd name="T17" fmla="*/ 299 h 524"/>
                      <a:gd name="T18" fmla="*/ 476 w 553"/>
                      <a:gd name="T19" fmla="*/ 323 h 524"/>
                      <a:gd name="T20" fmla="*/ 443 w 553"/>
                      <a:gd name="T21" fmla="*/ 361 h 524"/>
                      <a:gd name="T22" fmla="*/ 397 w 553"/>
                      <a:gd name="T23" fmla="*/ 415 h 524"/>
                      <a:gd name="T24" fmla="*/ 373 w 553"/>
                      <a:gd name="T25" fmla="*/ 413 h 524"/>
                      <a:gd name="T26" fmla="*/ 352 w 553"/>
                      <a:gd name="T27" fmla="*/ 450 h 524"/>
                      <a:gd name="T28" fmla="*/ 322 w 553"/>
                      <a:gd name="T29" fmla="*/ 464 h 524"/>
                      <a:gd name="T30" fmla="*/ 297 w 553"/>
                      <a:gd name="T31" fmla="*/ 453 h 524"/>
                      <a:gd name="T32" fmla="*/ 276 w 553"/>
                      <a:gd name="T33" fmla="*/ 461 h 524"/>
                      <a:gd name="T34" fmla="*/ 258 w 553"/>
                      <a:gd name="T35" fmla="*/ 469 h 524"/>
                      <a:gd name="T36" fmla="*/ 241 w 553"/>
                      <a:gd name="T37" fmla="*/ 440 h 524"/>
                      <a:gd name="T38" fmla="*/ 235 w 553"/>
                      <a:gd name="T39" fmla="*/ 420 h 524"/>
                      <a:gd name="T40" fmla="*/ 213 w 553"/>
                      <a:gd name="T41" fmla="*/ 412 h 524"/>
                      <a:gd name="T42" fmla="*/ 187 w 553"/>
                      <a:gd name="T43" fmla="*/ 390 h 524"/>
                      <a:gd name="T44" fmla="*/ 131 w 553"/>
                      <a:gd name="T45" fmla="*/ 223 h 524"/>
                      <a:gd name="T46" fmla="*/ 80 w 553"/>
                      <a:gd name="T47" fmla="*/ 191 h 524"/>
                      <a:gd name="T48" fmla="*/ 63 w 553"/>
                      <a:gd name="T49" fmla="*/ 202 h 524"/>
                      <a:gd name="T50" fmla="*/ 41 w 553"/>
                      <a:gd name="T51" fmla="*/ 217 h 524"/>
                      <a:gd name="T52" fmla="*/ 18 w 553"/>
                      <a:gd name="T53" fmla="*/ 234 h 524"/>
                      <a:gd name="T54" fmla="*/ 25 w 553"/>
                      <a:gd name="T55" fmla="*/ 205 h 524"/>
                      <a:gd name="T56" fmla="*/ 52 w 553"/>
                      <a:gd name="T57" fmla="*/ 166 h 524"/>
                      <a:gd name="T58" fmla="*/ 62 w 553"/>
                      <a:gd name="T59" fmla="*/ 106 h 524"/>
                      <a:gd name="T60" fmla="*/ 106 w 553"/>
                      <a:gd name="T61" fmla="*/ 81 h 524"/>
                      <a:gd name="T62" fmla="*/ 137 w 553"/>
                      <a:gd name="T63" fmla="*/ 95 h 524"/>
                      <a:gd name="T64" fmla="*/ 148 w 553"/>
                      <a:gd name="T65" fmla="*/ 85 h 524"/>
                      <a:gd name="T66" fmla="*/ 171 w 553"/>
                      <a:gd name="T67" fmla="*/ 76 h 524"/>
                      <a:gd name="T68" fmla="*/ 177 w 553"/>
                      <a:gd name="T69" fmla="*/ 59 h 524"/>
                      <a:gd name="T70" fmla="*/ 217 w 553"/>
                      <a:gd name="T71" fmla="*/ 32 h 524"/>
                      <a:gd name="T72" fmla="*/ 262 w 553"/>
                      <a:gd name="T73" fmla="*/ 41 h 524"/>
                      <a:gd name="T74" fmla="*/ 287 w 553"/>
                      <a:gd name="T75" fmla="*/ 44 h 524"/>
                      <a:gd name="T76" fmla="*/ 306 w 553"/>
                      <a:gd name="T77" fmla="*/ 65 h 524"/>
                      <a:gd name="T78" fmla="*/ 327 w 553"/>
                      <a:gd name="T79" fmla="*/ 44 h 524"/>
                      <a:gd name="T80" fmla="*/ 354 w 553"/>
                      <a:gd name="T81" fmla="*/ 20 h 524"/>
                      <a:gd name="T82" fmla="*/ 374 w 553"/>
                      <a:gd name="T83" fmla="*/ 19 h 524"/>
                      <a:gd name="T84" fmla="*/ 387 w 553"/>
                      <a:gd name="T85" fmla="*/ 34 h 524"/>
                      <a:gd name="T86" fmla="*/ 387 w 553"/>
                      <a:gd name="T87" fmla="*/ 65 h 524"/>
                      <a:gd name="T88" fmla="*/ 381 w 553"/>
                      <a:gd name="T89" fmla="*/ 100 h 524"/>
                      <a:gd name="T90" fmla="*/ 362 w 553"/>
                      <a:gd name="T91" fmla="*/ 135 h 524"/>
                      <a:gd name="T92" fmla="*/ 417 w 553"/>
                      <a:gd name="T93" fmla="*/ 132 h 524"/>
                      <a:gd name="T94" fmla="*/ 422 w 553"/>
                      <a:gd name="T95" fmla="*/ 162 h 524"/>
                      <a:gd name="T96" fmla="*/ 446 w 553"/>
                      <a:gd name="T97" fmla="*/ 186 h 524"/>
                      <a:gd name="T98" fmla="*/ 466 w 553"/>
                      <a:gd name="T99" fmla="*/ 216 h 524"/>
                      <a:gd name="T100" fmla="*/ 507 w 553"/>
                      <a:gd name="T101" fmla="*/ 217 h 524"/>
                      <a:gd name="T102" fmla="*/ 531 w 553"/>
                      <a:gd name="T103" fmla="*/ 216 h 524"/>
                      <a:gd name="T104" fmla="*/ 548 w 553"/>
                      <a:gd name="T105" fmla="*/ 230 h 524"/>
                      <a:gd name="T106" fmla="*/ 540 w 553"/>
                      <a:gd name="T107" fmla="*/ 24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3" h="524">
                        <a:moveTo>
                          <a:pt x="332" y="501"/>
                        </a:moveTo>
                        <a:lnTo>
                          <a:pt x="343" y="518"/>
                        </a:lnTo>
                        <a:lnTo>
                          <a:pt x="332" y="524"/>
                        </a:lnTo>
                        <a:lnTo>
                          <a:pt x="326" y="520"/>
                        </a:lnTo>
                        <a:lnTo>
                          <a:pt x="327" y="504"/>
                        </a:lnTo>
                        <a:lnTo>
                          <a:pt x="332" y="501"/>
                        </a:lnTo>
                        <a:close/>
                        <a:moveTo>
                          <a:pt x="401" y="0"/>
                        </a:moveTo>
                        <a:lnTo>
                          <a:pt x="398" y="17"/>
                        </a:lnTo>
                        <a:lnTo>
                          <a:pt x="386" y="14"/>
                        </a:lnTo>
                        <a:lnTo>
                          <a:pt x="387" y="5"/>
                        </a:lnTo>
                        <a:lnTo>
                          <a:pt x="401" y="0"/>
                        </a:lnTo>
                        <a:close/>
                        <a:moveTo>
                          <a:pt x="540" y="244"/>
                        </a:moveTo>
                        <a:lnTo>
                          <a:pt x="530" y="251"/>
                        </a:lnTo>
                        <a:lnTo>
                          <a:pt x="525" y="273"/>
                        </a:lnTo>
                        <a:lnTo>
                          <a:pt x="516" y="269"/>
                        </a:lnTo>
                        <a:lnTo>
                          <a:pt x="513" y="284"/>
                        </a:lnTo>
                        <a:lnTo>
                          <a:pt x="496" y="285"/>
                        </a:lnTo>
                        <a:lnTo>
                          <a:pt x="491" y="299"/>
                        </a:lnTo>
                        <a:lnTo>
                          <a:pt x="488" y="319"/>
                        </a:lnTo>
                        <a:lnTo>
                          <a:pt x="476" y="323"/>
                        </a:lnTo>
                        <a:lnTo>
                          <a:pt x="470" y="336"/>
                        </a:lnTo>
                        <a:lnTo>
                          <a:pt x="443" y="361"/>
                        </a:lnTo>
                        <a:lnTo>
                          <a:pt x="427" y="386"/>
                        </a:lnTo>
                        <a:lnTo>
                          <a:pt x="397" y="415"/>
                        </a:lnTo>
                        <a:lnTo>
                          <a:pt x="381" y="409"/>
                        </a:lnTo>
                        <a:lnTo>
                          <a:pt x="373" y="413"/>
                        </a:lnTo>
                        <a:lnTo>
                          <a:pt x="372" y="429"/>
                        </a:lnTo>
                        <a:lnTo>
                          <a:pt x="352" y="450"/>
                        </a:lnTo>
                        <a:lnTo>
                          <a:pt x="343" y="443"/>
                        </a:lnTo>
                        <a:lnTo>
                          <a:pt x="322" y="464"/>
                        </a:lnTo>
                        <a:lnTo>
                          <a:pt x="305" y="464"/>
                        </a:lnTo>
                        <a:lnTo>
                          <a:pt x="297" y="453"/>
                        </a:lnTo>
                        <a:lnTo>
                          <a:pt x="287" y="470"/>
                        </a:lnTo>
                        <a:lnTo>
                          <a:pt x="276" y="461"/>
                        </a:lnTo>
                        <a:lnTo>
                          <a:pt x="267" y="460"/>
                        </a:lnTo>
                        <a:lnTo>
                          <a:pt x="258" y="469"/>
                        </a:lnTo>
                        <a:lnTo>
                          <a:pt x="241" y="456"/>
                        </a:lnTo>
                        <a:lnTo>
                          <a:pt x="241" y="440"/>
                        </a:lnTo>
                        <a:lnTo>
                          <a:pt x="230" y="428"/>
                        </a:lnTo>
                        <a:lnTo>
                          <a:pt x="235" y="420"/>
                        </a:lnTo>
                        <a:lnTo>
                          <a:pt x="230" y="410"/>
                        </a:lnTo>
                        <a:lnTo>
                          <a:pt x="213" y="412"/>
                        </a:lnTo>
                        <a:lnTo>
                          <a:pt x="187" y="400"/>
                        </a:lnTo>
                        <a:lnTo>
                          <a:pt x="187" y="390"/>
                        </a:lnTo>
                        <a:lnTo>
                          <a:pt x="181" y="371"/>
                        </a:lnTo>
                        <a:lnTo>
                          <a:pt x="131" y="223"/>
                        </a:lnTo>
                        <a:lnTo>
                          <a:pt x="108" y="204"/>
                        </a:lnTo>
                        <a:lnTo>
                          <a:pt x="80" y="191"/>
                        </a:lnTo>
                        <a:lnTo>
                          <a:pt x="68" y="190"/>
                        </a:lnTo>
                        <a:lnTo>
                          <a:pt x="63" y="202"/>
                        </a:lnTo>
                        <a:lnTo>
                          <a:pt x="48" y="207"/>
                        </a:lnTo>
                        <a:lnTo>
                          <a:pt x="41" y="217"/>
                        </a:lnTo>
                        <a:lnTo>
                          <a:pt x="31" y="222"/>
                        </a:lnTo>
                        <a:lnTo>
                          <a:pt x="18" y="234"/>
                        </a:lnTo>
                        <a:lnTo>
                          <a:pt x="0" y="224"/>
                        </a:lnTo>
                        <a:lnTo>
                          <a:pt x="25" y="205"/>
                        </a:lnTo>
                        <a:lnTo>
                          <a:pt x="42" y="189"/>
                        </a:lnTo>
                        <a:lnTo>
                          <a:pt x="52" y="166"/>
                        </a:lnTo>
                        <a:lnTo>
                          <a:pt x="37" y="114"/>
                        </a:lnTo>
                        <a:lnTo>
                          <a:pt x="62" y="106"/>
                        </a:lnTo>
                        <a:lnTo>
                          <a:pt x="58" y="96"/>
                        </a:lnTo>
                        <a:lnTo>
                          <a:pt x="106" y="81"/>
                        </a:lnTo>
                        <a:lnTo>
                          <a:pt x="108" y="90"/>
                        </a:lnTo>
                        <a:lnTo>
                          <a:pt x="137" y="95"/>
                        </a:lnTo>
                        <a:lnTo>
                          <a:pt x="137" y="87"/>
                        </a:lnTo>
                        <a:lnTo>
                          <a:pt x="148" y="85"/>
                        </a:lnTo>
                        <a:lnTo>
                          <a:pt x="160" y="75"/>
                        </a:lnTo>
                        <a:lnTo>
                          <a:pt x="171" y="76"/>
                        </a:lnTo>
                        <a:lnTo>
                          <a:pt x="169" y="65"/>
                        </a:lnTo>
                        <a:lnTo>
                          <a:pt x="177" y="59"/>
                        </a:lnTo>
                        <a:lnTo>
                          <a:pt x="188" y="56"/>
                        </a:lnTo>
                        <a:lnTo>
                          <a:pt x="217" y="32"/>
                        </a:lnTo>
                        <a:lnTo>
                          <a:pt x="231" y="39"/>
                        </a:lnTo>
                        <a:lnTo>
                          <a:pt x="262" y="41"/>
                        </a:lnTo>
                        <a:lnTo>
                          <a:pt x="277" y="39"/>
                        </a:lnTo>
                        <a:lnTo>
                          <a:pt x="287" y="44"/>
                        </a:lnTo>
                        <a:lnTo>
                          <a:pt x="298" y="60"/>
                        </a:lnTo>
                        <a:lnTo>
                          <a:pt x="306" y="65"/>
                        </a:lnTo>
                        <a:lnTo>
                          <a:pt x="319" y="59"/>
                        </a:lnTo>
                        <a:lnTo>
                          <a:pt x="327" y="44"/>
                        </a:lnTo>
                        <a:lnTo>
                          <a:pt x="338" y="30"/>
                        </a:lnTo>
                        <a:lnTo>
                          <a:pt x="354" y="20"/>
                        </a:lnTo>
                        <a:lnTo>
                          <a:pt x="359" y="27"/>
                        </a:lnTo>
                        <a:lnTo>
                          <a:pt x="374" y="19"/>
                        </a:lnTo>
                        <a:lnTo>
                          <a:pt x="392" y="26"/>
                        </a:lnTo>
                        <a:lnTo>
                          <a:pt x="387" y="34"/>
                        </a:lnTo>
                        <a:lnTo>
                          <a:pt x="381" y="56"/>
                        </a:lnTo>
                        <a:lnTo>
                          <a:pt x="387" y="65"/>
                        </a:lnTo>
                        <a:lnTo>
                          <a:pt x="387" y="95"/>
                        </a:lnTo>
                        <a:lnTo>
                          <a:pt x="381" y="100"/>
                        </a:lnTo>
                        <a:lnTo>
                          <a:pt x="377" y="114"/>
                        </a:lnTo>
                        <a:lnTo>
                          <a:pt x="362" y="135"/>
                        </a:lnTo>
                        <a:lnTo>
                          <a:pt x="409" y="119"/>
                        </a:lnTo>
                        <a:lnTo>
                          <a:pt x="417" y="132"/>
                        </a:lnTo>
                        <a:lnTo>
                          <a:pt x="412" y="150"/>
                        </a:lnTo>
                        <a:lnTo>
                          <a:pt x="422" y="162"/>
                        </a:lnTo>
                        <a:lnTo>
                          <a:pt x="441" y="171"/>
                        </a:lnTo>
                        <a:lnTo>
                          <a:pt x="446" y="186"/>
                        </a:lnTo>
                        <a:lnTo>
                          <a:pt x="463" y="205"/>
                        </a:lnTo>
                        <a:lnTo>
                          <a:pt x="466" y="216"/>
                        </a:lnTo>
                        <a:lnTo>
                          <a:pt x="482" y="226"/>
                        </a:lnTo>
                        <a:lnTo>
                          <a:pt x="507" y="217"/>
                        </a:lnTo>
                        <a:lnTo>
                          <a:pt x="519" y="224"/>
                        </a:lnTo>
                        <a:lnTo>
                          <a:pt x="531" y="216"/>
                        </a:lnTo>
                        <a:lnTo>
                          <a:pt x="553" y="215"/>
                        </a:lnTo>
                        <a:lnTo>
                          <a:pt x="548" y="230"/>
                        </a:lnTo>
                        <a:lnTo>
                          <a:pt x="533" y="235"/>
                        </a:lnTo>
                        <a:lnTo>
                          <a:pt x="540" y="244"/>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1" name="Nova Scotia" descr="{&quot;Key&quot;:&quot;nova scotia&quot;,&quot;Name&quot;:&quot;Nova Scotia&quot;,&quot;Value&quot;:1.0,&quot;Formula&quot;:&quot;&quot;,&quot;Text&quot;:&quot;&quot;,&quot;OfficeApplication&quot;:1,&quot;HasValue&quot;:true}">
                    <a:extLst>
                      <a:ext uri="{FF2B5EF4-FFF2-40B4-BE49-F238E27FC236}">
                        <a16:creationId xmlns:a16="http://schemas.microsoft.com/office/drawing/2014/main" id="{EC9132CF-8E2C-08FF-D762-4020BC5EC7E6}"/>
                      </a:ext>
                    </a:extLst>
                  </p:cNvPr>
                  <p:cNvSpPr>
                    <a:spLocks noEditPoints="1"/>
                  </p:cNvSpPr>
                  <p:nvPr/>
                </p:nvSpPr>
                <p:spPr bwMode="auto">
                  <a:xfrm>
                    <a:off x="8406172" y="3788277"/>
                    <a:ext cx="271071" cy="348055"/>
                  </a:xfrm>
                  <a:custGeom>
                    <a:avLst/>
                    <a:gdLst>
                      <a:gd name="T0" fmla="*/ 430 w 520"/>
                      <a:gd name="T1" fmla="*/ 226 h 669"/>
                      <a:gd name="T2" fmla="*/ 107 w 520"/>
                      <a:gd name="T3" fmla="*/ 298 h 669"/>
                      <a:gd name="T4" fmla="*/ 135 w 520"/>
                      <a:gd name="T5" fmla="*/ 265 h 669"/>
                      <a:gd name="T6" fmla="*/ 170 w 520"/>
                      <a:gd name="T7" fmla="*/ 269 h 669"/>
                      <a:gd name="T8" fmla="*/ 215 w 520"/>
                      <a:gd name="T9" fmla="*/ 274 h 669"/>
                      <a:gd name="T10" fmla="*/ 279 w 520"/>
                      <a:gd name="T11" fmla="*/ 259 h 669"/>
                      <a:gd name="T12" fmla="*/ 305 w 520"/>
                      <a:gd name="T13" fmla="*/ 244 h 669"/>
                      <a:gd name="T14" fmla="*/ 353 w 520"/>
                      <a:gd name="T15" fmla="*/ 234 h 669"/>
                      <a:gd name="T16" fmla="*/ 383 w 520"/>
                      <a:gd name="T17" fmla="*/ 217 h 669"/>
                      <a:gd name="T18" fmla="*/ 414 w 520"/>
                      <a:gd name="T19" fmla="*/ 241 h 669"/>
                      <a:gd name="T20" fmla="*/ 432 w 520"/>
                      <a:gd name="T21" fmla="*/ 249 h 669"/>
                      <a:gd name="T22" fmla="*/ 420 w 520"/>
                      <a:gd name="T23" fmla="*/ 272 h 669"/>
                      <a:gd name="T24" fmla="*/ 398 w 520"/>
                      <a:gd name="T25" fmla="*/ 304 h 669"/>
                      <a:gd name="T26" fmla="*/ 365 w 520"/>
                      <a:gd name="T27" fmla="*/ 326 h 669"/>
                      <a:gd name="T28" fmla="*/ 333 w 520"/>
                      <a:gd name="T29" fmla="*/ 366 h 669"/>
                      <a:gd name="T30" fmla="*/ 302 w 520"/>
                      <a:gd name="T31" fmla="*/ 389 h 669"/>
                      <a:gd name="T32" fmla="*/ 285 w 520"/>
                      <a:gd name="T33" fmla="*/ 410 h 669"/>
                      <a:gd name="T34" fmla="*/ 249 w 520"/>
                      <a:gd name="T35" fmla="*/ 430 h 669"/>
                      <a:gd name="T36" fmla="*/ 247 w 520"/>
                      <a:gd name="T37" fmla="*/ 452 h 669"/>
                      <a:gd name="T38" fmla="*/ 219 w 520"/>
                      <a:gd name="T39" fmla="*/ 462 h 669"/>
                      <a:gd name="T40" fmla="*/ 188 w 520"/>
                      <a:gd name="T41" fmla="*/ 455 h 669"/>
                      <a:gd name="T42" fmla="*/ 168 w 520"/>
                      <a:gd name="T43" fmla="*/ 490 h 669"/>
                      <a:gd name="T44" fmla="*/ 159 w 520"/>
                      <a:gd name="T45" fmla="*/ 555 h 669"/>
                      <a:gd name="T46" fmla="*/ 153 w 520"/>
                      <a:gd name="T47" fmla="*/ 590 h 669"/>
                      <a:gd name="T48" fmla="*/ 130 w 520"/>
                      <a:gd name="T49" fmla="*/ 616 h 669"/>
                      <a:gd name="T50" fmla="*/ 113 w 520"/>
                      <a:gd name="T51" fmla="*/ 645 h 669"/>
                      <a:gd name="T52" fmla="*/ 70 w 520"/>
                      <a:gd name="T53" fmla="*/ 662 h 669"/>
                      <a:gd name="T54" fmla="*/ 44 w 520"/>
                      <a:gd name="T55" fmla="*/ 645 h 669"/>
                      <a:gd name="T56" fmla="*/ 13 w 520"/>
                      <a:gd name="T57" fmla="*/ 615 h 669"/>
                      <a:gd name="T58" fmla="*/ 0 w 520"/>
                      <a:gd name="T59" fmla="*/ 567 h 669"/>
                      <a:gd name="T60" fmla="*/ 5 w 520"/>
                      <a:gd name="T61" fmla="*/ 527 h 669"/>
                      <a:gd name="T62" fmla="*/ 60 w 520"/>
                      <a:gd name="T63" fmla="*/ 445 h 669"/>
                      <a:gd name="T64" fmla="*/ 114 w 520"/>
                      <a:gd name="T65" fmla="*/ 390 h 669"/>
                      <a:gd name="T66" fmla="*/ 148 w 520"/>
                      <a:gd name="T67" fmla="*/ 396 h 669"/>
                      <a:gd name="T68" fmla="*/ 186 w 520"/>
                      <a:gd name="T69" fmla="*/ 349 h 669"/>
                      <a:gd name="T70" fmla="*/ 161 w 520"/>
                      <a:gd name="T71" fmla="*/ 346 h 669"/>
                      <a:gd name="T72" fmla="*/ 119 w 520"/>
                      <a:gd name="T73" fmla="*/ 366 h 669"/>
                      <a:gd name="T74" fmla="*/ 89 w 520"/>
                      <a:gd name="T75" fmla="*/ 384 h 669"/>
                      <a:gd name="T76" fmla="*/ 84 w 520"/>
                      <a:gd name="T77" fmla="*/ 349 h 669"/>
                      <a:gd name="T78" fmla="*/ 107 w 520"/>
                      <a:gd name="T79" fmla="*/ 298 h 669"/>
                      <a:gd name="T80" fmla="*/ 427 w 520"/>
                      <a:gd name="T81" fmla="*/ 14 h 669"/>
                      <a:gd name="T82" fmla="*/ 448 w 520"/>
                      <a:gd name="T83" fmla="*/ 95 h 669"/>
                      <a:gd name="T84" fmla="*/ 430 w 520"/>
                      <a:gd name="T85" fmla="*/ 158 h 669"/>
                      <a:gd name="T86" fmla="*/ 411 w 520"/>
                      <a:gd name="T87" fmla="*/ 190 h 669"/>
                      <a:gd name="T88" fmla="*/ 450 w 520"/>
                      <a:gd name="T89" fmla="*/ 184 h 669"/>
                      <a:gd name="T90" fmla="*/ 441 w 520"/>
                      <a:gd name="T91" fmla="*/ 160 h 669"/>
                      <a:gd name="T92" fmla="*/ 439 w 520"/>
                      <a:gd name="T93" fmla="*/ 128 h 669"/>
                      <a:gd name="T94" fmla="*/ 474 w 520"/>
                      <a:gd name="T95" fmla="*/ 93 h 669"/>
                      <a:gd name="T96" fmla="*/ 511 w 520"/>
                      <a:gd name="T97" fmla="*/ 98 h 669"/>
                      <a:gd name="T98" fmla="*/ 520 w 520"/>
                      <a:gd name="T99" fmla="*/ 120 h 669"/>
                      <a:gd name="T100" fmla="*/ 508 w 520"/>
                      <a:gd name="T101" fmla="*/ 148 h 669"/>
                      <a:gd name="T102" fmla="*/ 486 w 520"/>
                      <a:gd name="T103" fmla="*/ 181 h 669"/>
                      <a:gd name="T104" fmla="*/ 430 w 520"/>
                      <a:gd name="T105" fmla="*/ 210 h 669"/>
                      <a:gd name="T106" fmla="*/ 401 w 520"/>
                      <a:gd name="T107" fmla="*/ 228 h 669"/>
                      <a:gd name="T108" fmla="*/ 356 w 520"/>
                      <a:gd name="T109" fmla="*/ 171 h 669"/>
                      <a:gd name="T110" fmla="*/ 371 w 520"/>
                      <a:gd name="T111" fmla="*/ 110 h 669"/>
                      <a:gd name="T112" fmla="*/ 384 w 520"/>
                      <a:gd name="T113" fmla="*/ 33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0" h="669">
                        <a:moveTo>
                          <a:pt x="439" y="211"/>
                        </a:moveTo>
                        <a:lnTo>
                          <a:pt x="442" y="223"/>
                        </a:lnTo>
                        <a:lnTo>
                          <a:pt x="430" y="226"/>
                        </a:lnTo>
                        <a:lnTo>
                          <a:pt x="424" y="221"/>
                        </a:lnTo>
                        <a:lnTo>
                          <a:pt x="439" y="211"/>
                        </a:lnTo>
                        <a:close/>
                        <a:moveTo>
                          <a:pt x="107" y="298"/>
                        </a:moveTo>
                        <a:lnTo>
                          <a:pt x="112" y="276"/>
                        </a:lnTo>
                        <a:lnTo>
                          <a:pt x="121" y="269"/>
                        </a:lnTo>
                        <a:lnTo>
                          <a:pt x="135" y="265"/>
                        </a:lnTo>
                        <a:lnTo>
                          <a:pt x="149" y="275"/>
                        </a:lnTo>
                        <a:lnTo>
                          <a:pt x="164" y="275"/>
                        </a:lnTo>
                        <a:lnTo>
                          <a:pt x="170" y="269"/>
                        </a:lnTo>
                        <a:lnTo>
                          <a:pt x="185" y="264"/>
                        </a:lnTo>
                        <a:lnTo>
                          <a:pt x="187" y="271"/>
                        </a:lnTo>
                        <a:lnTo>
                          <a:pt x="215" y="274"/>
                        </a:lnTo>
                        <a:lnTo>
                          <a:pt x="225" y="264"/>
                        </a:lnTo>
                        <a:lnTo>
                          <a:pt x="258" y="254"/>
                        </a:lnTo>
                        <a:lnTo>
                          <a:pt x="279" y="259"/>
                        </a:lnTo>
                        <a:lnTo>
                          <a:pt x="290" y="264"/>
                        </a:lnTo>
                        <a:lnTo>
                          <a:pt x="297" y="251"/>
                        </a:lnTo>
                        <a:lnTo>
                          <a:pt x="305" y="244"/>
                        </a:lnTo>
                        <a:lnTo>
                          <a:pt x="328" y="206"/>
                        </a:lnTo>
                        <a:lnTo>
                          <a:pt x="340" y="230"/>
                        </a:lnTo>
                        <a:lnTo>
                          <a:pt x="353" y="234"/>
                        </a:lnTo>
                        <a:lnTo>
                          <a:pt x="372" y="232"/>
                        </a:lnTo>
                        <a:lnTo>
                          <a:pt x="373" y="222"/>
                        </a:lnTo>
                        <a:lnTo>
                          <a:pt x="383" y="217"/>
                        </a:lnTo>
                        <a:lnTo>
                          <a:pt x="404" y="230"/>
                        </a:lnTo>
                        <a:lnTo>
                          <a:pt x="414" y="232"/>
                        </a:lnTo>
                        <a:lnTo>
                          <a:pt x="414" y="241"/>
                        </a:lnTo>
                        <a:lnTo>
                          <a:pt x="404" y="250"/>
                        </a:lnTo>
                        <a:lnTo>
                          <a:pt x="403" y="261"/>
                        </a:lnTo>
                        <a:lnTo>
                          <a:pt x="432" y="249"/>
                        </a:lnTo>
                        <a:lnTo>
                          <a:pt x="450" y="247"/>
                        </a:lnTo>
                        <a:lnTo>
                          <a:pt x="445" y="264"/>
                        </a:lnTo>
                        <a:lnTo>
                          <a:pt x="420" y="272"/>
                        </a:lnTo>
                        <a:lnTo>
                          <a:pt x="418" y="284"/>
                        </a:lnTo>
                        <a:lnTo>
                          <a:pt x="402" y="294"/>
                        </a:lnTo>
                        <a:lnTo>
                          <a:pt x="398" y="304"/>
                        </a:lnTo>
                        <a:lnTo>
                          <a:pt x="382" y="309"/>
                        </a:lnTo>
                        <a:lnTo>
                          <a:pt x="378" y="321"/>
                        </a:lnTo>
                        <a:lnTo>
                          <a:pt x="365" y="326"/>
                        </a:lnTo>
                        <a:lnTo>
                          <a:pt x="365" y="332"/>
                        </a:lnTo>
                        <a:lnTo>
                          <a:pt x="335" y="356"/>
                        </a:lnTo>
                        <a:lnTo>
                          <a:pt x="333" y="366"/>
                        </a:lnTo>
                        <a:lnTo>
                          <a:pt x="323" y="369"/>
                        </a:lnTo>
                        <a:lnTo>
                          <a:pt x="315" y="381"/>
                        </a:lnTo>
                        <a:lnTo>
                          <a:pt x="302" y="389"/>
                        </a:lnTo>
                        <a:lnTo>
                          <a:pt x="302" y="400"/>
                        </a:lnTo>
                        <a:lnTo>
                          <a:pt x="293" y="400"/>
                        </a:lnTo>
                        <a:lnTo>
                          <a:pt x="285" y="410"/>
                        </a:lnTo>
                        <a:lnTo>
                          <a:pt x="265" y="419"/>
                        </a:lnTo>
                        <a:lnTo>
                          <a:pt x="263" y="426"/>
                        </a:lnTo>
                        <a:lnTo>
                          <a:pt x="249" y="430"/>
                        </a:lnTo>
                        <a:lnTo>
                          <a:pt x="250" y="439"/>
                        </a:lnTo>
                        <a:lnTo>
                          <a:pt x="233" y="435"/>
                        </a:lnTo>
                        <a:lnTo>
                          <a:pt x="247" y="452"/>
                        </a:lnTo>
                        <a:lnTo>
                          <a:pt x="245" y="459"/>
                        </a:lnTo>
                        <a:lnTo>
                          <a:pt x="230" y="467"/>
                        </a:lnTo>
                        <a:lnTo>
                          <a:pt x="219" y="462"/>
                        </a:lnTo>
                        <a:lnTo>
                          <a:pt x="207" y="467"/>
                        </a:lnTo>
                        <a:lnTo>
                          <a:pt x="200" y="454"/>
                        </a:lnTo>
                        <a:lnTo>
                          <a:pt x="188" y="455"/>
                        </a:lnTo>
                        <a:lnTo>
                          <a:pt x="185" y="469"/>
                        </a:lnTo>
                        <a:lnTo>
                          <a:pt x="176" y="475"/>
                        </a:lnTo>
                        <a:lnTo>
                          <a:pt x="168" y="490"/>
                        </a:lnTo>
                        <a:lnTo>
                          <a:pt x="175" y="507"/>
                        </a:lnTo>
                        <a:lnTo>
                          <a:pt x="166" y="550"/>
                        </a:lnTo>
                        <a:lnTo>
                          <a:pt x="159" y="555"/>
                        </a:lnTo>
                        <a:lnTo>
                          <a:pt x="160" y="565"/>
                        </a:lnTo>
                        <a:lnTo>
                          <a:pt x="148" y="576"/>
                        </a:lnTo>
                        <a:lnTo>
                          <a:pt x="153" y="590"/>
                        </a:lnTo>
                        <a:lnTo>
                          <a:pt x="146" y="594"/>
                        </a:lnTo>
                        <a:lnTo>
                          <a:pt x="138" y="616"/>
                        </a:lnTo>
                        <a:lnTo>
                          <a:pt x="130" y="616"/>
                        </a:lnTo>
                        <a:lnTo>
                          <a:pt x="118" y="630"/>
                        </a:lnTo>
                        <a:lnTo>
                          <a:pt x="109" y="629"/>
                        </a:lnTo>
                        <a:lnTo>
                          <a:pt x="113" y="645"/>
                        </a:lnTo>
                        <a:lnTo>
                          <a:pt x="104" y="657"/>
                        </a:lnTo>
                        <a:lnTo>
                          <a:pt x="85" y="669"/>
                        </a:lnTo>
                        <a:lnTo>
                          <a:pt x="70" y="662"/>
                        </a:lnTo>
                        <a:lnTo>
                          <a:pt x="66" y="649"/>
                        </a:lnTo>
                        <a:lnTo>
                          <a:pt x="45" y="632"/>
                        </a:lnTo>
                        <a:lnTo>
                          <a:pt x="44" y="645"/>
                        </a:lnTo>
                        <a:lnTo>
                          <a:pt x="28" y="650"/>
                        </a:lnTo>
                        <a:lnTo>
                          <a:pt x="16" y="631"/>
                        </a:lnTo>
                        <a:lnTo>
                          <a:pt x="13" y="615"/>
                        </a:lnTo>
                        <a:lnTo>
                          <a:pt x="1" y="604"/>
                        </a:lnTo>
                        <a:lnTo>
                          <a:pt x="3" y="584"/>
                        </a:lnTo>
                        <a:lnTo>
                          <a:pt x="0" y="567"/>
                        </a:lnTo>
                        <a:lnTo>
                          <a:pt x="4" y="551"/>
                        </a:lnTo>
                        <a:lnTo>
                          <a:pt x="16" y="529"/>
                        </a:lnTo>
                        <a:lnTo>
                          <a:pt x="5" y="527"/>
                        </a:lnTo>
                        <a:lnTo>
                          <a:pt x="16" y="507"/>
                        </a:lnTo>
                        <a:lnTo>
                          <a:pt x="58" y="452"/>
                        </a:lnTo>
                        <a:lnTo>
                          <a:pt x="60" y="445"/>
                        </a:lnTo>
                        <a:lnTo>
                          <a:pt x="84" y="415"/>
                        </a:lnTo>
                        <a:lnTo>
                          <a:pt x="96" y="402"/>
                        </a:lnTo>
                        <a:lnTo>
                          <a:pt x="114" y="390"/>
                        </a:lnTo>
                        <a:lnTo>
                          <a:pt x="125" y="371"/>
                        </a:lnTo>
                        <a:lnTo>
                          <a:pt x="130" y="389"/>
                        </a:lnTo>
                        <a:lnTo>
                          <a:pt x="148" y="396"/>
                        </a:lnTo>
                        <a:lnTo>
                          <a:pt x="153" y="377"/>
                        </a:lnTo>
                        <a:lnTo>
                          <a:pt x="178" y="359"/>
                        </a:lnTo>
                        <a:lnTo>
                          <a:pt x="186" y="349"/>
                        </a:lnTo>
                        <a:lnTo>
                          <a:pt x="210" y="340"/>
                        </a:lnTo>
                        <a:lnTo>
                          <a:pt x="194" y="335"/>
                        </a:lnTo>
                        <a:lnTo>
                          <a:pt x="161" y="346"/>
                        </a:lnTo>
                        <a:lnTo>
                          <a:pt x="148" y="349"/>
                        </a:lnTo>
                        <a:lnTo>
                          <a:pt x="125" y="359"/>
                        </a:lnTo>
                        <a:lnTo>
                          <a:pt x="119" y="366"/>
                        </a:lnTo>
                        <a:lnTo>
                          <a:pt x="99" y="366"/>
                        </a:lnTo>
                        <a:lnTo>
                          <a:pt x="90" y="374"/>
                        </a:lnTo>
                        <a:lnTo>
                          <a:pt x="89" y="384"/>
                        </a:lnTo>
                        <a:lnTo>
                          <a:pt x="66" y="387"/>
                        </a:lnTo>
                        <a:lnTo>
                          <a:pt x="70" y="366"/>
                        </a:lnTo>
                        <a:lnTo>
                          <a:pt x="84" y="349"/>
                        </a:lnTo>
                        <a:lnTo>
                          <a:pt x="98" y="321"/>
                        </a:lnTo>
                        <a:lnTo>
                          <a:pt x="99" y="307"/>
                        </a:lnTo>
                        <a:lnTo>
                          <a:pt x="107" y="298"/>
                        </a:lnTo>
                        <a:close/>
                        <a:moveTo>
                          <a:pt x="400" y="1"/>
                        </a:moveTo>
                        <a:lnTo>
                          <a:pt x="407" y="14"/>
                        </a:lnTo>
                        <a:lnTo>
                          <a:pt x="427" y="14"/>
                        </a:lnTo>
                        <a:lnTo>
                          <a:pt x="437" y="48"/>
                        </a:lnTo>
                        <a:lnTo>
                          <a:pt x="435" y="87"/>
                        </a:lnTo>
                        <a:lnTo>
                          <a:pt x="448" y="95"/>
                        </a:lnTo>
                        <a:lnTo>
                          <a:pt x="439" y="124"/>
                        </a:lnTo>
                        <a:lnTo>
                          <a:pt x="433" y="133"/>
                        </a:lnTo>
                        <a:lnTo>
                          <a:pt x="430" y="158"/>
                        </a:lnTo>
                        <a:lnTo>
                          <a:pt x="418" y="166"/>
                        </a:lnTo>
                        <a:lnTo>
                          <a:pt x="421" y="180"/>
                        </a:lnTo>
                        <a:lnTo>
                          <a:pt x="411" y="190"/>
                        </a:lnTo>
                        <a:lnTo>
                          <a:pt x="421" y="199"/>
                        </a:lnTo>
                        <a:lnTo>
                          <a:pt x="428" y="188"/>
                        </a:lnTo>
                        <a:lnTo>
                          <a:pt x="450" y="184"/>
                        </a:lnTo>
                        <a:lnTo>
                          <a:pt x="448" y="173"/>
                        </a:lnTo>
                        <a:lnTo>
                          <a:pt x="465" y="136"/>
                        </a:lnTo>
                        <a:lnTo>
                          <a:pt x="441" y="160"/>
                        </a:lnTo>
                        <a:lnTo>
                          <a:pt x="433" y="154"/>
                        </a:lnTo>
                        <a:lnTo>
                          <a:pt x="444" y="138"/>
                        </a:lnTo>
                        <a:lnTo>
                          <a:pt x="439" y="128"/>
                        </a:lnTo>
                        <a:lnTo>
                          <a:pt x="445" y="104"/>
                        </a:lnTo>
                        <a:lnTo>
                          <a:pt x="453" y="89"/>
                        </a:lnTo>
                        <a:lnTo>
                          <a:pt x="474" y="93"/>
                        </a:lnTo>
                        <a:lnTo>
                          <a:pt x="481" y="88"/>
                        </a:lnTo>
                        <a:lnTo>
                          <a:pt x="504" y="89"/>
                        </a:lnTo>
                        <a:lnTo>
                          <a:pt x="511" y="98"/>
                        </a:lnTo>
                        <a:lnTo>
                          <a:pt x="509" y="108"/>
                        </a:lnTo>
                        <a:lnTo>
                          <a:pt x="519" y="110"/>
                        </a:lnTo>
                        <a:lnTo>
                          <a:pt x="520" y="120"/>
                        </a:lnTo>
                        <a:lnTo>
                          <a:pt x="513" y="133"/>
                        </a:lnTo>
                        <a:lnTo>
                          <a:pt x="499" y="140"/>
                        </a:lnTo>
                        <a:lnTo>
                          <a:pt x="508" y="148"/>
                        </a:lnTo>
                        <a:lnTo>
                          <a:pt x="499" y="158"/>
                        </a:lnTo>
                        <a:lnTo>
                          <a:pt x="498" y="166"/>
                        </a:lnTo>
                        <a:lnTo>
                          <a:pt x="486" y="181"/>
                        </a:lnTo>
                        <a:lnTo>
                          <a:pt x="459" y="204"/>
                        </a:lnTo>
                        <a:lnTo>
                          <a:pt x="455" y="201"/>
                        </a:lnTo>
                        <a:lnTo>
                          <a:pt x="430" y="210"/>
                        </a:lnTo>
                        <a:lnTo>
                          <a:pt x="421" y="221"/>
                        </a:lnTo>
                        <a:lnTo>
                          <a:pt x="411" y="219"/>
                        </a:lnTo>
                        <a:lnTo>
                          <a:pt x="401" y="228"/>
                        </a:lnTo>
                        <a:lnTo>
                          <a:pt x="383" y="213"/>
                        </a:lnTo>
                        <a:lnTo>
                          <a:pt x="369" y="190"/>
                        </a:lnTo>
                        <a:lnTo>
                          <a:pt x="356" y="171"/>
                        </a:lnTo>
                        <a:lnTo>
                          <a:pt x="358" y="154"/>
                        </a:lnTo>
                        <a:lnTo>
                          <a:pt x="369" y="134"/>
                        </a:lnTo>
                        <a:lnTo>
                          <a:pt x="371" y="110"/>
                        </a:lnTo>
                        <a:lnTo>
                          <a:pt x="375" y="98"/>
                        </a:lnTo>
                        <a:lnTo>
                          <a:pt x="378" y="43"/>
                        </a:lnTo>
                        <a:lnTo>
                          <a:pt x="384" y="33"/>
                        </a:lnTo>
                        <a:lnTo>
                          <a:pt x="389" y="0"/>
                        </a:lnTo>
                        <a:lnTo>
                          <a:pt x="400" y="1"/>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2" name="Newfoundland and Labrador" descr="{&quot;Key&quot;:&quot;newfoundland and labrador&quot;,&quot;Name&quot;:&quot;Newfoundland and Labrador&quot;,&quot;Value&quot;:1.0,&quot;Formula&quot;:&quot;&quot;,&quot;Text&quot;:&quot;&quot;,&quot;OfficeApplication&quot;:1,&quot;HasValue&quot;:true}">
                    <a:extLst>
                      <a:ext uri="{FF2B5EF4-FFF2-40B4-BE49-F238E27FC236}">
                        <a16:creationId xmlns:a16="http://schemas.microsoft.com/office/drawing/2014/main" id="{6ED4C868-6C65-E6FB-0A60-777DA370ADFE}"/>
                      </a:ext>
                    </a:extLst>
                  </p:cNvPr>
                  <p:cNvSpPr>
                    <a:spLocks noEditPoints="1"/>
                  </p:cNvSpPr>
                  <p:nvPr/>
                </p:nvSpPr>
                <p:spPr bwMode="auto">
                  <a:xfrm>
                    <a:off x="8052695" y="2879647"/>
                    <a:ext cx="927063" cy="841404"/>
                  </a:xfrm>
                  <a:custGeom>
                    <a:avLst/>
                    <a:gdLst>
                      <a:gd name="T0" fmla="*/ 1491 w 1781"/>
                      <a:gd name="T1" fmla="*/ 1136 h 1616"/>
                      <a:gd name="T2" fmla="*/ 1258 w 1781"/>
                      <a:gd name="T3" fmla="*/ 958 h 1616"/>
                      <a:gd name="T4" fmla="*/ 1248 w 1781"/>
                      <a:gd name="T5" fmla="*/ 1096 h 1616"/>
                      <a:gd name="T6" fmla="*/ 1281 w 1781"/>
                      <a:gd name="T7" fmla="*/ 1149 h 1616"/>
                      <a:gd name="T8" fmla="*/ 1406 w 1781"/>
                      <a:gd name="T9" fmla="*/ 1190 h 1616"/>
                      <a:gd name="T10" fmla="*/ 1572 w 1781"/>
                      <a:gd name="T11" fmla="*/ 1158 h 1616"/>
                      <a:gd name="T12" fmla="*/ 1591 w 1781"/>
                      <a:gd name="T13" fmla="*/ 1263 h 1616"/>
                      <a:gd name="T14" fmla="*/ 1631 w 1781"/>
                      <a:gd name="T15" fmla="*/ 1294 h 1616"/>
                      <a:gd name="T16" fmla="*/ 1669 w 1781"/>
                      <a:gd name="T17" fmla="*/ 1333 h 1616"/>
                      <a:gd name="T18" fmla="*/ 1732 w 1781"/>
                      <a:gd name="T19" fmla="*/ 1355 h 1616"/>
                      <a:gd name="T20" fmla="*/ 1781 w 1781"/>
                      <a:gd name="T21" fmla="*/ 1456 h 1616"/>
                      <a:gd name="T22" fmla="*/ 1704 w 1781"/>
                      <a:gd name="T23" fmla="*/ 1463 h 1616"/>
                      <a:gd name="T24" fmla="*/ 1601 w 1781"/>
                      <a:gd name="T25" fmla="*/ 1450 h 1616"/>
                      <a:gd name="T26" fmla="*/ 1513 w 1781"/>
                      <a:gd name="T27" fmla="*/ 1575 h 1616"/>
                      <a:gd name="T28" fmla="*/ 1552 w 1781"/>
                      <a:gd name="T29" fmla="*/ 1435 h 1616"/>
                      <a:gd name="T30" fmla="*/ 1447 w 1781"/>
                      <a:gd name="T31" fmla="*/ 1461 h 1616"/>
                      <a:gd name="T32" fmla="*/ 1294 w 1781"/>
                      <a:gd name="T33" fmla="*/ 1549 h 1616"/>
                      <a:gd name="T34" fmla="*/ 1137 w 1781"/>
                      <a:gd name="T35" fmla="*/ 1560 h 1616"/>
                      <a:gd name="T36" fmla="*/ 1129 w 1781"/>
                      <a:gd name="T37" fmla="*/ 1469 h 1616"/>
                      <a:gd name="T38" fmla="*/ 1156 w 1781"/>
                      <a:gd name="T39" fmla="*/ 1304 h 1616"/>
                      <a:gd name="T40" fmla="*/ 1164 w 1781"/>
                      <a:gd name="T41" fmla="*/ 1043 h 1616"/>
                      <a:gd name="T42" fmla="*/ 842 w 1781"/>
                      <a:gd name="T43" fmla="*/ 586 h 1616"/>
                      <a:gd name="T44" fmla="*/ 474 w 1781"/>
                      <a:gd name="T45" fmla="*/ 479 h 1616"/>
                      <a:gd name="T46" fmla="*/ 392 w 1781"/>
                      <a:gd name="T47" fmla="*/ 329 h 1616"/>
                      <a:gd name="T48" fmla="*/ 373 w 1781"/>
                      <a:gd name="T49" fmla="*/ 299 h 1616"/>
                      <a:gd name="T50" fmla="*/ 75 w 1781"/>
                      <a:gd name="T51" fmla="*/ 57 h 1616"/>
                      <a:gd name="T52" fmla="*/ 482 w 1781"/>
                      <a:gd name="T53" fmla="*/ 1127 h 1616"/>
                      <a:gd name="T54" fmla="*/ 468 w 1781"/>
                      <a:gd name="T55" fmla="*/ 1154 h 1616"/>
                      <a:gd name="T56" fmla="*/ 420 w 1781"/>
                      <a:gd name="T57" fmla="*/ 1245 h 1616"/>
                      <a:gd name="T58" fmla="*/ 284 w 1781"/>
                      <a:gd name="T59" fmla="*/ 1209 h 1616"/>
                      <a:gd name="T60" fmla="*/ 225 w 1781"/>
                      <a:gd name="T61" fmla="*/ 1125 h 1616"/>
                      <a:gd name="T62" fmla="*/ 173 w 1781"/>
                      <a:gd name="T63" fmla="*/ 1077 h 1616"/>
                      <a:gd name="T64" fmla="*/ 78 w 1781"/>
                      <a:gd name="T65" fmla="*/ 929 h 1616"/>
                      <a:gd name="T66" fmla="*/ 110 w 1781"/>
                      <a:gd name="T67" fmla="*/ 867 h 1616"/>
                      <a:gd name="T68" fmla="*/ 217 w 1781"/>
                      <a:gd name="T69" fmla="*/ 844 h 1616"/>
                      <a:gd name="T70" fmla="*/ 372 w 1781"/>
                      <a:gd name="T71" fmla="*/ 809 h 1616"/>
                      <a:gd name="T72" fmla="*/ 340 w 1781"/>
                      <a:gd name="T73" fmla="*/ 684 h 1616"/>
                      <a:gd name="T74" fmla="*/ 262 w 1781"/>
                      <a:gd name="T75" fmla="*/ 561 h 1616"/>
                      <a:gd name="T76" fmla="*/ 230 w 1781"/>
                      <a:gd name="T77" fmla="*/ 395 h 1616"/>
                      <a:gd name="T78" fmla="*/ 153 w 1781"/>
                      <a:gd name="T79" fmla="*/ 279 h 1616"/>
                      <a:gd name="T80" fmla="*/ 152 w 1781"/>
                      <a:gd name="T81" fmla="*/ 197 h 1616"/>
                      <a:gd name="T82" fmla="*/ 107 w 1781"/>
                      <a:gd name="T83" fmla="*/ 187 h 1616"/>
                      <a:gd name="T84" fmla="*/ 33 w 1781"/>
                      <a:gd name="T85" fmla="*/ 66 h 1616"/>
                      <a:gd name="T86" fmla="*/ 72 w 1781"/>
                      <a:gd name="T87" fmla="*/ 47 h 1616"/>
                      <a:gd name="T88" fmla="*/ 189 w 1781"/>
                      <a:gd name="T89" fmla="*/ 155 h 1616"/>
                      <a:gd name="T90" fmla="*/ 247 w 1781"/>
                      <a:gd name="T91" fmla="*/ 275 h 1616"/>
                      <a:gd name="T92" fmla="*/ 367 w 1781"/>
                      <a:gd name="T93" fmla="*/ 316 h 1616"/>
                      <a:gd name="T94" fmla="*/ 445 w 1781"/>
                      <a:gd name="T95" fmla="*/ 390 h 1616"/>
                      <a:gd name="T96" fmla="*/ 455 w 1781"/>
                      <a:gd name="T97" fmla="*/ 506 h 1616"/>
                      <a:gd name="T98" fmla="*/ 540 w 1781"/>
                      <a:gd name="T99" fmla="*/ 536 h 1616"/>
                      <a:gd name="T100" fmla="*/ 615 w 1781"/>
                      <a:gd name="T101" fmla="*/ 603 h 1616"/>
                      <a:gd name="T102" fmla="*/ 743 w 1781"/>
                      <a:gd name="T103" fmla="*/ 591 h 1616"/>
                      <a:gd name="T104" fmla="*/ 884 w 1781"/>
                      <a:gd name="T105" fmla="*/ 618 h 1616"/>
                      <a:gd name="T106" fmla="*/ 832 w 1781"/>
                      <a:gd name="T107" fmla="*/ 689 h 1616"/>
                      <a:gd name="T108" fmla="*/ 752 w 1781"/>
                      <a:gd name="T109" fmla="*/ 841 h 1616"/>
                      <a:gd name="T110" fmla="*/ 844 w 1781"/>
                      <a:gd name="T111" fmla="*/ 714 h 1616"/>
                      <a:gd name="T112" fmla="*/ 973 w 1781"/>
                      <a:gd name="T113" fmla="*/ 693 h 1616"/>
                      <a:gd name="T114" fmla="*/ 1072 w 1781"/>
                      <a:gd name="T115" fmla="*/ 687 h 1616"/>
                      <a:gd name="T116" fmla="*/ 1142 w 1781"/>
                      <a:gd name="T117" fmla="*/ 806 h 1616"/>
                      <a:gd name="T118" fmla="*/ 1172 w 1781"/>
                      <a:gd name="T119" fmla="*/ 930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81" h="1616">
                        <a:moveTo>
                          <a:pt x="1619" y="1398"/>
                        </a:moveTo>
                        <a:lnTo>
                          <a:pt x="1623" y="1414"/>
                        </a:lnTo>
                        <a:lnTo>
                          <a:pt x="1614" y="1414"/>
                        </a:lnTo>
                        <a:lnTo>
                          <a:pt x="1619" y="1398"/>
                        </a:lnTo>
                        <a:close/>
                        <a:moveTo>
                          <a:pt x="1607" y="1316"/>
                        </a:moveTo>
                        <a:lnTo>
                          <a:pt x="1639" y="1305"/>
                        </a:lnTo>
                        <a:lnTo>
                          <a:pt x="1639" y="1315"/>
                        </a:lnTo>
                        <a:lnTo>
                          <a:pt x="1611" y="1326"/>
                        </a:lnTo>
                        <a:lnTo>
                          <a:pt x="1607" y="1316"/>
                        </a:lnTo>
                        <a:close/>
                        <a:moveTo>
                          <a:pt x="1486" y="1119"/>
                        </a:moveTo>
                        <a:lnTo>
                          <a:pt x="1496" y="1125"/>
                        </a:lnTo>
                        <a:lnTo>
                          <a:pt x="1491" y="1136"/>
                        </a:lnTo>
                        <a:lnTo>
                          <a:pt x="1477" y="1147"/>
                        </a:lnTo>
                        <a:lnTo>
                          <a:pt x="1471" y="1137"/>
                        </a:lnTo>
                        <a:lnTo>
                          <a:pt x="1478" y="1120"/>
                        </a:lnTo>
                        <a:lnTo>
                          <a:pt x="1486" y="1119"/>
                        </a:lnTo>
                        <a:close/>
                        <a:moveTo>
                          <a:pt x="1211" y="941"/>
                        </a:moveTo>
                        <a:lnTo>
                          <a:pt x="1218" y="949"/>
                        </a:lnTo>
                        <a:lnTo>
                          <a:pt x="1218" y="958"/>
                        </a:lnTo>
                        <a:lnTo>
                          <a:pt x="1236" y="949"/>
                        </a:lnTo>
                        <a:lnTo>
                          <a:pt x="1228" y="944"/>
                        </a:lnTo>
                        <a:lnTo>
                          <a:pt x="1243" y="929"/>
                        </a:lnTo>
                        <a:lnTo>
                          <a:pt x="1253" y="928"/>
                        </a:lnTo>
                        <a:lnTo>
                          <a:pt x="1258" y="958"/>
                        </a:lnTo>
                        <a:lnTo>
                          <a:pt x="1252" y="960"/>
                        </a:lnTo>
                        <a:lnTo>
                          <a:pt x="1253" y="974"/>
                        </a:lnTo>
                        <a:lnTo>
                          <a:pt x="1234" y="974"/>
                        </a:lnTo>
                        <a:lnTo>
                          <a:pt x="1221" y="981"/>
                        </a:lnTo>
                        <a:lnTo>
                          <a:pt x="1224" y="1001"/>
                        </a:lnTo>
                        <a:lnTo>
                          <a:pt x="1238" y="993"/>
                        </a:lnTo>
                        <a:lnTo>
                          <a:pt x="1252" y="994"/>
                        </a:lnTo>
                        <a:lnTo>
                          <a:pt x="1257" y="1010"/>
                        </a:lnTo>
                        <a:lnTo>
                          <a:pt x="1255" y="1035"/>
                        </a:lnTo>
                        <a:lnTo>
                          <a:pt x="1250" y="1070"/>
                        </a:lnTo>
                        <a:lnTo>
                          <a:pt x="1252" y="1083"/>
                        </a:lnTo>
                        <a:lnTo>
                          <a:pt x="1248" y="1096"/>
                        </a:lnTo>
                        <a:lnTo>
                          <a:pt x="1248" y="1110"/>
                        </a:lnTo>
                        <a:lnTo>
                          <a:pt x="1243" y="1131"/>
                        </a:lnTo>
                        <a:lnTo>
                          <a:pt x="1246" y="1159"/>
                        </a:lnTo>
                        <a:lnTo>
                          <a:pt x="1238" y="1190"/>
                        </a:lnTo>
                        <a:lnTo>
                          <a:pt x="1244" y="1200"/>
                        </a:lnTo>
                        <a:lnTo>
                          <a:pt x="1247" y="1223"/>
                        </a:lnTo>
                        <a:lnTo>
                          <a:pt x="1242" y="1230"/>
                        </a:lnTo>
                        <a:lnTo>
                          <a:pt x="1261" y="1235"/>
                        </a:lnTo>
                        <a:lnTo>
                          <a:pt x="1268" y="1198"/>
                        </a:lnTo>
                        <a:lnTo>
                          <a:pt x="1273" y="1196"/>
                        </a:lnTo>
                        <a:lnTo>
                          <a:pt x="1273" y="1171"/>
                        </a:lnTo>
                        <a:lnTo>
                          <a:pt x="1281" y="1149"/>
                        </a:lnTo>
                        <a:lnTo>
                          <a:pt x="1292" y="1154"/>
                        </a:lnTo>
                        <a:lnTo>
                          <a:pt x="1332" y="1161"/>
                        </a:lnTo>
                        <a:lnTo>
                          <a:pt x="1342" y="1150"/>
                        </a:lnTo>
                        <a:lnTo>
                          <a:pt x="1346" y="1160"/>
                        </a:lnTo>
                        <a:lnTo>
                          <a:pt x="1339" y="1176"/>
                        </a:lnTo>
                        <a:lnTo>
                          <a:pt x="1333" y="1183"/>
                        </a:lnTo>
                        <a:lnTo>
                          <a:pt x="1331" y="1198"/>
                        </a:lnTo>
                        <a:lnTo>
                          <a:pt x="1336" y="1203"/>
                        </a:lnTo>
                        <a:lnTo>
                          <a:pt x="1333" y="1214"/>
                        </a:lnTo>
                        <a:lnTo>
                          <a:pt x="1373" y="1231"/>
                        </a:lnTo>
                        <a:lnTo>
                          <a:pt x="1373" y="1218"/>
                        </a:lnTo>
                        <a:lnTo>
                          <a:pt x="1406" y="1190"/>
                        </a:lnTo>
                        <a:lnTo>
                          <a:pt x="1413" y="1199"/>
                        </a:lnTo>
                        <a:lnTo>
                          <a:pt x="1411" y="1213"/>
                        </a:lnTo>
                        <a:lnTo>
                          <a:pt x="1417" y="1230"/>
                        </a:lnTo>
                        <a:lnTo>
                          <a:pt x="1431" y="1219"/>
                        </a:lnTo>
                        <a:lnTo>
                          <a:pt x="1456" y="1203"/>
                        </a:lnTo>
                        <a:lnTo>
                          <a:pt x="1459" y="1166"/>
                        </a:lnTo>
                        <a:lnTo>
                          <a:pt x="1471" y="1170"/>
                        </a:lnTo>
                        <a:lnTo>
                          <a:pt x="1473" y="1181"/>
                        </a:lnTo>
                        <a:lnTo>
                          <a:pt x="1491" y="1169"/>
                        </a:lnTo>
                        <a:lnTo>
                          <a:pt x="1506" y="1151"/>
                        </a:lnTo>
                        <a:lnTo>
                          <a:pt x="1544" y="1151"/>
                        </a:lnTo>
                        <a:lnTo>
                          <a:pt x="1572" y="1158"/>
                        </a:lnTo>
                        <a:lnTo>
                          <a:pt x="1571" y="1178"/>
                        </a:lnTo>
                        <a:lnTo>
                          <a:pt x="1572" y="1190"/>
                        </a:lnTo>
                        <a:lnTo>
                          <a:pt x="1561" y="1205"/>
                        </a:lnTo>
                        <a:lnTo>
                          <a:pt x="1562" y="1214"/>
                        </a:lnTo>
                        <a:lnTo>
                          <a:pt x="1553" y="1221"/>
                        </a:lnTo>
                        <a:lnTo>
                          <a:pt x="1568" y="1241"/>
                        </a:lnTo>
                        <a:lnTo>
                          <a:pt x="1563" y="1246"/>
                        </a:lnTo>
                        <a:lnTo>
                          <a:pt x="1574" y="1258"/>
                        </a:lnTo>
                        <a:lnTo>
                          <a:pt x="1582" y="1240"/>
                        </a:lnTo>
                        <a:lnTo>
                          <a:pt x="1589" y="1245"/>
                        </a:lnTo>
                        <a:lnTo>
                          <a:pt x="1578" y="1266"/>
                        </a:lnTo>
                        <a:lnTo>
                          <a:pt x="1591" y="1263"/>
                        </a:lnTo>
                        <a:lnTo>
                          <a:pt x="1618" y="1264"/>
                        </a:lnTo>
                        <a:lnTo>
                          <a:pt x="1617" y="1238"/>
                        </a:lnTo>
                        <a:lnTo>
                          <a:pt x="1623" y="1235"/>
                        </a:lnTo>
                        <a:lnTo>
                          <a:pt x="1637" y="1244"/>
                        </a:lnTo>
                        <a:lnTo>
                          <a:pt x="1639" y="1224"/>
                        </a:lnTo>
                        <a:lnTo>
                          <a:pt x="1648" y="1215"/>
                        </a:lnTo>
                        <a:lnTo>
                          <a:pt x="1656" y="1221"/>
                        </a:lnTo>
                        <a:lnTo>
                          <a:pt x="1661" y="1246"/>
                        </a:lnTo>
                        <a:lnTo>
                          <a:pt x="1654" y="1263"/>
                        </a:lnTo>
                        <a:lnTo>
                          <a:pt x="1639" y="1269"/>
                        </a:lnTo>
                        <a:lnTo>
                          <a:pt x="1642" y="1280"/>
                        </a:lnTo>
                        <a:lnTo>
                          <a:pt x="1631" y="1294"/>
                        </a:lnTo>
                        <a:lnTo>
                          <a:pt x="1627" y="1308"/>
                        </a:lnTo>
                        <a:lnTo>
                          <a:pt x="1616" y="1309"/>
                        </a:lnTo>
                        <a:lnTo>
                          <a:pt x="1601" y="1320"/>
                        </a:lnTo>
                        <a:lnTo>
                          <a:pt x="1609" y="1330"/>
                        </a:lnTo>
                        <a:lnTo>
                          <a:pt x="1629" y="1321"/>
                        </a:lnTo>
                        <a:lnTo>
                          <a:pt x="1639" y="1328"/>
                        </a:lnTo>
                        <a:lnTo>
                          <a:pt x="1642" y="1358"/>
                        </a:lnTo>
                        <a:lnTo>
                          <a:pt x="1639" y="1378"/>
                        </a:lnTo>
                        <a:lnTo>
                          <a:pt x="1672" y="1389"/>
                        </a:lnTo>
                        <a:lnTo>
                          <a:pt x="1673" y="1363"/>
                        </a:lnTo>
                        <a:lnTo>
                          <a:pt x="1667" y="1356"/>
                        </a:lnTo>
                        <a:lnTo>
                          <a:pt x="1669" y="1333"/>
                        </a:lnTo>
                        <a:lnTo>
                          <a:pt x="1669" y="1311"/>
                        </a:lnTo>
                        <a:lnTo>
                          <a:pt x="1677" y="1299"/>
                        </a:lnTo>
                        <a:lnTo>
                          <a:pt x="1687" y="1293"/>
                        </a:lnTo>
                        <a:lnTo>
                          <a:pt x="1688" y="1279"/>
                        </a:lnTo>
                        <a:lnTo>
                          <a:pt x="1698" y="1279"/>
                        </a:lnTo>
                        <a:lnTo>
                          <a:pt x="1694" y="1313"/>
                        </a:lnTo>
                        <a:lnTo>
                          <a:pt x="1698" y="1321"/>
                        </a:lnTo>
                        <a:lnTo>
                          <a:pt x="1696" y="1341"/>
                        </a:lnTo>
                        <a:lnTo>
                          <a:pt x="1702" y="1349"/>
                        </a:lnTo>
                        <a:lnTo>
                          <a:pt x="1701" y="1365"/>
                        </a:lnTo>
                        <a:lnTo>
                          <a:pt x="1723" y="1380"/>
                        </a:lnTo>
                        <a:lnTo>
                          <a:pt x="1732" y="1355"/>
                        </a:lnTo>
                        <a:lnTo>
                          <a:pt x="1733" y="1346"/>
                        </a:lnTo>
                        <a:lnTo>
                          <a:pt x="1727" y="1320"/>
                        </a:lnTo>
                        <a:lnTo>
                          <a:pt x="1737" y="1320"/>
                        </a:lnTo>
                        <a:lnTo>
                          <a:pt x="1742" y="1331"/>
                        </a:lnTo>
                        <a:lnTo>
                          <a:pt x="1748" y="1331"/>
                        </a:lnTo>
                        <a:lnTo>
                          <a:pt x="1752" y="1344"/>
                        </a:lnTo>
                        <a:lnTo>
                          <a:pt x="1761" y="1346"/>
                        </a:lnTo>
                        <a:lnTo>
                          <a:pt x="1763" y="1376"/>
                        </a:lnTo>
                        <a:lnTo>
                          <a:pt x="1759" y="1381"/>
                        </a:lnTo>
                        <a:lnTo>
                          <a:pt x="1767" y="1413"/>
                        </a:lnTo>
                        <a:lnTo>
                          <a:pt x="1773" y="1421"/>
                        </a:lnTo>
                        <a:lnTo>
                          <a:pt x="1781" y="1456"/>
                        </a:lnTo>
                        <a:lnTo>
                          <a:pt x="1777" y="1468"/>
                        </a:lnTo>
                        <a:lnTo>
                          <a:pt x="1778" y="1479"/>
                        </a:lnTo>
                        <a:lnTo>
                          <a:pt x="1767" y="1489"/>
                        </a:lnTo>
                        <a:lnTo>
                          <a:pt x="1757" y="1481"/>
                        </a:lnTo>
                        <a:lnTo>
                          <a:pt x="1746" y="1484"/>
                        </a:lnTo>
                        <a:lnTo>
                          <a:pt x="1743" y="1496"/>
                        </a:lnTo>
                        <a:lnTo>
                          <a:pt x="1737" y="1507"/>
                        </a:lnTo>
                        <a:lnTo>
                          <a:pt x="1728" y="1505"/>
                        </a:lnTo>
                        <a:lnTo>
                          <a:pt x="1723" y="1490"/>
                        </a:lnTo>
                        <a:lnTo>
                          <a:pt x="1716" y="1481"/>
                        </a:lnTo>
                        <a:lnTo>
                          <a:pt x="1714" y="1471"/>
                        </a:lnTo>
                        <a:lnTo>
                          <a:pt x="1704" y="1463"/>
                        </a:lnTo>
                        <a:lnTo>
                          <a:pt x="1708" y="1439"/>
                        </a:lnTo>
                        <a:lnTo>
                          <a:pt x="1699" y="1436"/>
                        </a:lnTo>
                        <a:lnTo>
                          <a:pt x="1691" y="1474"/>
                        </a:lnTo>
                        <a:lnTo>
                          <a:pt x="1681" y="1504"/>
                        </a:lnTo>
                        <a:lnTo>
                          <a:pt x="1667" y="1508"/>
                        </a:lnTo>
                        <a:lnTo>
                          <a:pt x="1658" y="1483"/>
                        </a:lnTo>
                        <a:lnTo>
                          <a:pt x="1656" y="1424"/>
                        </a:lnTo>
                        <a:lnTo>
                          <a:pt x="1648" y="1403"/>
                        </a:lnTo>
                        <a:lnTo>
                          <a:pt x="1618" y="1371"/>
                        </a:lnTo>
                        <a:lnTo>
                          <a:pt x="1604" y="1373"/>
                        </a:lnTo>
                        <a:lnTo>
                          <a:pt x="1598" y="1431"/>
                        </a:lnTo>
                        <a:lnTo>
                          <a:pt x="1601" y="1450"/>
                        </a:lnTo>
                        <a:lnTo>
                          <a:pt x="1592" y="1450"/>
                        </a:lnTo>
                        <a:lnTo>
                          <a:pt x="1581" y="1463"/>
                        </a:lnTo>
                        <a:lnTo>
                          <a:pt x="1569" y="1465"/>
                        </a:lnTo>
                        <a:lnTo>
                          <a:pt x="1566" y="1484"/>
                        </a:lnTo>
                        <a:lnTo>
                          <a:pt x="1566" y="1504"/>
                        </a:lnTo>
                        <a:lnTo>
                          <a:pt x="1569" y="1518"/>
                        </a:lnTo>
                        <a:lnTo>
                          <a:pt x="1563" y="1526"/>
                        </a:lnTo>
                        <a:lnTo>
                          <a:pt x="1564" y="1543"/>
                        </a:lnTo>
                        <a:lnTo>
                          <a:pt x="1553" y="1556"/>
                        </a:lnTo>
                        <a:lnTo>
                          <a:pt x="1536" y="1560"/>
                        </a:lnTo>
                        <a:lnTo>
                          <a:pt x="1532" y="1566"/>
                        </a:lnTo>
                        <a:lnTo>
                          <a:pt x="1513" y="1575"/>
                        </a:lnTo>
                        <a:lnTo>
                          <a:pt x="1502" y="1575"/>
                        </a:lnTo>
                        <a:lnTo>
                          <a:pt x="1496" y="1568"/>
                        </a:lnTo>
                        <a:lnTo>
                          <a:pt x="1499" y="1549"/>
                        </a:lnTo>
                        <a:lnTo>
                          <a:pt x="1514" y="1538"/>
                        </a:lnTo>
                        <a:lnTo>
                          <a:pt x="1529" y="1524"/>
                        </a:lnTo>
                        <a:lnTo>
                          <a:pt x="1529" y="1518"/>
                        </a:lnTo>
                        <a:lnTo>
                          <a:pt x="1538" y="1499"/>
                        </a:lnTo>
                        <a:lnTo>
                          <a:pt x="1533" y="1478"/>
                        </a:lnTo>
                        <a:lnTo>
                          <a:pt x="1537" y="1468"/>
                        </a:lnTo>
                        <a:lnTo>
                          <a:pt x="1554" y="1451"/>
                        </a:lnTo>
                        <a:lnTo>
                          <a:pt x="1559" y="1440"/>
                        </a:lnTo>
                        <a:lnTo>
                          <a:pt x="1552" y="1435"/>
                        </a:lnTo>
                        <a:lnTo>
                          <a:pt x="1538" y="1445"/>
                        </a:lnTo>
                        <a:lnTo>
                          <a:pt x="1504" y="1446"/>
                        </a:lnTo>
                        <a:lnTo>
                          <a:pt x="1501" y="1459"/>
                        </a:lnTo>
                        <a:lnTo>
                          <a:pt x="1511" y="1463"/>
                        </a:lnTo>
                        <a:lnTo>
                          <a:pt x="1513" y="1478"/>
                        </a:lnTo>
                        <a:lnTo>
                          <a:pt x="1498" y="1488"/>
                        </a:lnTo>
                        <a:lnTo>
                          <a:pt x="1492" y="1481"/>
                        </a:lnTo>
                        <a:lnTo>
                          <a:pt x="1483" y="1494"/>
                        </a:lnTo>
                        <a:lnTo>
                          <a:pt x="1454" y="1495"/>
                        </a:lnTo>
                        <a:lnTo>
                          <a:pt x="1467" y="1479"/>
                        </a:lnTo>
                        <a:lnTo>
                          <a:pt x="1457" y="1468"/>
                        </a:lnTo>
                        <a:lnTo>
                          <a:pt x="1447" y="1461"/>
                        </a:lnTo>
                        <a:lnTo>
                          <a:pt x="1436" y="1478"/>
                        </a:lnTo>
                        <a:lnTo>
                          <a:pt x="1432" y="1490"/>
                        </a:lnTo>
                        <a:lnTo>
                          <a:pt x="1419" y="1500"/>
                        </a:lnTo>
                        <a:lnTo>
                          <a:pt x="1392" y="1509"/>
                        </a:lnTo>
                        <a:lnTo>
                          <a:pt x="1388" y="1526"/>
                        </a:lnTo>
                        <a:lnTo>
                          <a:pt x="1382" y="1529"/>
                        </a:lnTo>
                        <a:lnTo>
                          <a:pt x="1367" y="1528"/>
                        </a:lnTo>
                        <a:lnTo>
                          <a:pt x="1356" y="1535"/>
                        </a:lnTo>
                        <a:lnTo>
                          <a:pt x="1333" y="1535"/>
                        </a:lnTo>
                        <a:lnTo>
                          <a:pt x="1312" y="1544"/>
                        </a:lnTo>
                        <a:lnTo>
                          <a:pt x="1308" y="1551"/>
                        </a:lnTo>
                        <a:lnTo>
                          <a:pt x="1294" y="1549"/>
                        </a:lnTo>
                        <a:lnTo>
                          <a:pt x="1284" y="1554"/>
                        </a:lnTo>
                        <a:lnTo>
                          <a:pt x="1259" y="1558"/>
                        </a:lnTo>
                        <a:lnTo>
                          <a:pt x="1251" y="1569"/>
                        </a:lnTo>
                        <a:lnTo>
                          <a:pt x="1243" y="1569"/>
                        </a:lnTo>
                        <a:lnTo>
                          <a:pt x="1219" y="1584"/>
                        </a:lnTo>
                        <a:lnTo>
                          <a:pt x="1204" y="1598"/>
                        </a:lnTo>
                        <a:lnTo>
                          <a:pt x="1191" y="1604"/>
                        </a:lnTo>
                        <a:lnTo>
                          <a:pt x="1176" y="1616"/>
                        </a:lnTo>
                        <a:lnTo>
                          <a:pt x="1154" y="1616"/>
                        </a:lnTo>
                        <a:lnTo>
                          <a:pt x="1148" y="1596"/>
                        </a:lnTo>
                        <a:lnTo>
                          <a:pt x="1131" y="1585"/>
                        </a:lnTo>
                        <a:lnTo>
                          <a:pt x="1137" y="1560"/>
                        </a:lnTo>
                        <a:lnTo>
                          <a:pt x="1153" y="1536"/>
                        </a:lnTo>
                        <a:lnTo>
                          <a:pt x="1167" y="1500"/>
                        </a:lnTo>
                        <a:lnTo>
                          <a:pt x="1167" y="1490"/>
                        </a:lnTo>
                        <a:lnTo>
                          <a:pt x="1176" y="1474"/>
                        </a:lnTo>
                        <a:lnTo>
                          <a:pt x="1173" y="1465"/>
                        </a:lnTo>
                        <a:lnTo>
                          <a:pt x="1154" y="1466"/>
                        </a:lnTo>
                        <a:lnTo>
                          <a:pt x="1144" y="1475"/>
                        </a:lnTo>
                        <a:lnTo>
                          <a:pt x="1123" y="1486"/>
                        </a:lnTo>
                        <a:lnTo>
                          <a:pt x="1111" y="1498"/>
                        </a:lnTo>
                        <a:lnTo>
                          <a:pt x="1109" y="1485"/>
                        </a:lnTo>
                        <a:lnTo>
                          <a:pt x="1123" y="1460"/>
                        </a:lnTo>
                        <a:lnTo>
                          <a:pt x="1129" y="1469"/>
                        </a:lnTo>
                        <a:lnTo>
                          <a:pt x="1146" y="1469"/>
                        </a:lnTo>
                        <a:lnTo>
                          <a:pt x="1153" y="1459"/>
                        </a:lnTo>
                        <a:lnTo>
                          <a:pt x="1147" y="1441"/>
                        </a:lnTo>
                        <a:lnTo>
                          <a:pt x="1149" y="1418"/>
                        </a:lnTo>
                        <a:lnTo>
                          <a:pt x="1146" y="1398"/>
                        </a:lnTo>
                        <a:lnTo>
                          <a:pt x="1148" y="1388"/>
                        </a:lnTo>
                        <a:lnTo>
                          <a:pt x="1173" y="1371"/>
                        </a:lnTo>
                        <a:lnTo>
                          <a:pt x="1171" y="1358"/>
                        </a:lnTo>
                        <a:lnTo>
                          <a:pt x="1154" y="1351"/>
                        </a:lnTo>
                        <a:lnTo>
                          <a:pt x="1148" y="1338"/>
                        </a:lnTo>
                        <a:lnTo>
                          <a:pt x="1147" y="1326"/>
                        </a:lnTo>
                        <a:lnTo>
                          <a:pt x="1156" y="1304"/>
                        </a:lnTo>
                        <a:lnTo>
                          <a:pt x="1162" y="1296"/>
                        </a:lnTo>
                        <a:lnTo>
                          <a:pt x="1153" y="1281"/>
                        </a:lnTo>
                        <a:lnTo>
                          <a:pt x="1154" y="1205"/>
                        </a:lnTo>
                        <a:lnTo>
                          <a:pt x="1148" y="1156"/>
                        </a:lnTo>
                        <a:lnTo>
                          <a:pt x="1152" y="1128"/>
                        </a:lnTo>
                        <a:lnTo>
                          <a:pt x="1144" y="1120"/>
                        </a:lnTo>
                        <a:lnTo>
                          <a:pt x="1157" y="1109"/>
                        </a:lnTo>
                        <a:lnTo>
                          <a:pt x="1164" y="1084"/>
                        </a:lnTo>
                        <a:lnTo>
                          <a:pt x="1158" y="1070"/>
                        </a:lnTo>
                        <a:lnTo>
                          <a:pt x="1163" y="1063"/>
                        </a:lnTo>
                        <a:lnTo>
                          <a:pt x="1159" y="1049"/>
                        </a:lnTo>
                        <a:lnTo>
                          <a:pt x="1164" y="1043"/>
                        </a:lnTo>
                        <a:lnTo>
                          <a:pt x="1158" y="1029"/>
                        </a:lnTo>
                        <a:lnTo>
                          <a:pt x="1159" y="1015"/>
                        </a:lnTo>
                        <a:lnTo>
                          <a:pt x="1173" y="994"/>
                        </a:lnTo>
                        <a:lnTo>
                          <a:pt x="1198" y="963"/>
                        </a:lnTo>
                        <a:lnTo>
                          <a:pt x="1211" y="941"/>
                        </a:lnTo>
                        <a:close/>
                        <a:moveTo>
                          <a:pt x="1089" y="688"/>
                        </a:moveTo>
                        <a:lnTo>
                          <a:pt x="1102" y="685"/>
                        </a:lnTo>
                        <a:lnTo>
                          <a:pt x="1104" y="698"/>
                        </a:lnTo>
                        <a:lnTo>
                          <a:pt x="1086" y="699"/>
                        </a:lnTo>
                        <a:lnTo>
                          <a:pt x="1089" y="688"/>
                        </a:lnTo>
                        <a:close/>
                        <a:moveTo>
                          <a:pt x="836" y="574"/>
                        </a:moveTo>
                        <a:lnTo>
                          <a:pt x="842" y="586"/>
                        </a:lnTo>
                        <a:lnTo>
                          <a:pt x="839" y="593"/>
                        </a:lnTo>
                        <a:lnTo>
                          <a:pt x="828" y="596"/>
                        </a:lnTo>
                        <a:lnTo>
                          <a:pt x="817" y="586"/>
                        </a:lnTo>
                        <a:lnTo>
                          <a:pt x="836" y="574"/>
                        </a:lnTo>
                        <a:close/>
                        <a:moveTo>
                          <a:pt x="519" y="504"/>
                        </a:moveTo>
                        <a:lnTo>
                          <a:pt x="526" y="504"/>
                        </a:lnTo>
                        <a:lnTo>
                          <a:pt x="528" y="519"/>
                        </a:lnTo>
                        <a:lnTo>
                          <a:pt x="513" y="520"/>
                        </a:lnTo>
                        <a:lnTo>
                          <a:pt x="509" y="503"/>
                        </a:lnTo>
                        <a:lnTo>
                          <a:pt x="519" y="504"/>
                        </a:lnTo>
                        <a:close/>
                        <a:moveTo>
                          <a:pt x="442" y="485"/>
                        </a:moveTo>
                        <a:lnTo>
                          <a:pt x="474" y="479"/>
                        </a:lnTo>
                        <a:lnTo>
                          <a:pt x="474" y="489"/>
                        </a:lnTo>
                        <a:lnTo>
                          <a:pt x="452" y="490"/>
                        </a:lnTo>
                        <a:lnTo>
                          <a:pt x="442" y="485"/>
                        </a:lnTo>
                        <a:close/>
                        <a:moveTo>
                          <a:pt x="442" y="400"/>
                        </a:moveTo>
                        <a:lnTo>
                          <a:pt x="452" y="409"/>
                        </a:lnTo>
                        <a:lnTo>
                          <a:pt x="453" y="421"/>
                        </a:lnTo>
                        <a:lnTo>
                          <a:pt x="459" y="434"/>
                        </a:lnTo>
                        <a:lnTo>
                          <a:pt x="457" y="445"/>
                        </a:lnTo>
                        <a:lnTo>
                          <a:pt x="435" y="434"/>
                        </a:lnTo>
                        <a:lnTo>
                          <a:pt x="430" y="412"/>
                        </a:lnTo>
                        <a:lnTo>
                          <a:pt x="442" y="400"/>
                        </a:lnTo>
                        <a:close/>
                        <a:moveTo>
                          <a:pt x="392" y="329"/>
                        </a:moveTo>
                        <a:lnTo>
                          <a:pt x="396" y="341"/>
                        </a:lnTo>
                        <a:lnTo>
                          <a:pt x="382" y="345"/>
                        </a:lnTo>
                        <a:lnTo>
                          <a:pt x="380" y="336"/>
                        </a:lnTo>
                        <a:lnTo>
                          <a:pt x="392" y="329"/>
                        </a:lnTo>
                        <a:close/>
                        <a:moveTo>
                          <a:pt x="369" y="321"/>
                        </a:moveTo>
                        <a:lnTo>
                          <a:pt x="381" y="330"/>
                        </a:lnTo>
                        <a:lnTo>
                          <a:pt x="373" y="341"/>
                        </a:lnTo>
                        <a:lnTo>
                          <a:pt x="363" y="335"/>
                        </a:lnTo>
                        <a:lnTo>
                          <a:pt x="369" y="321"/>
                        </a:lnTo>
                        <a:close/>
                        <a:moveTo>
                          <a:pt x="367" y="281"/>
                        </a:moveTo>
                        <a:lnTo>
                          <a:pt x="376" y="285"/>
                        </a:lnTo>
                        <a:lnTo>
                          <a:pt x="373" y="299"/>
                        </a:lnTo>
                        <a:lnTo>
                          <a:pt x="358" y="293"/>
                        </a:lnTo>
                        <a:lnTo>
                          <a:pt x="367" y="281"/>
                        </a:lnTo>
                        <a:close/>
                        <a:moveTo>
                          <a:pt x="349" y="277"/>
                        </a:moveTo>
                        <a:lnTo>
                          <a:pt x="356" y="284"/>
                        </a:lnTo>
                        <a:lnTo>
                          <a:pt x="352" y="294"/>
                        </a:lnTo>
                        <a:lnTo>
                          <a:pt x="343" y="291"/>
                        </a:lnTo>
                        <a:lnTo>
                          <a:pt x="341" y="281"/>
                        </a:lnTo>
                        <a:lnTo>
                          <a:pt x="349" y="277"/>
                        </a:lnTo>
                        <a:close/>
                        <a:moveTo>
                          <a:pt x="91" y="64"/>
                        </a:moveTo>
                        <a:lnTo>
                          <a:pt x="84" y="77"/>
                        </a:lnTo>
                        <a:lnTo>
                          <a:pt x="77" y="75"/>
                        </a:lnTo>
                        <a:lnTo>
                          <a:pt x="75" y="57"/>
                        </a:lnTo>
                        <a:lnTo>
                          <a:pt x="91" y="64"/>
                        </a:lnTo>
                        <a:close/>
                        <a:moveTo>
                          <a:pt x="1121" y="1016"/>
                        </a:moveTo>
                        <a:lnTo>
                          <a:pt x="1084" y="937"/>
                        </a:lnTo>
                        <a:lnTo>
                          <a:pt x="1004" y="974"/>
                        </a:lnTo>
                        <a:lnTo>
                          <a:pt x="899" y="1019"/>
                        </a:lnTo>
                        <a:lnTo>
                          <a:pt x="802" y="1060"/>
                        </a:lnTo>
                        <a:lnTo>
                          <a:pt x="654" y="1120"/>
                        </a:lnTo>
                        <a:lnTo>
                          <a:pt x="521" y="1170"/>
                        </a:lnTo>
                        <a:lnTo>
                          <a:pt x="524" y="1162"/>
                        </a:lnTo>
                        <a:lnTo>
                          <a:pt x="511" y="1137"/>
                        </a:lnTo>
                        <a:lnTo>
                          <a:pt x="501" y="1124"/>
                        </a:lnTo>
                        <a:lnTo>
                          <a:pt x="482" y="1127"/>
                        </a:lnTo>
                        <a:lnTo>
                          <a:pt x="467" y="1115"/>
                        </a:lnTo>
                        <a:lnTo>
                          <a:pt x="472" y="1096"/>
                        </a:lnTo>
                        <a:lnTo>
                          <a:pt x="482" y="1085"/>
                        </a:lnTo>
                        <a:lnTo>
                          <a:pt x="517" y="1067"/>
                        </a:lnTo>
                        <a:lnTo>
                          <a:pt x="512" y="1062"/>
                        </a:lnTo>
                        <a:lnTo>
                          <a:pt x="490" y="1056"/>
                        </a:lnTo>
                        <a:lnTo>
                          <a:pt x="452" y="1081"/>
                        </a:lnTo>
                        <a:lnTo>
                          <a:pt x="449" y="1089"/>
                        </a:lnTo>
                        <a:lnTo>
                          <a:pt x="452" y="1104"/>
                        </a:lnTo>
                        <a:lnTo>
                          <a:pt x="467" y="1129"/>
                        </a:lnTo>
                        <a:lnTo>
                          <a:pt x="464" y="1143"/>
                        </a:lnTo>
                        <a:lnTo>
                          <a:pt x="468" y="1154"/>
                        </a:lnTo>
                        <a:lnTo>
                          <a:pt x="478" y="1165"/>
                        </a:lnTo>
                        <a:lnTo>
                          <a:pt x="470" y="1170"/>
                        </a:lnTo>
                        <a:lnTo>
                          <a:pt x="479" y="1189"/>
                        </a:lnTo>
                        <a:lnTo>
                          <a:pt x="468" y="1195"/>
                        </a:lnTo>
                        <a:lnTo>
                          <a:pt x="478" y="1215"/>
                        </a:lnTo>
                        <a:lnTo>
                          <a:pt x="487" y="1224"/>
                        </a:lnTo>
                        <a:lnTo>
                          <a:pt x="485" y="1236"/>
                        </a:lnTo>
                        <a:lnTo>
                          <a:pt x="473" y="1252"/>
                        </a:lnTo>
                        <a:lnTo>
                          <a:pt x="453" y="1239"/>
                        </a:lnTo>
                        <a:lnTo>
                          <a:pt x="435" y="1237"/>
                        </a:lnTo>
                        <a:lnTo>
                          <a:pt x="429" y="1247"/>
                        </a:lnTo>
                        <a:lnTo>
                          <a:pt x="420" y="1245"/>
                        </a:lnTo>
                        <a:lnTo>
                          <a:pt x="407" y="1247"/>
                        </a:lnTo>
                        <a:lnTo>
                          <a:pt x="394" y="1237"/>
                        </a:lnTo>
                        <a:lnTo>
                          <a:pt x="383" y="1236"/>
                        </a:lnTo>
                        <a:lnTo>
                          <a:pt x="383" y="1227"/>
                        </a:lnTo>
                        <a:lnTo>
                          <a:pt x="370" y="1220"/>
                        </a:lnTo>
                        <a:lnTo>
                          <a:pt x="350" y="1227"/>
                        </a:lnTo>
                        <a:lnTo>
                          <a:pt x="344" y="1220"/>
                        </a:lnTo>
                        <a:lnTo>
                          <a:pt x="334" y="1220"/>
                        </a:lnTo>
                        <a:lnTo>
                          <a:pt x="323" y="1231"/>
                        </a:lnTo>
                        <a:lnTo>
                          <a:pt x="313" y="1230"/>
                        </a:lnTo>
                        <a:lnTo>
                          <a:pt x="309" y="1219"/>
                        </a:lnTo>
                        <a:lnTo>
                          <a:pt x="284" y="1209"/>
                        </a:lnTo>
                        <a:lnTo>
                          <a:pt x="294" y="1226"/>
                        </a:lnTo>
                        <a:lnTo>
                          <a:pt x="285" y="1231"/>
                        </a:lnTo>
                        <a:lnTo>
                          <a:pt x="267" y="1206"/>
                        </a:lnTo>
                        <a:lnTo>
                          <a:pt x="277" y="1200"/>
                        </a:lnTo>
                        <a:lnTo>
                          <a:pt x="260" y="1169"/>
                        </a:lnTo>
                        <a:lnTo>
                          <a:pt x="260" y="1145"/>
                        </a:lnTo>
                        <a:lnTo>
                          <a:pt x="249" y="1132"/>
                        </a:lnTo>
                        <a:lnTo>
                          <a:pt x="259" y="1129"/>
                        </a:lnTo>
                        <a:lnTo>
                          <a:pt x="245" y="1109"/>
                        </a:lnTo>
                        <a:lnTo>
                          <a:pt x="238" y="1105"/>
                        </a:lnTo>
                        <a:lnTo>
                          <a:pt x="232" y="1122"/>
                        </a:lnTo>
                        <a:lnTo>
                          <a:pt x="225" y="1125"/>
                        </a:lnTo>
                        <a:lnTo>
                          <a:pt x="229" y="1146"/>
                        </a:lnTo>
                        <a:lnTo>
                          <a:pt x="222" y="1154"/>
                        </a:lnTo>
                        <a:lnTo>
                          <a:pt x="225" y="1162"/>
                        </a:lnTo>
                        <a:lnTo>
                          <a:pt x="218" y="1171"/>
                        </a:lnTo>
                        <a:lnTo>
                          <a:pt x="198" y="1160"/>
                        </a:lnTo>
                        <a:lnTo>
                          <a:pt x="170" y="1155"/>
                        </a:lnTo>
                        <a:lnTo>
                          <a:pt x="153" y="1122"/>
                        </a:lnTo>
                        <a:lnTo>
                          <a:pt x="158" y="1114"/>
                        </a:lnTo>
                        <a:lnTo>
                          <a:pt x="169" y="1110"/>
                        </a:lnTo>
                        <a:lnTo>
                          <a:pt x="187" y="1111"/>
                        </a:lnTo>
                        <a:lnTo>
                          <a:pt x="180" y="1084"/>
                        </a:lnTo>
                        <a:lnTo>
                          <a:pt x="173" y="1077"/>
                        </a:lnTo>
                        <a:lnTo>
                          <a:pt x="180" y="1065"/>
                        </a:lnTo>
                        <a:lnTo>
                          <a:pt x="164" y="1055"/>
                        </a:lnTo>
                        <a:lnTo>
                          <a:pt x="137" y="1055"/>
                        </a:lnTo>
                        <a:lnTo>
                          <a:pt x="123" y="1040"/>
                        </a:lnTo>
                        <a:lnTo>
                          <a:pt x="105" y="1034"/>
                        </a:lnTo>
                        <a:lnTo>
                          <a:pt x="107" y="1022"/>
                        </a:lnTo>
                        <a:lnTo>
                          <a:pt x="95" y="1012"/>
                        </a:lnTo>
                        <a:lnTo>
                          <a:pt x="74" y="1001"/>
                        </a:lnTo>
                        <a:lnTo>
                          <a:pt x="74" y="982"/>
                        </a:lnTo>
                        <a:lnTo>
                          <a:pt x="80" y="975"/>
                        </a:lnTo>
                        <a:lnTo>
                          <a:pt x="60" y="944"/>
                        </a:lnTo>
                        <a:lnTo>
                          <a:pt x="78" y="929"/>
                        </a:lnTo>
                        <a:lnTo>
                          <a:pt x="74" y="912"/>
                        </a:lnTo>
                        <a:lnTo>
                          <a:pt x="98" y="922"/>
                        </a:lnTo>
                        <a:lnTo>
                          <a:pt x="94" y="910"/>
                        </a:lnTo>
                        <a:lnTo>
                          <a:pt x="102" y="900"/>
                        </a:lnTo>
                        <a:lnTo>
                          <a:pt x="102" y="881"/>
                        </a:lnTo>
                        <a:lnTo>
                          <a:pt x="82" y="871"/>
                        </a:lnTo>
                        <a:lnTo>
                          <a:pt x="62" y="852"/>
                        </a:lnTo>
                        <a:lnTo>
                          <a:pt x="57" y="844"/>
                        </a:lnTo>
                        <a:lnTo>
                          <a:pt x="70" y="839"/>
                        </a:lnTo>
                        <a:lnTo>
                          <a:pt x="72" y="847"/>
                        </a:lnTo>
                        <a:lnTo>
                          <a:pt x="100" y="857"/>
                        </a:lnTo>
                        <a:lnTo>
                          <a:pt x="110" y="867"/>
                        </a:lnTo>
                        <a:lnTo>
                          <a:pt x="130" y="871"/>
                        </a:lnTo>
                        <a:lnTo>
                          <a:pt x="138" y="857"/>
                        </a:lnTo>
                        <a:lnTo>
                          <a:pt x="122" y="842"/>
                        </a:lnTo>
                        <a:lnTo>
                          <a:pt x="124" y="834"/>
                        </a:lnTo>
                        <a:lnTo>
                          <a:pt x="110" y="819"/>
                        </a:lnTo>
                        <a:lnTo>
                          <a:pt x="110" y="801"/>
                        </a:lnTo>
                        <a:lnTo>
                          <a:pt x="118" y="792"/>
                        </a:lnTo>
                        <a:lnTo>
                          <a:pt x="158" y="820"/>
                        </a:lnTo>
                        <a:lnTo>
                          <a:pt x="178" y="826"/>
                        </a:lnTo>
                        <a:lnTo>
                          <a:pt x="195" y="824"/>
                        </a:lnTo>
                        <a:lnTo>
                          <a:pt x="203" y="834"/>
                        </a:lnTo>
                        <a:lnTo>
                          <a:pt x="217" y="844"/>
                        </a:lnTo>
                        <a:lnTo>
                          <a:pt x="237" y="834"/>
                        </a:lnTo>
                        <a:lnTo>
                          <a:pt x="230" y="825"/>
                        </a:lnTo>
                        <a:lnTo>
                          <a:pt x="250" y="812"/>
                        </a:lnTo>
                        <a:lnTo>
                          <a:pt x="254" y="794"/>
                        </a:lnTo>
                        <a:lnTo>
                          <a:pt x="269" y="792"/>
                        </a:lnTo>
                        <a:lnTo>
                          <a:pt x="289" y="804"/>
                        </a:lnTo>
                        <a:lnTo>
                          <a:pt x="293" y="815"/>
                        </a:lnTo>
                        <a:lnTo>
                          <a:pt x="309" y="811"/>
                        </a:lnTo>
                        <a:lnTo>
                          <a:pt x="315" y="797"/>
                        </a:lnTo>
                        <a:lnTo>
                          <a:pt x="343" y="801"/>
                        </a:lnTo>
                        <a:lnTo>
                          <a:pt x="352" y="810"/>
                        </a:lnTo>
                        <a:lnTo>
                          <a:pt x="372" y="809"/>
                        </a:lnTo>
                        <a:lnTo>
                          <a:pt x="383" y="796"/>
                        </a:lnTo>
                        <a:lnTo>
                          <a:pt x="362" y="782"/>
                        </a:lnTo>
                        <a:lnTo>
                          <a:pt x="365" y="774"/>
                        </a:lnTo>
                        <a:lnTo>
                          <a:pt x="360" y="757"/>
                        </a:lnTo>
                        <a:lnTo>
                          <a:pt x="379" y="756"/>
                        </a:lnTo>
                        <a:lnTo>
                          <a:pt x="378" y="745"/>
                        </a:lnTo>
                        <a:lnTo>
                          <a:pt x="370" y="732"/>
                        </a:lnTo>
                        <a:lnTo>
                          <a:pt x="367" y="709"/>
                        </a:lnTo>
                        <a:lnTo>
                          <a:pt x="355" y="706"/>
                        </a:lnTo>
                        <a:lnTo>
                          <a:pt x="360" y="691"/>
                        </a:lnTo>
                        <a:lnTo>
                          <a:pt x="370" y="679"/>
                        </a:lnTo>
                        <a:lnTo>
                          <a:pt x="340" y="684"/>
                        </a:lnTo>
                        <a:lnTo>
                          <a:pt x="337" y="656"/>
                        </a:lnTo>
                        <a:lnTo>
                          <a:pt x="328" y="654"/>
                        </a:lnTo>
                        <a:lnTo>
                          <a:pt x="328" y="637"/>
                        </a:lnTo>
                        <a:lnTo>
                          <a:pt x="320" y="634"/>
                        </a:lnTo>
                        <a:lnTo>
                          <a:pt x="307" y="620"/>
                        </a:lnTo>
                        <a:lnTo>
                          <a:pt x="324" y="600"/>
                        </a:lnTo>
                        <a:lnTo>
                          <a:pt x="312" y="596"/>
                        </a:lnTo>
                        <a:lnTo>
                          <a:pt x="295" y="596"/>
                        </a:lnTo>
                        <a:lnTo>
                          <a:pt x="283" y="600"/>
                        </a:lnTo>
                        <a:lnTo>
                          <a:pt x="282" y="574"/>
                        </a:lnTo>
                        <a:lnTo>
                          <a:pt x="269" y="576"/>
                        </a:lnTo>
                        <a:lnTo>
                          <a:pt x="262" y="561"/>
                        </a:lnTo>
                        <a:lnTo>
                          <a:pt x="269" y="541"/>
                        </a:lnTo>
                        <a:lnTo>
                          <a:pt x="265" y="532"/>
                        </a:lnTo>
                        <a:lnTo>
                          <a:pt x="244" y="516"/>
                        </a:lnTo>
                        <a:lnTo>
                          <a:pt x="245" y="491"/>
                        </a:lnTo>
                        <a:lnTo>
                          <a:pt x="253" y="480"/>
                        </a:lnTo>
                        <a:lnTo>
                          <a:pt x="247" y="475"/>
                        </a:lnTo>
                        <a:lnTo>
                          <a:pt x="243" y="454"/>
                        </a:lnTo>
                        <a:lnTo>
                          <a:pt x="248" y="447"/>
                        </a:lnTo>
                        <a:lnTo>
                          <a:pt x="245" y="427"/>
                        </a:lnTo>
                        <a:lnTo>
                          <a:pt x="233" y="416"/>
                        </a:lnTo>
                        <a:lnTo>
                          <a:pt x="239" y="404"/>
                        </a:lnTo>
                        <a:lnTo>
                          <a:pt x="230" y="395"/>
                        </a:lnTo>
                        <a:lnTo>
                          <a:pt x="225" y="380"/>
                        </a:lnTo>
                        <a:lnTo>
                          <a:pt x="232" y="365"/>
                        </a:lnTo>
                        <a:lnTo>
                          <a:pt x="227" y="361"/>
                        </a:lnTo>
                        <a:lnTo>
                          <a:pt x="207" y="360"/>
                        </a:lnTo>
                        <a:lnTo>
                          <a:pt x="200" y="351"/>
                        </a:lnTo>
                        <a:lnTo>
                          <a:pt x="187" y="354"/>
                        </a:lnTo>
                        <a:lnTo>
                          <a:pt x="169" y="332"/>
                        </a:lnTo>
                        <a:lnTo>
                          <a:pt x="164" y="322"/>
                        </a:lnTo>
                        <a:lnTo>
                          <a:pt x="149" y="325"/>
                        </a:lnTo>
                        <a:lnTo>
                          <a:pt x="144" y="307"/>
                        </a:lnTo>
                        <a:lnTo>
                          <a:pt x="154" y="299"/>
                        </a:lnTo>
                        <a:lnTo>
                          <a:pt x="153" y="279"/>
                        </a:lnTo>
                        <a:lnTo>
                          <a:pt x="160" y="271"/>
                        </a:lnTo>
                        <a:lnTo>
                          <a:pt x="162" y="260"/>
                        </a:lnTo>
                        <a:lnTo>
                          <a:pt x="172" y="247"/>
                        </a:lnTo>
                        <a:lnTo>
                          <a:pt x="162" y="237"/>
                        </a:lnTo>
                        <a:lnTo>
                          <a:pt x="153" y="247"/>
                        </a:lnTo>
                        <a:lnTo>
                          <a:pt x="144" y="240"/>
                        </a:lnTo>
                        <a:lnTo>
                          <a:pt x="145" y="225"/>
                        </a:lnTo>
                        <a:lnTo>
                          <a:pt x="180" y="205"/>
                        </a:lnTo>
                        <a:lnTo>
                          <a:pt x="183" y="199"/>
                        </a:lnTo>
                        <a:lnTo>
                          <a:pt x="169" y="189"/>
                        </a:lnTo>
                        <a:lnTo>
                          <a:pt x="158" y="187"/>
                        </a:lnTo>
                        <a:lnTo>
                          <a:pt x="152" y="197"/>
                        </a:lnTo>
                        <a:lnTo>
                          <a:pt x="142" y="202"/>
                        </a:lnTo>
                        <a:lnTo>
                          <a:pt x="134" y="217"/>
                        </a:lnTo>
                        <a:lnTo>
                          <a:pt x="122" y="216"/>
                        </a:lnTo>
                        <a:lnTo>
                          <a:pt x="113" y="202"/>
                        </a:lnTo>
                        <a:lnTo>
                          <a:pt x="93" y="210"/>
                        </a:lnTo>
                        <a:lnTo>
                          <a:pt x="80" y="205"/>
                        </a:lnTo>
                        <a:lnTo>
                          <a:pt x="73" y="212"/>
                        </a:lnTo>
                        <a:lnTo>
                          <a:pt x="65" y="202"/>
                        </a:lnTo>
                        <a:lnTo>
                          <a:pt x="73" y="187"/>
                        </a:lnTo>
                        <a:lnTo>
                          <a:pt x="79" y="191"/>
                        </a:lnTo>
                        <a:lnTo>
                          <a:pt x="100" y="191"/>
                        </a:lnTo>
                        <a:lnTo>
                          <a:pt x="107" y="187"/>
                        </a:lnTo>
                        <a:lnTo>
                          <a:pt x="99" y="177"/>
                        </a:lnTo>
                        <a:lnTo>
                          <a:pt x="88" y="175"/>
                        </a:lnTo>
                        <a:lnTo>
                          <a:pt x="74" y="150"/>
                        </a:lnTo>
                        <a:lnTo>
                          <a:pt x="70" y="127"/>
                        </a:lnTo>
                        <a:lnTo>
                          <a:pt x="78" y="116"/>
                        </a:lnTo>
                        <a:lnTo>
                          <a:pt x="70" y="111"/>
                        </a:lnTo>
                        <a:lnTo>
                          <a:pt x="55" y="130"/>
                        </a:lnTo>
                        <a:lnTo>
                          <a:pt x="33" y="119"/>
                        </a:lnTo>
                        <a:lnTo>
                          <a:pt x="29" y="104"/>
                        </a:lnTo>
                        <a:lnTo>
                          <a:pt x="35" y="96"/>
                        </a:lnTo>
                        <a:lnTo>
                          <a:pt x="25" y="79"/>
                        </a:lnTo>
                        <a:lnTo>
                          <a:pt x="33" y="66"/>
                        </a:lnTo>
                        <a:lnTo>
                          <a:pt x="30" y="57"/>
                        </a:lnTo>
                        <a:lnTo>
                          <a:pt x="17" y="59"/>
                        </a:lnTo>
                        <a:lnTo>
                          <a:pt x="14" y="46"/>
                        </a:lnTo>
                        <a:lnTo>
                          <a:pt x="25" y="30"/>
                        </a:lnTo>
                        <a:lnTo>
                          <a:pt x="12" y="25"/>
                        </a:lnTo>
                        <a:lnTo>
                          <a:pt x="0" y="14"/>
                        </a:lnTo>
                        <a:lnTo>
                          <a:pt x="20" y="0"/>
                        </a:lnTo>
                        <a:lnTo>
                          <a:pt x="32" y="4"/>
                        </a:lnTo>
                        <a:lnTo>
                          <a:pt x="39" y="19"/>
                        </a:lnTo>
                        <a:lnTo>
                          <a:pt x="39" y="32"/>
                        </a:lnTo>
                        <a:lnTo>
                          <a:pt x="58" y="30"/>
                        </a:lnTo>
                        <a:lnTo>
                          <a:pt x="72" y="47"/>
                        </a:lnTo>
                        <a:lnTo>
                          <a:pt x="74" y="69"/>
                        </a:lnTo>
                        <a:lnTo>
                          <a:pt x="69" y="72"/>
                        </a:lnTo>
                        <a:lnTo>
                          <a:pt x="83" y="81"/>
                        </a:lnTo>
                        <a:lnTo>
                          <a:pt x="95" y="75"/>
                        </a:lnTo>
                        <a:lnTo>
                          <a:pt x="102" y="86"/>
                        </a:lnTo>
                        <a:lnTo>
                          <a:pt x="123" y="95"/>
                        </a:lnTo>
                        <a:lnTo>
                          <a:pt x="124" y="117"/>
                        </a:lnTo>
                        <a:lnTo>
                          <a:pt x="147" y="114"/>
                        </a:lnTo>
                        <a:lnTo>
                          <a:pt x="165" y="129"/>
                        </a:lnTo>
                        <a:lnTo>
                          <a:pt x="165" y="145"/>
                        </a:lnTo>
                        <a:lnTo>
                          <a:pt x="188" y="146"/>
                        </a:lnTo>
                        <a:lnTo>
                          <a:pt x="189" y="155"/>
                        </a:lnTo>
                        <a:lnTo>
                          <a:pt x="204" y="167"/>
                        </a:lnTo>
                        <a:lnTo>
                          <a:pt x="220" y="174"/>
                        </a:lnTo>
                        <a:lnTo>
                          <a:pt x="235" y="194"/>
                        </a:lnTo>
                        <a:lnTo>
                          <a:pt x="233" y="206"/>
                        </a:lnTo>
                        <a:lnTo>
                          <a:pt x="219" y="226"/>
                        </a:lnTo>
                        <a:lnTo>
                          <a:pt x="237" y="232"/>
                        </a:lnTo>
                        <a:lnTo>
                          <a:pt x="249" y="216"/>
                        </a:lnTo>
                        <a:lnTo>
                          <a:pt x="265" y="210"/>
                        </a:lnTo>
                        <a:lnTo>
                          <a:pt x="264" y="225"/>
                        </a:lnTo>
                        <a:lnTo>
                          <a:pt x="269" y="230"/>
                        </a:lnTo>
                        <a:lnTo>
                          <a:pt x="277" y="259"/>
                        </a:lnTo>
                        <a:lnTo>
                          <a:pt x="247" y="275"/>
                        </a:lnTo>
                        <a:lnTo>
                          <a:pt x="258" y="280"/>
                        </a:lnTo>
                        <a:lnTo>
                          <a:pt x="283" y="259"/>
                        </a:lnTo>
                        <a:lnTo>
                          <a:pt x="294" y="266"/>
                        </a:lnTo>
                        <a:lnTo>
                          <a:pt x="312" y="270"/>
                        </a:lnTo>
                        <a:lnTo>
                          <a:pt x="308" y="277"/>
                        </a:lnTo>
                        <a:lnTo>
                          <a:pt x="323" y="281"/>
                        </a:lnTo>
                        <a:lnTo>
                          <a:pt x="328" y="272"/>
                        </a:lnTo>
                        <a:lnTo>
                          <a:pt x="338" y="281"/>
                        </a:lnTo>
                        <a:lnTo>
                          <a:pt x="335" y="294"/>
                        </a:lnTo>
                        <a:lnTo>
                          <a:pt x="349" y="296"/>
                        </a:lnTo>
                        <a:lnTo>
                          <a:pt x="364" y="309"/>
                        </a:lnTo>
                        <a:lnTo>
                          <a:pt x="367" y="316"/>
                        </a:lnTo>
                        <a:lnTo>
                          <a:pt x="357" y="324"/>
                        </a:lnTo>
                        <a:lnTo>
                          <a:pt x="357" y="331"/>
                        </a:lnTo>
                        <a:lnTo>
                          <a:pt x="342" y="342"/>
                        </a:lnTo>
                        <a:lnTo>
                          <a:pt x="340" y="359"/>
                        </a:lnTo>
                        <a:lnTo>
                          <a:pt x="365" y="344"/>
                        </a:lnTo>
                        <a:lnTo>
                          <a:pt x="387" y="349"/>
                        </a:lnTo>
                        <a:lnTo>
                          <a:pt x="387" y="366"/>
                        </a:lnTo>
                        <a:lnTo>
                          <a:pt x="394" y="380"/>
                        </a:lnTo>
                        <a:lnTo>
                          <a:pt x="402" y="380"/>
                        </a:lnTo>
                        <a:lnTo>
                          <a:pt x="420" y="371"/>
                        </a:lnTo>
                        <a:lnTo>
                          <a:pt x="434" y="372"/>
                        </a:lnTo>
                        <a:lnTo>
                          <a:pt x="445" y="390"/>
                        </a:lnTo>
                        <a:lnTo>
                          <a:pt x="433" y="396"/>
                        </a:lnTo>
                        <a:lnTo>
                          <a:pt x="428" y="416"/>
                        </a:lnTo>
                        <a:lnTo>
                          <a:pt x="430" y="422"/>
                        </a:lnTo>
                        <a:lnTo>
                          <a:pt x="420" y="432"/>
                        </a:lnTo>
                        <a:lnTo>
                          <a:pt x="433" y="437"/>
                        </a:lnTo>
                        <a:lnTo>
                          <a:pt x="424" y="456"/>
                        </a:lnTo>
                        <a:lnTo>
                          <a:pt x="435" y="464"/>
                        </a:lnTo>
                        <a:lnTo>
                          <a:pt x="442" y="475"/>
                        </a:lnTo>
                        <a:lnTo>
                          <a:pt x="423" y="477"/>
                        </a:lnTo>
                        <a:lnTo>
                          <a:pt x="442" y="492"/>
                        </a:lnTo>
                        <a:lnTo>
                          <a:pt x="463" y="499"/>
                        </a:lnTo>
                        <a:lnTo>
                          <a:pt x="455" y="506"/>
                        </a:lnTo>
                        <a:lnTo>
                          <a:pt x="447" y="504"/>
                        </a:lnTo>
                        <a:lnTo>
                          <a:pt x="427" y="511"/>
                        </a:lnTo>
                        <a:lnTo>
                          <a:pt x="443" y="519"/>
                        </a:lnTo>
                        <a:lnTo>
                          <a:pt x="445" y="514"/>
                        </a:lnTo>
                        <a:lnTo>
                          <a:pt x="474" y="509"/>
                        </a:lnTo>
                        <a:lnTo>
                          <a:pt x="487" y="499"/>
                        </a:lnTo>
                        <a:lnTo>
                          <a:pt x="495" y="516"/>
                        </a:lnTo>
                        <a:lnTo>
                          <a:pt x="490" y="521"/>
                        </a:lnTo>
                        <a:lnTo>
                          <a:pt x="503" y="535"/>
                        </a:lnTo>
                        <a:lnTo>
                          <a:pt x="527" y="532"/>
                        </a:lnTo>
                        <a:lnTo>
                          <a:pt x="532" y="543"/>
                        </a:lnTo>
                        <a:lnTo>
                          <a:pt x="540" y="536"/>
                        </a:lnTo>
                        <a:lnTo>
                          <a:pt x="554" y="532"/>
                        </a:lnTo>
                        <a:lnTo>
                          <a:pt x="560" y="543"/>
                        </a:lnTo>
                        <a:lnTo>
                          <a:pt x="575" y="545"/>
                        </a:lnTo>
                        <a:lnTo>
                          <a:pt x="580" y="530"/>
                        </a:lnTo>
                        <a:lnTo>
                          <a:pt x="587" y="532"/>
                        </a:lnTo>
                        <a:lnTo>
                          <a:pt x="595" y="545"/>
                        </a:lnTo>
                        <a:lnTo>
                          <a:pt x="588" y="551"/>
                        </a:lnTo>
                        <a:lnTo>
                          <a:pt x="604" y="559"/>
                        </a:lnTo>
                        <a:lnTo>
                          <a:pt x="609" y="566"/>
                        </a:lnTo>
                        <a:lnTo>
                          <a:pt x="608" y="581"/>
                        </a:lnTo>
                        <a:lnTo>
                          <a:pt x="614" y="585"/>
                        </a:lnTo>
                        <a:lnTo>
                          <a:pt x="615" y="603"/>
                        </a:lnTo>
                        <a:lnTo>
                          <a:pt x="620" y="621"/>
                        </a:lnTo>
                        <a:lnTo>
                          <a:pt x="629" y="604"/>
                        </a:lnTo>
                        <a:lnTo>
                          <a:pt x="657" y="593"/>
                        </a:lnTo>
                        <a:lnTo>
                          <a:pt x="662" y="576"/>
                        </a:lnTo>
                        <a:lnTo>
                          <a:pt x="673" y="580"/>
                        </a:lnTo>
                        <a:lnTo>
                          <a:pt x="669" y="603"/>
                        </a:lnTo>
                        <a:lnTo>
                          <a:pt x="703" y="589"/>
                        </a:lnTo>
                        <a:lnTo>
                          <a:pt x="712" y="593"/>
                        </a:lnTo>
                        <a:lnTo>
                          <a:pt x="713" y="573"/>
                        </a:lnTo>
                        <a:lnTo>
                          <a:pt x="737" y="573"/>
                        </a:lnTo>
                        <a:lnTo>
                          <a:pt x="744" y="581"/>
                        </a:lnTo>
                        <a:lnTo>
                          <a:pt x="743" y="591"/>
                        </a:lnTo>
                        <a:lnTo>
                          <a:pt x="755" y="595"/>
                        </a:lnTo>
                        <a:lnTo>
                          <a:pt x="762" y="604"/>
                        </a:lnTo>
                        <a:lnTo>
                          <a:pt x="783" y="608"/>
                        </a:lnTo>
                        <a:lnTo>
                          <a:pt x="808" y="600"/>
                        </a:lnTo>
                        <a:lnTo>
                          <a:pt x="822" y="594"/>
                        </a:lnTo>
                        <a:lnTo>
                          <a:pt x="830" y="600"/>
                        </a:lnTo>
                        <a:lnTo>
                          <a:pt x="854" y="589"/>
                        </a:lnTo>
                        <a:lnTo>
                          <a:pt x="875" y="598"/>
                        </a:lnTo>
                        <a:lnTo>
                          <a:pt x="892" y="588"/>
                        </a:lnTo>
                        <a:lnTo>
                          <a:pt x="903" y="591"/>
                        </a:lnTo>
                        <a:lnTo>
                          <a:pt x="905" y="605"/>
                        </a:lnTo>
                        <a:lnTo>
                          <a:pt x="884" y="618"/>
                        </a:lnTo>
                        <a:lnTo>
                          <a:pt x="899" y="621"/>
                        </a:lnTo>
                        <a:lnTo>
                          <a:pt x="890" y="633"/>
                        </a:lnTo>
                        <a:lnTo>
                          <a:pt x="872" y="640"/>
                        </a:lnTo>
                        <a:lnTo>
                          <a:pt x="850" y="654"/>
                        </a:lnTo>
                        <a:lnTo>
                          <a:pt x="852" y="671"/>
                        </a:lnTo>
                        <a:lnTo>
                          <a:pt x="835" y="681"/>
                        </a:lnTo>
                        <a:lnTo>
                          <a:pt x="819" y="703"/>
                        </a:lnTo>
                        <a:lnTo>
                          <a:pt x="807" y="708"/>
                        </a:lnTo>
                        <a:lnTo>
                          <a:pt x="771" y="740"/>
                        </a:lnTo>
                        <a:lnTo>
                          <a:pt x="780" y="740"/>
                        </a:lnTo>
                        <a:lnTo>
                          <a:pt x="823" y="705"/>
                        </a:lnTo>
                        <a:lnTo>
                          <a:pt x="832" y="689"/>
                        </a:lnTo>
                        <a:lnTo>
                          <a:pt x="842" y="683"/>
                        </a:lnTo>
                        <a:lnTo>
                          <a:pt x="835" y="710"/>
                        </a:lnTo>
                        <a:lnTo>
                          <a:pt x="828" y="718"/>
                        </a:lnTo>
                        <a:lnTo>
                          <a:pt x="814" y="720"/>
                        </a:lnTo>
                        <a:lnTo>
                          <a:pt x="810" y="735"/>
                        </a:lnTo>
                        <a:lnTo>
                          <a:pt x="793" y="750"/>
                        </a:lnTo>
                        <a:lnTo>
                          <a:pt x="773" y="776"/>
                        </a:lnTo>
                        <a:lnTo>
                          <a:pt x="750" y="781"/>
                        </a:lnTo>
                        <a:lnTo>
                          <a:pt x="744" y="793"/>
                        </a:lnTo>
                        <a:lnTo>
                          <a:pt x="729" y="805"/>
                        </a:lnTo>
                        <a:lnTo>
                          <a:pt x="742" y="834"/>
                        </a:lnTo>
                        <a:lnTo>
                          <a:pt x="752" y="841"/>
                        </a:lnTo>
                        <a:lnTo>
                          <a:pt x="732" y="865"/>
                        </a:lnTo>
                        <a:lnTo>
                          <a:pt x="754" y="863"/>
                        </a:lnTo>
                        <a:lnTo>
                          <a:pt x="759" y="858"/>
                        </a:lnTo>
                        <a:lnTo>
                          <a:pt x="765" y="831"/>
                        </a:lnTo>
                        <a:lnTo>
                          <a:pt x="790" y="811"/>
                        </a:lnTo>
                        <a:lnTo>
                          <a:pt x="797" y="794"/>
                        </a:lnTo>
                        <a:lnTo>
                          <a:pt x="818" y="779"/>
                        </a:lnTo>
                        <a:lnTo>
                          <a:pt x="822" y="773"/>
                        </a:lnTo>
                        <a:lnTo>
                          <a:pt x="813" y="763"/>
                        </a:lnTo>
                        <a:lnTo>
                          <a:pt x="822" y="744"/>
                        </a:lnTo>
                        <a:lnTo>
                          <a:pt x="822" y="735"/>
                        </a:lnTo>
                        <a:lnTo>
                          <a:pt x="844" y="714"/>
                        </a:lnTo>
                        <a:lnTo>
                          <a:pt x="865" y="696"/>
                        </a:lnTo>
                        <a:lnTo>
                          <a:pt x="845" y="693"/>
                        </a:lnTo>
                        <a:lnTo>
                          <a:pt x="845" y="683"/>
                        </a:lnTo>
                        <a:lnTo>
                          <a:pt x="854" y="673"/>
                        </a:lnTo>
                        <a:lnTo>
                          <a:pt x="872" y="664"/>
                        </a:lnTo>
                        <a:lnTo>
                          <a:pt x="914" y="656"/>
                        </a:lnTo>
                        <a:lnTo>
                          <a:pt x="918" y="650"/>
                        </a:lnTo>
                        <a:lnTo>
                          <a:pt x="930" y="654"/>
                        </a:lnTo>
                        <a:lnTo>
                          <a:pt x="944" y="670"/>
                        </a:lnTo>
                        <a:lnTo>
                          <a:pt x="955" y="676"/>
                        </a:lnTo>
                        <a:lnTo>
                          <a:pt x="958" y="685"/>
                        </a:lnTo>
                        <a:lnTo>
                          <a:pt x="973" y="693"/>
                        </a:lnTo>
                        <a:lnTo>
                          <a:pt x="972" y="701"/>
                        </a:lnTo>
                        <a:lnTo>
                          <a:pt x="953" y="725"/>
                        </a:lnTo>
                        <a:lnTo>
                          <a:pt x="968" y="730"/>
                        </a:lnTo>
                        <a:lnTo>
                          <a:pt x="978" y="740"/>
                        </a:lnTo>
                        <a:lnTo>
                          <a:pt x="985" y="728"/>
                        </a:lnTo>
                        <a:lnTo>
                          <a:pt x="982" y="718"/>
                        </a:lnTo>
                        <a:lnTo>
                          <a:pt x="987" y="697"/>
                        </a:lnTo>
                        <a:lnTo>
                          <a:pt x="1014" y="682"/>
                        </a:lnTo>
                        <a:lnTo>
                          <a:pt x="1019" y="694"/>
                        </a:lnTo>
                        <a:lnTo>
                          <a:pt x="1038" y="691"/>
                        </a:lnTo>
                        <a:lnTo>
                          <a:pt x="1073" y="681"/>
                        </a:lnTo>
                        <a:lnTo>
                          <a:pt x="1072" y="687"/>
                        </a:lnTo>
                        <a:lnTo>
                          <a:pt x="1082" y="701"/>
                        </a:lnTo>
                        <a:lnTo>
                          <a:pt x="1100" y="703"/>
                        </a:lnTo>
                        <a:lnTo>
                          <a:pt x="1107" y="707"/>
                        </a:lnTo>
                        <a:lnTo>
                          <a:pt x="1114" y="726"/>
                        </a:lnTo>
                        <a:lnTo>
                          <a:pt x="1124" y="730"/>
                        </a:lnTo>
                        <a:lnTo>
                          <a:pt x="1117" y="743"/>
                        </a:lnTo>
                        <a:lnTo>
                          <a:pt x="1115" y="755"/>
                        </a:lnTo>
                        <a:lnTo>
                          <a:pt x="1132" y="763"/>
                        </a:lnTo>
                        <a:lnTo>
                          <a:pt x="1139" y="775"/>
                        </a:lnTo>
                        <a:lnTo>
                          <a:pt x="1128" y="783"/>
                        </a:lnTo>
                        <a:lnTo>
                          <a:pt x="1123" y="794"/>
                        </a:lnTo>
                        <a:lnTo>
                          <a:pt x="1142" y="806"/>
                        </a:lnTo>
                        <a:lnTo>
                          <a:pt x="1134" y="820"/>
                        </a:lnTo>
                        <a:lnTo>
                          <a:pt x="1144" y="825"/>
                        </a:lnTo>
                        <a:lnTo>
                          <a:pt x="1167" y="818"/>
                        </a:lnTo>
                        <a:lnTo>
                          <a:pt x="1178" y="821"/>
                        </a:lnTo>
                        <a:lnTo>
                          <a:pt x="1172" y="846"/>
                        </a:lnTo>
                        <a:lnTo>
                          <a:pt x="1187" y="854"/>
                        </a:lnTo>
                        <a:lnTo>
                          <a:pt x="1195" y="868"/>
                        </a:lnTo>
                        <a:lnTo>
                          <a:pt x="1190" y="884"/>
                        </a:lnTo>
                        <a:lnTo>
                          <a:pt x="1185" y="889"/>
                        </a:lnTo>
                        <a:lnTo>
                          <a:pt x="1187" y="903"/>
                        </a:lnTo>
                        <a:lnTo>
                          <a:pt x="1175" y="918"/>
                        </a:lnTo>
                        <a:lnTo>
                          <a:pt x="1172" y="930"/>
                        </a:lnTo>
                        <a:lnTo>
                          <a:pt x="1162" y="938"/>
                        </a:lnTo>
                        <a:lnTo>
                          <a:pt x="1149" y="964"/>
                        </a:lnTo>
                        <a:lnTo>
                          <a:pt x="1143" y="968"/>
                        </a:lnTo>
                        <a:lnTo>
                          <a:pt x="1144" y="978"/>
                        </a:lnTo>
                        <a:lnTo>
                          <a:pt x="1139" y="996"/>
                        </a:lnTo>
                        <a:lnTo>
                          <a:pt x="1129" y="1003"/>
                        </a:lnTo>
                        <a:lnTo>
                          <a:pt x="1132" y="1010"/>
                        </a:lnTo>
                        <a:lnTo>
                          <a:pt x="1121" y="1016"/>
                        </a:lnTo>
                        <a:close/>
                      </a:path>
                    </a:pathLst>
                  </a:custGeom>
                  <a:solidFill>
                    <a:srgbClr val="D9D9D9"/>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3" name="Prince Edward Island" descr="{&quot;Key&quot;:&quot;prince edward island&quot;,&quot;Name&quot;:&quot;Prince Edward Island&quot;,&quot;Value&quot;:1.0,&quot;Formula&quot;:&quot;&quot;,&quot;Text&quot;:&quot;&quot;,&quot;OfficeApplication&quot;:1,&quot;HasValue&quot;:true}">
                    <a:extLst>
                      <a:ext uri="{FF2B5EF4-FFF2-40B4-BE49-F238E27FC236}">
                        <a16:creationId xmlns:a16="http://schemas.microsoft.com/office/drawing/2014/main" id="{2D6B960E-4EFE-E2A1-4ACD-04D9839B8B48}"/>
                      </a:ext>
                    </a:extLst>
                  </p:cNvPr>
                  <p:cNvSpPr>
                    <a:spLocks/>
                  </p:cNvSpPr>
                  <p:nvPr/>
                </p:nvSpPr>
                <p:spPr bwMode="auto">
                  <a:xfrm>
                    <a:off x="8432195" y="3854418"/>
                    <a:ext cx="126861" cy="52046"/>
                  </a:xfrm>
                  <a:custGeom>
                    <a:avLst/>
                    <a:gdLst>
                      <a:gd name="T0" fmla="*/ 30 w 243"/>
                      <a:gd name="T1" fmla="*/ 26 h 99"/>
                      <a:gd name="T2" fmla="*/ 27 w 243"/>
                      <a:gd name="T3" fmla="*/ 33 h 99"/>
                      <a:gd name="T4" fmla="*/ 59 w 243"/>
                      <a:gd name="T5" fmla="*/ 48 h 99"/>
                      <a:gd name="T6" fmla="*/ 60 w 243"/>
                      <a:gd name="T7" fmla="*/ 62 h 99"/>
                      <a:gd name="T8" fmla="*/ 69 w 243"/>
                      <a:gd name="T9" fmla="*/ 68 h 99"/>
                      <a:gd name="T10" fmla="*/ 78 w 243"/>
                      <a:gd name="T11" fmla="*/ 67 h 99"/>
                      <a:gd name="T12" fmla="*/ 74 w 243"/>
                      <a:gd name="T13" fmla="*/ 51 h 99"/>
                      <a:gd name="T14" fmla="*/ 80 w 243"/>
                      <a:gd name="T15" fmla="*/ 47 h 99"/>
                      <a:gd name="T16" fmla="*/ 113 w 243"/>
                      <a:gd name="T17" fmla="*/ 46 h 99"/>
                      <a:gd name="T18" fmla="*/ 129 w 243"/>
                      <a:gd name="T19" fmla="*/ 51 h 99"/>
                      <a:gd name="T20" fmla="*/ 153 w 243"/>
                      <a:gd name="T21" fmla="*/ 42 h 99"/>
                      <a:gd name="T22" fmla="*/ 190 w 243"/>
                      <a:gd name="T23" fmla="*/ 20 h 99"/>
                      <a:gd name="T24" fmla="*/ 230 w 243"/>
                      <a:gd name="T25" fmla="*/ 3 h 99"/>
                      <a:gd name="T26" fmla="*/ 243 w 243"/>
                      <a:gd name="T27" fmla="*/ 3 h 99"/>
                      <a:gd name="T28" fmla="*/ 230 w 243"/>
                      <a:gd name="T29" fmla="*/ 23 h 99"/>
                      <a:gd name="T30" fmla="*/ 218 w 243"/>
                      <a:gd name="T31" fmla="*/ 30 h 99"/>
                      <a:gd name="T32" fmla="*/ 212 w 243"/>
                      <a:gd name="T33" fmla="*/ 52 h 99"/>
                      <a:gd name="T34" fmla="*/ 198 w 243"/>
                      <a:gd name="T35" fmla="*/ 55 h 99"/>
                      <a:gd name="T36" fmla="*/ 200 w 243"/>
                      <a:gd name="T37" fmla="*/ 63 h 99"/>
                      <a:gd name="T38" fmla="*/ 218 w 243"/>
                      <a:gd name="T39" fmla="*/ 72 h 99"/>
                      <a:gd name="T40" fmla="*/ 212 w 243"/>
                      <a:gd name="T41" fmla="*/ 77 h 99"/>
                      <a:gd name="T42" fmla="*/ 215 w 243"/>
                      <a:gd name="T43" fmla="*/ 89 h 99"/>
                      <a:gd name="T44" fmla="*/ 193 w 243"/>
                      <a:gd name="T45" fmla="*/ 99 h 99"/>
                      <a:gd name="T46" fmla="*/ 174 w 243"/>
                      <a:gd name="T47" fmla="*/ 95 h 99"/>
                      <a:gd name="T48" fmla="*/ 173 w 243"/>
                      <a:gd name="T49" fmla="*/ 86 h 99"/>
                      <a:gd name="T50" fmla="*/ 162 w 243"/>
                      <a:gd name="T51" fmla="*/ 78 h 99"/>
                      <a:gd name="T52" fmla="*/ 149 w 243"/>
                      <a:gd name="T53" fmla="*/ 77 h 99"/>
                      <a:gd name="T54" fmla="*/ 140 w 243"/>
                      <a:gd name="T55" fmla="*/ 91 h 99"/>
                      <a:gd name="T56" fmla="*/ 99 w 243"/>
                      <a:gd name="T57" fmla="*/ 95 h 99"/>
                      <a:gd name="T58" fmla="*/ 79 w 243"/>
                      <a:gd name="T59" fmla="*/ 86 h 99"/>
                      <a:gd name="T60" fmla="*/ 74 w 243"/>
                      <a:gd name="T61" fmla="*/ 80 h 99"/>
                      <a:gd name="T62" fmla="*/ 59 w 243"/>
                      <a:gd name="T63" fmla="*/ 77 h 99"/>
                      <a:gd name="T64" fmla="*/ 42 w 243"/>
                      <a:gd name="T65" fmla="*/ 86 h 99"/>
                      <a:gd name="T66" fmla="*/ 37 w 243"/>
                      <a:gd name="T67" fmla="*/ 67 h 99"/>
                      <a:gd name="T68" fmla="*/ 20 w 243"/>
                      <a:gd name="T69" fmla="*/ 58 h 99"/>
                      <a:gd name="T70" fmla="*/ 7 w 243"/>
                      <a:gd name="T71" fmla="*/ 65 h 99"/>
                      <a:gd name="T72" fmla="*/ 0 w 243"/>
                      <a:gd name="T73" fmla="*/ 58 h 99"/>
                      <a:gd name="T74" fmla="*/ 2 w 243"/>
                      <a:gd name="T75" fmla="*/ 46 h 99"/>
                      <a:gd name="T76" fmla="*/ 8 w 243"/>
                      <a:gd name="T77" fmla="*/ 33 h 99"/>
                      <a:gd name="T78" fmla="*/ 8 w 243"/>
                      <a:gd name="T79" fmla="*/ 22 h 99"/>
                      <a:gd name="T80" fmla="*/ 18 w 243"/>
                      <a:gd name="T81" fmla="*/ 0 h 99"/>
                      <a:gd name="T82" fmla="*/ 32 w 243"/>
                      <a:gd name="T83" fmla="*/ 15 h 99"/>
                      <a:gd name="T84" fmla="*/ 30 w 243"/>
                      <a:gd name="T85" fmla="*/ 2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99">
                        <a:moveTo>
                          <a:pt x="30" y="26"/>
                        </a:moveTo>
                        <a:lnTo>
                          <a:pt x="27" y="33"/>
                        </a:lnTo>
                        <a:lnTo>
                          <a:pt x="59" y="48"/>
                        </a:lnTo>
                        <a:lnTo>
                          <a:pt x="60" y="62"/>
                        </a:lnTo>
                        <a:lnTo>
                          <a:pt x="69" y="68"/>
                        </a:lnTo>
                        <a:lnTo>
                          <a:pt x="78" y="67"/>
                        </a:lnTo>
                        <a:lnTo>
                          <a:pt x="74" y="51"/>
                        </a:lnTo>
                        <a:lnTo>
                          <a:pt x="80" y="47"/>
                        </a:lnTo>
                        <a:lnTo>
                          <a:pt x="113" y="46"/>
                        </a:lnTo>
                        <a:lnTo>
                          <a:pt x="129" y="51"/>
                        </a:lnTo>
                        <a:lnTo>
                          <a:pt x="153" y="42"/>
                        </a:lnTo>
                        <a:lnTo>
                          <a:pt x="190" y="20"/>
                        </a:lnTo>
                        <a:lnTo>
                          <a:pt x="230" y="3"/>
                        </a:lnTo>
                        <a:lnTo>
                          <a:pt x="243" y="3"/>
                        </a:lnTo>
                        <a:lnTo>
                          <a:pt x="230" y="23"/>
                        </a:lnTo>
                        <a:lnTo>
                          <a:pt x="218" y="30"/>
                        </a:lnTo>
                        <a:lnTo>
                          <a:pt x="212" y="52"/>
                        </a:lnTo>
                        <a:lnTo>
                          <a:pt x="198" y="55"/>
                        </a:lnTo>
                        <a:lnTo>
                          <a:pt x="200" y="63"/>
                        </a:lnTo>
                        <a:lnTo>
                          <a:pt x="218" y="72"/>
                        </a:lnTo>
                        <a:lnTo>
                          <a:pt x="212" y="77"/>
                        </a:lnTo>
                        <a:lnTo>
                          <a:pt x="215" y="89"/>
                        </a:lnTo>
                        <a:lnTo>
                          <a:pt x="193" y="99"/>
                        </a:lnTo>
                        <a:lnTo>
                          <a:pt x="174" y="95"/>
                        </a:lnTo>
                        <a:lnTo>
                          <a:pt x="173" y="86"/>
                        </a:lnTo>
                        <a:lnTo>
                          <a:pt x="162" y="78"/>
                        </a:lnTo>
                        <a:lnTo>
                          <a:pt x="149" y="77"/>
                        </a:lnTo>
                        <a:lnTo>
                          <a:pt x="140" y="91"/>
                        </a:lnTo>
                        <a:lnTo>
                          <a:pt x="99" y="95"/>
                        </a:lnTo>
                        <a:lnTo>
                          <a:pt x="79" y="86"/>
                        </a:lnTo>
                        <a:lnTo>
                          <a:pt x="74" y="80"/>
                        </a:lnTo>
                        <a:lnTo>
                          <a:pt x="59" y="77"/>
                        </a:lnTo>
                        <a:lnTo>
                          <a:pt x="42" y="86"/>
                        </a:lnTo>
                        <a:lnTo>
                          <a:pt x="37" y="67"/>
                        </a:lnTo>
                        <a:lnTo>
                          <a:pt x="20" y="58"/>
                        </a:lnTo>
                        <a:lnTo>
                          <a:pt x="7" y="65"/>
                        </a:lnTo>
                        <a:lnTo>
                          <a:pt x="0" y="58"/>
                        </a:lnTo>
                        <a:lnTo>
                          <a:pt x="2" y="46"/>
                        </a:lnTo>
                        <a:lnTo>
                          <a:pt x="8" y="33"/>
                        </a:lnTo>
                        <a:lnTo>
                          <a:pt x="8" y="22"/>
                        </a:lnTo>
                        <a:lnTo>
                          <a:pt x="18" y="0"/>
                        </a:lnTo>
                        <a:lnTo>
                          <a:pt x="32" y="15"/>
                        </a:lnTo>
                        <a:lnTo>
                          <a:pt x="30" y="26"/>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4" name="Massachusetts" descr="{&quot;Key&quot;:&quot;massachusetts&quot;,&quot;Name&quot;:&quot;Massachusetts&quot;,&quot;Value&quot;:1.0,&quot;Formula&quot;:&quot;&quot;,&quot;Text&quot;:&quot;&quot;,&quot;OfficeApplication&quot;:1,&quot;HasValue&quot;:true}">
                    <a:extLst>
                      <a:ext uri="{FF2B5EF4-FFF2-40B4-BE49-F238E27FC236}">
                        <a16:creationId xmlns:a16="http://schemas.microsoft.com/office/drawing/2014/main" id="{C3924BE4-FFD6-A030-8EC0-0BCFFCAE5469}"/>
                      </a:ext>
                    </a:extLst>
                  </p:cNvPr>
                  <p:cNvSpPr>
                    <a:spLocks noEditPoints="1"/>
                  </p:cNvSpPr>
                  <p:nvPr/>
                </p:nvSpPr>
                <p:spPr bwMode="auto">
                  <a:xfrm>
                    <a:off x="8063538" y="4266446"/>
                    <a:ext cx="201677" cy="110597"/>
                  </a:xfrm>
                  <a:custGeom>
                    <a:avLst/>
                    <a:gdLst>
                      <a:gd name="T0" fmla="*/ 329 w 389"/>
                      <a:gd name="T1" fmla="*/ 191 h 212"/>
                      <a:gd name="T2" fmla="*/ 342 w 389"/>
                      <a:gd name="T3" fmla="*/ 204 h 212"/>
                      <a:gd name="T4" fmla="*/ 313 w 389"/>
                      <a:gd name="T5" fmla="*/ 212 h 212"/>
                      <a:gd name="T6" fmla="*/ 322 w 389"/>
                      <a:gd name="T7" fmla="*/ 195 h 212"/>
                      <a:gd name="T8" fmla="*/ 329 w 389"/>
                      <a:gd name="T9" fmla="*/ 191 h 212"/>
                      <a:gd name="T10" fmla="*/ 249 w 389"/>
                      <a:gd name="T11" fmla="*/ 0 h 212"/>
                      <a:gd name="T12" fmla="*/ 256 w 389"/>
                      <a:gd name="T13" fmla="*/ 22 h 212"/>
                      <a:gd name="T14" fmla="*/ 264 w 389"/>
                      <a:gd name="T15" fmla="*/ 30 h 212"/>
                      <a:gd name="T16" fmla="*/ 273 w 389"/>
                      <a:gd name="T17" fmla="*/ 22 h 212"/>
                      <a:gd name="T18" fmla="*/ 278 w 389"/>
                      <a:gd name="T19" fmla="*/ 34 h 212"/>
                      <a:gd name="T20" fmla="*/ 258 w 389"/>
                      <a:gd name="T21" fmla="*/ 47 h 212"/>
                      <a:gd name="T22" fmla="*/ 262 w 389"/>
                      <a:gd name="T23" fmla="*/ 54 h 212"/>
                      <a:gd name="T24" fmla="*/ 252 w 389"/>
                      <a:gd name="T25" fmla="*/ 70 h 212"/>
                      <a:gd name="T26" fmla="*/ 249 w 389"/>
                      <a:gd name="T27" fmla="*/ 86 h 212"/>
                      <a:gd name="T28" fmla="*/ 277 w 389"/>
                      <a:gd name="T29" fmla="*/ 86 h 212"/>
                      <a:gd name="T30" fmla="*/ 299 w 389"/>
                      <a:gd name="T31" fmla="*/ 105 h 212"/>
                      <a:gd name="T32" fmla="*/ 303 w 389"/>
                      <a:gd name="T33" fmla="*/ 125 h 212"/>
                      <a:gd name="T34" fmla="*/ 312 w 389"/>
                      <a:gd name="T35" fmla="*/ 122 h 212"/>
                      <a:gd name="T36" fmla="*/ 322 w 389"/>
                      <a:gd name="T37" fmla="*/ 141 h 212"/>
                      <a:gd name="T38" fmla="*/ 333 w 389"/>
                      <a:gd name="T39" fmla="*/ 146 h 212"/>
                      <a:gd name="T40" fmla="*/ 352 w 389"/>
                      <a:gd name="T41" fmla="*/ 147 h 212"/>
                      <a:gd name="T42" fmla="*/ 371 w 389"/>
                      <a:gd name="T43" fmla="*/ 132 h 212"/>
                      <a:gd name="T44" fmla="*/ 380 w 389"/>
                      <a:gd name="T45" fmla="*/ 117 h 212"/>
                      <a:gd name="T46" fmla="*/ 389 w 389"/>
                      <a:gd name="T47" fmla="*/ 142 h 212"/>
                      <a:gd name="T48" fmla="*/ 339 w 389"/>
                      <a:gd name="T49" fmla="*/ 163 h 212"/>
                      <a:gd name="T50" fmla="*/ 334 w 389"/>
                      <a:gd name="T51" fmla="*/ 175 h 212"/>
                      <a:gd name="T52" fmla="*/ 319 w 389"/>
                      <a:gd name="T53" fmla="*/ 186 h 212"/>
                      <a:gd name="T54" fmla="*/ 312 w 389"/>
                      <a:gd name="T55" fmla="*/ 157 h 212"/>
                      <a:gd name="T56" fmla="*/ 303 w 389"/>
                      <a:gd name="T57" fmla="*/ 171 h 212"/>
                      <a:gd name="T58" fmla="*/ 290 w 389"/>
                      <a:gd name="T59" fmla="*/ 180 h 212"/>
                      <a:gd name="T60" fmla="*/ 290 w 389"/>
                      <a:gd name="T61" fmla="*/ 190 h 212"/>
                      <a:gd name="T62" fmla="*/ 280 w 389"/>
                      <a:gd name="T63" fmla="*/ 198 h 212"/>
                      <a:gd name="T64" fmla="*/ 272 w 389"/>
                      <a:gd name="T65" fmla="*/ 200 h 212"/>
                      <a:gd name="T66" fmla="*/ 264 w 389"/>
                      <a:gd name="T67" fmla="*/ 180 h 212"/>
                      <a:gd name="T68" fmla="*/ 258 w 389"/>
                      <a:gd name="T69" fmla="*/ 180 h 212"/>
                      <a:gd name="T70" fmla="*/ 252 w 389"/>
                      <a:gd name="T71" fmla="*/ 176 h 212"/>
                      <a:gd name="T72" fmla="*/ 238 w 389"/>
                      <a:gd name="T73" fmla="*/ 167 h 212"/>
                      <a:gd name="T74" fmla="*/ 224 w 389"/>
                      <a:gd name="T75" fmla="*/ 137 h 212"/>
                      <a:gd name="T76" fmla="*/ 182 w 389"/>
                      <a:gd name="T77" fmla="*/ 150 h 212"/>
                      <a:gd name="T78" fmla="*/ 169 w 389"/>
                      <a:gd name="T79" fmla="*/ 152 h 212"/>
                      <a:gd name="T80" fmla="*/ 80 w 389"/>
                      <a:gd name="T81" fmla="*/ 174 h 212"/>
                      <a:gd name="T82" fmla="*/ 4 w 389"/>
                      <a:gd name="T83" fmla="*/ 190 h 212"/>
                      <a:gd name="T84" fmla="*/ 0 w 389"/>
                      <a:gd name="T85" fmla="*/ 187 h 212"/>
                      <a:gd name="T86" fmla="*/ 2 w 389"/>
                      <a:gd name="T87" fmla="*/ 87 h 212"/>
                      <a:gd name="T88" fmla="*/ 85 w 389"/>
                      <a:gd name="T89" fmla="*/ 67 h 212"/>
                      <a:gd name="T90" fmla="*/ 205 w 389"/>
                      <a:gd name="T91" fmla="*/ 40 h 212"/>
                      <a:gd name="T92" fmla="*/ 238 w 389"/>
                      <a:gd name="T93" fmla="*/ 2 h 212"/>
                      <a:gd name="T94" fmla="*/ 249 w 389"/>
                      <a:gd name="T95"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9" h="212">
                        <a:moveTo>
                          <a:pt x="329" y="191"/>
                        </a:moveTo>
                        <a:lnTo>
                          <a:pt x="342" y="204"/>
                        </a:lnTo>
                        <a:lnTo>
                          <a:pt x="313" y="212"/>
                        </a:lnTo>
                        <a:lnTo>
                          <a:pt x="322" y="195"/>
                        </a:lnTo>
                        <a:lnTo>
                          <a:pt x="329" y="191"/>
                        </a:lnTo>
                        <a:close/>
                        <a:moveTo>
                          <a:pt x="249" y="0"/>
                        </a:moveTo>
                        <a:lnTo>
                          <a:pt x="256" y="22"/>
                        </a:lnTo>
                        <a:lnTo>
                          <a:pt x="264" y="30"/>
                        </a:lnTo>
                        <a:lnTo>
                          <a:pt x="273" y="22"/>
                        </a:lnTo>
                        <a:lnTo>
                          <a:pt x="278" y="34"/>
                        </a:lnTo>
                        <a:lnTo>
                          <a:pt x="258" y="47"/>
                        </a:lnTo>
                        <a:lnTo>
                          <a:pt x="262" y="54"/>
                        </a:lnTo>
                        <a:lnTo>
                          <a:pt x="252" y="70"/>
                        </a:lnTo>
                        <a:lnTo>
                          <a:pt x="249" y="86"/>
                        </a:lnTo>
                        <a:lnTo>
                          <a:pt x="277" y="86"/>
                        </a:lnTo>
                        <a:lnTo>
                          <a:pt x="299" y="105"/>
                        </a:lnTo>
                        <a:lnTo>
                          <a:pt x="303" y="125"/>
                        </a:lnTo>
                        <a:lnTo>
                          <a:pt x="312" y="122"/>
                        </a:lnTo>
                        <a:lnTo>
                          <a:pt x="322" y="141"/>
                        </a:lnTo>
                        <a:lnTo>
                          <a:pt x="333" y="146"/>
                        </a:lnTo>
                        <a:lnTo>
                          <a:pt x="352" y="147"/>
                        </a:lnTo>
                        <a:lnTo>
                          <a:pt x="371" y="132"/>
                        </a:lnTo>
                        <a:lnTo>
                          <a:pt x="380" y="117"/>
                        </a:lnTo>
                        <a:lnTo>
                          <a:pt x="389" y="142"/>
                        </a:lnTo>
                        <a:lnTo>
                          <a:pt x="339" y="163"/>
                        </a:lnTo>
                        <a:lnTo>
                          <a:pt x="334" y="175"/>
                        </a:lnTo>
                        <a:lnTo>
                          <a:pt x="319" y="186"/>
                        </a:lnTo>
                        <a:lnTo>
                          <a:pt x="312" y="157"/>
                        </a:lnTo>
                        <a:lnTo>
                          <a:pt x="303" y="171"/>
                        </a:lnTo>
                        <a:lnTo>
                          <a:pt x="290" y="180"/>
                        </a:lnTo>
                        <a:lnTo>
                          <a:pt x="290" y="190"/>
                        </a:lnTo>
                        <a:lnTo>
                          <a:pt x="280" y="198"/>
                        </a:lnTo>
                        <a:lnTo>
                          <a:pt x="272" y="200"/>
                        </a:lnTo>
                        <a:lnTo>
                          <a:pt x="264" y="180"/>
                        </a:lnTo>
                        <a:lnTo>
                          <a:pt x="258" y="180"/>
                        </a:lnTo>
                        <a:lnTo>
                          <a:pt x="252" y="176"/>
                        </a:lnTo>
                        <a:lnTo>
                          <a:pt x="238" y="167"/>
                        </a:lnTo>
                        <a:lnTo>
                          <a:pt x="224" y="137"/>
                        </a:lnTo>
                        <a:lnTo>
                          <a:pt x="182" y="150"/>
                        </a:lnTo>
                        <a:lnTo>
                          <a:pt x="169" y="152"/>
                        </a:lnTo>
                        <a:lnTo>
                          <a:pt x="80" y="174"/>
                        </a:lnTo>
                        <a:lnTo>
                          <a:pt x="4" y="190"/>
                        </a:lnTo>
                        <a:lnTo>
                          <a:pt x="0" y="187"/>
                        </a:lnTo>
                        <a:lnTo>
                          <a:pt x="2" y="87"/>
                        </a:lnTo>
                        <a:lnTo>
                          <a:pt x="85" y="67"/>
                        </a:lnTo>
                        <a:lnTo>
                          <a:pt x="205" y="40"/>
                        </a:lnTo>
                        <a:lnTo>
                          <a:pt x="238" y="2"/>
                        </a:lnTo>
                        <a:lnTo>
                          <a:pt x="249" y="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7" name="North Dakota" descr="{&quot;Key&quot;:&quot;north dakota&quot;,&quot;Name&quot;:&quot;North Dakota&quot;,&quot;Value&quot;:1.0,&quot;Formula&quot;:&quot;&quot;,&quot;Text&quot;:&quot;&quot;,&quot;OfficeApplication&quot;:1,&quot;HasValue&quot;:true}">
                    <a:extLst>
                      <a:ext uri="{FF2B5EF4-FFF2-40B4-BE49-F238E27FC236}">
                        <a16:creationId xmlns:a16="http://schemas.microsoft.com/office/drawing/2014/main" id="{C847EC05-9EA7-79E0-D00E-1480E9BAC0B9}"/>
                      </a:ext>
                    </a:extLst>
                  </p:cNvPr>
                  <p:cNvSpPr>
                    <a:spLocks/>
                  </p:cNvSpPr>
                  <p:nvPr/>
                </p:nvSpPr>
                <p:spPr bwMode="auto">
                  <a:xfrm>
                    <a:off x="6325708" y="3970066"/>
                    <a:ext cx="452495" cy="272586"/>
                  </a:xfrm>
                  <a:custGeom>
                    <a:avLst/>
                    <a:gdLst>
                      <a:gd name="T0" fmla="*/ 699 w 761"/>
                      <a:gd name="T1" fmla="*/ 34 h 482"/>
                      <a:gd name="T2" fmla="*/ 699 w 761"/>
                      <a:gd name="T3" fmla="*/ 37 h 482"/>
                      <a:gd name="T4" fmla="*/ 710 w 761"/>
                      <a:gd name="T5" fmla="*/ 84 h 482"/>
                      <a:gd name="T6" fmla="*/ 705 w 761"/>
                      <a:gd name="T7" fmla="*/ 101 h 482"/>
                      <a:gd name="T8" fmla="*/ 708 w 761"/>
                      <a:gd name="T9" fmla="*/ 117 h 482"/>
                      <a:gd name="T10" fmla="*/ 706 w 761"/>
                      <a:gd name="T11" fmla="*/ 155 h 482"/>
                      <a:gd name="T12" fmla="*/ 720 w 761"/>
                      <a:gd name="T13" fmla="*/ 207 h 482"/>
                      <a:gd name="T14" fmla="*/ 729 w 761"/>
                      <a:gd name="T15" fmla="*/ 227 h 482"/>
                      <a:gd name="T16" fmla="*/ 733 w 761"/>
                      <a:gd name="T17" fmla="*/ 256 h 482"/>
                      <a:gd name="T18" fmla="*/ 733 w 761"/>
                      <a:gd name="T19" fmla="*/ 290 h 482"/>
                      <a:gd name="T20" fmla="*/ 735 w 761"/>
                      <a:gd name="T21" fmla="*/ 327 h 482"/>
                      <a:gd name="T22" fmla="*/ 739 w 761"/>
                      <a:gd name="T23" fmla="*/ 346 h 482"/>
                      <a:gd name="T24" fmla="*/ 738 w 761"/>
                      <a:gd name="T25" fmla="*/ 380 h 482"/>
                      <a:gd name="T26" fmla="*/ 741 w 761"/>
                      <a:gd name="T27" fmla="*/ 386 h 482"/>
                      <a:gd name="T28" fmla="*/ 746 w 761"/>
                      <a:gd name="T29" fmla="*/ 411 h 482"/>
                      <a:gd name="T30" fmla="*/ 756 w 761"/>
                      <a:gd name="T31" fmla="*/ 427 h 482"/>
                      <a:gd name="T32" fmla="*/ 761 w 761"/>
                      <a:gd name="T33" fmla="*/ 459 h 482"/>
                      <a:gd name="T34" fmla="*/ 761 w 761"/>
                      <a:gd name="T35" fmla="*/ 482 h 482"/>
                      <a:gd name="T36" fmla="*/ 666 w 761"/>
                      <a:gd name="T37" fmla="*/ 482 h 482"/>
                      <a:gd name="T38" fmla="*/ 571 w 761"/>
                      <a:gd name="T39" fmla="*/ 480 h 482"/>
                      <a:gd name="T40" fmla="*/ 476 w 761"/>
                      <a:gd name="T41" fmla="*/ 476 h 482"/>
                      <a:gd name="T42" fmla="*/ 381 w 761"/>
                      <a:gd name="T43" fmla="*/ 472 h 482"/>
                      <a:gd name="T44" fmla="*/ 287 w 761"/>
                      <a:gd name="T45" fmla="*/ 467 h 482"/>
                      <a:gd name="T46" fmla="*/ 145 w 761"/>
                      <a:gd name="T47" fmla="*/ 459 h 482"/>
                      <a:gd name="T48" fmla="*/ 0 w 761"/>
                      <a:gd name="T49" fmla="*/ 446 h 482"/>
                      <a:gd name="T50" fmla="*/ 39 w 761"/>
                      <a:gd name="T51" fmla="*/ 0 h 482"/>
                      <a:gd name="T52" fmla="*/ 152 w 761"/>
                      <a:gd name="T53" fmla="*/ 9 h 482"/>
                      <a:gd name="T54" fmla="*/ 299 w 761"/>
                      <a:gd name="T55" fmla="*/ 19 h 482"/>
                      <a:gd name="T56" fmla="*/ 450 w 761"/>
                      <a:gd name="T57" fmla="*/ 26 h 482"/>
                      <a:gd name="T58" fmla="*/ 556 w 761"/>
                      <a:gd name="T59" fmla="*/ 30 h 482"/>
                      <a:gd name="T60" fmla="*/ 699 w 761"/>
                      <a:gd name="T61" fmla="*/ 34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1" h="482">
                        <a:moveTo>
                          <a:pt x="699" y="34"/>
                        </a:moveTo>
                        <a:lnTo>
                          <a:pt x="699" y="37"/>
                        </a:lnTo>
                        <a:lnTo>
                          <a:pt x="710" y="84"/>
                        </a:lnTo>
                        <a:lnTo>
                          <a:pt x="705" y="101"/>
                        </a:lnTo>
                        <a:lnTo>
                          <a:pt x="708" y="117"/>
                        </a:lnTo>
                        <a:lnTo>
                          <a:pt x="706" y="155"/>
                        </a:lnTo>
                        <a:lnTo>
                          <a:pt x="720" y="207"/>
                        </a:lnTo>
                        <a:lnTo>
                          <a:pt x="729" y="227"/>
                        </a:lnTo>
                        <a:lnTo>
                          <a:pt x="733" y="256"/>
                        </a:lnTo>
                        <a:lnTo>
                          <a:pt x="733" y="290"/>
                        </a:lnTo>
                        <a:lnTo>
                          <a:pt x="735" y="327"/>
                        </a:lnTo>
                        <a:lnTo>
                          <a:pt x="739" y="346"/>
                        </a:lnTo>
                        <a:lnTo>
                          <a:pt x="738" y="380"/>
                        </a:lnTo>
                        <a:lnTo>
                          <a:pt x="741" y="386"/>
                        </a:lnTo>
                        <a:lnTo>
                          <a:pt x="746" y="411"/>
                        </a:lnTo>
                        <a:lnTo>
                          <a:pt x="756" y="427"/>
                        </a:lnTo>
                        <a:lnTo>
                          <a:pt x="761" y="459"/>
                        </a:lnTo>
                        <a:lnTo>
                          <a:pt x="761" y="482"/>
                        </a:lnTo>
                        <a:lnTo>
                          <a:pt x="666" y="482"/>
                        </a:lnTo>
                        <a:lnTo>
                          <a:pt x="571" y="480"/>
                        </a:lnTo>
                        <a:lnTo>
                          <a:pt x="476" y="476"/>
                        </a:lnTo>
                        <a:lnTo>
                          <a:pt x="381" y="472"/>
                        </a:lnTo>
                        <a:lnTo>
                          <a:pt x="287" y="467"/>
                        </a:lnTo>
                        <a:lnTo>
                          <a:pt x="145" y="459"/>
                        </a:lnTo>
                        <a:lnTo>
                          <a:pt x="0" y="446"/>
                        </a:lnTo>
                        <a:lnTo>
                          <a:pt x="39" y="0"/>
                        </a:lnTo>
                        <a:lnTo>
                          <a:pt x="152" y="9"/>
                        </a:lnTo>
                        <a:lnTo>
                          <a:pt x="299" y="19"/>
                        </a:lnTo>
                        <a:lnTo>
                          <a:pt x="450" y="26"/>
                        </a:lnTo>
                        <a:lnTo>
                          <a:pt x="556" y="30"/>
                        </a:lnTo>
                        <a:lnTo>
                          <a:pt x="699" y="34"/>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8" name="Idaho" descr="{&quot;Key&quot;:&quot;idaho&quot;,&quot;Name&quot;:&quot;Idaho&quot;,&quot;Value&quot;:1.0,&quot;Formula&quot;:&quot;&quot;,&quot;Text&quot;:&quot;&quot;,&quot;OfficeApplication&quot;:1,&quot;HasValue&quot;:true}">
                    <a:extLst>
                      <a:ext uri="{FF2B5EF4-FFF2-40B4-BE49-F238E27FC236}">
                        <a16:creationId xmlns:a16="http://schemas.microsoft.com/office/drawing/2014/main" id="{788D77A5-6966-C6AA-FF93-16C818773038}"/>
                      </a:ext>
                    </a:extLst>
                  </p:cNvPr>
                  <p:cNvSpPr>
                    <a:spLocks/>
                  </p:cNvSpPr>
                  <p:nvPr/>
                </p:nvSpPr>
                <p:spPr bwMode="auto">
                  <a:xfrm>
                    <a:off x="5639079" y="3870683"/>
                    <a:ext cx="361067" cy="585513"/>
                  </a:xfrm>
                  <a:custGeom>
                    <a:avLst/>
                    <a:gdLst>
                      <a:gd name="T0" fmla="*/ 294 w 693"/>
                      <a:gd name="T1" fmla="*/ 164 h 1124"/>
                      <a:gd name="T2" fmla="*/ 309 w 693"/>
                      <a:gd name="T3" fmla="*/ 200 h 1124"/>
                      <a:gd name="T4" fmla="*/ 318 w 693"/>
                      <a:gd name="T5" fmla="*/ 229 h 1124"/>
                      <a:gd name="T6" fmla="*/ 318 w 693"/>
                      <a:gd name="T7" fmla="*/ 246 h 1124"/>
                      <a:gd name="T8" fmla="*/ 320 w 693"/>
                      <a:gd name="T9" fmla="*/ 261 h 1124"/>
                      <a:gd name="T10" fmla="*/ 340 w 693"/>
                      <a:gd name="T11" fmla="*/ 284 h 1124"/>
                      <a:gd name="T12" fmla="*/ 370 w 693"/>
                      <a:gd name="T13" fmla="*/ 344 h 1124"/>
                      <a:gd name="T14" fmla="*/ 394 w 693"/>
                      <a:gd name="T15" fmla="*/ 377 h 1124"/>
                      <a:gd name="T16" fmla="*/ 418 w 693"/>
                      <a:gd name="T17" fmla="*/ 389 h 1124"/>
                      <a:gd name="T18" fmla="*/ 415 w 693"/>
                      <a:gd name="T19" fmla="*/ 411 h 1124"/>
                      <a:gd name="T20" fmla="*/ 396 w 693"/>
                      <a:gd name="T21" fmla="*/ 457 h 1124"/>
                      <a:gd name="T22" fmla="*/ 393 w 693"/>
                      <a:gd name="T23" fmla="*/ 487 h 1124"/>
                      <a:gd name="T24" fmla="*/ 373 w 693"/>
                      <a:gd name="T25" fmla="*/ 514 h 1124"/>
                      <a:gd name="T26" fmla="*/ 368 w 693"/>
                      <a:gd name="T27" fmla="*/ 544 h 1124"/>
                      <a:gd name="T28" fmla="*/ 386 w 693"/>
                      <a:gd name="T29" fmla="*/ 561 h 1124"/>
                      <a:gd name="T30" fmla="*/ 429 w 693"/>
                      <a:gd name="T31" fmla="*/ 538 h 1124"/>
                      <a:gd name="T32" fmla="*/ 443 w 693"/>
                      <a:gd name="T33" fmla="*/ 598 h 1124"/>
                      <a:gd name="T34" fmla="*/ 463 w 693"/>
                      <a:gd name="T35" fmla="*/ 648 h 1124"/>
                      <a:gd name="T36" fmla="*/ 468 w 693"/>
                      <a:gd name="T37" fmla="*/ 680 h 1124"/>
                      <a:gd name="T38" fmla="*/ 493 w 693"/>
                      <a:gd name="T39" fmla="*/ 706 h 1124"/>
                      <a:gd name="T40" fmla="*/ 499 w 693"/>
                      <a:gd name="T41" fmla="*/ 741 h 1124"/>
                      <a:gd name="T42" fmla="*/ 526 w 693"/>
                      <a:gd name="T43" fmla="*/ 733 h 1124"/>
                      <a:gd name="T44" fmla="*/ 564 w 693"/>
                      <a:gd name="T45" fmla="*/ 736 h 1124"/>
                      <a:gd name="T46" fmla="*/ 588 w 693"/>
                      <a:gd name="T47" fmla="*/ 740 h 1124"/>
                      <a:gd name="T48" fmla="*/ 616 w 693"/>
                      <a:gd name="T49" fmla="*/ 747 h 1124"/>
                      <a:gd name="T50" fmla="*/ 648 w 693"/>
                      <a:gd name="T51" fmla="*/ 750 h 1124"/>
                      <a:gd name="T52" fmla="*/ 673 w 693"/>
                      <a:gd name="T53" fmla="*/ 726 h 1124"/>
                      <a:gd name="T54" fmla="*/ 693 w 693"/>
                      <a:gd name="T55" fmla="*/ 765 h 1124"/>
                      <a:gd name="T56" fmla="*/ 494 w 693"/>
                      <a:gd name="T57" fmla="*/ 1100 h 1124"/>
                      <a:gd name="T58" fmla="*/ 315 w 693"/>
                      <a:gd name="T59" fmla="*/ 1065 h 1124"/>
                      <a:gd name="T60" fmla="*/ 138 w 693"/>
                      <a:gd name="T61" fmla="*/ 1027 h 1124"/>
                      <a:gd name="T62" fmla="*/ 60 w 693"/>
                      <a:gd name="T63" fmla="*/ 744 h 1124"/>
                      <a:gd name="T64" fmla="*/ 75 w 693"/>
                      <a:gd name="T65" fmla="*/ 702 h 1124"/>
                      <a:gd name="T66" fmla="*/ 79 w 693"/>
                      <a:gd name="T67" fmla="*/ 675 h 1124"/>
                      <a:gd name="T68" fmla="*/ 64 w 693"/>
                      <a:gd name="T69" fmla="*/ 640 h 1124"/>
                      <a:gd name="T70" fmla="*/ 93 w 693"/>
                      <a:gd name="T71" fmla="*/ 606 h 1124"/>
                      <a:gd name="T72" fmla="*/ 116 w 693"/>
                      <a:gd name="T73" fmla="*/ 586 h 1124"/>
                      <a:gd name="T74" fmla="*/ 135 w 693"/>
                      <a:gd name="T75" fmla="*/ 556 h 1124"/>
                      <a:gd name="T76" fmla="*/ 175 w 693"/>
                      <a:gd name="T77" fmla="*/ 501 h 1124"/>
                      <a:gd name="T78" fmla="*/ 174 w 693"/>
                      <a:gd name="T79" fmla="*/ 475 h 1124"/>
                      <a:gd name="T80" fmla="*/ 149 w 693"/>
                      <a:gd name="T81" fmla="*/ 445 h 1124"/>
                      <a:gd name="T82" fmla="*/ 143 w 693"/>
                      <a:gd name="T83" fmla="*/ 415 h 1124"/>
                      <a:gd name="T84" fmla="*/ 144 w 693"/>
                      <a:gd name="T85" fmla="*/ 376 h 1124"/>
                      <a:gd name="T86" fmla="*/ 211 w 693"/>
                      <a:gd name="T87" fmla="*/ 90 h 1124"/>
                      <a:gd name="T88" fmla="*/ 326 w 693"/>
                      <a:gd name="T89" fmla="*/ 21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3" h="1124">
                        <a:moveTo>
                          <a:pt x="326" y="21"/>
                        </a:moveTo>
                        <a:lnTo>
                          <a:pt x="294" y="164"/>
                        </a:lnTo>
                        <a:lnTo>
                          <a:pt x="308" y="190"/>
                        </a:lnTo>
                        <a:lnTo>
                          <a:pt x="309" y="200"/>
                        </a:lnTo>
                        <a:lnTo>
                          <a:pt x="316" y="214"/>
                        </a:lnTo>
                        <a:lnTo>
                          <a:pt x="318" y="229"/>
                        </a:lnTo>
                        <a:lnTo>
                          <a:pt x="310" y="234"/>
                        </a:lnTo>
                        <a:lnTo>
                          <a:pt x="318" y="246"/>
                        </a:lnTo>
                        <a:lnTo>
                          <a:pt x="309" y="252"/>
                        </a:lnTo>
                        <a:lnTo>
                          <a:pt x="320" y="261"/>
                        </a:lnTo>
                        <a:lnTo>
                          <a:pt x="325" y="274"/>
                        </a:lnTo>
                        <a:lnTo>
                          <a:pt x="340" y="284"/>
                        </a:lnTo>
                        <a:lnTo>
                          <a:pt x="344" y="296"/>
                        </a:lnTo>
                        <a:lnTo>
                          <a:pt x="370" y="344"/>
                        </a:lnTo>
                        <a:lnTo>
                          <a:pt x="369" y="355"/>
                        </a:lnTo>
                        <a:lnTo>
                          <a:pt x="394" y="377"/>
                        </a:lnTo>
                        <a:lnTo>
                          <a:pt x="396" y="390"/>
                        </a:lnTo>
                        <a:lnTo>
                          <a:pt x="418" y="389"/>
                        </a:lnTo>
                        <a:lnTo>
                          <a:pt x="420" y="396"/>
                        </a:lnTo>
                        <a:lnTo>
                          <a:pt x="415" y="411"/>
                        </a:lnTo>
                        <a:lnTo>
                          <a:pt x="396" y="446"/>
                        </a:lnTo>
                        <a:lnTo>
                          <a:pt x="396" y="457"/>
                        </a:lnTo>
                        <a:lnTo>
                          <a:pt x="388" y="476"/>
                        </a:lnTo>
                        <a:lnTo>
                          <a:pt x="393" y="487"/>
                        </a:lnTo>
                        <a:lnTo>
                          <a:pt x="393" y="501"/>
                        </a:lnTo>
                        <a:lnTo>
                          <a:pt x="373" y="514"/>
                        </a:lnTo>
                        <a:lnTo>
                          <a:pt x="376" y="526"/>
                        </a:lnTo>
                        <a:lnTo>
                          <a:pt x="368" y="544"/>
                        </a:lnTo>
                        <a:lnTo>
                          <a:pt x="376" y="547"/>
                        </a:lnTo>
                        <a:lnTo>
                          <a:pt x="386" y="561"/>
                        </a:lnTo>
                        <a:lnTo>
                          <a:pt x="410" y="553"/>
                        </a:lnTo>
                        <a:lnTo>
                          <a:pt x="429" y="538"/>
                        </a:lnTo>
                        <a:lnTo>
                          <a:pt x="443" y="557"/>
                        </a:lnTo>
                        <a:lnTo>
                          <a:pt x="443" y="598"/>
                        </a:lnTo>
                        <a:lnTo>
                          <a:pt x="458" y="628"/>
                        </a:lnTo>
                        <a:lnTo>
                          <a:pt x="463" y="648"/>
                        </a:lnTo>
                        <a:lnTo>
                          <a:pt x="456" y="657"/>
                        </a:lnTo>
                        <a:lnTo>
                          <a:pt x="468" y="680"/>
                        </a:lnTo>
                        <a:lnTo>
                          <a:pt x="483" y="681"/>
                        </a:lnTo>
                        <a:lnTo>
                          <a:pt x="493" y="706"/>
                        </a:lnTo>
                        <a:lnTo>
                          <a:pt x="493" y="733"/>
                        </a:lnTo>
                        <a:lnTo>
                          <a:pt x="499" y="741"/>
                        </a:lnTo>
                        <a:lnTo>
                          <a:pt x="509" y="742"/>
                        </a:lnTo>
                        <a:lnTo>
                          <a:pt x="526" y="733"/>
                        </a:lnTo>
                        <a:lnTo>
                          <a:pt x="557" y="745"/>
                        </a:lnTo>
                        <a:lnTo>
                          <a:pt x="564" y="736"/>
                        </a:lnTo>
                        <a:lnTo>
                          <a:pt x="573" y="733"/>
                        </a:lnTo>
                        <a:lnTo>
                          <a:pt x="588" y="740"/>
                        </a:lnTo>
                        <a:lnTo>
                          <a:pt x="610" y="741"/>
                        </a:lnTo>
                        <a:lnTo>
                          <a:pt x="616" y="747"/>
                        </a:lnTo>
                        <a:lnTo>
                          <a:pt x="630" y="743"/>
                        </a:lnTo>
                        <a:lnTo>
                          <a:pt x="648" y="750"/>
                        </a:lnTo>
                        <a:lnTo>
                          <a:pt x="657" y="725"/>
                        </a:lnTo>
                        <a:lnTo>
                          <a:pt x="673" y="726"/>
                        </a:lnTo>
                        <a:lnTo>
                          <a:pt x="679" y="747"/>
                        </a:lnTo>
                        <a:lnTo>
                          <a:pt x="693" y="765"/>
                        </a:lnTo>
                        <a:lnTo>
                          <a:pt x="633" y="1124"/>
                        </a:lnTo>
                        <a:lnTo>
                          <a:pt x="494" y="1100"/>
                        </a:lnTo>
                        <a:lnTo>
                          <a:pt x="394" y="1081"/>
                        </a:lnTo>
                        <a:lnTo>
                          <a:pt x="315" y="1065"/>
                        </a:lnTo>
                        <a:lnTo>
                          <a:pt x="196" y="1041"/>
                        </a:lnTo>
                        <a:lnTo>
                          <a:pt x="138" y="1027"/>
                        </a:lnTo>
                        <a:lnTo>
                          <a:pt x="0" y="996"/>
                        </a:lnTo>
                        <a:lnTo>
                          <a:pt x="60" y="744"/>
                        </a:lnTo>
                        <a:lnTo>
                          <a:pt x="76" y="711"/>
                        </a:lnTo>
                        <a:lnTo>
                          <a:pt x="75" y="702"/>
                        </a:lnTo>
                        <a:lnTo>
                          <a:pt x="85" y="690"/>
                        </a:lnTo>
                        <a:lnTo>
                          <a:pt x="79" y="675"/>
                        </a:lnTo>
                        <a:lnTo>
                          <a:pt x="59" y="666"/>
                        </a:lnTo>
                        <a:lnTo>
                          <a:pt x="64" y="640"/>
                        </a:lnTo>
                        <a:lnTo>
                          <a:pt x="76" y="628"/>
                        </a:lnTo>
                        <a:lnTo>
                          <a:pt x="93" y="606"/>
                        </a:lnTo>
                        <a:lnTo>
                          <a:pt x="104" y="601"/>
                        </a:lnTo>
                        <a:lnTo>
                          <a:pt x="116" y="586"/>
                        </a:lnTo>
                        <a:lnTo>
                          <a:pt x="121" y="570"/>
                        </a:lnTo>
                        <a:lnTo>
                          <a:pt x="135" y="556"/>
                        </a:lnTo>
                        <a:lnTo>
                          <a:pt x="149" y="530"/>
                        </a:lnTo>
                        <a:lnTo>
                          <a:pt x="175" y="501"/>
                        </a:lnTo>
                        <a:lnTo>
                          <a:pt x="178" y="492"/>
                        </a:lnTo>
                        <a:lnTo>
                          <a:pt x="174" y="475"/>
                        </a:lnTo>
                        <a:lnTo>
                          <a:pt x="154" y="457"/>
                        </a:lnTo>
                        <a:lnTo>
                          <a:pt x="149" y="445"/>
                        </a:lnTo>
                        <a:lnTo>
                          <a:pt x="148" y="431"/>
                        </a:lnTo>
                        <a:lnTo>
                          <a:pt x="143" y="415"/>
                        </a:lnTo>
                        <a:lnTo>
                          <a:pt x="151" y="405"/>
                        </a:lnTo>
                        <a:lnTo>
                          <a:pt x="144" y="376"/>
                        </a:lnTo>
                        <a:lnTo>
                          <a:pt x="200" y="133"/>
                        </a:lnTo>
                        <a:lnTo>
                          <a:pt x="211" y="90"/>
                        </a:lnTo>
                        <a:lnTo>
                          <a:pt x="232" y="0"/>
                        </a:lnTo>
                        <a:lnTo>
                          <a:pt x="326" y="21"/>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09" name="Washington" descr="{&quot;Key&quot;:&quot;washington&quot;,&quot;Name&quot;:&quot;Washington&quot;,&quot;Value&quot;:1.0,&quot;Formula&quot;:&quot;&quot;,&quot;Text&quot;:&quot;&quot;,&quot;OfficeApplication&quot;:1,&quot;HasValue&quot;:true}">
                    <a:extLst>
                      <a:ext uri="{FF2B5EF4-FFF2-40B4-BE49-F238E27FC236}">
                        <a16:creationId xmlns:a16="http://schemas.microsoft.com/office/drawing/2014/main" id="{727E6DF2-6795-7B74-59C8-B32CFA673263}"/>
                      </a:ext>
                    </a:extLst>
                  </p:cNvPr>
                  <p:cNvSpPr>
                    <a:spLocks noEditPoints="1"/>
                  </p:cNvSpPr>
                  <p:nvPr/>
                </p:nvSpPr>
                <p:spPr bwMode="auto">
                  <a:xfrm>
                    <a:off x="5358249" y="3795867"/>
                    <a:ext cx="402269" cy="299262"/>
                  </a:xfrm>
                  <a:custGeom>
                    <a:avLst/>
                    <a:gdLst>
                      <a:gd name="T0" fmla="*/ 217 w 774"/>
                      <a:gd name="T1" fmla="*/ 144 h 576"/>
                      <a:gd name="T2" fmla="*/ 222 w 774"/>
                      <a:gd name="T3" fmla="*/ 161 h 576"/>
                      <a:gd name="T4" fmla="*/ 217 w 774"/>
                      <a:gd name="T5" fmla="*/ 126 h 576"/>
                      <a:gd name="T6" fmla="*/ 222 w 774"/>
                      <a:gd name="T7" fmla="*/ 88 h 576"/>
                      <a:gd name="T8" fmla="*/ 184 w 774"/>
                      <a:gd name="T9" fmla="*/ 62 h 576"/>
                      <a:gd name="T10" fmla="*/ 196 w 774"/>
                      <a:gd name="T11" fmla="*/ 61 h 576"/>
                      <a:gd name="T12" fmla="*/ 212 w 774"/>
                      <a:gd name="T13" fmla="*/ 52 h 576"/>
                      <a:gd name="T14" fmla="*/ 217 w 774"/>
                      <a:gd name="T15" fmla="*/ 37 h 576"/>
                      <a:gd name="T16" fmla="*/ 474 w 774"/>
                      <a:gd name="T17" fmla="*/ 69 h 576"/>
                      <a:gd name="T18" fmla="*/ 774 w 774"/>
                      <a:gd name="T19" fmla="*/ 145 h 576"/>
                      <a:gd name="T20" fmla="*/ 685 w 774"/>
                      <a:gd name="T21" fmla="*/ 521 h 576"/>
                      <a:gd name="T22" fmla="*/ 689 w 774"/>
                      <a:gd name="T23" fmla="*/ 576 h 576"/>
                      <a:gd name="T24" fmla="*/ 469 w 774"/>
                      <a:gd name="T25" fmla="*/ 530 h 576"/>
                      <a:gd name="T26" fmla="*/ 410 w 774"/>
                      <a:gd name="T27" fmla="*/ 526 h 576"/>
                      <a:gd name="T28" fmla="*/ 349 w 774"/>
                      <a:gd name="T29" fmla="*/ 530 h 576"/>
                      <a:gd name="T30" fmla="*/ 279 w 774"/>
                      <a:gd name="T31" fmla="*/ 525 h 576"/>
                      <a:gd name="T32" fmla="*/ 245 w 774"/>
                      <a:gd name="T33" fmla="*/ 505 h 576"/>
                      <a:gd name="T34" fmla="*/ 173 w 774"/>
                      <a:gd name="T35" fmla="*/ 495 h 576"/>
                      <a:gd name="T36" fmla="*/ 103 w 774"/>
                      <a:gd name="T37" fmla="*/ 476 h 576"/>
                      <a:gd name="T38" fmla="*/ 101 w 774"/>
                      <a:gd name="T39" fmla="*/ 402 h 576"/>
                      <a:gd name="T40" fmla="*/ 65 w 774"/>
                      <a:gd name="T41" fmla="*/ 384 h 576"/>
                      <a:gd name="T42" fmla="*/ 33 w 774"/>
                      <a:gd name="T43" fmla="*/ 351 h 576"/>
                      <a:gd name="T44" fmla="*/ 20 w 774"/>
                      <a:gd name="T45" fmla="*/ 325 h 576"/>
                      <a:gd name="T46" fmla="*/ 17 w 774"/>
                      <a:gd name="T47" fmla="*/ 267 h 576"/>
                      <a:gd name="T48" fmla="*/ 33 w 774"/>
                      <a:gd name="T49" fmla="*/ 246 h 576"/>
                      <a:gd name="T50" fmla="*/ 25 w 774"/>
                      <a:gd name="T51" fmla="*/ 206 h 576"/>
                      <a:gd name="T52" fmla="*/ 28 w 774"/>
                      <a:gd name="T53" fmla="*/ 127 h 576"/>
                      <a:gd name="T54" fmla="*/ 20 w 774"/>
                      <a:gd name="T55" fmla="*/ 69 h 576"/>
                      <a:gd name="T56" fmla="*/ 42 w 774"/>
                      <a:gd name="T57" fmla="*/ 35 h 576"/>
                      <a:gd name="T58" fmla="*/ 82 w 774"/>
                      <a:gd name="T59" fmla="*/ 77 h 576"/>
                      <a:gd name="T60" fmla="*/ 155 w 774"/>
                      <a:gd name="T61" fmla="*/ 110 h 576"/>
                      <a:gd name="T62" fmla="*/ 198 w 774"/>
                      <a:gd name="T63" fmla="*/ 120 h 576"/>
                      <a:gd name="T64" fmla="*/ 200 w 774"/>
                      <a:gd name="T65" fmla="*/ 161 h 576"/>
                      <a:gd name="T66" fmla="*/ 161 w 774"/>
                      <a:gd name="T67" fmla="*/ 191 h 576"/>
                      <a:gd name="T68" fmla="*/ 208 w 774"/>
                      <a:gd name="T69" fmla="*/ 159 h 576"/>
                      <a:gd name="T70" fmla="*/ 196 w 774"/>
                      <a:gd name="T71" fmla="*/ 187 h 576"/>
                      <a:gd name="T72" fmla="*/ 185 w 774"/>
                      <a:gd name="T73" fmla="*/ 239 h 576"/>
                      <a:gd name="T74" fmla="*/ 158 w 774"/>
                      <a:gd name="T75" fmla="*/ 234 h 576"/>
                      <a:gd name="T76" fmla="*/ 146 w 774"/>
                      <a:gd name="T77" fmla="*/ 259 h 576"/>
                      <a:gd name="T78" fmla="*/ 181 w 774"/>
                      <a:gd name="T79" fmla="*/ 257 h 576"/>
                      <a:gd name="T80" fmla="*/ 211 w 774"/>
                      <a:gd name="T81" fmla="*/ 241 h 576"/>
                      <a:gd name="T82" fmla="*/ 220 w 774"/>
                      <a:gd name="T83" fmla="*/ 181 h 576"/>
                      <a:gd name="T84" fmla="*/ 238 w 774"/>
                      <a:gd name="T85" fmla="*/ 135 h 576"/>
                      <a:gd name="T86" fmla="*/ 243 w 774"/>
                      <a:gd name="T87" fmla="*/ 74 h 576"/>
                      <a:gd name="T88" fmla="*/ 238 w 774"/>
                      <a:gd name="T89" fmla="*/ 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4" h="576">
                        <a:moveTo>
                          <a:pt x="229" y="90"/>
                        </a:moveTo>
                        <a:lnTo>
                          <a:pt x="221" y="116"/>
                        </a:lnTo>
                        <a:lnTo>
                          <a:pt x="217" y="144"/>
                        </a:lnTo>
                        <a:lnTo>
                          <a:pt x="227" y="141"/>
                        </a:lnTo>
                        <a:lnTo>
                          <a:pt x="234" y="159"/>
                        </a:lnTo>
                        <a:lnTo>
                          <a:pt x="222" y="161"/>
                        </a:lnTo>
                        <a:lnTo>
                          <a:pt x="216" y="151"/>
                        </a:lnTo>
                        <a:lnTo>
                          <a:pt x="214" y="134"/>
                        </a:lnTo>
                        <a:lnTo>
                          <a:pt x="217" y="126"/>
                        </a:lnTo>
                        <a:lnTo>
                          <a:pt x="206" y="112"/>
                        </a:lnTo>
                        <a:lnTo>
                          <a:pt x="207" y="105"/>
                        </a:lnTo>
                        <a:lnTo>
                          <a:pt x="222" y="88"/>
                        </a:lnTo>
                        <a:lnTo>
                          <a:pt x="229" y="90"/>
                        </a:lnTo>
                        <a:close/>
                        <a:moveTo>
                          <a:pt x="196" y="61"/>
                        </a:moveTo>
                        <a:lnTo>
                          <a:pt x="184" y="62"/>
                        </a:lnTo>
                        <a:lnTo>
                          <a:pt x="182" y="44"/>
                        </a:lnTo>
                        <a:lnTo>
                          <a:pt x="189" y="42"/>
                        </a:lnTo>
                        <a:lnTo>
                          <a:pt x="196" y="61"/>
                        </a:lnTo>
                        <a:close/>
                        <a:moveTo>
                          <a:pt x="217" y="37"/>
                        </a:moveTo>
                        <a:lnTo>
                          <a:pt x="226" y="47"/>
                        </a:lnTo>
                        <a:lnTo>
                          <a:pt x="212" y="52"/>
                        </a:lnTo>
                        <a:lnTo>
                          <a:pt x="198" y="44"/>
                        </a:lnTo>
                        <a:lnTo>
                          <a:pt x="211" y="36"/>
                        </a:lnTo>
                        <a:lnTo>
                          <a:pt x="217" y="37"/>
                        </a:lnTo>
                        <a:close/>
                        <a:moveTo>
                          <a:pt x="240" y="0"/>
                        </a:moveTo>
                        <a:lnTo>
                          <a:pt x="371" y="40"/>
                        </a:lnTo>
                        <a:lnTo>
                          <a:pt x="474" y="69"/>
                        </a:lnTo>
                        <a:lnTo>
                          <a:pt x="576" y="95"/>
                        </a:lnTo>
                        <a:lnTo>
                          <a:pt x="659" y="116"/>
                        </a:lnTo>
                        <a:lnTo>
                          <a:pt x="774" y="145"/>
                        </a:lnTo>
                        <a:lnTo>
                          <a:pt x="752" y="235"/>
                        </a:lnTo>
                        <a:lnTo>
                          <a:pt x="741" y="279"/>
                        </a:lnTo>
                        <a:lnTo>
                          <a:pt x="685" y="521"/>
                        </a:lnTo>
                        <a:lnTo>
                          <a:pt x="692" y="550"/>
                        </a:lnTo>
                        <a:lnTo>
                          <a:pt x="684" y="560"/>
                        </a:lnTo>
                        <a:lnTo>
                          <a:pt x="689" y="576"/>
                        </a:lnTo>
                        <a:lnTo>
                          <a:pt x="625" y="561"/>
                        </a:lnTo>
                        <a:lnTo>
                          <a:pt x="479" y="525"/>
                        </a:lnTo>
                        <a:lnTo>
                          <a:pt x="469" y="530"/>
                        </a:lnTo>
                        <a:lnTo>
                          <a:pt x="444" y="524"/>
                        </a:lnTo>
                        <a:lnTo>
                          <a:pt x="419" y="521"/>
                        </a:lnTo>
                        <a:lnTo>
                          <a:pt x="410" y="526"/>
                        </a:lnTo>
                        <a:lnTo>
                          <a:pt x="381" y="524"/>
                        </a:lnTo>
                        <a:lnTo>
                          <a:pt x="360" y="525"/>
                        </a:lnTo>
                        <a:lnTo>
                          <a:pt x="349" y="530"/>
                        </a:lnTo>
                        <a:lnTo>
                          <a:pt x="324" y="527"/>
                        </a:lnTo>
                        <a:lnTo>
                          <a:pt x="310" y="520"/>
                        </a:lnTo>
                        <a:lnTo>
                          <a:pt x="279" y="525"/>
                        </a:lnTo>
                        <a:lnTo>
                          <a:pt x="265" y="520"/>
                        </a:lnTo>
                        <a:lnTo>
                          <a:pt x="255" y="521"/>
                        </a:lnTo>
                        <a:lnTo>
                          <a:pt x="245" y="505"/>
                        </a:lnTo>
                        <a:lnTo>
                          <a:pt x="216" y="494"/>
                        </a:lnTo>
                        <a:lnTo>
                          <a:pt x="193" y="489"/>
                        </a:lnTo>
                        <a:lnTo>
                          <a:pt x="173" y="495"/>
                        </a:lnTo>
                        <a:lnTo>
                          <a:pt x="141" y="497"/>
                        </a:lnTo>
                        <a:lnTo>
                          <a:pt x="116" y="481"/>
                        </a:lnTo>
                        <a:lnTo>
                          <a:pt x="103" y="476"/>
                        </a:lnTo>
                        <a:lnTo>
                          <a:pt x="98" y="470"/>
                        </a:lnTo>
                        <a:lnTo>
                          <a:pt x="106" y="424"/>
                        </a:lnTo>
                        <a:lnTo>
                          <a:pt x="101" y="402"/>
                        </a:lnTo>
                        <a:lnTo>
                          <a:pt x="85" y="385"/>
                        </a:lnTo>
                        <a:lnTo>
                          <a:pt x="77" y="384"/>
                        </a:lnTo>
                        <a:lnTo>
                          <a:pt x="65" y="384"/>
                        </a:lnTo>
                        <a:lnTo>
                          <a:pt x="54" y="361"/>
                        </a:lnTo>
                        <a:lnTo>
                          <a:pt x="41" y="360"/>
                        </a:lnTo>
                        <a:lnTo>
                          <a:pt x="33" y="351"/>
                        </a:lnTo>
                        <a:lnTo>
                          <a:pt x="8" y="351"/>
                        </a:lnTo>
                        <a:lnTo>
                          <a:pt x="0" y="332"/>
                        </a:lnTo>
                        <a:lnTo>
                          <a:pt x="20" y="325"/>
                        </a:lnTo>
                        <a:lnTo>
                          <a:pt x="31" y="285"/>
                        </a:lnTo>
                        <a:lnTo>
                          <a:pt x="15" y="277"/>
                        </a:lnTo>
                        <a:lnTo>
                          <a:pt x="17" y="267"/>
                        </a:lnTo>
                        <a:lnTo>
                          <a:pt x="26" y="259"/>
                        </a:lnTo>
                        <a:lnTo>
                          <a:pt x="43" y="256"/>
                        </a:lnTo>
                        <a:lnTo>
                          <a:pt x="33" y="246"/>
                        </a:lnTo>
                        <a:lnTo>
                          <a:pt x="33" y="240"/>
                        </a:lnTo>
                        <a:lnTo>
                          <a:pt x="21" y="234"/>
                        </a:lnTo>
                        <a:lnTo>
                          <a:pt x="25" y="206"/>
                        </a:lnTo>
                        <a:lnTo>
                          <a:pt x="21" y="185"/>
                        </a:lnTo>
                        <a:lnTo>
                          <a:pt x="26" y="157"/>
                        </a:lnTo>
                        <a:lnTo>
                          <a:pt x="28" y="127"/>
                        </a:lnTo>
                        <a:lnTo>
                          <a:pt x="26" y="116"/>
                        </a:lnTo>
                        <a:lnTo>
                          <a:pt x="16" y="97"/>
                        </a:lnTo>
                        <a:lnTo>
                          <a:pt x="20" y="69"/>
                        </a:lnTo>
                        <a:lnTo>
                          <a:pt x="18" y="59"/>
                        </a:lnTo>
                        <a:lnTo>
                          <a:pt x="32" y="40"/>
                        </a:lnTo>
                        <a:lnTo>
                          <a:pt x="42" y="35"/>
                        </a:lnTo>
                        <a:lnTo>
                          <a:pt x="56" y="51"/>
                        </a:lnTo>
                        <a:lnTo>
                          <a:pt x="70" y="61"/>
                        </a:lnTo>
                        <a:lnTo>
                          <a:pt x="82" y="77"/>
                        </a:lnTo>
                        <a:lnTo>
                          <a:pt x="115" y="90"/>
                        </a:lnTo>
                        <a:lnTo>
                          <a:pt x="125" y="97"/>
                        </a:lnTo>
                        <a:lnTo>
                          <a:pt x="155" y="110"/>
                        </a:lnTo>
                        <a:lnTo>
                          <a:pt x="170" y="110"/>
                        </a:lnTo>
                        <a:lnTo>
                          <a:pt x="177" y="121"/>
                        </a:lnTo>
                        <a:lnTo>
                          <a:pt x="198" y="120"/>
                        </a:lnTo>
                        <a:lnTo>
                          <a:pt x="197" y="127"/>
                        </a:lnTo>
                        <a:lnTo>
                          <a:pt x="201" y="152"/>
                        </a:lnTo>
                        <a:lnTo>
                          <a:pt x="200" y="161"/>
                        </a:lnTo>
                        <a:lnTo>
                          <a:pt x="190" y="170"/>
                        </a:lnTo>
                        <a:lnTo>
                          <a:pt x="180" y="169"/>
                        </a:lnTo>
                        <a:lnTo>
                          <a:pt x="161" y="191"/>
                        </a:lnTo>
                        <a:lnTo>
                          <a:pt x="182" y="187"/>
                        </a:lnTo>
                        <a:lnTo>
                          <a:pt x="187" y="177"/>
                        </a:lnTo>
                        <a:lnTo>
                          <a:pt x="208" y="159"/>
                        </a:lnTo>
                        <a:lnTo>
                          <a:pt x="213" y="160"/>
                        </a:lnTo>
                        <a:lnTo>
                          <a:pt x="213" y="182"/>
                        </a:lnTo>
                        <a:lnTo>
                          <a:pt x="196" y="187"/>
                        </a:lnTo>
                        <a:lnTo>
                          <a:pt x="195" y="202"/>
                        </a:lnTo>
                        <a:lnTo>
                          <a:pt x="200" y="215"/>
                        </a:lnTo>
                        <a:lnTo>
                          <a:pt x="185" y="239"/>
                        </a:lnTo>
                        <a:lnTo>
                          <a:pt x="173" y="241"/>
                        </a:lnTo>
                        <a:lnTo>
                          <a:pt x="158" y="251"/>
                        </a:lnTo>
                        <a:lnTo>
                          <a:pt x="158" y="234"/>
                        </a:lnTo>
                        <a:lnTo>
                          <a:pt x="150" y="237"/>
                        </a:lnTo>
                        <a:lnTo>
                          <a:pt x="142" y="250"/>
                        </a:lnTo>
                        <a:lnTo>
                          <a:pt x="146" y="259"/>
                        </a:lnTo>
                        <a:lnTo>
                          <a:pt x="156" y="257"/>
                        </a:lnTo>
                        <a:lnTo>
                          <a:pt x="161" y="270"/>
                        </a:lnTo>
                        <a:lnTo>
                          <a:pt x="181" y="257"/>
                        </a:lnTo>
                        <a:lnTo>
                          <a:pt x="187" y="249"/>
                        </a:lnTo>
                        <a:lnTo>
                          <a:pt x="195" y="252"/>
                        </a:lnTo>
                        <a:lnTo>
                          <a:pt x="211" y="241"/>
                        </a:lnTo>
                        <a:lnTo>
                          <a:pt x="210" y="230"/>
                        </a:lnTo>
                        <a:lnTo>
                          <a:pt x="213" y="201"/>
                        </a:lnTo>
                        <a:lnTo>
                          <a:pt x="220" y="181"/>
                        </a:lnTo>
                        <a:lnTo>
                          <a:pt x="235" y="161"/>
                        </a:lnTo>
                        <a:lnTo>
                          <a:pt x="248" y="154"/>
                        </a:lnTo>
                        <a:lnTo>
                          <a:pt x="238" y="135"/>
                        </a:lnTo>
                        <a:lnTo>
                          <a:pt x="243" y="107"/>
                        </a:lnTo>
                        <a:lnTo>
                          <a:pt x="233" y="94"/>
                        </a:lnTo>
                        <a:lnTo>
                          <a:pt x="243" y="74"/>
                        </a:lnTo>
                        <a:lnTo>
                          <a:pt x="251" y="67"/>
                        </a:lnTo>
                        <a:lnTo>
                          <a:pt x="251" y="39"/>
                        </a:lnTo>
                        <a:lnTo>
                          <a:pt x="238" y="36"/>
                        </a:lnTo>
                        <a:lnTo>
                          <a:pt x="233" y="15"/>
                        </a:lnTo>
                        <a:lnTo>
                          <a:pt x="240"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0" name="Arizona" descr="{&quot;Key&quot;:&quot;arizona&quot;,&quot;Name&quot;:&quot;Arizona&quot;,&quot;Value&quot;:1.0,&quot;Formula&quot;:&quot;&quot;,&quot;Text&quot;:&quot;&quot;,&quot;OfficeApplication&quot;:1,&quot;HasValue&quot;:true}">
                    <a:extLst>
                      <a:ext uri="{FF2B5EF4-FFF2-40B4-BE49-F238E27FC236}">
                        <a16:creationId xmlns:a16="http://schemas.microsoft.com/office/drawing/2014/main" id="{FF819670-BFB4-C24D-EF2F-82B1BED7CB9B}"/>
                      </a:ext>
                    </a:extLst>
                  </p:cNvPr>
                  <p:cNvSpPr>
                    <a:spLocks/>
                  </p:cNvSpPr>
                  <p:nvPr/>
                </p:nvSpPr>
                <p:spPr bwMode="auto">
                  <a:xfrm>
                    <a:off x="5611972" y="4795577"/>
                    <a:ext cx="414197" cy="479253"/>
                  </a:xfrm>
                  <a:custGeom>
                    <a:avLst/>
                    <a:gdLst>
                      <a:gd name="T0" fmla="*/ 795 w 795"/>
                      <a:gd name="T1" fmla="*/ 100 h 919"/>
                      <a:gd name="T2" fmla="*/ 676 w 795"/>
                      <a:gd name="T3" fmla="*/ 919 h 919"/>
                      <a:gd name="T4" fmla="*/ 562 w 795"/>
                      <a:gd name="T5" fmla="*/ 903 h 919"/>
                      <a:gd name="T6" fmla="*/ 433 w 795"/>
                      <a:gd name="T7" fmla="*/ 882 h 919"/>
                      <a:gd name="T8" fmla="*/ 427 w 795"/>
                      <a:gd name="T9" fmla="*/ 879 h 919"/>
                      <a:gd name="T10" fmla="*/ 282 w 795"/>
                      <a:gd name="T11" fmla="*/ 795 h 919"/>
                      <a:gd name="T12" fmla="*/ 188 w 795"/>
                      <a:gd name="T13" fmla="*/ 740 h 919"/>
                      <a:gd name="T14" fmla="*/ 96 w 795"/>
                      <a:gd name="T15" fmla="*/ 684 h 919"/>
                      <a:gd name="T16" fmla="*/ 0 w 795"/>
                      <a:gd name="T17" fmla="*/ 625 h 919"/>
                      <a:gd name="T18" fmla="*/ 5 w 795"/>
                      <a:gd name="T19" fmla="*/ 611 h 919"/>
                      <a:gd name="T20" fmla="*/ 18 w 795"/>
                      <a:gd name="T21" fmla="*/ 596 h 919"/>
                      <a:gd name="T22" fmla="*/ 23 w 795"/>
                      <a:gd name="T23" fmla="*/ 593 h 919"/>
                      <a:gd name="T24" fmla="*/ 41 w 795"/>
                      <a:gd name="T25" fmla="*/ 598 h 919"/>
                      <a:gd name="T26" fmla="*/ 45 w 795"/>
                      <a:gd name="T27" fmla="*/ 589 h 919"/>
                      <a:gd name="T28" fmla="*/ 55 w 795"/>
                      <a:gd name="T29" fmla="*/ 580 h 919"/>
                      <a:gd name="T30" fmla="*/ 56 w 795"/>
                      <a:gd name="T31" fmla="*/ 564 h 919"/>
                      <a:gd name="T32" fmla="*/ 50 w 795"/>
                      <a:gd name="T33" fmla="*/ 555 h 919"/>
                      <a:gd name="T34" fmla="*/ 40 w 795"/>
                      <a:gd name="T35" fmla="*/ 553 h 919"/>
                      <a:gd name="T36" fmla="*/ 32 w 795"/>
                      <a:gd name="T37" fmla="*/ 544 h 919"/>
                      <a:gd name="T38" fmla="*/ 38 w 795"/>
                      <a:gd name="T39" fmla="*/ 528 h 919"/>
                      <a:gd name="T40" fmla="*/ 36 w 795"/>
                      <a:gd name="T41" fmla="*/ 513 h 919"/>
                      <a:gd name="T42" fmla="*/ 40 w 795"/>
                      <a:gd name="T43" fmla="*/ 496 h 919"/>
                      <a:gd name="T44" fmla="*/ 51 w 795"/>
                      <a:gd name="T45" fmla="*/ 495 h 919"/>
                      <a:gd name="T46" fmla="*/ 66 w 795"/>
                      <a:gd name="T47" fmla="*/ 480 h 919"/>
                      <a:gd name="T48" fmla="*/ 75 w 795"/>
                      <a:gd name="T49" fmla="*/ 454 h 919"/>
                      <a:gd name="T50" fmla="*/ 78 w 795"/>
                      <a:gd name="T51" fmla="*/ 426 h 919"/>
                      <a:gd name="T52" fmla="*/ 95 w 795"/>
                      <a:gd name="T53" fmla="*/ 414 h 919"/>
                      <a:gd name="T54" fmla="*/ 101 w 795"/>
                      <a:gd name="T55" fmla="*/ 404 h 919"/>
                      <a:gd name="T56" fmla="*/ 118 w 795"/>
                      <a:gd name="T57" fmla="*/ 396 h 919"/>
                      <a:gd name="T58" fmla="*/ 135 w 795"/>
                      <a:gd name="T59" fmla="*/ 388 h 919"/>
                      <a:gd name="T60" fmla="*/ 137 w 795"/>
                      <a:gd name="T61" fmla="*/ 380 h 919"/>
                      <a:gd name="T62" fmla="*/ 112 w 795"/>
                      <a:gd name="T63" fmla="*/ 355 h 919"/>
                      <a:gd name="T64" fmla="*/ 115 w 795"/>
                      <a:gd name="T65" fmla="*/ 346 h 919"/>
                      <a:gd name="T66" fmla="*/ 106 w 795"/>
                      <a:gd name="T67" fmla="*/ 311 h 919"/>
                      <a:gd name="T68" fmla="*/ 101 w 795"/>
                      <a:gd name="T69" fmla="*/ 308 h 919"/>
                      <a:gd name="T70" fmla="*/ 95 w 795"/>
                      <a:gd name="T71" fmla="*/ 290 h 919"/>
                      <a:gd name="T72" fmla="*/ 97 w 795"/>
                      <a:gd name="T73" fmla="*/ 271 h 919"/>
                      <a:gd name="T74" fmla="*/ 101 w 795"/>
                      <a:gd name="T75" fmla="*/ 253 h 919"/>
                      <a:gd name="T76" fmla="*/ 110 w 795"/>
                      <a:gd name="T77" fmla="*/ 246 h 919"/>
                      <a:gd name="T78" fmla="*/ 112 w 795"/>
                      <a:gd name="T79" fmla="*/ 223 h 919"/>
                      <a:gd name="T80" fmla="*/ 108 w 795"/>
                      <a:gd name="T81" fmla="*/ 198 h 919"/>
                      <a:gd name="T82" fmla="*/ 115 w 795"/>
                      <a:gd name="T83" fmla="*/ 183 h 919"/>
                      <a:gd name="T84" fmla="*/ 112 w 795"/>
                      <a:gd name="T85" fmla="*/ 169 h 919"/>
                      <a:gd name="T86" fmla="*/ 118 w 795"/>
                      <a:gd name="T87" fmla="*/ 146 h 919"/>
                      <a:gd name="T88" fmla="*/ 113 w 795"/>
                      <a:gd name="T89" fmla="*/ 129 h 919"/>
                      <a:gd name="T90" fmla="*/ 118 w 795"/>
                      <a:gd name="T91" fmla="*/ 114 h 919"/>
                      <a:gd name="T92" fmla="*/ 140 w 795"/>
                      <a:gd name="T93" fmla="*/ 109 h 919"/>
                      <a:gd name="T94" fmla="*/ 153 w 795"/>
                      <a:gd name="T95" fmla="*/ 116 h 919"/>
                      <a:gd name="T96" fmla="*/ 163 w 795"/>
                      <a:gd name="T97" fmla="*/ 116 h 919"/>
                      <a:gd name="T98" fmla="*/ 173 w 795"/>
                      <a:gd name="T99" fmla="*/ 135 h 919"/>
                      <a:gd name="T100" fmla="*/ 186 w 795"/>
                      <a:gd name="T101" fmla="*/ 135 h 919"/>
                      <a:gd name="T102" fmla="*/ 201 w 795"/>
                      <a:gd name="T103" fmla="*/ 113 h 919"/>
                      <a:gd name="T104" fmla="*/ 223 w 795"/>
                      <a:gd name="T105" fmla="*/ 0 h 919"/>
                      <a:gd name="T106" fmla="*/ 295 w 795"/>
                      <a:gd name="T107" fmla="*/ 15 h 919"/>
                      <a:gd name="T108" fmla="*/ 401 w 795"/>
                      <a:gd name="T109" fmla="*/ 35 h 919"/>
                      <a:gd name="T110" fmla="*/ 545 w 795"/>
                      <a:gd name="T111" fmla="*/ 60 h 919"/>
                      <a:gd name="T112" fmla="*/ 704 w 795"/>
                      <a:gd name="T113" fmla="*/ 86 h 919"/>
                      <a:gd name="T114" fmla="*/ 795 w 795"/>
                      <a:gd name="T115" fmla="*/ 10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5" h="919">
                        <a:moveTo>
                          <a:pt x="795" y="100"/>
                        </a:moveTo>
                        <a:lnTo>
                          <a:pt x="676" y="919"/>
                        </a:lnTo>
                        <a:lnTo>
                          <a:pt x="562" y="903"/>
                        </a:lnTo>
                        <a:lnTo>
                          <a:pt x="433" y="882"/>
                        </a:lnTo>
                        <a:lnTo>
                          <a:pt x="427" y="879"/>
                        </a:lnTo>
                        <a:lnTo>
                          <a:pt x="282" y="795"/>
                        </a:lnTo>
                        <a:lnTo>
                          <a:pt x="188" y="740"/>
                        </a:lnTo>
                        <a:lnTo>
                          <a:pt x="96" y="684"/>
                        </a:lnTo>
                        <a:lnTo>
                          <a:pt x="0" y="625"/>
                        </a:lnTo>
                        <a:lnTo>
                          <a:pt x="5" y="611"/>
                        </a:lnTo>
                        <a:lnTo>
                          <a:pt x="18" y="596"/>
                        </a:lnTo>
                        <a:lnTo>
                          <a:pt x="23" y="593"/>
                        </a:lnTo>
                        <a:lnTo>
                          <a:pt x="41" y="598"/>
                        </a:lnTo>
                        <a:lnTo>
                          <a:pt x="45" y="589"/>
                        </a:lnTo>
                        <a:lnTo>
                          <a:pt x="55" y="580"/>
                        </a:lnTo>
                        <a:lnTo>
                          <a:pt x="56" y="564"/>
                        </a:lnTo>
                        <a:lnTo>
                          <a:pt x="50" y="555"/>
                        </a:lnTo>
                        <a:lnTo>
                          <a:pt x="40" y="553"/>
                        </a:lnTo>
                        <a:lnTo>
                          <a:pt x="32" y="544"/>
                        </a:lnTo>
                        <a:lnTo>
                          <a:pt x="38" y="528"/>
                        </a:lnTo>
                        <a:lnTo>
                          <a:pt x="36" y="513"/>
                        </a:lnTo>
                        <a:lnTo>
                          <a:pt x="40" y="496"/>
                        </a:lnTo>
                        <a:lnTo>
                          <a:pt x="51" y="495"/>
                        </a:lnTo>
                        <a:lnTo>
                          <a:pt x="66" y="480"/>
                        </a:lnTo>
                        <a:lnTo>
                          <a:pt x="75" y="454"/>
                        </a:lnTo>
                        <a:lnTo>
                          <a:pt x="78" y="426"/>
                        </a:lnTo>
                        <a:lnTo>
                          <a:pt x="95" y="414"/>
                        </a:lnTo>
                        <a:lnTo>
                          <a:pt x="101" y="404"/>
                        </a:lnTo>
                        <a:lnTo>
                          <a:pt x="118" y="396"/>
                        </a:lnTo>
                        <a:lnTo>
                          <a:pt x="135" y="388"/>
                        </a:lnTo>
                        <a:lnTo>
                          <a:pt x="137" y="380"/>
                        </a:lnTo>
                        <a:lnTo>
                          <a:pt x="112" y="355"/>
                        </a:lnTo>
                        <a:lnTo>
                          <a:pt x="115" y="346"/>
                        </a:lnTo>
                        <a:lnTo>
                          <a:pt x="106" y="311"/>
                        </a:lnTo>
                        <a:lnTo>
                          <a:pt x="101" y="308"/>
                        </a:lnTo>
                        <a:lnTo>
                          <a:pt x="95" y="290"/>
                        </a:lnTo>
                        <a:lnTo>
                          <a:pt x="97" y="271"/>
                        </a:lnTo>
                        <a:lnTo>
                          <a:pt x="101" y="253"/>
                        </a:lnTo>
                        <a:lnTo>
                          <a:pt x="110" y="246"/>
                        </a:lnTo>
                        <a:lnTo>
                          <a:pt x="112" y="223"/>
                        </a:lnTo>
                        <a:lnTo>
                          <a:pt x="108" y="198"/>
                        </a:lnTo>
                        <a:lnTo>
                          <a:pt x="115" y="183"/>
                        </a:lnTo>
                        <a:lnTo>
                          <a:pt x="112" y="169"/>
                        </a:lnTo>
                        <a:lnTo>
                          <a:pt x="118" y="146"/>
                        </a:lnTo>
                        <a:lnTo>
                          <a:pt x="113" y="129"/>
                        </a:lnTo>
                        <a:lnTo>
                          <a:pt x="118" y="114"/>
                        </a:lnTo>
                        <a:lnTo>
                          <a:pt x="140" y="109"/>
                        </a:lnTo>
                        <a:lnTo>
                          <a:pt x="153" y="116"/>
                        </a:lnTo>
                        <a:lnTo>
                          <a:pt x="163" y="116"/>
                        </a:lnTo>
                        <a:lnTo>
                          <a:pt x="173" y="135"/>
                        </a:lnTo>
                        <a:lnTo>
                          <a:pt x="186" y="135"/>
                        </a:lnTo>
                        <a:lnTo>
                          <a:pt x="201" y="113"/>
                        </a:lnTo>
                        <a:lnTo>
                          <a:pt x="223" y="0"/>
                        </a:lnTo>
                        <a:lnTo>
                          <a:pt x="295" y="15"/>
                        </a:lnTo>
                        <a:lnTo>
                          <a:pt x="401" y="35"/>
                        </a:lnTo>
                        <a:lnTo>
                          <a:pt x="545" y="60"/>
                        </a:lnTo>
                        <a:lnTo>
                          <a:pt x="704" y="86"/>
                        </a:lnTo>
                        <a:lnTo>
                          <a:pt x="795" y="10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1" name="California" descr="{&quot;Key&quot;:&quot;california&quot;,&quot;Name&quot;:&quot;California&quot;,&quot;Value&quot;:1.0,&quot;Formula&quot;:&quot;&quot;,&quot;Text&quot;:&quot;&quot;,&quot;OfficeApplication&quot;:1,&quot;HasValue&quot;:true}">
                    <a:extLst>
                      <a:ext uri="{FF2B5EF4-FFF2-40B4-BE49-F238E27FC236}">
                        <a16:creationId xmlns:a16="http://schemas.microsoft.com/office/drawing/2014/main" id="{8100CE99-0997-D323-D697-C9FC4A836F1E}"/>
                      </a:ext>
                    </a:extLst>
                  </p:cNvPr>
                  <p:cNvSpPr>
                    <a:spLocks noEditPoints="1"/>
                  </p:cNvSpPr>
                  <p:nvPr/>
                </p:nvSpPr>
                <p:spPr bwMode="auto">
                  <a:xfrm>
                    <a:off x="5201028" y="4281626"/>
                    <a:ext cx="482506" cy="825140"/>
                  </a:xfrm>
                  <a:custGeom>
                    <a:avLst/>
                    <a:gdLst>
                      <a:gd name="T0" fmla="*/ 376 w 927"/>
                      <a:gd name="T1" fmla="*/ 1469 h 1587"/>
                      <a:gd name="T2" fmla="*/ 356 w 927"/>
                      <a:gd name="T3" fmla="*/ 1433 h 1587"/>
                      <a:gd name="T4" fmla="*/ 400 w 927"/>
                      <a:gd name="T5" fmla="*/ 1399 h 1587"/>
                      <a:gd name="T6" fmla="*/ 222 w 927"/>
                      <a:gd name="T7" fmla="*/ 1248 h 1587"/>
                      <a:gd name="T8" fmla="*/ 202 w 927"/>
                      <a:gd name="T9" fmla="*/ 1259 h 1587"/>
                      <a:gd name="T10" fmla="*/ 247 w 927"/>
                      <a:gd name="T11" fmla="*/ 1249 h 1587"/>
                      <a:gd name="T12" fmla="*/ 242 w 927"/>
                      <a:gd name="T13" fmla="*/ 1263 h 1587"/>
                      <a:gd name="T14" fmla="*/ 885 w 927"/>
                      <a:gd name="T15" fmla="*/ 1279 h 1587"/>
                      <a:gd name="T16" fmla="*/ 905 w 927"/>
                      <a:gd name="T17" fmla="*/ 1336 h 1587"/>
                      <a:gd name="T18" fmla="*/ 925 w 927"/>
                      <a:gd name="T19" fmla="*/ 1377 h 1587"/>
                      <a:gd name="T20" fmla="*/ 885 w 927"/>
                      <a:gd name="T21" fmla="*/ 1403 h 1587"/>
                      <a:gd name="T22" fmla="*/ 856 w 927"/>
                      <a:gd name="T23" fmla="*/ 1469 h 1587"/>
                      <a:gd name="T24" fmla="*/ 826 w 927"/>
                      <a:gd name="T25" fmla="*/ 1502 h 1587"/>
                      <a:gd name="T26" fmla="*/ 830 w 927"/>
                      <a:gd name="T27" fmla="*/ 1542 h 1587"/>
                      <a:gd name="T28" fmla="*/ 845 w 927"/>
                      <a:gd name="T29" fmla="*/ 1569 h 1587"/>
                      <a:gd name="T30" fmla="*/ 813 w 927"/>
                      <a:gd name="T31" fmla="*/ 1582 h 1587"/>
                      <a:gd name="T32" fmla="*/ 513 w 927"/>
                      <a:gd name="T33" fmla="*/ 1548 h 1587"/>
                      <a:gd name="T34" fmla="*/ 505 w 927"/>
                      <a:gd name="T35" fmla="*/ 1499 h 1587"/>
                      <a:gd name="T36" fmla="*/ 495 w 927"/>
                      <a:gd name="T37" fmla="*/ 1422 h 1587"/>
                      <a:gd name="T38" fmla="*/ 440 w 927"/>
                      <a:gd name="T39" fmla="*/ 1349 h 1587"/>
                      <a:gd name="T40" fmla="*/ 402 w 927"/>
                      <a:gd name="T41" fmla="*/ 1338 h 1587"/>
                      <a:gd name="T42" fmla="*/ 397 w 927"/>
                      <a:gd name="T43" fmla="*/ 1293 h 1587"/>
                      <a:gd name="T44" fmla="*/ 322 w 927"/>
                      <a:gd name="T45" fmla="*/ 1257 h 1587"/>
                      <a:gd name="T46" fmla="*/ 286 w 927"/>
                      <a:gd name="T47" fmla="*/ 1206 h 1587"/>
                      <a:gd name="T48" fmla="*/ 242 w 927"/>
                      <a:gd name="T49" fmla="*/ 1188 h 1587"/>
                      <a:gd name="T50" fmla="*/ 187 w 927"/>
                      <a:gd name="T51" fmla="*/ 1164 h 1587"/>
                      <a:gd name="T52" fmla="*/ 181 w 927"/>
                      <a:gd name="T53" fmla="*/ 1127 h 1587"/>
                      <a:gd name="T54" fmla="*/ 194 w 927"/>
                      <a:gd name="T55" fmla="*/ 1082 h 1587"/>
                      <a:gd name="T56" fmla="*/ 171 w 927"/>
                      <a:gd name="T57" fmla="*/ 1049 h 1587"/>
                      <a:gd name="T58" fmla="*/ 154 w 927"/>
                      <a:gd name="T59" fmla="*/ 986 h 1587"/>
                      <a:gd name="T60" fmla="*/ 131 w 927"/>
                      <a:gd name="T61" fmla="*/ 942 h 1587"/>
                      <a:gd name="T62" fmla="*/ 122 w 927"/>
                      <a:gd name="T63" fmla="*/ 904 h 1587"/>
                      <a:gd name="T64" fmla="*/ 100 w 927"/>
                      <a:gd name="T65" fmla="*/ 868 h 1587"/>
                      <a:gd name="T66" fmla="*/ 115 w 927"/>
                      <a:gd name="T67" fmla="*/ 827 h 1587"/>
                      <a:gd name="T68" fmla="*/ 128 w 927"/>
                      <a:gd name="T69" fmla="*/ 783 h 1587"/>
                      <a:gd name="T70" fmla="*/ 98 w 927"/>
                      <a:gd name="T71" fmla="*/ 767 h 1587"/>
                      <a:gd name="T72" fmla="*/ 86 w 927"/>
                      <a:gd name="T73" fmla="*/ 684 h 1587"/>
                      <a:gd name="T74" fmla="*/ 92 w 927"/>
                      <a:gd name="T75" fmla="*/ 642 h 1587"/>
                      <a:gd name="T76" fmla="*/ 123 w 927"/>
                      <a:gd name="T77" fmla="*/ 683 h 1587"/>
                      <a:gd name="T78" fmla="*/ 112 w 927"/>
                      <a:gd name="T79" fmla="*/ 621 h 1587"/>
                      <a:gd name="T80" fmla="*/ 163 w 927"/>
                      <a:gd name="T81" fmla="*/ 619 h 1587"/>
                      <a:gd name="T82" fmla="*/ 131 w 927"/>
                      <a:gd name="T83" fmla="*/ 609 h 1587"/>
                      <a:gd name="T84" fmla="*/ 98 w 927"/>
                      <a:gd name="T85" fmla="*/ 623 h 1587"/>
                      <a:gd name="T86" fmla="*/ 80 w 927"/>
                      <a:gd name="T87" fmla="*/ 619 h 1587"/>
                      <a:gd name="T88" fmla="*/ 58 w 927"/>
                      <a:gd name="T89" fmla="*/ 593 h 1587"/>
                      <a:gd name="T90" fmla="*/ 42 w 927"/>
                      <a:gd name="T91" fmla="*/ 517 h 1587"/>
                      <a:gd name="T92" fmla="*/ 10 w 927"/>
                      <a:gd name="T93" fmla="*/ 438 h 1587"/>
                      <a:gd name="T94" fmla="*/ 22 w 927"/>
                      <a:gd name="T95" fmla="*/ 368 h 1587"/>
                      <a:gd name="T96" fmla="*/ 35 w 927"/>
                      <a:gd name="T97" fmla="*/ 313 h 1587"/>
                      <a:gd name="T98" fmla="*/ 3 w 927"/>
                      <a:gd name="T99" fmla="*/ 228 h 1587"/>
                      <a:gd name="T100" fmla="*/ 35 w 927"/>
                      <a:gd name="T101" fmla="*/ 181 h 1587"/>
                      <a:gd name="T102" fmla="*/ 66 w 927"/>
                      <a:gd name="T103" fmla="*/ 117 h 1587"/>
                      <a:gd name="T104" fmla="*/ 87 w 927"/>
                      <a:gd name="T105" fmla="*/ 38 h 1587"/>
                      <a:gd name="T106" fmla="*/ 92 w 927"/>
                      <a:gd name="T107" fmla="*/ 0 h 1587"/>
                      <a:gd name="T108" fmla="*/ 393 w 927"/>
                      <a:gd name="T109" fmla="*/ 92 h 1587"/>
                      <a:gd name="T110" fmla="*/ 475 w 927"/>
                      <a:gd name="T111" fmla="*/ 641 h 1587"/>
                      <a:gd name="T112" fmla="*/ 638 w 927"/>
                      <a:gd name="T113" fmla="*/ 887 h 1587"/>
                      <a:gd name="T114" fmla="*/ 835 w 927"/>
                      <a:gd name="T115" fmla="*/ 1186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7" h="1587">
                        <a:moveTo>
                          <a:pt x="356" y="1433"/>
                        </a:moveTo>
                        <a:lnTo>
                          <a:pt x="365" y="1453"/>
                        </a:lnTo>
                        <a:lnTo>
                          <a:pt x="376" y="1469"/>
                        </a:lnTo>
                        <a:lnTo>
                          <a:pt x="367" y="1471"/>
                        </a:lnTo>
                        <a:lnTo>
                          <a:pt x="361" y="1462"/>
                        </a:lnTo>
                        <a:lnTo>
                          <a:pt x="356" y="1433"/>
                        </a:lnTo>
                        <a:close/>
                        <a:moveTo>
                          <a:pt x="378" y="1372"/>
                        </a:moveTo>
                        <a:lnTo>
                          <a:pt x="396" y="1387"/>
                        </a:lnTo>
                        <a:lnTo>
                          <a:pt x="400" y="1399"/>
                        </a:lnTo>
                        <a:lnTo>
                          <a:pt x="381" y="1396"/>
                        </a:lnTo>
                        <a:lnTo>
                          <a:pt x="378" y="1372"/>
                        </a:lnTo>
                        <a:close/>
                        <a:moveTo>
                          <a:pt x="222" y="1248"/>
                        </a:moveTo>
                        <a:lnTo>
                          <a:pt x="223" y="1262"/>
                        </a:lnTo>
                        <a:lnTo>
                          <a:pt x="208" y="1264"/>
                        </a:lnTo>
                        <a:lnTo>
                          <a:pt x="202" y="1259"/>
                        </a:lnTo>
                        <a:lnTo>
                          <a:pt x="201" y="1244"/>
                        </a:lnTo>
                        <a:lnTo>
                          <a:pt x="222" y="1248"/>
                        </a:lnTo>
                        <a:close/>
                        <a:moveTo>
                          <a:pt x="247" y="1249"/>
                        </a:moveTo>
                        <a:lnTo>
                          <a:pt x="270" y="1263"/>
                        </a:lnTo>
                        <a:lnTo>
                          <a:pt x="257" y="1268"/>
                        </a:lnTo>
                        <a:lnTo>
                          <a:pt x="242" y="1263"/>
                        </a:lnTo>
                        <a:lnTo>
                          <a:pt x="247" y="1249"/>
                        </a:lnTo>
                        <a:close/>
                        <a:moveTo>
                          <a:pt x="887" y="1261"/>
                        </a:moveTo>
                        <a:lnTo>
                          <a:pt x="885" y="1279"/>
                        </a:lnTo>
                        <a:lnTo>
                          <a:pt x="891" y="1297"/>
                        </a:lnTo>
                        <a:lnTo>
                          <a:pt x="896" y="1301"/>
                        </a:lnTo>
                        <a:lnTo>
                          <a:pt x="905" y="1336"/>
                        </a:lnTo>
                        <a:lnTo>
                          <a:pt x="902" y="1344"/>
                        </a:lnTo>
                        <a:lnTo>
                          <a:pt x="927" y="1369"/>
                        </a:lnTo>
                        <a:lnTo>
                          <a:pt x="925" y="1377"/>
                        </a:lnTo>
                        <a:lnTo>
                          <a:pt x="908" y="1386"/>
                        </a:lnTo>
                        <a:lnTo>
                          <a:pt x="891" y="1393"/>
                        </a:lnTo>
                        <a:lnTo>
                          <a:pt x="885" y="1403"/>
                        </a:lnTo>
                        <a:lnTo>
                          <a:pt x="868" y="1416"/>
                        </a:lnTo>
                        <a:lnTo>
                          <a:pt x="865" y="1443"/>
                        </a:lnTo>
                        <a:lnTo>
                          <a:pt x="856" y="1469"/>
                        </a:lnTo>
                        <a:lnTo>
                          <a:pt x="841" y="1484"/>
                        </a:lnTo>
                        <a:lnTo>
                          <a:pt x="830" y="1486"/>
                        </a:lnTo>
                        <a:lnTo>
                          <a:pt x="826" y="1502"/>
                        </a:lnTo>
                        <a:lnTo>
                          <a:pt x="828" y="1517"/>
                        </a:lnTo>
                        <a:lnTo>
                          <a:pt x="822" y="1533"/>
                        </a:lnTo>
                        <a:lnTo>
                          <a:pt x="830" y="1542"/>
                        </a:lnTo>
                        <a:lnTo>
                          <a:pt x="840" y="1544"/>
                        </a:lnTo>
                        <a:lnTo>
                          <a:pt x="846" y="1553"/>
                        </a:lnTo>
                        <a:lnTo>
                          <a:pt x="845" y="1569"/>
                        </a:lnTo>
                        <a:lnTo>
                          <a:pt x="835" y="1578"/>
                        </a:lnTo>
                        <a:lnTo>
                          <a:pt x="831" y="1587"/>
                        </a:lnTo>
                        <a:lnTo>
                          <a:pt x="813" y="1582"/>
                        </a:lnTo>
                        <a:lnTo>
                          <a:pt x="808" y="1586"/>
                        </a:lnTo>
                        <a:lnTo>
                          <a:pt x="677" y="1569"/>
                        </a:lnTo>
                        <a:lnTo>
                          <a:pt x="513" y="1548"/>
                        </a:lnTo>
                        <a:lnTo>
                          <a:pt x="513" y="1527"/>
                        </a:lnTo>
                        <a:lnTo>
                          <a:pt x="503" y="1519"/>
                        </a:lnTo>
                        <a:lnTo>
                          <a:pt x="505" y="1499"/>
                        </a:lnTo>
                        <a:lnTo>
                          <a:pt x="510" y="1493"/>
                        </a:lnTo>
                        <a:lnTo>
                          <a:pt x="510" y="1459"/>
                        </a:lnTo>
                        <a:lnTo>
                          <a:pt x="495" y="1422"/>
                        </a:lnTo>
                        <a:lnTo>
                          <a:pt x="470" y="1387"/>
                        </a:lnTo>
                        <a:lnTo>
                          <a:pt x="450" y="1366"/>
                        </a:lnTo>
                        <a:lnTo>
                          <a:pt x="440" y="1349"/>
                        </a:lnTo>
                        <a:lnTo>
                          <a:pt x="422" y="1339"/>
                        </a:lnTo>
                        <a:lnTo>
                          <a:pt x="415" y="1347"/>
                        </a:lnTo>
                        <a:lnTo>
                          <a:pt x="402" y="1338"/>
                        </a:lnTo>
                        <a:lnTo>
                          <a:pt x="408" y="1326"/>
                        </a:lnTo>
                        <a:lnTo>
                          <a:pt x="406" y="1308"/>
                        </a:lnTo>
                        <a:lnTo>
                          <a:pt x="397" y="1293"/>
                        </a:lnTo>
                        <a:lnTo>
                          <a:pt x="368" y="1288"/>
                        </a:lnTo>
                        <a:lnTo>
                          <a:pt x="352" y="1281"/>
                        </a:lnTo>
                        <a:lnTo>
                          <a:pt x="322" y="1257"/>
                        </a:lnTo>
                        <a:lnTo>
                          <a:pt x="321" y="1241"/>
                        </a:lnTo>
                        <a:lnTo>
                          <a:pt x="303" y="1218"/>
                        </a:lnTo>
                        <a:lnTo>
                          <a:pt x="286" y="1206"/>
                        </a:lnTo>
                        <a:lnTo>
                          <a:pt x="272" y="1206"/>
                        </a:lnTo>
                        <a:lnTo>
                          <a:pt x="256" y="1199"/>
                        </a:lnTo>
                        <a:lnTo>
                          <a:pt x="242" y="1188"/>
                        </a:lnTo>
                        <a:lnTo>
                          <a:pt x="228" y="1183"/>
                        </a:lnTo>
                        <a:lnTo>
                          <a:pt x="188" y="1174"/>
                        </a:lnTo>
                        <a:lnTo>
                          <a:pt x="187" y="1164"/>
                        </a:lnTo>
                        <a:lnTo>
                          <a:pt x="173" y="1151"/>
                        </a:lnTo>
                        <a:lnTo>
                          <a:pt x="183" y="1136"/>
                        </a:lnTo>
                        <a:lnTo>
                          <a:pt x="181" y="1127"/>
                        </a:lnTo>
                        <a:lnTo>
                          <a:pt x="187" y="1113"/>
                        </a:lnTo>
                        <a:lnTo>
                          <a:pt x="183" y="1104"/>
                        </a:lnTo>
                        <a:lnTo>
                          <a:pt x="194" y="1082"/>
                        </a:lnTo>
                        <a:lnTo>
                          <a:pt x="194" y="1073"/>
                        </a:lnTo>
                        <a:lnTo>
                          <a:pt x="179" y="1062"/>
                        </a:lnTo>
                        <a:lnTo>
                          <a:pt x="171" y="1049"/>
                        </a:lnTo>
                        <a:lnTo>
                          <a:pt x="179" y="1028"/>
                        </a:lnTo>
                        <a:lnTo>
                          <a:pt x="166" y="1016"/>
                        </a:lnTo>
                        <a:lnTo>
                          <a:pt x="154" y="986"/>
                        </a:lnTo>
                        <a:lnTo>
                          <a:pt x="144" y="979"/>
                        </a:lnTo>
                        <a:lnTo>
                          <a:pt x="142" y="959"/>
                        </a:lnTo>
                        <a:lnTo>
                          <a:pt x="131" y="942"/>
                        </a:lnTo>
                        <a:lnTo>
                          <a:pt x="132" y="927"/>
                        </a:lnTo>
                        <a:lnTo>
                          <a:pt x="124" y="919"/>
                        </a:lnTo>
                        <a:lnTo>
                          <a:pt x="122" y="904"/>
                        </a:lnTo>
                        <a:lnTo>
                          <a:pt x="113" y="889"/>
                        </a:lnTo>
                        <a:lnTo>
                          <a:pt x="105" y="878"/>
                        </a:lnTo>
                        <a:lnTo>
                          <a:pt x="100" y="868"/>
                        </a:lnTo>
                        <a:lnTo>
                          <a:pt x="101" y="841"/>
                        </a:lnTo>
                        <a:lnTo>
                          <a:pt x="108" y="821"/>
                        </a:lnTo>
                        <a:lnTo>
                          <a:pt x="115" y="827"/>
                        </a:lnTo>
                        <a:lnTo>
                          <a:pt x="125" y="818"/>
                        </a:lnTo>
                        <a:lnTo>
                          <a:pt x="132" y="802"/>
                        </a:lnTo>
                        <a:lnTo>
                          <a:pt x="128" y="783"/>
                        </a:lnTo>
                        <a:lnTo>
                          <a:pt x="122" y="773"/>
                        </a:lnTo>
                        <a:lnTo>
                          <a:pt x="107" y="773"/>
                        </a:lnTo>
                        <a:lnTo>
                          <a:pt x="98" y="767"/>
                        </a:lnTo>
                        <a:lnTo>
                          <a:pt x="80" y="728"/>
                        </a:lnTo>
                        <a:lnTo>
                          <a:pt x="87" y="704"/>
                        </a:lnTo>
                        <a:lnTo>
                          <a:pt x="86" y="684"/>
                        </a:lnTo>
                        <a:lnTo>
                          <a:pt x="81" y="677"/>
                        </a:lnTo>
                        <a:lnTo>
                          <a:pt x="90" y="659"/>
                        </a:lnTo>
                        <a:lnTo>
                          <a:pt x="92" y="642"/>
                        </a:lnTo>
                        <a:lnTo>
                          <a:pt x="103" y="642"/>
                        </a:lnTo>
                        <a:lnTo>
                          <a:pt x="101" y="674"/>
                        </a:lnTo>
                        <a:lnTo>
                          <a:pt x="123" y="683"/>
                        </a:lnTo>
                        <a:lnTo>
                          <a:pt x="126" y="671"/>
                        </a:lnTo>
                        <a:lnTo>
                          <a:pt x="120" y="656"/>
                        </a:lnTo>
                        <a:lnTo>
                          <a:pt x="112" y="621"/>
                        </a:lnTo>
                        <a:lnTo>
                          <a:pt x="135" y="613"/>
                        </a:lnTo>
                        <a:lnTo>
                          <a:pt x="142" y="621"/>
                        </a:lnTo>
                        <a:lnTo>
                          <a:pt x="163" y="619"/>
                        </a:lnTo>
                        <a:lnTo>
                          <a:pt x="157" y="608"/>
                        </a:lnTo>
                        <a:lnTo>
                          <a:pt x="147" y="617"/>
                        </a:lnTo>
                        <a:lnTo>
                          <a:pt x="131" y="609"/>
                        </a:lnTo>
                        <a:lnTo>
                          <a:pt x="120" y="594"/>
                        </a:lnTo>
                        <a:lnTo>
                          <a:pt x="108" y="598"/>
                        </a:lnTo>
                        <a:lnTo>
                          <a:pt x="98" y="623"/>
                        </a:lnTo>
                        <a:lnTo>
                          <a:pt x="105" y="631"/>
                        </a:lnTo>
                        <a:lnTo>
                          <a:pt x="92" y="637"/>
                        </a:lnTo>
                        <a:lnTo>
                          <a:pt x="80" y="619"/>
                        </a:lnTo>
                        <a:lnTo>
                          <a:pt x="73" y="618"/>
                        </a:lnTo>
                        <a:lnTo>
                          <a:pt x="67" y="602"/>
                        </a:lnTo>
                        <a:lnTo>
                          <a:pt x="58" y="593"/>
                        </a:lnTo>
                        <a:lnTo>
                          <a:pt x="62" y="559"/>
                        </a:lnTo>
                        <a:lnTo>
                          <a:pt x="53" y="529"/>
                        </a:lnTo>
                        <a:lnTo>
                          <a:pt x="42" y="517"/>
                        </a:lnTo>
                        <a:lnTo>
                          <a:pt x="30" y="486"/>
                        </a:lnTo>
                        <a:lnTo>
                          <a:pt x="13" y="456"/>
                        </a:lnTo>
                        <a:lnTo>
                          <a:pt x="10" y="438"/>
                        </a:lnTo>
                        <a:lnTo>
                          <a:pt x="17" y="429"/>
                        </a:lnTo>
                        <a:lnTo>
                          <a:pt x="16" y="381"/>
                        </a:lnTo>
                        <a:lnTo>
                          <a:pt x="22" y="368"/>
                        </a:lnTo>
                        <a:lnTo>
                          <a:pt x="31" y="356"/>
                        </a:lnTo>
                        <a:lnTo>
                          <a:pt x="35" y="334"/>
                        </a:lnTo>
                        <a:lnTo>
                          <a:pt x="35" y="313"/>
                        </a:lnTo>
                        <a:lnTo>
                          <a:pt x="18" y="266"/>
                        </a:lnTo>
                        <a:lnTo>
                          <a:pt x="0" y="236"/>
                        </a:lnTo>
                        <a:lnTo>
                          <a:pt x="3" y="228"/>
                        </a:lnTo>
                        <a:lnTo>
                          <a:pt x="3" y="209"/>
                        </a:lnTo>
                        <a:lnTo>
                          <a:pt x="28" y="178"/>
                        </a:lnTo>
                        <a:lnTo>
                          <a:pt x="35" y="181"/>
                        </a:lnTo>
                        <a:lnTo>
                          <a:pt x="60" y="141"/>
                        </a:lnTo>
                        <a:lnTo>
                          <a:pt x="60" y="122"/>
                        </a:lnTo>
                        <a:lnTo>
                          <a:pt x="66" y="117"/>
                        </a:lnTo>
                        <a:lnTo>
                          <a:pt x="83" y="83"/>
                        </a:lnTo>
                        <a:lnTo>
                          <a:pt x="86" y="59"/>
                        </a:lnTo>
                        <a:lnTo>
                          <a:pt x="87" y="38"/>
                        </a:lnTo>
                        <a:lnTo>
                          <a:pt x="77" y="29"/>
                        </a:lnTo>
                        <a:lnTo>
                          <a:pt x="86" y="20"/>
                        </a:lnTo>
                        <a:lnTo>
                          <a:pt x="92" y="0"/>
                        </a:lnTo>
                        <a:lnTo>
                          <a:pt x="176" y="27"/>
                        </a:lnTo>
                        <a:lnTo>
                          <a:pt x="257" y="52"/>
                        </a:lnTo>
                        <a:lnTo>
                          <a:pt x="393" y="92"/>
                        </a:lnTo>
                        <a:lnTo>
                          <a:pt x="530" y="129"/>
                        </a:lnTo>
                        <a:lnTo>
                          <a:pt x="416" y="551"/>
                        </a:lnTo>
                        <a:lnTo>
                          <a:pt x="475" y="641"/>
                        </a:lnTo>
                        <a:lnTo>
                          <a:pt x="515" y="699"/>
                        </a:lnTo>
                        <a:lnTo>
                          <a:pt x="575" y="788"/>
                        </a:lnTo>
                        <a:lnTo>
                          <a:pt x="638" y="887"/>
                        </a:lnTo>
                        <a:lnTo>
                          <a:pt x="702" y="984"/>
                        </a:lnTo>
                        <a:lnTo>
                          <a:pt x="746" y="1051"/>
                        </a:lnTo>
                        <a:lnTo>
                          <a:pt x="835" y="1186"/>
                        </a:lnTo>
                        <a:lnTo>
                          <a:pt x="887" y="1261"/>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2" name="Colorado" descr="{&quot;Key&quot;:&quot;colorado&quot;,&quot;Name&quot;:&quot;Colorado&quot;,&quot;Value&quot;:1.0,&quot;Formula&quot;:&quot;&quot;,&quot;Text&quot;:&quot;&quot;,&quot;OfficeApplication&quot;:1,&quot;HasValue&quot;:true}">
                    <a:extLst>
                      <a:ext uri="{FF2B5EF4-FFF2-40B4-BE49-F238E27FC236}">
                        <a16:creationId xmlns:a16="http://schemas.microsoft.com/office/drawing/2014/main" id="{679C23C9-08A2-286D-F9C0-517F06A70BC3}"/>
                      </a:ext>
                    </a:extLst>
                  </p:cNvPr>
                  <p:cNvSpPr>
                    <a:spLocks/>
                  </p:cNvSpPr>
                  <p:nvPr/>
                </p:nvSpPr>
                <p:spPr bwMode="auto">
                  <a:xfrm>
                    <a:off x="6026168" y="4548360"/>
                    <a:ext cx="440219" cy="343718"/>
                  </a:xfrm>
                  <a:custGeom>
                    <a:avLst/>
                    <a:gdLst>
                      <a:gd name="T0" fmla="*/ 838 w 847"/>
                      <a:gd name="T1" fmla="*/ 226 h 661"/>
                      <a:gd name="T2" fmla="*/ 809 w 847"/>
                      <a:gd name="T3" fmla="*/ 661 h 661"/>
                      <a:gd name="T4" fmla="*/ 698 w 847"/>
                      <a:gd name="T5" fmla="*/ 654 h 661"/>
                      <a:gd name="T6" fmla="*/ 567 w 847"/>
                      <a:gd name="T7" fmla="*/ 643 h 661"/>
                      <a:gd name="T8" fmla="*/ 458 w 847"/>
                      <a:gd name="T9" fmla="*/ 631 h 661"/>
                      <a:gd name="T10" fmla="*/ 327 w 847"/>
                      <a:gd name="T11" fmla="*/ 618 h 661"/>
                      <a:gd name="T12" fmla="*/ 174 w 847"/>
                      <a:gd name="T13" fmla="*/ 600 h 661"/>
                      <a:gd name="T14" fmla="*/ 65 w 847"/>
                      <a:gd name="T15" fmla="*/ 585 h 661"/>
                      <a:gd name="T16" fmla="*/ 0 w 847"/>
                      <a:gd name="T17" fmla="*/ 576 h 661"/>
                      <a:gd name="T18" fmla="*/ 84 w 847"/>
                      <a:gd name="T19" fmla="*/ 0 h 661"/>
                      <a:gd name="T20" fmla="*/ 220 w 847"/>
                      <a:gd name="T21" fmla="*/ 19 h 661"/>
                      <a:gd name="T22" fmla="*/ 305 w 847"/>
                      <a:gd name="T23" fmla="*/ 30 h 661"/>
                      <a:gd name="T24" fmla="*/ 443 w 847"/>
                      <a:gd name="T25" fmla="*/ 45 h 661"/>
                      <a:gd name="T26" fmla="*/ 545 w 847"/>
                      <a:gd name="T27" fmla="*/ 56 h 661"/>
                      <a:gd name="T28" fmla="*/ 628 w 847"/>
                      <a:gd name="T29" fmla="*/ 64 h 661"/>
                      <a:gd name="T30" fmla="*/ 709 w 847"/>
                      <a:gd name="T31" fmla="*/ 70 h 661"/>
                      <a:gd name="T32" fmla="*/ 847 w 847"/>
                      <a:gd name="T33" fmla="*/ 81 h 661"/>
                      <a:gd name="T34" fmla="*/ 838 w 847"/>
                      <a:gd name="T35" fmla="*/ 226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7" h="661">
                        <a:moveTo>
                          <a:pt x="838" y="226"/>
                        </a:moveTo>
                        <a:lnTo>
                          <a:pt x="809" y="661"/>
                        </a:lnTo>
                        <a:lnTo>
                          <a:pt x="698" y="654"/>
                        </a:lnTo>
                        <a:lnTo>
                          <a:pt x="567" y="643"/>
                        </a:lnTo>
                        <a:lnTo>
                          <a:pt x="458" y="631"/>
                        </a:lnTo>
                        <a:lnTo>
                          <a:pt x="327" y="618"/>
                        </a:lnTo>
                        <a:lnTo>
                          <a:pt x="174" y="600"/>
                        </a:lnTo>
                        <a:lnTo>
                          <a:pt x="65" y="585"/>
                        </a:lnTo>
                        <a:lnTo>
                          <a:pt x="0" y="576"/>
                        </a:lnTo>
                        <a:lnTo>
                          <a:pt x="84" y="0"/>
                        </a:lnTo>
                        <a:lnTo>
                          <a:pt x="220" y="19"/>
                        </a:lnTo>
                        <a:lnTo>
                          <a:pt x="305" y="30"/>
                        </a:lnTo>
                        <a:lnTo>
                          <a:pt x="443" y="45"/>
                        </a:lnTo>
                        <a:lnTo>
                          <a:pt x="545" y="56"/>
                        </a:lnTo>
                        <a:lnTo>
                          <a:pt x="628" y="64"/>
                        </a:lnTo>
                        <a:lnTo>
                          <a:pt x="709" y="70"/>
                        </a:lnTo>
                        <a:lnTo>
                          <a:pt x="847" y="81"/>
                        </a:lnTo>
                        <a:lnTo>
                          <a:pt x="838" y="226"/>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3" name="Nevada" descr="{&quot;Key&quot;:&quot;nevada&quot;,&quot;Name&quot;:&quot;Nevada&quot;,&quot;Value&quot;:1.0,&quot;Formula&quot;:&quot;&quot;,&quot;Text&quot;:&quot;&quot;,&quot;OfficeApplication&quot;:1,&quot;HasValue&quot;:true}">
                    <a:extLst>
                      <a:ext uri="{FF2B5EF4-FFF2-40B4-BE49-F238E27FC236}">
                        <a16:creationId xmlns:a16="http://schemas.microsoft.com/office/drawing/2014/main" id="{B8AF12BD-6987-FE11-E2C2-90A6C6BDC5AB}"/>
                      </a:ext>
                    </a:extLst>
                  </p:cNvPr>
                  <p:cNvSpPr>
                    <a:spLocks/>
                  </p:cNvSpPr>
                  <p:nvPr/>
                </p:nvSpPr>
                <p:spPr bwMode="auto">
                  <a:xfrm>
                    <a:off x="5417885" y="4348852"/>
                    <a:ext cx="386005" cy="588766"/>
                  </a:xfrm>
                  <a:custGeom>
                    <a:avLst/>
                    <a:gdLst>
                      <a:gd name="T0" fmla="*/ 597 w 741"/>
                      <a:gd name="T1" fmla="*/ 860 h 1132"/>
                      <a:gd name="T2" fmla="*/ 575 w 741"/>
                      <a:gd name="T3" fmla="*/ 973 h 1132"/>
                      <a:gd name="T4" fmla="*/ 560 w 741"/>
                      <a:gd name="T5" fmla="*/ 995 h 1132"/>
                      <a:gd name="T6" fmla="*/ 547 w 741"/>
                      <a:gd name="T7" fmla="*/ 995 h 1132"/>
                      <a:gd name="T8" fmla="*/ 537 w 741"/>
                      <a:gd name="T9" fmla="*/ 977 h 1132"/>
                      <a:gd name="T10" fmla="*/ 527 w 741"/>
                      <a:gd name="T11" fmla="*/ 977 h 1132"/>
                      <a:gd name="T12" fmla="*/ 514 w 741"/>
                      <a:gd name="T13" fmla="*/ 969 h 1132"/>
                      <a:gd name="T14" fmla="*/ 492 w 741"/>
                      <a:gd name="T15" fmla="*/ 974 h 1132"/>
                      <a:gd name="T16" fmla="*/ 487 w 741"/>
                      <a:gd name="T17" fmla="*/ 989 h 1132"/>
                      <a:gd name="T18" fmla="*/ 492 w 741"/>
                      <a:gd name="T19" fmla="*/ 1007 h 1132"/>
                      <a:gd name="T20" fmla="*/ 486 w 741"/>
                      <a:gd name="T21" fmla="*/ 1029 h 1132"/>
                      <a:gd name="T22" fmla="*/ 489 w 741"/>
                      <a:gd name="T23" fmla="*/ 1043 h 1132"/>
                      <a:gd name="T24" fmla="*/ 482 w 741"/>
                      <a:gd name="T25" fmla="*/ 1058 h 1132"/>
                      <a:gd name="T26" fmla="*/ 486 w 741"/>
                      <a:gd name="T27" fmla="*/ 1083 h 1132"/>
                      <a:gd name="T28" fmla="*/ 484 w 741"/>
                      <a:gd name="T29" fmla="*/ 1107 h 1132"/>
                      <a:gd name="T30" fmla="*/ 475 w 741"/>
                      <a:gd name="T31" fmla="*/ 1113 h 1132"/>
                      <a:gd name="T32" fmla="*/ 471 w 741"/>
                      <a:gd name="T33" fmla="*/ 1132 h 1132"/>
                      <a:gd name="T34" fmla="*/ 419 w 741"/>
                      <a:gd name="T35" fmla="*/ 1057 h 1132"/>
                      <a:gd name="T36" fmla="*/ 330 w 741"/>
                      <a:gd name="T37" fmla="*/ 922 h 1132"/>
                      <a:gd name="T38" fmla="*/ 286 w 741"/>
                      <a:gd name="T39" fmla="*/ 855 h 1132"/>
                      <a:gd name="T40" fmla="*/ 222 w 741"/>
                      <a:gd name="T41" fmla="*/ 758 h 1132"/>
                      <a:gd name="T42" fmla="*/ 158 w 741"/>
                      <a:gd name="T43" fmla="*/ 659 h 1132"/>
                      <a:gd name="T44" fmla="*/ 98 w 741"/>
                      <a:gd name="T45" fmla="*/ 570 h 1132"/>
                      <a:gd name="T46" fmla="*/ 58 w 741"/>
                      <a:gd name="T47" fmla="*/ 512 h 1132"/>
                      <a:gd name="T48" fmla="*/ 0 w 741"/>
                      <a:gd name="T49" fmla="*/ 422 h 1132"/>
                      <a:gd name="T50" fmla="*/ 114 w 741"/>
                      <a:gd name="T51" fmla="*/ 0 h 1132"/>
                      <a:gd name="T52" fmla="*/ 250 w 741"/>
                      <a:gd name="T53" fmla="*/ 36 h 1132"/>
                      <a:gd name="T54" fmla="*/ 328 w 741"/>
                      <a:gd name="T55" fmla="*/ 57 h 1132"/>
                      <a:gd name="T56" fmla="*/ 426 w 741"/>
                      <a:gd name="T57" fmla="*/ 79 h 1132"/>
                      <a:gd name="T58" fmla="*/ 564 w 741"/>
                      <a:gd name="T59" fmla="*/ 110 h 1132"/>
                      <a:gd name="T60" fmla="*/ 622 w 741"/>
                      <a:gd name="T61" fmla="*/ 124 h 1132"/>
                      <a:gd name="T62" fmla="*/ 741 w 741"/>
                      <a:gd name="T63" fmla="*/ 148 h 1132"/>
                      <a:gd name="T64" fmla="*/ 597 w 741"/>
                      <a:gd name="T65" fmla="*/ 86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1" h="1132">
                        <a:moveTo>
                          <a:pt x="597" y="860"/>
                        </a:moveTo>
                        <a:lnTo>
                          <a:pt x="575" y="973"/>
                        </a:lnTo>
                        <a:lnTo>
                          <a:pt x="560" y="995"/>
                        </a:lnTo>
                        <a:lnTo>
                          <a:pt x="547" y="995"/>
                        </a:lnTo>
                        <a:lnTo>
                          <a:pt x="537" y="977"/>
                        </a:lnTo>
                        <a:lnTo>
                          <a:pt x="527" y="977"/>
                        </a:lnTo>
                        <a:lnTo>
                          <a:pt x="514" y="969"/>
                        </a:lnTo>
                        <a:lnTo>
                          <a:pt x="492" y="974"/>
                        </a:lnTo>
                        <a:lnTo>
                          <a:pt x="487" y="989"/>
                        </a:lnTo>
                        <a:lnTo>
                          <a:pt x="492" y="1007"/>
                        </a:lnTo>
                        <a:lnTo>
                          <a:pt x="486" y="1029"/>
                        </a:lnTo>
                        <a:lnTo>
                          <a:pt x="489" y="1043"/>
                        </a:lnTo>
                        <a:lnTo>
                          <a:pt x="482" y="1058"/>
                        </a:lnTo>
                        <a:lnTo>
                          <a:pt x="486" y="1083"/>
                        </a:lnTo>
                        <a:lnTo>
                          <a:pt x="484" y="1107"/>
                        </a:lnTo>
                        <a:lnTo>
                          <a:pt x="475" y="1113"/>
                        </a:lnTo>
                        <a:lnTo>
                          <a:pt x="471" y="1132"/>
                        </a:lnTo>
                        <a:lnTo>
                          <a:pt x="419" y="1057"/>
                        </a:lnTo>
                        <a:lnTo>
                          <a:pt x="330" y="922"/>
                        </a:lnTo>
                        <a:lnTo>
                          <a:pt x="286" y="855"/>
                        </a:lnTo>
                        <a:lnTo>
                          <a:pt x="222" y="758"/>
                        </a:lnTo>
                        <a:lnTo>
                          <a:pt x="158" y="659"/>
                        </a:lnTo>
                        <a:lnTo>
                          <a:pt x="98" y="570"/>
                        </a:lnTo>
                        <a:lnTo>
                          <a:pt x="58" y="512"/>
                        </a:lnTo>
                        <a:lnTo>
                          <a:pt x="0" y="422"/>
                        </a:lnTo>
                        <a:lnTo>
                          <a:pt x="114" y="0"/>
                        </a:lnTo>
                        <a:lnTo>
                          <a:pt x="250" y="36"/>
                        </a:lnTo>
                        <a:lnTo>
                          <a:pt x="328" y="57"/>
                        </a:lnTo>
                        <a:lnTo>
                          <a:pt x="426" y="79"/>
                        </a:lnTo>
                        <a:lnTo>
                          <a:pt x="564" y="110"/>
                        </a:lnTo>
                        <a:lnTo>
                          <a:pt x="622" y="124"/>
                        </a:lnTo>
                        <a:lnTo>
                          <a:pt x="741" y="148"/>
                        </a:lnTo>
                        <a:lnTo>
                          <a:pt x="597" y="86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4" name="New Mexico" descr="{&quot;Key&quot;:&quot;new mexico&quot;,&quot;Name&quot;:&quot;New Mexico&quot;,&quot;Value&quot;:1.0,&quot;Formula&quot;:&quot;&quot;,&quot;Text&quot;:&quot;&quot;,&quot;OfficeApplication&quot;:1,&quot;HasValue&quot;:true}">
                    <a:extLst>
                      <a:ext uri="{FF2B5EF4-FFF2-40B4-BE49-F238E27FC236}">
                        <a16:creationId xmlns:a16="http://schemas.microsoft.com/office/drawing/2014/main" id="{051FF0D1-6062-E412-1A7E-873492C8BF52}"/>
                      </a:ext>
                    </a:extLst>
                  </p:cNvPr>
                  <p:cNvSpPr>
                    <a:spLocks/>
                  </p:cNvSpPr>
                  <p:nvPr/>
                </p:nvSpPr>
                <p:spPr bwMode="auto">
                  <a:xfrm>
                    <a:off x="5964364" y="4847622"/>
                    <a:ext cx="425039" cy="434798"/>
                  </a:xfrm>
                  <a:custGeom>
                    <a:avLst/>
                    <a:gdLst>
                      <a:gd name="T0" fmla="*/ 811 w 816"/>
                      <a:gd name="T1" fmla="*/ 150 h 834"/>
                      <a:gd name="T2" fmla="*/ 806 w 816"/>
                      <a:gd name="T3" fmla="*/ 152 h 834"/>
                      <a:gd name="T4" fmla="*/ 752 w 816"/>
                      <a:gd name="T5" fmla="*/ 804 h 834"/>
                      <a:gd name="T6" fmla="*/ 642 w 816"/>
                      <a:gd name="T7" fmla="*/ 794 h 834"/>
                      <a:gd name="T8" fmla="*/ 532 w 816"/>
                      <a:gd name="T9" fmla="*/ 784 h 834"/>
                      <a:gd name="T10" fmla="*/ 396 w 816"/>
                      <a:gd name="T11" fmla="*/ 770 h 834"/>
                      <a:gd name="T12" fmla="*/ 309 w 816"/>
                      <a:gd name="T13" fmla="*/ 760 h 834"/>
                      <a:gd name="T14" fmla="*/ 314 w 816"/>
                      <a:gd name="T15" fmla="*/ 787 h 834"/>
                      <a:gd name="T16" fmla="*/ 324 w 816"/>
                      <a:gd name="T17" fmla="*/ 797 h 834"/>
                      <a:gd name="T18" fmla="*/ 112 w 816"/>
                      <a:gd name="T19" fmla="*/ 768 h 834"/>
                      <a:gd name="T20" fmla="*/ 104 w 816"/>
                      <a:gd name="T21" fmla="*/ 834 h 834"/>
                      <a:gd name="T22" fmla="*/ 10 w 816"/>
                      <a:gd name="T23" fmla="*/ 820 h 834"/>
                      <a:gd name="T24" fmla="*/ 0 w 816"/>
                      <a:gd name="T25" fmla="*/ 819 h 834"/>
                      <a:gd name="T26" fmla="*/ 119 w 816"/>
                      <a:gd name="T27" fmla="*/ 0 h 834"/>
                      <a:gd name="T28" fmla="*/ 184 w 816"/>
                      <a:gd name="T29" fmla="*/ 9 h 834"/>
                      <a:gd name="T30" fmla="*/ 292 w 816"/>
                      <a:gd name="T31" fmla="*/ 24 h 834"/>
                      <a:gd name="T32" fmla="*/ 445 w 816"/>
                      <a:gd name="T33" fmla="*/ 42 h 834"/>
                      <a:gd name="T34" fmla="*/ 576 w 816"/>
                      <a:gd name="T35" fmla="*/ 55 h 834"/>
                      <a:gd name="T36" fmla="*/ 685 w 816"/>
                      <a:gd name="T37" fmla="*/ 67 h 834"/>
                      <a:gd name="T38" fmla="*/ 816 w 816"/>
                      <a:gd name="T39" fmla="*/ 78 h 834"/>
                      <a:gd name="T40" fmla="*/ 811 w 816"/>
                      <a:gd name="T41" fmla="*/ 15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834">
                        <a:moveTo>
                          <a:pt x="811" y="150"/>
                        </a:moveTo>
                        <a:lnTo>
                          <a:pt x="806" y="152"/>
                        </a:lnTo>
                        <a:lnTo>
                          <a:pt x="752" y="804"/>
                        </a:lnTo>
                        <a:lnTo>
                          <a:pt x="642" y="794"/>
                        </a:lnTo>
                        <a:lnTo>
                          <a:pt x="532" y="784"/>
                        </a:lnTo>
                        <a:lnTo>
                          <a:pt x="396" y="770"/>
                        </a:lnTo>
                        <a:lnTo>
                          <a:pt x="309" y="760"/>
                        </a:lnTo>
                        <a:lnTo>
                          <a:pt x="314" y="787"/>
                        </a:lnTo>
                        <a:lnTo>
                          <a:pt x="324" y="797"/>
                        </a:lnTo>
                        <a:lnTo>
                          <a:pt x="112" y="768"/>
                        </a:lnTo>
                        <a:lnTo>
                          <a:pt x="104" y="834"/>
                        </a:lnTo>
                        <a:lnTo>
                          <a:pt x="10" y="820"/>
                        </a:lnTo>
                        <a:lnTo>
                          <a:pt x="0" y="819"/>
                        </a:lnTo>
                        <a:lnTo>
                          <a:pt x="119" y="0"/>
                        </a:lnTo>
                        <a:lnTo>
                          <a:pt x="184" y="9"/>
                        </a:lnTo>
                        <a:lnTo>
                          <a:pt x="292" y="24"/>
                        </a:lnTo>
                        <a:lnTo>
                          <a:pt x="445" y="42"/>
                        </a:lnTo>
                        <a:lnTo>
                          <a:pt x="576" y="55"/>
                        </a:lnTo>
                        <a:lnTo>
                          <a:pt x="685" y="67"/>
                        </a:lnTo>
                        <a:lnTo>
                          <a:pt x="816" y="78"/>
                        </a:lnTo>
                        <a:lnTo>
                          <a:pt x="811" y="15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5" name="Oregon" descr="{&quot;Key&quot;:&quot;oregon&quot;,&quot;Name&quot;:&quot;Oregon&quot;,&quot;Value&quot;:1.0,&quot;Formula&quot;:&quot;&quot;,&quot;Text&quot;:&quot;&quot;,&quot;OfficeApplication&quot;:1,&quot;HasValue&quot;:true}">
                    <a:extLst>
                      <a:ext uri="{FF2B5EF4-FFF2-40B4-BE49-F238E27FC236}">
                        <a16:creationId xmlns:a16="http://schemas.microsoft.com/office/drawing/2014/main" id="{4D2956E0-20A2-A3B9-8538-0F5D50306912}"/>
                      </a:ext>
                    </a:extLst>
                  </p:cNvPr>
                  <p:cNvSpPr>
                    <a:spLocks/>
                  </p:cNvSpPr>
                  <p:nvPr/>
                </p:nvSpPr>
                <p:spPr bwMode="auto">
                  <a:xfrm>
                    <a:off x="5244399" y="3981280"/>
                    <a:ext cx="487928" cy="407691"/>
                  </a:xfrm>
                  <a:custGeom>
                    <a:avLst/>
                    <a:gdLst>
                      <a:gd name="T0" fmla="*/ 304 w 938"/>
                      <a:gd name="T1" fmla="*/ 29 h 785"/>
                      <a:gd name="T2" fmla="*/ 325 w 938"/>
                      <a:gd name="T3" fmla="*/ 68 h 785"/>
                      <a:gd name="T4" fmla="*/ 323 w 938"/>
                      <a:gd name="T5" fmla="*/ 120 h 785"/>
                      <a:gd name="T6" fmla="*/ 360 w 938"/>
                      <a:gd name="T7" fmla="*/ 141 h 785"/>
                      <a:gd name="T8" fmla="*/ 413 w 938"/>
                      <a:gd name="T9" fmla="*/ 133 h 785"/>
                      <a:gd name="T10" fmla="*/ 464 w 938"/>
                      <a:gd name="T11" fmla="*/ 149 h 785"/>
                      <a:gd name="T12" fmla="*/ 484 w 938"/>
                      <a:gd name="T13" fmla="*/ 164 h 785"/>
                      <a:gd name="T14" fmla="*/ 529 w 938"/>
                      <a:gd name="T15" fmla="*/ 164 h 785"/>
                      <a:gd name="T16" fmla="*/ 568 w 938"/>
                      <a:gd name="T17" fmla="*/ 174 h 785"/>
                      <a:gd name="T18" fmla="*/ 600 w 938"/>
                      <a:gd name="T19" fmla="*/ 167 h 785"/>
                      <a:gd name="T20" fmla="*/ 638 w 938"/>
                      <a:gd name="T21" fmla="*/ 165 h 785"/>
                      <a:gd name="T22" fmla="*/ 688 w 938"/>
                      <a:gd name="T23" fmla="*/ 174 h 785"/>
                      <a:gd name="T24" fmla="*/ 844 w 938"/>
                      <a:gd name="T25" fmla="*/ 205 h 785"/>
                      <a:gd name="T26" fmla="*/ 909 w 938"/>
                      <a:gd name="T27" fmla="*/ 234 h 785"/>
                      <a:gd name="T28" fmla="*/ 934 w 938"/>
                      <a:gd name="T29" fmla="*/ 264 h 785"/>
                      <a:gd name="T30" fmla="*/ 935 w 938"/>
                      <a:gd name="T31" fmla="*/ 290 h 785"/>
                      <a:gd name="T32" fmla="*/ 895 w 938"/>
                      <a:gd name="T33" fmla="*/ 345 h 785"/>
                      <a:gd name="T34" fmla="*/ 876 w 938"/>
                      <a:gd name="T35" fmla="*/ 375 h 785"/>
                      <a:gd name="T36" fmla="*/ 853 w 938"/>
                      <a:gd name="T37" fmla="*/ 395 h 785"/>
                      <a:gd name="T38" fmla="*/ 824 w 938"/>
                      <a:gd name="T39" fmla="*/ 429 h 785"/>
                      <a:gd name="T40" fmla="*/ 839 w 938"/>
                      <a:gd name="T41" fmla="*/ 464 h 785"/>
                      <a:gd name="T42" fmla="*/ 835 w 938"/>
                      <a:gd name="T43" fmla="*/ 491 h 785"/>
                      <a:gd name="T44" fmla="*/ 820 w 938"/>
                      <a:gd name="T45" fmla="*/ 533 h 785"/>
                      <a:gd name="T46" fmla="*/ 663 w 938"/>
                      <a:gd name="T47" fmla="*/ 763 h 785"/>
                      <a:gd name="T48" fmla="*/ 448 w 938"/>
                      <a:gd name="T49" fmla="*/ 706 h 785"/>
                      <a:gd name="T50" fmla="*/ 175 w 938"/>
                      <a:gd name="T51" fmla="*/ 629 h 785"/>
                      <a:gd name="T52" fmla="*/ 10 w 938"/>
                      <a:gd name="T53" fmla="*/ 578 h 785"/>
                      <a:gd name="T54" fmla="*/ 3 w 938"/>
                      <a:gd name="T55" fmla="*/ 524 h 785"/>
                      <a:gd name="T56" fmla="*/ 20 w 938"/>
                      <a:gd name="T57" fmla="*/ 479 h 785"/>
                      <a:gd name="T58" fmla="*/ 14 w 938"/>
                      <a:gd name="T59" fmla="*/ 449 h 785"/>
                      <a:gd name="T60" fmla="*/ 54 w 938"/>
                      <a:gd name="T61" fmla="*/ 386 h 785"/>
                      <a:gd name="T62" fmla="*/ 100 w 938"/>
                      <a:gd name="T63" fmla="*/ 317 h 785"/>
                      <a:gd name="T64" fmla="*/ 151 w 938"/>
                      <a:gd name="T65" fmla="*/ 190 h 785"/>
                      <a:gd name="T66" fmla="*/ 175 w 938"/>
                      <a:gd name="T67" fmla="*/ 146 h 785"/>
                      <a:gd name="T68" fmla="*/ 203 w 938"/>
                      <a:gd name="T69" fmla="*/ 78 h 785"/>
                      <a:gd name="T70" fmla="*/ 208 w 938"/>
                      <a:gd name="T71" fmla="*/ 48 h 785"/>
                      <a:gd name="T72" fmla="*/ 215 w 938"/>
                      <a:gd name="T73" fmla="*/ 33 h 785"/>
                      <a:gd name="T74" fmla="*/ 219 w 938"/>
                      <a:gd name="T75" fmla="*/ 0 h 785"/>
                      <a:gd name="T76" fmla="*/ 255 w 938"/>
                      <a:gd name="T77" fmla="*/ 14 h 785"/>
                      <a:gd name="T78" fmla="*/ 275 w 938"/>
                      <a:gd name="T79" fmla="*/ 26 h 785"/>
                      <a:gd name="T80" fmla="*/ 296 w 938"/>
                      <a:gd name="T81" fmla="*/ 2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8" h="785">
                        <a:moveTo>
                          <a:pt x="296" y="28"/>
                        </a:moveTo>
                        <a:lnTo>
                          <a:pt x="304" y="29"/>
                        </a:lnTo>
                        <a:lnTo>
                          <a:pt x="320" y="46"/>
                        </a:lnTo>
                        <a:lnTo>
                          <a:pt x="325" y="68"/>
                        </a:lnTo>
                        <a:lnTo>
                          <a:pt x="318" y="114"/>
                        </a:lnTo>
                        <a:lnTo>
                          <a:pt x="323" y="120"/>
                        </a:lnTo>
                        <a:lnTo>
                          <a:pt x="335" y="125"/>
                        </a:lnTo>
                        <a:lnTo>
                          <a:pt x="360" y="141"/>
                        </a:lnTo>
                        <a:lnTo>
                          <a:pt x="393" y="139"/>
                        </a:lnTo>
                        <a:lnTo>
                          <a:pt x="413" y="133"/>
                        </a:lnTo>
                        <a:lnTo>
                          <a:pt x="435" y="138"/>
                        </a:lnTo>
                        <a:lnTo>
                          <a:pt x="464" y="149"/>
                        </a:lnTo>
                        <a:lnTo>
                          <a:pt x="474" y="165"/>
                        </a:lnTo>
                        <a:lnTo>
                          <a:pt x="484" y="164"/>
                        </a:lnTo>
                        <a:lnTo>
                          <a:pt x="498" y="169"/>
                        </a:lnTo>
                        <a:lnTo>
                          <a:pt x="529" y="164"/>
                        </a:lnTo>
                        <a:lnTo>
                          <a:pt x="543" y="171"/>
                        </a:lnTo>
                        <a:lnTo>
                          <a:pt x="568" y="174"/>
                        </a:lnTo>
                        <a:lnTo>
                          <a:pt x="579" y="169"/>
                        </a:lnTo>
                        <a:lnTo>
                          <a:pt x="600" y="167"/>
                        </a:lnTo>
                        <a:lnTo>
                          <a:pt x="629" y="170"/>
                        </a:lnTo>
                        <a:lnTo>
                          <a:pt x="638" y="165"/>
                        </a:lnTo>
                        <a:lnTo>
                          <a:pt x="663" y="167"/>
                        </a:lnTo>
                        <a:lnTo>
                          <a:pt x="688" y="174"/>
                        </a:lnTo>
                        <a:lnTo>
                          <a:pt x="698" y="169"/>
                        </a:lnTo>
                        <a:lnTo>
                          <a:pt x="844" y="205"/>
                        </a:lnTo>
                        <a:lnTo>
                          <a:pt x="908" y="220"/>
                        </a:lnTo>
                        <a:lnTo>
                          <a:pt x="909" y="234"/>
                        </a:lnTo>
                        <a:lnTo>
                          <a:pt x="914" y="246"/>
                        </a:lnTo>
                        <a:lnTo>
                          <a:pt x="934" y="264"/>
                        </a:lnTo>
                        <a:lnTo>
                          <a:pt x="938" y="281"/>
                        </a:lnTo>
                        <a:lnTo>
                          <a:pt x="935" y="290"/>
                        </a:lnTo>
                        <a:lnTo>
                          <a:pt x="909" y="319"/>
                        </a:lnTo>
                        <a:lnTo>
                          <a:pt x="895" y="345"/>
                        </a:lnTo>
                        <a:lnTo>
                          <a:pt x="881" y="359"/>
                        </a:lnTo>
                        <a:lnTo>
                          <a:pt x="876" y="375"/>
                        </a:lnTo>
                        <a:lnTo>
                          <a:pt x="864" y="390"/>
                        </a:lnTo>
                        <a:lnTo>
                          <a:pt x="853" y="395"/>
                        </a:lnTo>
                        <a:lnTo>
                          <a:pt x="836" y="417"/>
                        </a:lnTo>
                        <a:lnTo>
                          <a:pt x="824" y="429"/>
                        </a:lnTo>
                        <a:lnTo>
                          <a:pt x="819" y="455"/>
                        </a:lnTo>
                        <a:lnTo>
                          <a:pt x="839" y="464"/>
                        </a:lnTo>
                        <a:lnTo>
                          <a:pt x="845" y="479"/>
                        </a:lnTo>
                        <a:lnTo>
                          <a:pt x="835" y="491"/>
                        </a:lnTo>
                        <a:lnTo>
                          <a:pt x="836" y="500"/>
                        </a:lnTo>
                        <a:lnTo>
                          <a:pt x="820" y="533"/>
                        </a:lnTo>
                        <a:lnTo>
                          <a:pt x="760" y="785"/>
                        </a:lnTo>
                        <a:lnTo>
                          <a:pt x="663" y="763"/>
                        </a:lnTo>
                        <a:lnTo>
                          <a:pt x="584" y="743"/>
                        </a:lnTo>
                        <a:lnTo>
                          <a:pt x="448" y="706"/>
                        </a:lnTo>
                        <a:lnTo>
                          <a:pt x="311" y="669"/>
                        </a:lnTo>
                        <a:lnTo>
                          <a:pt x="175" y="629"/>
                        </a:lnTo>
                        <a:lnTo>
                          <a:pt x="94" y="604"/>
                        </a:lnTo>
                        <a:lnTo>
                          <a:pt x="10" y="578"/>
                        </a:lnTo>
                        <a:lnTo>
                          <a:pt x="0" y="556"/>
                        </a:lnTo>
                        <a:lnTo>
                          <a:pt x="3" y="524"/>
                        </a:lnTo>
                        <a:lnTo>
                          <a:pt x="18" y="493"/>
                        </a:lnTo>
                        <a:lnTo>
                          <a:pt x="20" y="479"/>
                        </a:lnTo>
                        <a:lnTo>
                          <a:pt x="14" y="464"/>
                        </a:lnTo>
                        <a:lnTo>
                          <a:pt x="14" y="449"/>
                        </a:lnTo>
                        <a:lnTo>
                          <a:pt x="33" y="426"/>
                        </a:lnTo>
                        <a:lnTo>
                          <a:pt x="54" y="386"/>
                        </a:lnTo>
                        <a:lnTo>
                          <a:pt x="68" y="377"/>
                        </a:lnTo>
                        <a:lnTo>
                          <a:pt x="100" y="317"/>
                        </a:lnTo>
                        <a:lnTo>
                          <a:pt x="141" y="220"/>
                        </a:lnTo>
                        <a:lnTo>
                          <a:pt x="151" y="190"/>
                        </a:lnTo>
                        <a:lnTo>
                          <a:pt x="156" y="184"/>
                        </a:lnTo>
                        <a:lnTo>
                          <a:pt x="175" y="146"/>
                        </a:lnTo>
                        <a:lnTo>
                          <a:pt x="188" y="105"/>
                        </a:lnTo>
                        <a:lnTo>
                          <a:pt x="203" y="78"/>
                        </a:lnTo>
                        <a:lnTo>
                          <a:pt x="201" y="63"/>
                        </a:lnTo>
                        <a:lnTo>
                          <a:pt x="208" y="48"/>
                        </a:lnTo>
                        <a:lnTo>
                          <a:pt x="208" y="36"/>
                        </a:lnTo>
                        <a:lnTo>
                          <a:pt x="215" y="33"/>
                        </a:lnTo>
                        <a:lnTo>
                          <a:pt x="219" y="19"/>
                        </a:lnTo>
                        <a:lnTo>
                          <a:pt x="219" y="0"/>
                        </a:lnTo>
                        <a:lnTo>
                          <a:pt x="230" y="10"/>
                        </a:lnTo>
                        <a:lnTo>
                          <a:pt x="255" y="14"/>
                        </a:lnTo>
                        <a:lnTo>
                          <a:pt x="266" y="10"/>
                        </a:lnTo>
                        <a:lnTo>
                          <a:pt x="275" y="26"/>
                        </a:lnTo>
                        <a:lnTo>
                          <a:pt x="290" y="33"/>
                        </a:lnTo>
                        <a:lnTo>
                          <a:pt x="296" y="2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6" name="Utah" descr="{&quot;Key&quot;:&quot;utah&quot;,&quot;Name&quot;:&quot;Utah&quot;,&quot;Value&quot;:1.0,&quot;Formula&quot;:&quot;&quot;,&quot;Text&quot;:&quot;&quot;,&quot;OfficeApplication&quot;:1,&quot;HasValue&quot;:true}">
                    <a:extLst>
                      <a:ext uri="{FF2B5EF4-FFF2-40B4-BE49-F238E27FC236}">
                        <a16:creationId xmlns:a16="http://schemas.microsoft.com/office/drawing/2014/main" id="{BAAB3BF9-1462-AEF1-416A-92D09CA61217}"/>
                      </a:ext>
                    </a:extLst>
                  </p:cNvPr>
                  <p:cNvSpPr>
                    <a:spLocks/>
                  </p:cNvSpPr>
                  <p:nvPr/>
                </p:nvSpPr>
                <p:spPr bwMode="auto">
                  <a:xfrm>
                    <a:off x="5727990" y="4425836"/>
                    <a:ext cx="341549" cy="421786"/>
                  </a:xfrm>
                  <a:custGeom>
                    <a:avLst/>
                    <a:gdLst>
                      <a:gd name="T0" fmla="*/ 462 w 655"/>
                      <a:gd name="T1" fmla="*/ 59 h 812"/>
                      <a:gd name="T2" fmla="*/ 438 w 655"/>
                      <a:gd name="T3" fmla="*/ 202 h 812"/>
                      <a:gd name="T4" fmla="*/ 587 w 655"/>
                      <a:gd name="T5" fmla="*/ 226 h 812"/>
                      <a:gd name="T6" fmla="*/ 655 w 655"/>
                      <a:gd name="T7" fmla="*/ 236 h 812"/>
                      <a:gd name="T8" fmla="*/ 572 w 655"/>
                      <a:gd name="T9" fmla="*/ 812 h 812"/>
                      <a:gd name="T10" fmla="*/ 481 w 655"/>
                      <a:gd name="T11" fmla="*/ 798 h 812"/>
                      <a:gd name="T12" fmla="*/ 322 w 655"/>
                      <a:gd name="T13" fmla="*/ 772 h 812"/>
                      <a:gd name="T14" fmla="*/ 178 w 655"/>
                      <a:gd name="T15" fmla="*/ 747 h 812"/>
                      <a:gd name="T16" fmla="*/ 72 w 655"/>
                      <a:gd name="T17" fmla="*/ 727 h 812"/>
                      <a:gd name="T18" fmla="*/ 0 w 655"/>
                      <a:gd name="T19" fmla="*/ 712 h 812"/>
                      <a:gd name="T20" fmla="*/ 144 w 655"/>
                      <a:gd name="T21" fmla="*/ 0 h 812"/>
                      <a:gd name="T22" fmla="*/ 223 w 655"/>
                      <a:gd name="T23" fmla="*/ 16 h 812"/>
                      <a:gd name="T24" fmla="*/ 323 w 655"/>
                      <a:gd name="T25" fmla="*/ 35 h 812"/>
                      <a:gd name="T26" fmla="*/ 462 w 655"/>
                      <a:gd name="T27" fmla="*/ 59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812">
                        <a:moveTo>
                          <a:pt x="462" y="59"/>
                        </a:moveTo>
                        <a:lnTo>
                          <a:pt x="438" y="202"/>
                        </a:lnTo>
                        <a:lnTo>
                          <a:pt x="587" y="226"/>
                        </a:lnTo>
                        <a:lnTo>
                          <a:pt x="655" y="236"/>
                        </a:lnTo>
                        <a:lnTo>
                          <a:pt x="572" y="812"/>
                        </a:lnTo>
                        <a:lnTo>
                          <a:pt x="481" y="798"/>
                        </a:lnTo>
                        <a:lnTo>
                          <a:pt x="322" y="772"/>
                        </a:lnTo>
                        <a:lnTo>
                          <a:pt x="178" y="747"/>
                        </a:lnTo>
                        <a:lnTo>
                          <a:pt x="72" y="727"/>
                        </a:lnTo>
                        <a:lnTo>
                          <a:pt x="0" y="712"/>
                        </a:lnTo>
                        <a:lnTo>
                          <a:pt x="144" y="0"/>
                        </a:lnTo>
                        <a:lnTo>
                          <a:pt x="223" y="16"/>
                        </a:lnTo>
                        <a:lnTo>
                          <a:pt x="323" y="35"/>
                        </a:lnTo>
                        <a:lnTo>
                          <a:pt x="462" y="59"/>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8" name="Arkansas" descr="{&quot;Key&quot;:&quot;arkansas&quot;,&quot;Name&quot;:&quot;Arkansas&quot;,&quot;Value&quot;:1.0,&quot;Formula&quot;:&quot;&quot;,&quot;Text&quot;:&quot;&quot;,&quot;OfficeApplication&quot;:1,&quot;HasValue&quot;:true}">
                    <a:extLst>
                      <a:ext uri="{FF2B5EF4-FFF2-40B4-BE49-F238E27FC236}">
                        <a16:creationId xmlns:a16="http://schemas.microsoft.com/office/drawing/2014/main" id="{EAB32C8A-405C-BDD4-5527-A3AD62A2FA1B}"/>
                      </a:ext>
                    </a:extLst>
                  </p:cNvPr>
                  <p:cNvSpPr>
                    <a:spLocks/>
                  </p:cNvSpPr>
                  <p:nvPr/>
                </p:nvSpPr>
                <p:spPr bwMode="auto">
                  <a:xfrm>
                    <a:off x="6895764" y="4931112"/>
                    <a:ext cx="304684" cy="275408"/>
                  </a:xfrm>
                  <a:custGeom>
                    <a:avLst/>
                    <a:gdLst>
                      <a:gd name="T0" fmla="*/ 577 w 585"/>
                      <a:gd name="T1" fmla="*/ 70 h 529"/>
                      <a:gd name="T2" fmla="*/ 585 w 585"/>
                      <a:gd name="T3" fmla="*/ 81 h 529"/>
                      <a:gd name="T4" fmla="*/ 574 w 585"/>
                      <a:gd name="T5" fmla="*/ 83 h 529"/>
                      <a:gd name="T6" fmla="*/ 579 w 585"/>
                      <a:gd name="T7" fmla="*/ 94 h 529"/>
                      <a:gd name="T8" fmla="*/ 555 w 585"/>
                      <a:gd name="T9" fmla="*/ 110 h 529"/>
                      <a:gd name="T10" fmla="*/ 559 w 585"/>
                      <a:gd name="T11" fmla="*/ 121 h 529"/>
                      <a:gd name="T12" fmla="*/ 559 w 585"/>
                      <a:gd name="T13" fmla="*/ 136 h 529"/>
                      <a:gd name="T14" fmla="*/ 547 w 585"/>
                      <a:gd name="T15" fmla="*/ 142 h 529"/>
                      <a:gd name="T16" fmla="*/ 547 w 585"/>
                      <a:gd name="T17" fmla="*/ 151 h 529"/>
                      <a:gd name="T18" fmla="*/ 539 w 585"/>
                      <a:gd name="T19" fmla="*/ 161 h 529"/>
                      <a:gd name="T20" fmla="*/ 539 w 585"/>
                      <a:gd name="T21" fmla="*/ 177 h 529"/>
                      <a:gd name="T22" fmla="*/ 542 w 585"/>
                      <a:gd name="T23" fmla="*/ 190 h 529"/>
                      <a:gd name="T24" fmla="*/ 532 w 585"/>
                      <a:gd name="T25" fmla="*/ 200 h 529"/>
                      <a:gd name="T26" fmla="*/ 527 w 585"/>
                      <a:gd name="T27" fmla="*/ 211 h 529"/>
                      <a:gd name="T28" fmla="*/ 519 w 585"/>
                      <a:gd name="T29" fmla="*/ 219 h 529"/>
                      <a:gd name="T30" fmla="*/ 522 w 585"/>
                      <a:gd name="T31" fmla="*/ 230 h 529"/>
                      <a:gd name="T32" fmla="*/ 513 w 585"/>
                      <a:gd name="T33" fmla="*/ 240 h 529"/>
                      <a:gd name="T34" fmla="*/ 501 w 585"/>
                      <a:gd name="T35" fmla="*/ 245 h 529"/>
                      <a:gd name="T36" fmla="*/ 502 w 585"/>
                      <a:gd name="T37" fmla="*/ 255 h 529"/>
                      <a:gd name="T38" fmla="*/ 491 w 585"/>
                      <a:gd name="T39" fmla="*/ 259 h 529"/>
                      <a:gd name="T40" fmla="*/ 486 w 585"/>
                      <a:gd name="T41" fmla="*/ 274 h 529"/>
                      <a:gd name="T42" fmla="*/ 490 w 585"/>
                      <a:gd name="T43" fmla="*/ 284 h 529"/>
                      <a:gd name="T44" fmla="*/ 488 w 585"/>
                      <a:gd name="T45" fmla="*/ 305 h 529"/>
                      <a:gd name="T46" fmla="*/ 462 w 585"/>
                      <a:gd name="T47" fmla="*/ 327 h 529"/>
                      <a:gd name="T48" fmla="*/ 457 w 585"/>
                      <a:gd name="T49" fmla="*/ 339 h 529"/>
                      <a:gd name="T50" fmla="*/ 447 w 585"/>
                      <a:gd name="T51" fmla="*/ 346 h 529"/>
                      <a:gd name="T52" fmla="*/ 456 w 585"/>
                      <a:gd name="T53" fmla="*/ 355 h 529"/>
                      <a:gd name="T54" fmla="*/ 453 w 585"/>
                      <a:gd name="T55" fmla="*/ 364 h 529"/>
                      <a:gd name="T56" fmla="*/ 433 w 585"/>
                      <a:gd name="T57" fmla="*/ 371 h 529"/>
                      <a:gd name="T58" fmla="*/ 440 w 585"/>
                      <a:gd name="T59" fmla="*/ 380 h 529"/>
                      <a:gd name="T60" fmla="*/ 438 w 585"/>
                      <a:gd name="T61" fmla="*/ 397 h 529"/>
                      <a:gd name="T62" fmla="*/ 422 w 585"/>
                      <a:gd name="T63" fmla="*/ 414 h 529"/>
                      <a:gd name="T64" fmla="*/ 427 w 585"/>
                      <a:gd name="T65" fmla="*/ 424 h 529"/>
                      <a:gd name="T66" fmla="*/ 421 w 585"/>
                      <a:gd name="T67" fmla="*/ 439 h 529"/>
                      <a:gd name="T68" fmla="*/ 432 w 585"/>
                      <a:gd name="T69" fmla="*/ 446 h 529"/>
                      <a:gd name="T70" fmla="*/ 432 w 585"/>
                      <a:gd name="T71" fmla="*/ 461 h 529"/>
                      <a:gd name="T72" fmla="*/ 426 w 585"/>
                      <a:gd name="T73" fmla="*/ 470 h 529"/>
                      <a:gd name="T74" fmla="*/ 436 w 585"/>
                      <a:gd name="T75" fmla="*/ 477 h 529"/>
                      <a:gd name="T76" fmla="*/ 437 w 585"/>
                      <a:gd name="T77" fmla="*/ 495 h 529"/>
                      <a:gd name="T78" fmla="*/ 431 w 585"/>
                      <a:gd name="T79" fmla="*/ 500 h 529"/>
                      <a:gd name="T80" fmla="*/ 431 w 585"/>
                      <a:gd name="T81" fmla="*/ 515 h 529"/>
                      <a:gd name="T82" fmla="*/ 341 w 585"/>
                      <a:gd name="T83" fmla="*/ 519 h 529"/>
                      <a:gd name="T84" fmla="*/ 188 w 585"/>
                      <a:gd name="T85" fmla="*/ 525 h 529"/>
                      <a:gd name="T86" fmla="*/ 78 w 585"/>
                      <a:gd name="T87" fmla="*/ 529 h 529"/>
                      <a:gd name="T88" fmla="*/ 76 w 585"/>
                      <a:gd name="T89" fmla="*/ 449 h 529"/>
                      <a:gd name="T90" fmla="*/ 70 w 585"/>
                      <a:gd name="T91" fmla="*/ 445 h 529"/>
                      <a:gd name="T92" fmla="*/ 46 w 585"/>
                      <a:gd name="T93" fmla="*/ 444 h 529"/>
                      <a:gd name="T94" fmla="*/ 35 w 585"/>
                      <a:gd name="T95" fmla="*/ 449 h 529"/>
                      <a:gd name="T96" fmla="*/ 23 w 585"/>
                      <a:gd name="T97" fmla="*/ 436 h 529"/>
                      <a:gd name="T98" fmla="*/ 23 w 585"/>
                      <a:gd name="T99" fmla="*/ 182 h 529"/>
                      <a:gd name="T100" fmla="*/ 0 w 585"/>
                      <a:gd name="T101" fmla="*/ 21 h 529"/>
                      <a:gd name="T102" fmla="*/ 65 w 585"/>
                      <a:gd name="T103" fmla="*/ 20 h 529"/>
                      <a:gd name="T104" fmla="*/ 192 w 585"/>
                      <a:gd name="T105" fmla="*/ 16 h 529"/>
                      <a:gd name="T106" fmla="*/ 321 w 585"/>
                      <a:gd name="T107" fmla="*/ 11 h 529"/>
                      <a:gd name="T108" fmla="*/ 417 w 585"/>
                      <a:gd name="T109" fmla="*/ 6 h 529"/>
                      <a:gd name="T110" fmla="*/ 521 w 585"/>
                      <a:gd name="T111" fmla="*/ 0 h 529"/>
                      <a:gd name="T112" fmla="*/ 533 w 585"/>
                      <a:gd name="T113" fmla="*/ 19 h 529"/>
                      <a:gd name="T114" fmla="*/ 533 w 585"/>
                      <a:gd name="T115" fmla="*/ 30 h 529"/>
                      <a:gd name="T116" fmla="*/ 517 w 585"/>
                      <a:gd name="T117" fmla="*/ 46 h 529"/>
                      <a:gd name="T118" fmla="*/ 503 w 585"/>
                      <a:gd name="T119" fmla="*/ 65 h 529"/>
                      <a:gd name="T120" fmla="*/ 501 w 585"/>
                      <a:gd name="T121" fmla="*/ 76 h 529"/>
                      <a:gd name="T122" fmla="*/ 577 w 585"/>
                      <a:gd name="T123" fmla="*/ 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5" h="529">
                        <a:moveTo>
                          <a:pt x="577" y="70"/>
                        </a:moveTo>
                        <a:lnTo>
                          <a:pt x="585" y="81"/>
                        </a:lnTo>
                        <a:lnTo>
                          <a:pt x="574" y="83"/>
                        </a:lnTo>
                        <a:lnTo>
                          <a:pt x="579" y="94"/>
                        </a:lnTo>
                        <a:lnTo>
                          <a:pt x="555" y="110"/>
                        </a:lnTo>
                        <a:lnTo>
                          <a:pt x="559" y="121"/>
                        </a:lnTo>
                        <a:lnTo>
                          <a:pt x="559" y="136"/>
                        </a:lnTo>
                        <a:lnTo>
                          <a:pt x="547" y="142"/>
                        </a:lnTo>
                        <a:lnTo>
                          <a:pt x="547" y="151"/>
                        </a:lnTo>
                        <a:lnTo>
                          <a:pt x="539" y="161"/>
                        </a:lnTo>
                        <a:lnTo>
                          <a:pt x="539" y="177"/>
                        </a:lnTo>
                        <a:lnTo>
                          <a:pt x="542" y="190"/>
                        </a:lnTo>
                        <a:lnTo>
                          <a:pt x="532" y="200"/>
                        </a:lnTo>
                        <a:lnTo>
                          <a:pt x="527" y="211"/>
                        </a:lnTo>
                        <a:lnTo>
                          <a:pt x="519" y="219"/>
                        </a:lnTo>
                        <a:lnTo>
                          <a:pt x="522" y="230"/>
                        </a:lnTo>
                        <a:lnTo>
                          <a:pt x="513" y="240"/>
                        </a:lnTo>
                        <a:lnTo>
                          <a:pt x="501" y="245"/>
                        </a:lnTo>
                        <a:lnTo>
                          <a:pt x="502" y="255"/>
                        </a:lnTo>
                        <a:lnTo>
                          <a:pt x="491" y="259"/>
                        </a:lnTo>
                        <a:lnTo>
                          <a:pt x="486" y="274"/>
                        </a:lnTo>
                        <a:lnTo>
                          <a:pt x="490" y="284"/>
                        </a:lnTo>
                        <a:lnTo>
                          <a:pt x="488" y="305"/>
                        </a:lnTo>
                        <a:lnTo>
                          <a:pt x="462" y="327"/>
                        </a:lnTo>
                        <a:lnTo>
                          <a:pt x="457" y="339"/>
                        </a:lnTo>
                        <a:lnTo>
                          <a:pt x="447" y="346"/>
                        </a:lnTo>
                        <a:lnTo>
                          <a:pt x="456" y="355"/>
                        </a:lnTo>
                        <a:lnTo>
                          <a:pt x="453" y="364"/>
                        </a:lnTo>
                        <a:lnTo>
                          <a:pt x="433" y="371"/>
                        </a:lnTo>
                        <a:lnTo>
                          <a:pt x="440" y="380"/>
                        </a:lnTo>
                        <a:lnTo>
                          <a:pt x="438" y="397"/>
                        </a:lnTo>
                        <a:lnTo>
                          <a:pt x="422" y="414"/>
                        </a:lnTo>
                        <a:lnTo>
                          <a:pt x="427" y="424"/>
                        </a:lnTo>
                        <a:lnTo>
                          <a:pt x="421" y="439"/>
                        </a:lnTo>
                        <a:lnTo>
                          <a:pt x="432" y="446"/>
                        </a:lnTo>
                        <a:lnTo>
                          <a:pt x="432" y="461"/>
                        </a:lnTo>
                        <a:lnTo>
                          <a:pt x="426" y="470"/>
                        </a:lnTo>
                        <a:lnTo>
                          <a:pt x="436" y="477"/>
                        </a:lnTo>
                        <a:lnTo>
                          <a:pt x="437" y="495"/>
                        </a:lnTo>
                        <a:lnTo>
                          <a:pt x="431" y="500"/>
                        </a:lnTo>
                        <a:lnTo>
                          <a:pt x="431" y="515"/>
                        </a:lnTo>
                        <a:lnTo>
                          <a:pt x="341" y="519"/>
                        </a:lnTo>
                        <a:lnTo>
                          <a:pt x="188" y="525"/>
                        </a:lnTo>
                        <a:lnTo>
                          <a:pt x="78" y="529"/>
                        </a:lnTo>
                        <a:lnTo>
                          <a:pt x="76" y="449"/>
                        </a:lnTo>
                        <a:lnTo>
                          <a:pt x="70" y="445"/>
                        </a:lnTo>
                        <a:lnTo>
                          <a:pt x="46" y="444"/>
                        </a:lnTo>
                        <a:lnTo>
                          <a:pt x="35" y="449"/>
                        </a:lnTo>
                        <a:lnTo>
                          <a:pt x="23" y="436"/>
                        </a:lnTo>
                        <a:lnTo>
                          <a:pt x="23" y="182"/>
                        </a:lnTo>
                        <a:lnTo>
                          <a:pt x="0" y="21"/>
                        </a:lnTo>
                        <a:lnTo>
                          <a:pt x="65" y="20"/>
                        </a:lnTo>
                        <a:lnTo>
                          <a:pt x="192" y="16"/>
                        </a:lnTo>
                        <a:lnTo>
                          <a:pt x="321" y="11"/>
                        </a:lnTo>
                        <a:lnTo>
                          <a:pt x="417" y="6"/>
                        </a:lnTo>
                        <a:lnTo>
                          <a:pt x="521" y="0"/>
                        </a:lnTo>
                        <a:lnTo>
                          <a:pt x="533" y="19"/>
                        </a:lnTo>
                        <a:lnTo>
                          <a:pt x="533" y="30"/>
                        </a:lnTo>
                        <a:lnTo>
                          <a:pt x="517" y="46"/>
                        </a:lnTo>
                        <a:lnTo>
                          <a:pt x="503" y="65"/>
                        </a:lnTo>
                        <a:lnTo>
                          <a:pt x="501" y="76"/>
                        </a:lnTo>
                        <a:lnTo>
                          <a:pt x="577" y="7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19" name="Iowa" descr="{&quot;Key&quot;:&quot;iowa&quot;,&quot;Name&quot;:&quot;Iowa&quot;,&quot;Value&quot;:1.0,&quot;Formula&quot;:&quot;&quot;,&quot;Text&quot;:&quot;&quot;,&quot;OfficeApplication&quot;:1,&quot;HasValue&quot;:true}">
                    <a:extLst>
                      <a:ext uri="{FF2B5EF4-FFF2-40B4-BE49-F238E27FC236}">
                        <a16:creationId xmlns:a16="http://schemas.microsoft.com/office/drawing/2014/main" id="{A57C1C19-6FFD-02FC-2804-BB513008894F}"/>
                      </a:ext>
                    </a:extLst>
                  </p:cNvPr>
                  <p:cNvSpPr>
                    <a:spLocks/>
                  </p:cNvSpPr>
                  <p:nvPr/>
                </p:nvSpPr>
                <p:spPr bwMode="auto">
                  <a:xfrm>
                    <a:off x="6776493" y="4405235"/>
                    <a:ext cx="365404" cy="236374"/>
                  </a:xfrm>
                  <a:custGeom>
                    <a:avLst/>
                    <a:gdLst>
                      <a:gd name="T0" fmla="*/ 641 w 701"/>
                      <a:gd name="T1" fmla="*/ 144 h 455"/>
                      <a:gd name="T2" fmla="*/ 670 w 701"/>
                      <a:gd name="T3" fmla="*/ 178 h 455"/>
                      <a:gd name="T4" fmla="*/ 701 w 701"/>
                      <a:gd name="T5" fmla="*/ 208 h 455"/>
                      <a:gd name="T6" fmla="*/ 685 w 701"/>
                      <a:gd name="T7" fmla="*/ 250 h 455"/>
                      <a:gd name="T8" fmla="*/ 673 w 701"/>
                      <a:gd name="T9" fmla="*/ 280 h 455"/>
                      <a:gd name="T10" fmla="*/ 645 w 701"/>
                      <a:gd name="T11" fmla="*/ 295 h 455"/>
                      <a:gd name="T12" fmla="*/ 608 w 701"/>
                      <a:gd name="T13" fmla="*/ 308 h 455"/>
                      <a:gd name="T14" fmla="*/ 605 w 701"/>
                      <a:gd name="T15" fmla="*/ 335 h 455"/>
                      <a:gd name="T16" fmla="*/ 621 w 701"/>
                      <a:gd name="T17" fmla="*/ 351 h 455"/>
                      <a:gd name="T18" fmla="*/ 608 w 701"/>
                      <a:gd name="T19" fmla="*/ 389 h 455"/>
                      <a:gd name="T20" fmla="*/ 599 w 701"/>
                      <a:gd name="T21" fmla="*/ 414 h 455"/>
                      <a:gd name="T22" fmla="*/ 579 w 701"/>
                      <a:gd name="T23" fmla="*/ 452 h 455"/>
                      <a:gd name="T24" fmla="*/ 545 w 701"/>
                      <a:gd name="T25" fmla="*/ 431 h 455"/>
                      <a:gd name="T26" fmla="*/ 515 w 701"/>
                      <a:gd name="T27" fmla="*/ 425 h 455"/>
                      <a:gd name="T28" fmla="*/ 338 w 701"/>
                      <a:gd name="T29" fmla="*/ 435 h 455"/>
                      <a:gd name="T30" fmla="*/ 236 w 701"/>
                      <a:gd name="T31" fmla="*/ 439 h 455"/>
                      <a:gd name="T32" fmla="*/ 93 w 701"/>
                      <a:gd name="T33" fmla="*/ 428 h 455"/>
                      <a:gd name="T34" fmla="*/ 86 w 701"/>
                      <a:gd name="T35" fmla="*/ 408 h 455"/>
                      <a:gd name="T36" fmla="*/ 81 w 701"/>
                      <a:gd name="T37" fmla="*/ 376 h 455"/>
                      <a:gd name="T38" fmla="*/ 76 w 701"/>
                      <a:gd name="T39" fmla="*/ 348 h 455"/>
                      <a:gd name="T40" fmla="*/ 73 w 701"/>
                      <a:gd name="T41" fmla="*/ 329 h 455"/>
                      <a:gd name="T42" fmla="*/ 59 w 701"/>
                      <a:gd name="T43" fmla="*/ 298 h 455"/>
                      <a:gd name="T44" fmla="*/ 61 w 701"/>
                      <a:gd name="T45" fmla="*/ 263 h 455"/>
                      <a:gd name="T46" fmla="*/ 51 w 701"/>
                      <a:gd name="T47" fmla="*/ 234 h 455"/>
                      <a:gd name="T48" fmla="*/ 39 w 701"/>
                      <a:gd name="T49" fmla="*/ 215 h 455"/>
                      <a:gd name="T50" fmla="*/ 31 w 701"/>
                      <a:gd name="T51" fmla="*/ 189 h 455"/>
                      <a:gd name="T52" fmla="*/ 25 w 701"/>
                      <a:gd name="T53" fmla="*/ 160 h 455"/>
                      <a:gd name="T54" fmla="*/ 11 w 701"/>
                      <a:gd name="T55" fmla="*/ 138 h 455"/>
                      <a:gd name="T56" fmla="*/ 7 w 701"/>
                      <a:gd name="T57" fmla="*/ 109 h 455"/>
                      <a:gd name="T58" fmla="*/ 14 w 701"/>
                      <a:gd name="T59" fmla="*/ 80 h 455"/>
                      <a:gd name="T60" fmla="*/ 16 w 701"/>
                      <a:gd name="T61" fmla="*/ 55 h 455"/>
                      <a:gd name="T62" fmla="*/ 11 w 701"/>
                      <a:gd name="T63" fmla="*/ 30 h 455"/>
                      <a:gd name="T64" fmla="*/ 20 w 701"/>
                      <a:gd name="T65" fmla="*/ 14 h 455"/>
                      <a:gd name="T66" fmla="*/ 191 w 701"/>
                      <a:gd name="T67" fmla="*/ 13 h 455"/>
                      <a:gd name="T68" fmla="*/ 397 w 701"/>
                      <a:gd name="T69" fmla="*/ 8 h 455"/>
                      <a:gd name="T70" fmla="*/ 570 w 701"/>
                      <a:gd name="T71" fmla="*/ 0 h 455"/>
                      <a:gd name="T72" fmla="*/ 586 w 701"/>
                      <a:gd name="T73" fmla="*/ 23 h 455"/>
                      <a:gd name="T74" fmla="*/ 581 w 701"/>
                      <a:gd name="T75" fmla="*/ 50 h 455"/>
                      <a:gd name="T76" fmla="*/ 597 w 701"/>
                      <a:gd name="T77" fmla="*/ 110 h 455"/>
                      <a:gd name="T78" fmla="*/ 635 w 701"/>
                      <a:gd name="T79" fmla="*/ 120 h 455"/>
                      <a:gd name="T80" fmla="*/ 643 w 701"/>
                      <a:gd name="T81" fmla="*/ 14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1" h="455">
                        <a:moveTo>
                          <a:pt x="643" y="141"/>
                        </a:moveTo>
                        <a:lnTo>
                          <a:pt x="641" y="144"/>
                        </a:lnTo>
                        <a:lnTo>
                          <a:pt x="663" y="159"/>
                        </a:lnTo>
                        <a:lnTo>
                          <a:pt x="670" y="178"/>
                        </a:lnTo>
                        <a:lnTo>
                          <a:pt x="696" y="195"/>
                        </a:lnTo>
                        <a:lnTo>
                          <a:pt x="701" y="208"/>
                        </a:lnTo>
                        <a:lnTo>
                          <a:pt x="696" y="239"/>
                        </a:lnTo>
                        <a:lnTo>
                          <a:pt x="685" y="250"/>
                        </a:lnTo>
                        <a:lnTo>
                          <a:pt x="683" y="270"/>
                        </a:lnTo>
                        <a:lnTo>
                          <a:pt x="673" y="280"/>
                        </a:lnTo>
                        <a:lnTo>
                          <a:pt x="655" y="286"/>
                        </a:lnTo>
                        <a:lnTo>
                          <a:pt x="645" y="295"/>
                        </a:lnTo>
                        <a:lnTo>
                          <a:pt x="614" y="300"/>
                        </a:lnTo>
                        <a:lnTo>
                          <a:pt x="608" y="308"/>
                        </a:lnTo>
                        <a:lnTo>
                          <a:pt x="604" y="326"/>
                        </a:lnTo>
                        <a:lnTo>
                          <a:pt x="605" y="335"/>
                        </a:lnTo>
                        <a:lnTo>
                          <a:pt x="615" y="341"/>
                        </a:lnTo>
                        <a:lnTo>
                          <a:pt x="621" y="351"/>
                        </a:lnTo>
                        <a:lnTo>
                          <a:pt x="620" y="370"/>
                        </a:lnTo>
                        <a:lnTo>
                          <a:pt x="608" y="389"/>
                        </a:lnTo>
                        <a:lnTo>
                          <a:pt x="605" y="406"/>
                        </a:lnTo>
                        <a:lnTo>
                          <a:pt x="599" y="414"/>
                        </a:lnTo>
                        <a:lnTo>
                          <a:pt x="578" y="424"/>
                        </a:lnTo>
                        <a:lnTo>
                          <a:pt x="579" y="452"/>
                        </a:lnTo>
                        <a:lnTo>
                          <a:pt x="573" y="455"/>
                        </a:lnTo>
                        <a:lnTo>
                          <a:pt x="545" y="431"/>
                        </a:lnTo>
                        <a:lnTo>
                          <a:pt x="539" y="423"/>
                        </a:lnTo>
                        <a:lnTo>
                          <a:pt x="515" y="425"/>
                        </a:lnTo>
                        <a:lnTo>
                          <a:pt x="389" y="434"/>
                        </a:lnTo>
                        <a:lnTo>
                          <a:pt x="338" y="435"/>
                        </a:lnTo>
                        <a:lnTo>
                          <a:pt x="286" y="438"/>
                        </a:lnTo>
                        <a:lnTo>
                          <a:pt x="236" y="439"/>
                        </a:lnTo>
                        <a:lnTo>
                          <a:pt x="94" y="436"/>
                        </a:lnTo>
                        <a:lnTo>
                          <a:pt x="93" y="428"/>
                        </a:lnTo>
                        <a:lnTo>
                          <a:pt x="83" y="418"/>
                        </a:lnTo>
                        <a:lnTo>
                          <a:pt x="86" y="408"/>
                        </a:lnTo>
                        <a:lnTo>
                          <a:pt x="85" y="380"/>
                        </a:lnTo>
                        <a:lnTo>
                          <a:pt x="81" y="376"/>
                        </a:lnTo>
                        <a:lnTo>
                          <a:pt x="81" y="354"/>
                        </a:lnTo>
                        <a:lnTo>
                          <a:pt x="76" y="348"/>
                        </a:lnTo>
                        <a:lnTo>
                          <a:pt x="81" y="331"/>
                        </a:lnTo>
                        <a:lnTo>
                          <a:pt x="73" y="329"/>
                        </a:lnTo>
                        <a:lnTo>
                          <a:pt x="75" y="310"/>
                        </a:lnTo>
                        <a:lnTo>
                          <a:pt x="59" y="298"/>
                        </a:lnTo>
                        <a:lnTo>
                          <a:pt x="56" y="284"/>
                        </a:lnTo>
                        <a:lnTo>
                          <a:pt x="61" y="263"/>
                        </a:lnTo>
                        <a:lnTo>
                          <a:pt x="54" y="251"/>
                        </a:lnTo>
                        <a:lnTo>
                          <a:pt x="51" y="234"/>
                        </a:lnTo>
                        <a:lnTo>
                          <a:pt x="40" y="224"/>
                        </a:lnTo>
                        <a:lnTo>
                          <a:pt x="39" y="215"/>
                        </a:lnTo>
                        <a:lnTo>
                          <a:pt x="30" y="203"/>
                        </a:lnTo>
                        <a:lnTo>
                          <a:pt x="31" y="189"/>
                        </a:lnTo>
                        <a:lnTo>
                          <a:pt x="25" y="179"/>
                        </a:lnTo>
                        <a:lnTo>
                          <a:pt x="25" y="160"/>
                        </a:lnTo>
                        <a:lnTo>
                          <a:pt x="16" y="156"/>
                        </a:lnTo>
                        <a:lnTo>
                          <a:pt x="11" y="138"/>
                        </a:lnTo>
                        <a:lnTo>
                          <a:pt x="0" y="123"/>
                        </a:lnTo>
                        <a:lnTo>
                          <a:pt x="7" y="109"/>
                        </a:lnTo>
                        <a:lnTo>
                          <a:pt x="14" y="91"/>
                        </a:lnTo>
                        <a:lnTo>
                          <a:pt x="14" y="80"/>
                        </a:lnTo>
                        <a:lnTo>
                          <a:pt x="19" y="69"/>
                        </a:lnTo>
                        <a:lnTo>
                          <a:pt x="16" y="55"/>
                        </a:lnTo>
                        <a:lnTo>
                          <a:pt x="7" y="54"/>
                        </a:lnTo>
                        <a:lnTo>
                          <a:pt x="11" y="30"/>
                        </a:lnTo>
                        <a:lnTo>
                          <a:pt x="5" y="14"/>
                        </a:lnTo>
                        <a:lnTo>
                          <a:pt x="20" y="14"/>
                        </a:lnTo>
                        <a:lnTo>
                          <a:pt x="89" y="14"/>
                        </a:lnTo>
                        <a:lnTo>
                          <a:pt x="191" y="13"/>
                        </a:lnTo>
                        <a:lnTo>
                          <a:pt x="295" y="11"/>
                        </a:lnTo>
                        <a:lnTo>
                          <a:pt x="397" y="8"/>
                        </a:lnTo>
                        <a:lnTo>
                          <a:pt x="501" y="4"/>
                        </a:lnTo>
                        <a:lnTo>
                          <a:pt x="570" y="0"/>
                        </a:lnTo>
                        <a:lnTo>
                          <a:pt x="576" y="20"/>
                        </a:lnTo>
                        <a:lnTo>
                          <a:pt x="586" y="23"/>
                        </a:lnTo>
                        <a:lnTo>
                          <a:pt x="589" y="31"/>
                        </a:lnTo>
                        <a:lnTo>
                          <a:pt x="581" y="50"/>
                        </a:lnTo>
                        <a:lnTo>
                          <a:pt x="587" y="85"/>
                        </a:lnTo>
                        <a:lnTo>
                          <a:pt x="597" y="110"/>
                        </a:lnTo>
                        <a:lnTo>
                          <a:pt x="606" y="115"/>
                        </a:lnTo>
                        <a:lnTo>
                          <a:pt x="635" y="120"/>
                        </a:lnTo>
                        <a:lnTo>
                          <a:pt x="644" y="136"/>
                        </a:lnTo>
                        <a:lnTo>
                          <a:pt x="643" y="141"/>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0" name="Kansas" descr="{&quot;Key&quot;:&quot;kansas&quot;,&quot;Name&quot;:&quot;Kansas&quot;,&quot;Value&quot;:1.0,&quot;Formula&quot;:&quot;&quot;,&quot;Text&quot;:&quot;&quot;,&quot;OfficeApplication&quot;:1,&quot;HasValue&quot;:true}">
                    <a:extLst>
                      <a:ext uri="{FF2B5EF4-FFF2-40B4-BE49-F238E27FC236}">
                        <a16:creationId xmlns:a16="http://schemas.microsoft.com/office/drawing/2014/main" id="{1DFD1F6E-2046-FA1B-1DC8-DEC4D6CBDDE4}"/>
                      </a:ext>
                    </a:extLst>
                  </p:cNvPr>
                  <p:cNvSpPr>
                    <a:spLocks/>
                  </p:cNvSpPr>
                  <p:nvPr/>
                </p:nvSpPr>
                <p:spPr bwMode="auto">
                  <a:xfrm>
                    <a:off x="6446870" y="4665463"/>
                    <a:ext cx="448894" cy="239627"/>
                  </a:xfrm>
                  <a:custGeom>
                    <a:avLst/>
                    <a:gdLst>
                      <a:gd name="T0" fmla="*/ 863 w 863"/>
                      <a:gd name="T1" fmla="*/ 458 h 459"/>
                      <a:gd name="T2" fmla="*/ 728 w 863"/>
                      <a:gd name="T3" fmla="*/ 459 h 459"/>
                      <a:gd name="T4" fmla="*/ 648 w 863"/>
                      <a:gd name="T5" fmla="*/ 458 h 459"/>
                      <a:gd name="T6" fmla="*/ 513 w 863"/>
                      <a:gd name="T7" fmla="*/ 456 h 459"/>
                      <a:gd name="T8" fmla="*/ 379 w 863"/>
                      <a:gd name="T9" fmla="*/ 454 h 459"/>
                      <a:gd name="T10" fmla="*/ 299 w 863"/>
                      <a:gd name="T11" fmla="*/ 450 h 459"/>
                      <a:gd name="T12" fmla="*/ 192 w 863"/>
                      <a:gd name="T13" fmla="*/ 447 h 459"/>
                      <a:gd name="T14" fmla="*/ 84 w 863"/>
                      <a:gd name="T15" fmla="*/ 440 h 459"/>
                      <a:gd name="T16" fmla="*/ 0 w 863"/>
                      <a:gd name="T17" fmla="*/ 435 h 459"/>
                      <a:gd name="T18" fmla="*/ 29 w 863"/>
                      <a:gd name="T19" fmla="*/ 0 h 459"/>
                      <a:gd name="T20" fmla="*/ 194 w 863"/>
                      <a:gd name="T21" fmla="*/ 9 h 459"/>
                      <a:gd name="T22" fmla="*/ 312 w 863"/>
                      <a:gd name="T23" fmla="*/ 15 h 459"/>
                      <a:gd name="T24" fmla="*/ 428 w 863"/>
                      <a:gd name="T25" fmla="*/ 19 h 459"/>
                      <a:gd name="T26" fmla="*/ 498 w 863"/>
                      <a:gd name="T27" fmla="*/ 20 h 459"/>
                      <a:gd name="T28" fmla="*/ 662 w 863"/>
                      <a:gd name="T29" fmla="*/ 22 h 459"/>
                      <a:gd name="T30" fmla="*/ 778 w 863"/>
                      <a:gd name="T31" fmla="*/ 22 h 459"/>
                      <a:gd name="T32" fmla="*/ 792 w 863"/>
                      <a:gd name="T33" fmla="*/ 35 h 459"/>
                      <a:gd name="T34" fmla="*/ 805 w 863"/>
                      <a:gd name="T35" fmla="*/ 42 h 459"/>
                      <a:gd name="T36" fmla="*/ 813 w 863"/>
                      <a:gd name="T37" fmla="*/ 35 h 459"/>
                      <a:gd name="T38" fmla="*/ 827 w 863"/>
                      <a:gd name="T39" fmla="*/ 48 h 459"/>
                      <a:gd name="T40" fmla="*/ 809 w 863"/>
                      <a:gd name="T41" fmla="*/ 72 h 459"/>
                      <a:gd name="T42" fmla="*/ 803 w 863"/>
                      <a:gd name="T43" fmla="*/ 90 h 459"/>
                      <a:gd name="T44" fmla="*/ 824 w 863"/>
                      <a:gd name="T45" fmla="*/ 114 h 459"/>
                      <a:gd name="T46" fmla="*/ 834 w 863"/>
                      <a:gd name="T47" fmla="*/ 135 h 459"/>
                      <a:gd name="T48" fmla="*/ 858 w 863"/>
                      <a:gd name="T49" fmla="*/ 149 h 459"/>
                      <a:gd name="T50" fmla="*/ 863 w 863"/>
                      <a:gd name="T51" fmla="*/ 45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63" h="459">
                        <a:moveTo>
                          <a:pt x="863" y="458"/>
                        </a:moveTo>
                        <a:lnTo>
                          <a:pt x="728" y="459"/>
                        </a:lnTo>
                        <a:lnTo>
                          <a:pt x="648" y="458"/>
                        </a:lnTo>
                        <a:lnTo>
                          <a:pt x="513" y="456"/>
                        </a:lnTo>
                        <a:lnTo>
                          <a:pt x="379" y="454"/>
                        </a:lnTo>
                        <a:lnTo>
                          <a:pt x="299" y="450"/>
                        </a:lnTo>
                        <a:lnTo>
                          <a:pt x="192" y="447"/>
                        </a:lnTo>
                        <a:lnTo>
                          <a:pt x="84" y="440"/>
                        </a:lnTo>
                        <a:lnTo>
                          <a:pt x="0" y="435"/>
                        </a:lnTo>
                        <a:lnTo>
                          <a:pt x="29" y="0"/>
                        </a:lnTo>
                        <a:lnTo>
                          <a:pt x="194" y="9"/>
                        </a:lnTo>
                        <a:lnTo>
                          <a:pt x="312" y="15"/>
                        </a:lnTo>
                        <a:lnTo>
                          <a:pt x="428" y="19"/>
                        </a:lnTo>
                        <a:lnTo>
                          <a:pt x="498" y="20"/>
                        </a:lnTo>
                        <a:lnTo>
                          <a:pt x="662" y="22"/>
                        </a:lnTo>
                        <a:lnTo>
                          <a:pt x="778" y="22"/>
                        </a:lnTo>
                        <a:lnTo>
                          <a:pt x="792" y="35"/>
                        </a:lnTo>
                        <a:lnTo>
                          <a:pt x="805" y="42"/>
                        </a:lnTo>
                        <a:lnTo>
                          <a:pt x="813" y="35"/>
                        </a:lnTo>
                        <a:lnTo>
                          <a:pt x="827" y="48"/>
                        </a:lnTo>
                        <a:lnTo>
                          <a:pt x="809" y="72"/>
                        </a:lnTo>
                        <a:lnTo>
                          <a:pt x="803" y="90"/>
                        </a:lnTo>
                        <a:lnTo>
                          <a:pt x="824" y="114"/>
                        </a:lnTo>
                        <a:lnTo>
                          <a:pt x="834" y="135"/>
                        </a:lnTo>
                        <a:lnTo>
                          <a:pt x="858" y="149"/>
                        </a:lnTo>
                        <a:lnTo>
                          <a:pt x="863" y="45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1" name="Missouri" descr="{&quot;Key&quot;:&quot;missouri&quot;,&quot;Name&quot;:&quot;Missouri&quot;,&quot;Value&quot;:1.0,&quot;Formula&quot;:&quot;&quot;,&quot;Text&quot;:&quot;&quot;,&quot;OfficeApplication&quot;:1,&quot;HasValue&quot;:true}">
                    <a:extLst>
                      <a:ext uri="{FF2B5EF4-FFF2-40B4-BE49-F238E27FC236}">
                        <a16:creationId xmlns:a16="http://schemas.microsoft.com/office/drawing/2014/main" id="{77A195BC-5352-98F0-71A4-72FF2BC4C8FF}"/>
                      </a:ext>
                    </a:extLst>
                  </p:cNvPr>
                  <p:cNvSpPr>
                    <a:spLocks/>
                  </p:cNvSpPr>
                  <p:nvPr/>
                </p:nvSpPr>
                <p:spPr bwMode="auto">
                  <a:xfrm>
                    <a:off x="6825286" y="4624260"/>
                    <a:ext cx="402269" cy="345887"/>
                  </a:xfrm>
                  <a:custGeom>
                    <a:avLst/>
                    <a:gdLst>
                      <a:gd name="T0" fmla="*/ 472 w 772"/>
                      <a:gd name="T1" fmla="*/ 43 h 664"/>
                      <a:gd name="T2" fmla="*/ 475 w 772"/>
                      <a:gd name="T3" fmla="*/ 87 h 664"/>
                      <a:gd name="T4" fmla="*/ 481 w 772"/>
                      <a:gd name="T5" fmla="*/ 108 h 664"/>
                      <a:gd name="T6" fmla="*/ 522 w 772"/>
                      <a:gd name="T7" fmla="*/ 154 h 664"/>
                      <a:gd name="T8" fmla="*/ 556 w 772"/>
                      <a:gd name="T9" fmla="*/ 183 h 664"/>
                      <a:gd name="T10" fmla="*/ 572 w 772"/>
                      <a:gd name="T11" fmla="*/ 229 h 664"/>
                      <a:gd name="T12" fmla="*/ 602 w 772"/>
                      <a:gd name="T13" fmla="*/ 232 h 664"/>
                      <a:gd name="T14" fmla="*/ 638 w 772"/>
                      <a:gd name="T15" fmla="*/ 249 h 664"/>
                      <a:gd name="T16" fmla="*/ 632 w 772"/>
                      <a:gd name="T17" fmla="*/ 278 h 664"/>
                      <a:gd name="T18" fmla="*/ 613 w 772"/>
                      <a:gd name="T19" fmla="*/ 328 h 664"/>
                      <a:gd name="T20" fmla="*/ 647 w 772"/>
                      <a:gd name="T21" fmla="*/ 368 h 664"/>
                      <a:gd name="T22" fmla="*/ 693 w 772"/>
                      <a:gd name="T23" fmla="*/ 390 h 664"/>
                      <a:gd name="T24" fmla="*/ 715 w 772"/>
                      <a:gd name="T25" fmla="*/ 409 h 664"/>
                      <a:gd name="T26" fmla="*/ 728 w 772"/>
                      <a:gd name="T27" fmla="*/ 447 h 664"/>
                      <a:gd name="T28" fmla="*/ 722 w 772"/>
                      <a:gd name="T29" fmla="*/ 472 h 664"/>
                      <a:gd name="T30" fmla="*/ 757 w 772"/>
                      <a:gd name="T31" fmla="*/ 502 h 664"/>
                      <a:gd name="T32" fmla="*/ 770 w 772"/>
                      <a:gd name="T33" fmla="*/ 529 h 664"/>
                      <a:gd name="T34" fmla="*/ 766 w 772"/>
                      <a:gd name="T35" fmla="*/ 565 h 664"/>
                      <a:gd name="T36" fmla="*/ 748 w 772"/>
                      <a:gd name="T37" fmla="*/ 562 h 664"/>
                      <a:gd name="T38" fmla="*/ 733 w 772"/>
                      <a:gd name="T39" fmla="*/ 583 h 664"/>
                      <a:gd name="T40" fmla="*/ 731 w 772"/>
                      <a:gd name="T41" fmla="*/ 600 h 664"/>
                      <a:gd name="T42" fmla="*/ 726 w 772"/>
                      <a:gd name="T43" fmla="*/ 619 h 664"/>
                      <a:gd name="T44" fmla="*/ 723 w 772"/>
                      <a:gd name="T45" fmla="*/ 635 h 664"/>
                      <a:gd name="T46" fmla="*/ 712 w 772"/>
                      <a:gd name="T47" fmla="*/ 658 h 664"/>
                      <a:gd name="T48" fmla="*/ 638 w 772"/>
                      <a:gd name="T49" fmla="*/ 653 h 664"/>
                      <a:gd name="T50" fmla="*/ 668 w 772"/>
                      <a:gd name="T51" fmla="*/ 618 h 664"/>
                      <a:gd name="T52" fmla="*/ 656 w 772"/>
                      <a:gd name="T53" fmla="*/ 588 h 664"/>
                      <a:gd name="T54" fmla="*/ 456 w 772"/>
                      <a:gd name="T55" fmla="*/ 599 h 664"/>
                      <a:gd name="T56" fmla="*/ 200 w 772"/>
                      <a:gd name="T57" fmla="*/ 608 h 664"/>
                      <a:gd name="T58" fmla="*/ 135 w 772"/>
                      <a:gd name="T59" fmla="*/ 537 h 664"/>
                      <a:gd name="T60" fmla="*/ 106 w 772"/>
                      <a:gd name="T61" fmla="*/ 214 h 664"/>
                      <a:gd name="T62" fmla="*/ 75 w 772"/>
                      <a:gd name="T63" fmla="*/ 169 h 664"/>
                      <a:gd name="T64" fmla="*/ 98 w 772"/>
                      <a:gd name="T65" fmla="*/ 127 h 664"/>
                      <a:gd name="T66" fmla="*/ 77 w 772"/>
                      <a:gd name="T67" fmla="*/ 120 h 664"/>
                      <a:gd name="T68" fmla="*/ 50 w 772"/>
                      <a:gd name="T69" fmla="*/ 100 h 664"/>
                      <a:gd name="T70" fmla="*/ 40 w 772"/>
                      <a:gd name="T71" fmla="*/ 84 h 664"/>
                      <a:gd name="T72" fmla="*/ 7 w 772"/>
                      <a:gd name="T73" fmla="*/ 25 h 664"/>
                      <a:gd name="T74" fmla="*/ 142 w 772"/>
                      <a:gd name="T75" fmla="*/ 17 h 664"/>
                      <a:gd name="T76" fmla="*/ 243 w 772"/>
                      <a:gd name="T77" fmla="*/ 13 h 664"/>
                      <a:gd name="T78" fmla="*/ 421 w 772"/>
                      <a:gd name="T79" fmla="*/ 3 h 664"/>
                      <a:gd name="T80" fmla="*/ 451 w 772"/>
                      <a:gd name="T81" fmla="*/ 9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2" h="664">
                        <a:moveTo>
                          <a:pt x="479" y="33"/>
                        </a:moveTo>
                        <a:lnTo>
                          <a:pt x="472" y="43"/>
                        </a:lnTo>
                        <a:lnTo>
                          <a:pt x="471" y="63"/>
                        </a:lnTo>
                        <a:lnTo>
                          <a:pt x="475" y="87"/>
                        </a:lnTo>
                        <a:lnTo>
                          <a:pt x="481" y="96"/>
                        </a:lnTo>
                        <a:lnTo>
                          <a:pt x="481" y="108"/>
                        </a:lnTo>
                        <a:lnTo>
                          <a:pt x="492" y="130"/>
                        </a:lnTo>
                        <a:lnTo>
                          <a:pt x="522" y="154"/>
                        </a:lnTo>
                        <a:lnTo>
                          <a:pt x="529" y="165"/>
                        </a:lnTo>
                        <a:lnTo>
                          <a:pt x="556" y="183"/>
                        </a:lnTo>
                        <a:lnTo>
                          <a:pt x="567" y="200"/>
                        </a:lnTo>
                        <a:lnTo>
                          <a:pt x="572" y="229"/>
                        </a:lnTo>
                        <a:lnTo>
                          <a:pt x="586" y="245"/>
                        </a:lnTo>
                        <a:lnTo>
                          <a:pt x="602" y="232"/>
                        </a:lnTo>
                        <a:lnTo>
                          <a:pt x="631" y="243"/>
                        </a:lnTo>
                        <a:lnTo>
                          <a:pt x="638" y="249"/>
                        </a:lnTo>
                        <a:lnTo>
                          <a:pt x="631" y="263"/>
                        </a:lnTo>
                        <a:lnTo>
                          <a:pt x="632" y="278"/>
                        </a:lnTo>
                        <a:lnTo>
                          <a:pt x="625" y="293"/>
                        </a:lnTo>
                        <a:lnTo>
                          <a:pt x="613" y="328"/>
                        </a:lnTo>
                        <a:lnTo>
                          <a:pt x="618" y="342"/>
                        </a:lnTo>
                        <a:lnTo>
                          <a:pt x="647" y="368"/>
                        </a:lnTo>
                        <a:lnTo>
                          <a:pt x="670" y="375"/>
                        </a:lnTo>
                        <a:lnTo>
                          <a:pt x="693" y="390"/>
                        </a:lnTo>
                        <a:lnTo>
                          <a:pt x="703" y="405"/>
                        </a:lnTo>
                        <a:lnTo>
                          <a:pt x="715" y="409"/>
                        </a:lnTo>
                        <a:lnTo>
                          <a:pt x="718" y="429"/>
                        </a:lnTo>
                        <a:lnTo>
                          <a:pt x="728" y="447"/>
                        </a:lnTo>
                        <a:lnTo>
                          <a:pt x="728" y="458"/>
                        </a:lnTo>
                        <a:lnTo>
                          <a:pt x="722" y="472"/>
                        </a:lnTo>
                        <a:lnTo>
                          <a:pt x="747" y="507"/>
                        </a:lnTo>
                        <a:lnTo>
                          <a:pt x="757" y="502"/>
                        </a:lnTo>
                        <a:lnTo>
                          <a:pt x="772" y="510"/>
                        </a:lnTo>
                        <a:lnTo>
                          <a:pt x="770" y="529"/>
                        </a:lnTo>
                        <a:lnTo>
                          <a:pt x="772" y="545"/>
                        </a:lnTo>
                        <a:lnTo>
                          <a:pt x="766" y="565"/>
                        </a:lnTo>
                        <a:lnTo>
                          <a:pt x="761" y="570"/>
                        </a:lnTo>
                        <a:lnTo>
                          <a:pt x="748" y="562"/>
                        </a:lnTo>
                        <a:lnTo>
                          <a:pt x="742" y="583"/>
                        </a:lnTo>
                        <a:lnTo>
                          <a:pt x="733" y="583"/>
                        </a:lnTo>
                        <a:lnTo>
                          <a:pt x="726" y="583"/>
                        </a:lnTo>
                        <a:lnTo>
                          <a:pt x="731" y="600"/>
                        </a:lnTo>
                        <a:lnTo>
                          <a:pt x="720" y="609"/>
                        </a:lnTo>
                        <a:lnTo>
                          <a:pt x="726" y="619"/>
                        </a:lnTo>
                        <a:lnTo>
                          <a:pt x="713" y="622"/>
                        </a:lnTo>
                        <a:lnTo>
                          <a:pt x="723" y="635"/>
                        </a:lnTo>
                        <a:lnTo>
                          <a:pt x="717" y="642"/>
                        </a:lnTo>
                        <a:lnTo>
                          <a:pt x="712" y="658"/>
                        </a:lnTo>
                        <a:lnTo>
                          <a:pt x="636" y="664"/>
                        </a:lnTo>
                        <a:lnTo>
                          <a:pt x="638" y="653"/>
                        </a:lnTo>
                        <a:lnTo>
                          <a:pt x="652" y="634"/>
                        </a:lnTo>
                        <a:lnTo>
                          <a:pt x="668" y="618"/>
                        </a:lnTo>
                        <a:lnTo>
                          <a:pt x="668" y="607"/>
                        </a:lnTo>
                        <a:lnTo>
                          <a:pt x="656" y="588"/>
                        </a:lnTo>
                        <a:lnTo>
                          <a:pt x="552" y="594"/>
                        </a:lnTo>
                        <a:lnTo>
                          <a:pt x="456" y="599"/>
                        </a:lnTo>
                        <a:lnTo>
                          <a:pt x="327" y="604"/>
                        </a:lnTo>
                        <a:lnTo>
                          <a:pt x="200" y="608"/>
                        </a:lnTo>
                        <a:lnTo>
                          <a:pt x="135" y="609"/>
                        </a:lnTo>
                        <a:lnTo>
                          <a:pt x="135" y="537"/>
                        </a:lnTo>
                        <a:lnTo>
                          <a:pt x="130" y="228"/>
                        </a:lnTo>
                        <a:lnTo>
                          <a:pt x="106" y="214"/>
                        </a:lnTo>
                        <a:lnTo>
                          <a:pt x="96" y="193"/>
                        </a:lnTo>
                        <a:lnTo>
                          <a:pt x="75" y="169"/>
                        </a:lnTo>
                        <a:lnTo>
                          <a:pt x="81" y="150"/>
                        </a:lnTo>
                        <a:lnTo>
                          <a:pt x="98" y="127"/>
                        </a:lnTo>
                        <a:lnTo>
                          <a:pt x="85" y="114"/>
                        </a:lnTo>
                        <a:lnTo>
                          <a:pt x="77" y="120"/>
                        </a:lnTo>
                        <a:lnTo>
                          <a:pt x="63" y="114"/>
                        </a:lnTo>
                        <a:lnTo>
                          <a:pt x="50" y="100"/>
                        </a:lnTo>
                        <a:lnTo>
                          <a:pt x="38" y="94"/>
                        </a:lnTo>
                        <a:lnTo>
                          <a:pt x="40" y="84"/>
                        </a:lnTo>
                        <a:lnTo>
                          <a:pt x="15" y="50"/>
                        </a:lnTo>
                        <a:lnTo>
                          <a:pt x="7" y="25"/>
                        </a:lnTo>
                        <a:lnTo>
                          <a:pt x="0" y="14"/>
                        </a:lnTo>
                        <a:lnTo>
                          <a:pt x="142" y="17"/>
                        </a:lnTo>
                        <a:lnTo>
                          <a:pt x="192" y="15"/>
                        </a:lnTo>
                        <a:lnTo>
                          <a:pt x="243" y="13"/>
                        </a:lnTo>
                        <a:lnTo>
                          <a:pt x="295" y="12"/>
                        </a:lnTo>
                        <a:lnTo>
                          <a:pt x="421" y="3"/>
                        </a:lnTo>
                        <a:lnTo>
                          <a:pt x="445" y="0"/>
                        </a:lnTo>
                        <a:lnTo>
                          <a:pt x="451" y="9"/>
                        </a:lnTo>
                        <a:lnTo>
                          <a:pt x="479" y="3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2" name="Nebraska" descr="{&quot;Key&quot;:&quot;nebraska&quot;,&quot;Name&quot;:&quot;Nebraska&quot;,&quot;Value&quot;:1.0,&quot;Formula&quot;:&quot;&quot;,&quot;Text&quot;:&quot;&quot;,&quot;OfficeApplication&quot;:1,&quot;HasValue&quot;:true}">
                    <a:extLst>
                      <a:ext uri="{FF2B5EF4-FFF2-40B4-BE49-F238E27FC236}">
                        <a16:creationId xmlns:a16="http://schemas.microsoft.com/office/drawing/2014/main" id="{54A26418-60B4-0630-0324-614E8B53B659}"/>
                      </a:ext>
                    </a:extLst>
                  </p:cNvPr>
                  <p:cNvSpPr>
                    <a:spLocks/>
                  </p:cNvSpPr>
                  <p:nvPr/>
                </p:nvSpPr>
                <p:spPr bwMode="auto">
                  <a:xfrm>
                    <a:off x="6352538" y="4430173"/>
                    <a:ext cx="498771" cy="246132"/>
                  </a:xfrm>
                  <a:custGeom>
                    <a:avLst/>
                    <a:gdLst>
                      <a:gd name="T0" fmla="*/ 831 w 959"/>
                      <a:gd name="T1" fmla="*/ 107 h 473"/>
                      <a:gd name="T2" fmla="*/ 840 w 959"/>
                      <a:gd name="T3" fmla="*/ 111 h 473"/>
                      <a:gd name="T4" fmla="*/ 840 w 959"/>
                      <a:gd name="T5" fmla="*/ 130 h 473"/>
                      <a:gd name="T6" fmla="*/ 846 w 959"/>
                      <a:gd name="T7" fmla="*/ 140 h 473"/>
                      <a:gd name="T8" fmla="*/ 845 w 959"/>
                      <a:gd name="T9" fmla="*/ 153 h 473"/>
                      <a:gd name="T10" fmla="*/ 854 w 959"/>
                      <a:gd name="T11" fmla="*/ 166 h 473"/>
                      <a:gd name="T12" fmla="*/ 855 w 959"/>
                      <a:gd name="T13" fmla="*/ 175 h 473"/>
                      <a:gd name="T14" fmla="*/ 866 w 959"/>
                      <a:gd name="T15" fmla="*/ 185 h 473"/>
                      <a:gd name="T16" fmla="*/ 869 w 959"/>
                      <a:gd name="T17" fmla="*/ 202 h 473"/>
                      <a:gd name="T18" fmla="*/ 876 w 959"/>
                      <a:gd name="T19" fmla="*/ 213 h 473"/>
                      <a:gd name="T20" fmla="*/ 871 w 959"/>
                      <a:gd name="T21" fmla="*/ 235 h 473"/>
                      <a:gd name="T22" fmla="*/ 874 w 959"/>
                      <a:gd name="T23" fmla="*/ 249 h 473"/>
                      <a:gd name="T24" fmla="*/ 890 w 959"/>
                      <a:gd name="T25" fmla="*/ 261 h 473"/>
                      <a:gd name="T26" fmla="*/ 888 w 959"/>
                      <a:gd name="T27" fmla="*/ 280 h 473"/>
                      <a:gd name="T28" fmla="*/ 896 w 959"/>
                      <a:gd name="T29" fmla="*/ 282 h 473"/>
                      <a:gd name="T30" fmla="*/ 891 w 959"/>
                      <a:gd name="T31" fmla="*/ 299 h 473"/>
                      <a:gd name="T32" fmla="*/ 896 w 959"/>
                      <a:gd name="T33" fmla="*/ 305 h 473"/>
                      <a:gd name="T34" fmla="*/ 896 w 959"/>
                      <a:gd name="T35" fmla="*/ 327 h 473"/>
                      <a:gd name="T36" fmla="*/ 900 w 959"/>
                      <a:gd name="T37" fmla="*/ 331 h 473"/>
                      <a:gd name="T38" fmla="*/ 901 w 959"/>
                      <a:gd name="T39" fmla="*/ 358 h 473"/>
                      <a:gd name="T40" fmla="*/ 898 w 959"/>
                      <a:gd name="T41" fmla="*/ 368 h 473"/>
                      <a:gd name="T42" fmla="*/ 908 w 959"/>
                      <a:gd name="T43" fmla="*/ 378 h 473"/>
                      <a:gd name="T44" fmla="*/ 909 w 959"/>
                      <a:gd name="T45" fmla="*/ 387 h 473"/>
                      <a:gd name="T46" fmla="*/ 916 w 959"/>
                      <a:gd name="T47" fmla="*/ 398 h 473"/>
                      <a:gd name="T48" fmla="*/ 924 w 959"/>
                      <a:gd name="T49" fmla="*/ 423 h 473"/>
                      <a:gd name="T50" fmla="*/ 949 w 959"/>
                      <a:gd name="T51" fmla="*/ 457 h 473"/>
                      <a:gd name="T52" fmla="*/ 948 w 959"/>
                      <a:gd name="T53" fmla="*/ 467 h 473"/>
                      <a:gd name="T54" fmla="*/ 959 w 959"/>
                      <a:gd name="T55" fmla="*/ 473 h 473"/>
                      <a:gd name="T56" fmla="*/ 843 w 959"/>
                      <a:gd name="T57" fmla="*/ 473 h 473"/>
                      <a:gd name="T58" fmla="*/ 679 w 959"/>
                      <a:gd name="T59" fmla="*/ 472 h 473"/>
                      <a:gd name="T60" fmla="*/ 609 w 959"/>
                      <a:gd name="T61" fmla="*/ 471 h 473"/>
                      <a:gd name="T62" fmla="*/ 493 w 959"/>
                      <a:gd name="T63" fmla="*/ 467 h 473"/>
                      <a:gd name="T64" fmla="*/ 375 w 959"/>
                      <a:gd name="T65" fmla="*/ 461 h 473"/>
                      <a:gd name="T66" fmla="*/ 210 w 959"/>
                      <a:gd name="T67" fmla="*/ 452 h 473"/>
                      <a:gd name="T68" fmla="*/ 219 w 959"/>
                      <a:gd name="T69" fmla="*/ 307 h 473"/>
                      <a:gd name="T70" fmla="*/ 81 w 959"/>
                      <a:gd name="T71" fmla="*/ 296 h 473"/>
                      <a:gd name="T72" fmla="*/ 0 w 959"/>
                      <a:gd name="T73" fmla="*/ 290 h 473"/>
                      <a:gd name="T74" fmla="*/ 26 w 959"/>
                      <a:gd name="T75" fmla="*/ 0 h 473"/>
                      <a:gd name="T76" fmla="*/ 138 w 959"/>
                      <a:gd name="T77" fmla="*/ 8 h 473"/>
                      <a:gd name="T78" fmla="*/ 300 w 959"/>
                      <a:gd name="T79" fmla="*/ 20 h 473"/>
                      <a:gd name="T80" fmla="*/ 409 w 959"/>
                      <a:gd name="T81" fmla="*/ 26 h 473"/>
                      <a:gd name="T82" fmla="*/ 499 w 959"/>
                      <a:gd name="T83" fmla="*/ 30 h 473"/>
                      <a:gd name="T84" fmla="*/ 618 w 959"/>
                      <a:gd name="T85" fmla="*/ 33 h 473"/>
                      <a:gd name="T86" fmla="*/ 644 w 959"/>
                      <a:gd name="T87" fmla="*/ 53 h 473"/>
                      <a:gd name="T88" fmla="*/ 669 w 959"/>
                      <a:gd name="T89" fmla="*/ 67 h 473"/>
                      <a:gd name="T90" fmla="*/ 675 w 959"/>
                      <a:gd name="T91" fmla="*/ 66 h 473"/>
                      <a:gd name="T92" fmla="*/ 686 w 959"/>
                      <a:gd name="T93" fmla="*/ 55 h 473"/>
                      <a:gd name="T94" fmla="*/ 705 w 959"/>
                      <a:gd name="T95" fmla="*/ 57 h 473"/>
                      <a:gd name="T96" fmla="*/ 744 w 959"/>
                      <a:gd name="T97" fmla="*/ 53 h 473"/>
                      <a:gd name="T98" fmla="*/ 763 w 959"/>
                      <a:gd name="T99" fmla="*/ 67 h 473"/>
                      <a:gd name="T100" fmla="*/ 791 w 959"/>
                      <a:gd name="T101" fmla="*/ 75 h 473"/>
                      <a:gd name="T102" fmla="*/ 798 w 959"/>
                      <a:gd name="T103" fmla="*/ 82 h 473"/>
                      <a:gd name="T104" fmla="*/ 806 w 959"/>
                      <a:gd name="T105" fmla="*/ 85 h 473"/>
                      <a:gd name="T106" fmla="*/ 809 w 959"/>
                      <a:gd name="T107" fmla="*/ 94 h 473"/>
                      <a:gd name="T108" fmla="*/ 818 w 959"/>
                      <a:gd name="T109" fmla="*/ 105 h 473"/>
                      <a:gd name="T110" fmla="*/ 831 w 959"/>
                      <a:gd name="T111" fmla="*/ 107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9" h="473">
                        <a:moveTo>
                          <a:pt x="831" y="107"/>
                        </a:moveTo>
                        <a:lnTo>
                          <a:pt x="840" y="111"/>
                        </a:lnTo>
                        <a:lnTo>
                          <a:pt x="840" y="130"/>
                        </a:lnTo>
                        <a:lnTo>
                          <a:pt x="846" y="140"/>
                        </a:lnTo>
                        <a:lnTo>
                          <a:pt x="845" y="153"/>
                        </a:lnTo>
                        <a:lnTo>
                          <a:pt x="854" y="166"/>
                        </a:lnTo>
                        <a:lnTo>
                          <a:pt x="855" y="175"/>
                        </a:lnTo>
                        <a:lnTo>
                          <a:pt x="866" y="185"/>
                        </a:lnTo>
                        <a:lnTo>
                          <a:pt x="869" y="202"/>
                        </a:lnTo>
                        <a:lnTo>
                          <a:pt x="876" y="213"/>
                        </a:lnTo>
                        <a:lnTo>
                          <a:pt x="871" y="235"/>
                        </a:lnTo>
                        <a:lnTo>
                          <a:pt x="874" y="249"/>
                        </a:lnTo>
                        <a:lnTo>
                          <a:pt x="890" y="261"/>
                        </a:lnTo>
                        <a:lnTo>
                          <a:pt x="888" y="280"/>
                        </a:lnTo>
                        <a:lnTo>
                          <a:pt x="896" y="282"/>
                        </a:lnTo>
                        <a:lnTo>
                          <a:pt x="891" y="299"/>
                        </a:lnTo>
                        <a:lnTo>
                          <a:pt x="896" y="305"/>
                        </a:lnTo>
                        <a:lnTo>
                          <a:pt x="896" y="327"/>
                        </a:lnTo>
                        <a:lnTo>
                          <a:pt x="900" y="331"/>
                        </a:lnTo>
                        <a:lnTo>
                          <a:pt x="901" y="358"/>
                        </a:lnTo>
                        <a:lnTo>
                          <a:pt x="898" y="368"/>
                        </a:lnTo>
                        <a:lnTo>
                          <a:pt x="908" y="378"/>
                        </a:lnTo>
                        <a:lnTo>
                          <a:pt x="909" y="387"/>
                        </a:lnTo>
                        <a:lnTo>
                          <a:pt x="916" y="398"/>
                        </a:lnTo>
                        <a:lnTo>
                          <a:pt x="924" y="423"/>
                        </a:lnTo>
                        <a:lnTo>
                          <a:pt x="949" y="457"/>
                        </a:lnTo>
                        <a:lnTo>
                          <a:pt x="948" y="467"/>
                        </a:lnTo>
                        <a:lnTo>
                          <a:pt x="959" y="473"/>
                        </a:lnTo>
                        <a:lnTo>
                          <a:pt x="843" y="473"/>
                        </a:lnTo>
                        <a:lnTo>
                          <a:pt x="679" y="472"/>
                        </a:lnTo>
                        <a:lnTo>
                          <a:pt x="609" y="471"/>
                        </a:lnTo>
                        <a:lnTo>
                          <a:pt x="493" y="467"/>
                        </a:lnTo>
                        <a:lnTo>
                          <a:pt x="375" y="461"/>
                        </a:lnTo>
                        <a:lnTo>
                          <a:pt x="210" y="452"/>
                        </a:lnTo>
                        <a:lnTo>
                          <a:pt x="219" y="307"/>
                        </a:lnTo>
                        <a:lnTo>
                          <a:pt x="81" y="296"/>
                        </a:lnTo>
                        <a:lnTo>
                          <a:pt x="0" y="290"/>
                        </a:lnTo>
                        <a:lnTo>
                          <a:pt x="26" y="0"/>
                        </a:lnTo>
                        <a:lnTo>
                          <a:pt x="138" y="8"/>
                        </a:lnTo>
                        <a:lnTo>
                          <a:pt x="300" y="20"/>
                        </a:lnTo>
                        <a:lnTo>
                          <a:pt x="409" y="26"/>
                        </a:lnTo>
                        <a:lnTo>
                          <a:pt x="499" y="30"/>
                        </a:lnTo>
                        <a:lnTo>
                          <a:pt x="618" y="33"/>
                        </a:lnTo>
                        <a:lnTo>
                          <a:pt x="644" y="53"/>
                        </a:lnTo>
                        <a:lnTo>
                          <a:pt x="669" y="67"/>
                        </a:lnTo>
                        <a:lnTo>
                          <a:pt x="675" y="66"/>
                        </a:lnTo>
                        <a:lnTo>
                          <a:pt x="686" y="55"/>
                        </a:lnTo>
                        <a:lnTo>
                          <a:pt x="705" y="57"/>
                        </a:lnTo>
                        <a:lnTo>
                          <a:pt x="744" y="53"/>
                        </a:lnTo>
                        <a:lnTo>
                          <a:pt x="763" y="67"/>
                        </a:lnTo>
                        <a:lnTo>
                          <a:pt x="791" y="75"/>
                        </a:lnTo>
                        <a:lnTo>
                          <a:pt x="798" y="82"/>
                        </a:lnTo>
                        <a:lnTo>
                          <a:pt x="806" y="85"/>
                        </a:lnTo>
                        <a:lnTo>
                          <a:pt x="809" y="94"/>
                        </a:lnTo>
                        <a:lnTo>
                          <a:pt x="818" y="105"/>
                        </a:lnTo>
                        <a:lnTo>
                          <a:pt x="831" y="107"/>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3" name="Oklahoma" descr="{&quot;Key&quot;:&quot;oklahoma&quot;,&quot;Name&quot;:&quot;Oklahoma&quot;,&quot;Value&quot;:1.0,&quot;Formula&quot;:&quot;&quot;,&quot;Text&quot;:&quot;&quot;,&quot;OfficeApplication&quot;:1,&quot;HasValue&quot;:true}">
                    <a:extLst>
                      <a:ext uri="{FF2B5EF4-FFF2-40B4-BE49-F238E27FC236}">
                        <a16:creationId xmlns:a16="http://schemas.microsoft.com/office/drawing/2014/main" id="{04B904E2-D6C7-FCD6-3C17-E25796728340}"/>
                      </a:ext>
                    </a:extLst>
                  </p:cNvPr>
                  <p:cNvSpPr>
                    <a:spLocks/>
                  </p:cNvSpPr>
                  <p:nvPr/>
                </p:nvSpPr>
                <p:spPr bwMode="auto">
                  <a:xfrm>
                    <a:off x="6386151" y="4888825"/>
                    <a:ext cx="522625" cy="268902"/>
                  </a:xfrm>
                  <a:custGeom>
                    <a:avLst/>
                    <a:gdLst>
                      <a:gd name="T0" fmla="*/ 1003 w 1003"/>
                      <a:gd name="T1" fmla="*/ 264 h 517"/>
                      <a:gd name="T2" fmla="*/ 996 w 1003"/>
                      <a:gd name="T3" fmla="*/ 517 h 517"/>
                      <a:gd name="T4" fmla="*/ 955 w 1003"/>
                      <a:gd name="T5" fmla="*/ 502 h 517"/>
                      <a:gd name="T6" fmla="*/ 913 w 1003"/>
                      <a:gd name="T7" fmla="*/ 472 h 517"/>
                      <a:gd name="T8" fmla="*/ 895 w 1003"/>
                      <a:gd name="T9" fmla="*/ 486 h 517"/>
                      <a:gd name="T10" fmla="*/ 866 w 1003"/>
                      <a:gd name="T11" fmla="*/ 475 h 517"/>
                      <a:gd name="T12" fmla="*/ 835 w 1003"/>
                      <a:gd name="T13" fmla="*/ 488 h 517"/>
                      <a:gd name="T14" fmla="*/ 813 w 1003"/>
                      <a:gd name="T15" fmla="*/ 490 h 517"/>
                      <a:gd name="T16" fmla="*/ 793 w 1003"/>
                      <a:gd name="T17" fmla="*/ 502 h 517"/>
                      <a:gd name="T18" fmla="*/ 778 w 1003"/>
                      <a:gd name="T19" fmla="*/ 511 h 517"/>
                      <a:gd name="T20" fmla="*/ 758 w 1003"/>
                      <a:gd name="T21" fmla="*/ 499 h 517"/>
                      <a:gd name="T22" fmla="*/ 734 w 1003"/>
                      <a:gd name="T23" fmla="*/ 489 h 517"/>
                      <a:gd name="T24" fmla="*/ 708 w 1003"/>
                      <a:gd name="T25" fmla="*/ 474 h 517"/>
                      <a:gd name="T26" fmla="*/ 685 w 1003"/>
                      <a:gd name="T27" fmla="*/ 505 h 517"/>
                      <a:gd name="T28" fmla="*/ 675 w 1003"/>
                      <a:gd name="T29" fmla="*/ 486 h 517"/>
                      <a:gd name="T30" fmla="*/ 651 w 1003"/>
                      <a:gd name="T31" fmla="*/ 491 h 517"/>
                      <a:gd name="T32" fmla="*/ 628 w 1003"/>
                      <a:gd name="T33" fmla="*/ 481 h 517"/>
                      <a:gd name="T34" fmla="*/ 615 w 1003"/>
                      <a:gd name="T35" fmla="*/ 469 h 517"/>
                      <a:gd name="T36" fmla="*/ 590 w 1003"/>
                      <a:gd name="T37" fmla="*/ 485 h 517"/>
                      <a:gd name="T38" fmla="*/ 583 w 1003"/>
                      <a:gd name="T39" fmla="*/ 469 h 517"/>
                      <a:gd name="T40" fmla="*/ 565 w 1003"/>
                      <a:gd name="T41" fmla="*/ 445 h 517"/>
                      <a:gd name="T42" fmla="*/ 526 w 1003"/>
                      <a:gd name="T43" fmla="*/ 452 h 517"/>
                      <a:gd name="T44" fmla="*/ 508 w 1003"/>
                      <a:gd name="T45" fmla="*/ 441 h 517"/>
                      <a:gd name="T46" fmla="*/ 470 w 1003"/>
                      <a:gd name="T47" fmla="*/ 437 h 517"/>
                      <a:gd name="T48" fmla="*/ 453 w 1003"/>
                      <a:gd name="T49" fmla="*/ 431 h 517"/>
                      <a:gd name="T50" fmla="*/ 434 w 1003"/>
                      <a:gd name="T51" fmla="*/ 414 h 517"/>
                      <a:gd name="T52" fmla="*/ 410 w 1003"/>
                      <a:gd name="T53" fmla="*/ 394 h 517"/>
                      <a:gd name="T54" fmla="*/ 391 w 1003"/>
                      <a:gd name="T55" fmla="*/ 399 h 517"/>
                      <a:gd name="T56" fmla="*/ 351 w 1003"/>
                      <a:gd name="T57" fmla="*/ 375 h 517"/>
                      <a:gd name="T58" fmla="*/ 350 w 1003"/>
                      <a:gd name="T59" fmla="*/ 94 h 517"/>
                      <a:gd name="T60" fmla="*/ 139 w 1003"/>
                      <a:gd name="T61" fmla="*/ 81 h 517"/>
                      <a:gd name="T62" fmla="*/ 5 w 1003"/>
                      <a:gd name="T63" fmla="*/ 0 h 517"/>
                      <a:gd name="T64" fmla="*/ 200 w 1003"/>
                      <a:gd name="T65" fmla="*/ 12 h 517"/>
                      <a:gd name="T66" fmla="*/ 415 w 1003"/>
                      <a:gd name="T67" fmla="*/ 22 h 517"/>
                      <a:gd name="T68" fmla="*/ 629 w 1003"/>
                      <a:gd name="T69" fmla="*/ 29 h 517"/>
                      <a:gd name="T70" fmla="*/ 844 w 1003"/>
                      <a:gd name="T71" fmla="*/ 31 h 517"/>
                      <a:gd name="T72" fmla="*/ 979 w 1003"/>
                      <a:gd name="T73" fmla="*/ 10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3" h="517">
                        <a:moveTo>
                          <a:pt x="979" y="102"/>
                        </a:moveTo>
                        <a:lnTo>
                          <a:pt x="1003" y="264"/>
                        </a:lnTo>
                        <a:lnTo>
                          <a:pt x="1003" y="517"/>
                        </a:lnTo>
                        <a:lnTo>
                          <a:pt x="996" y="517"/>
                        </a:lnTo>
                        <a:lnTo>
                          <a:pt x="969" y="506"/>
                        </a:lnTo>
                        <a:lnTo>
                          <a:pt x="955" y="502"/>
                        </a:lnTo>
                        <a:lnTo>
                          <a:pt x="941" y="487"/>
                        </a:lnTo>
                        <a:lnTo>
                          <a:pt x="913" y="472"/>
                        </a:lnTo>
                        <a:lnTo>
                          <a:pt x="906" y="481"/>
                        </a:lnTo>
                        <a:lnTo>
                          <a:pt x="895" y="486"/>
                        </a:lnTo>
                        <a:lnTo>
                          <a:pt x="874" y="483"/>
                        </a:lnTo>
                        <a:lnTo>
                          <a:pt x="866" y="475"/>
                        </a:lnTo>
                        <a:lnTo>
                          <a:pt x="845" y="487"/>
                        </a:lnTo>
                        <a:lnTo>
                          <a:pt x="835" y="488"/>
                        </a:lnTo>
                        <a:lnTo>
                          <a:pt x="825" y="482"/>
                        </a:lnTo>
                        <a:lnTo>
                          <a:pt x="813" y="490"/>
                        </a:lnTo>
                        <a:lnTo>
                          <a:pt x="799" y="493"/>
                        </a:lnTo>
                        <a:lnTo>
                          <a:pt x="793" y="502"/>
                        </a:lnTo>
                        <a:lnTo>
                          <a:pt x="783" y="502"/>
                        </a:lnTo>
                        <a:lnTo>
                          <a:pt x="778" y="511"/>
                        </a:lnTo>
                        <a:lnTo>
                          <a:pt x="768" y="499"/>
                        </a:lnTo>
                        <a:lnTo>
                          <a:pt x="758" y="499"/>
                        </a:lnTo>
                        <a:lnTo>
                          <a:pt x="739" y="480"/>
                        </a:lnTo>
                        <a:lnTo>
                          <a:pt x="734" y="489"/>
                        </a:lnTo>
                        <a:lnTo>
                          <a:pt x="714" y="485"/>
                        </a:lnTo>
                        <a:lnTo>
                          <a:pt x="708" y="474"/>
                        </a:lnTo>
                        <a:lnTo>
                          <a:pt x="688" y="495"/>
                        </a:lnTo>
                        <a:lnTo>
                          <a:pt x="685" y="505"/>
                        </a:lnTo>
                        <a:lnTo>
                          <a:pt x="673" y="497"/>
                        </a:lnTo>
                        <a:lnTo>
                          <a:pt x="675" y="486"/>
                        </a:lnTo>
                        <a:lnTo>
                          <a:pt x="671" y="480"/>
                        </a:lnTo>
                        <a:lnTo>
                          <a:pt x="651" y="491"/>
                        </a:lnTo>
                        <a:lnTo>
                          <a:pt x="640" y="482"/>
                        </a:lnTo>
                        <a:lnTo>
                          <a:pt x="628" y="481"/>
                        </a:lnTo>
                        <a:lnTo>
                          <a:pt x="624" y="469"/>
                        </a:lnTo>
                        <a:lnTo>
                          <a:pt x="615" y="469"/>
                        </a:lnTo>
                        <a:lnTo>
                          <a:pt x="600" y="482"/>
                        </a:lnTo>
                        <a:lnTo>
                          <a:pt x="590" y="485"/>
                        </a:lnTo>
                        <a:lnTo>
                          <a:pt x="580" y="481"/>
                        </a:lnTo>
                        <a:lnTo>
                          <a:pt x="583" y="469"/>
                        </a:lnTo>
                        <a:lnTo>
                          <a:pt x="565" y="461"/>
                        </a:lnTo>
                        <a:lnTo>
                          <a:pt x="565" y="445"/>
                        </a:lnTo>
                        <a:lnTo>
                          <a:pt x="535" y="444"/>
                        </a:lnTo>
                        <a:lnTo>
                          <a:pt x="526" y="452"/>
                        </a:lnTo>
                        <a:lnTo>
                          <a:pt x="516" y="452"/>
                        </a:lnTo>
                        <a:lnTo>
                          <a:pt x="508" y="441"/>
                        </a:lnTo>
                        <a:lnTo>
                          <a:pt x="490" y="442"/>
                        </a:lnTo>
                        <a:lnTo>
                          <a:pt x="470" y="437"/>
                        </a:lnTo>
                        <a:lnTo>
                          <a:pt x="461" y="431"/>
                        </a:lnTo>
                        <a:lnTo>
                          <a:pt x="453" y="431"/>
                        </a:lnTo>
                        <a:lnTo>
                          <a:pt x="433" y="427"/>
                        </a:lnTo>
                        <a:lnTo>
                          <a:pt x="434" y="414"/>
                        </a:lnTo>
                        <a:lnTo>
                          <a:pt x="425" y="401"/>
                        </a:lnTo>
                        <a:lnTo>
                          <a:pt x="410" y="394"/>
                        </a:lnTo>
                        <a:lnTo>
                          <a:pt x="409" y="404"/>
                        </a:lnTo>
                        <a:lnTo>
                          <a:pt x="391" y="399"/>
                        </a:lnTo>
                        <a:lnTo>
                          <a:pt x="375" y="401"/>
                        </a:lnTo>
                        <a:lnTo>
                          <a:pt x="351" y="375"/>
                        </a:lnTo>
                        <a:lnTo>
                          <a:pt x="338" y="374"/>
                        </a:lnTo>
                        <a:lnTo>
                          <a:pt x="350" y="94"/>
                        </a:lnTo>
                        <a:lnTo>
                          <a:pt x="263" y="89"/>
                        </a:lnTo>
                        <a:lnTo>
                          <a:pt x="139" y="81"/>
                        </a:lnTo>
                        <a:lnTo>
                          <a:pt x="0" y="72"/>
                        </a:lnTo>
                        <a:lnTo>
                          <a:pt x="5" y="0"/>
                        </a:lnTo>
                        <a:lnTo>
                          <a:pt x="116" y="7"/>
                        </a:lnTo>
                        <a:lnTo>
                          <a:pt x="200" y="12"/>
                        </a:lnTo>
                        <a:lnTo>
                          <a:pt x="308" y="19"/>
                        </a:lnTo>
                        <a:lnTo>
                          <a:pt x="415" y="22"/>
                        </a:lnTo>
                        <a:lnTo>
                          <a:pt x="495" y="26"/>
                        </a:lnTo>
                        <a:lnTo>
                          <a:pt x="629" y="29"/>
                        </a:lnTo>
                        <a:lnTo>
                          <a:pt x="764" y="30"/>
                        </a:lnTo>
                        <a:lnTo>
                          <a:pt x="844" y="31"/>
                        </a:lnTo>
                        <a:lnTo>
                          <a:pt x="979" y="30"/>
                        </a:lnTo>
                        <a:lnTo>
                          <a:pt x="979" y="102"/>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4" name="South Dakota" descr="{&quot;Key&quot;:&quot;south dakota&quot;,&quot;Name&quot;:&quot;South Dakota&quot;,&quot;Value&quot;:1.0,&quot;Formula&quot;:&quot;&quot;,&quot;Text&quot;:&quot;&quot;,&quot;OfficeApplication&quot;:1,&quot;HasValue&quot;:true}">
                    <a:extLst>
                      <a:ext uri="{FF2B5EF4-FFF2-40B4-BE49-F238E27FC236}">
                        <a16:creationId xmlns:a16="http://schemas.microsoft.com/office/drawing/2014/main" id="{C0EAC5EB-0288-0594-E839-C2E7A9A4BE7F}"/>
                      </a:ext>
                    </a:extLst>
                  </p:cNvPr>
                  <p:cNvSpPr>
                    <a:spLocks/>
                  </p:cNvSpPr>
                  <p:nvPr/>
                </p:nvSpPr>
                <p:spPr bwMode="auto">
                  <a:xfrm>
                    <a:off x="6365549" y="4206811"/>
                    <a:ext cx="421786" cy="279745"/>
                  </a:xfrm>
                  <a:custGeom>
                    <a:avLst/>
                    <a:gdLst>
                      <a:gd name="T0" fmla="*/ 800 w 810"/>
                      <a:gd name="T1" fmla="*/ 36 h 536"/>
                      <a:gd name="T2" fmla="*/ 791 w 810"/>
                      <a:gd name="T3" fmla="*/ 63 h 536"/>
                      <a:gd name="T4" fmla="*/ 770 w 810"/>
                      <a:gd name="T5" fmla="*/ 80 h 536"/>
                      <a:gd name="T6" fmla="*/ 768 w 810"/>
                      <a:gd name="T7" fmla="*/ 86 h 536"/>
                      <a:gd name="T8" fmla="*/ 786 w 810"/>
                      <a:gd name="T9" fmla="*/ 115 h 536"/>
                      <a:gd name="T10" fmla="*/ 799 w 810"/>
                      <a:gd name="T11" fmla="*/ 118 h 536"/>
                      <a:gd name="T12" fmla="*/ 810 w 810"/>
                      <a:gd name="T13" fmla="*/ 131 h 536"/>
                      <a:gd name="T14" fmla="*/ 809 w 810"/>
                      <a:gd name="T15" fmla="*/ 394 h 536"/>
                      <a:gd name="T16" fmla="*/ 794 w 810"/>
                      <a:gd name="T17" fmla="*/ 394 h 536"/>
                      <a:gd name="T18" fmla="*/ 800 w 810"/>
                      <a:gd name="T19" fmla="*/ 410 h 536"/>
                      <a:gd name="T20" fmla="*/ 796 w 810"/>
                      <a:gd name="T21" fmla="*/ 434 h 536"/>
                      <a:gd name="T22" fmla="*/ 805 w 810"/>
                      <a:gd name="T23" fmla="*/ 435 h 536"/>
                      <a:gd name="T24" fmla="*/ 808 w 810"/>
                      <a:gd name="T25" fmla="*/ 449 h 536"/>
                      <a:gd name="T26" fmla="*/ 803 w 810"/>
                      <a:gd name="T27" fmla="*/ 460 h 536"/>
                      <a:gd name="T28" fmla="*/ 803 w 810"/>
                      <a:gd name="T29" fmla="*/ 471 h 536"/>
                      <a:gd name="T30" fmla="*/ 796 w 810"/>
                      <a:gd name="T31" fmla="*/ 489 h 536"/>
                      <a:gd name="T32" fmla="*/ 789 w 810"/>
                      <a:gd name="T33" fmla="*/ 503 h 536"/>
                      <a:gd name="T34" fmla="*/ 800 w 810"/>
                      <a:gd name="T35" fmla="*/ 518 h 536"/>
                      <a:gd name="T36" fmla="*/ 805 w 810"/>
                      <a:gd name="T37" fmla="*/ 536 h 536"/>
                      <a:gd name="T38" fmla="*/ 791 w 810"/>
                      <a:gd name="T39" fmla="*/ 534 h 536"/>
                      <a:gd name="T40" fmla="*/ 783 w 810"/>
                      <a:gd name="T41" fmla="*/ 523 h 536"/>
                      <a:gd name="T42" fmla="*/ 780 w 810"/>
                      <a:gd name="T43" fmla="*/ 514 h 536"/>
                      <a:gd name="T44" fmla="*/ 771 w 810"/>
                      <a:gd name="T45" fmla="*/ 511 h 536"/>
                      <a:gd name="T46" fmla="*/ 765 w 810"/>
                      <a:gd name="T47" fmla="*/ 504 h 536"/>
                      <a:gd name="T48" fmla="*/ 736 w 810"/>
                      <a:gd name="T49" fmla="*/ 496 h 536"/>
                      <a:gd name="T50" fmla="*/ 718 w 810"/>
                      <a:gd name="T51" fmla="*/ 482 h 536"/>
                      <a:gd name="T52" fmla="*/ 679 w 810"/>
                      <a:gd name="T53" fmla="*/ 486 h 536"/>
                      <a:gd name="T54" fmla="*/ 660 w 810"/>
                      <a:gd name="T55" fmla="*/ 484 h 536"/>
                      <a:gd name="T56" fmla="*/ 649 w 810"/>
                      <a:gd name="T57" fmla="*/ 495 h 536"/>
                      <a:gd name="T58" fmla="*/ 643 w 810"/>
                      <a:gd name="T59" fmla="*/ 496 h 536"/>
                      <a:gd name="T60" fmla="*/ 618 w 810"/>
                      <a:gd name="T61" fmla="*/ 482 h 536"/>
                      <a:gd name="T62" fmla="*/ 591 w 810"/>
                      <a:gd name="T63" fmla="*/ 462 h 536"/>
                      <a:gd name="T64" fmla="*/ 473 w 810"/>
                      <a:gd name="T65" fmla="*/ 459 h 536"/>
                      <a:gd name="T66" fmla="*/ 383 w 810"/>
                      <a:gd name="T67" fmla="*/ 455 h 536"/>
                      <a:gd name="T68" fmla="*/ 274 w 810"/>
                      <a:gd name="T69" fmla="*/ 449 h 536"/>
                      <a:gd name="T70" fmla="*/ 111 w 810"/>
                      <a:gd name="T71" fmla="*/ 437 h 536"/>
                      <a:gd name="T72" fmla="*/ 0 w 810"/>
                      <a:gd name="T73" fmla="*/ 429 h 536"/>
                      <a:gd name="T74" fmla="*/ 25 w 810"/>
                      <a:gd name="T75" fmla="*/ 137 h 536"/>
                      <a:gd name="T76" fmla="*/ 28 w 810"/>
                      <a:gd name="T77" fmla="*/ 137 h 536"/>
                      <a:gd name="T78" fmla="*/ 39 w 810"/>
                      <a:gd name="T79" fmla="*/ 0 h 536"/>
                      <a:gd name="T80" fmla="*/ 184 w 810"/>
                      <a:gd name="T81" fmla="*/ 12 h 536"/>
                      <a:gd name="T82" fmla="*/ 326 w 810"/>
                      <a:gd name="T83" fmla="*/ 21 h 536"/>
                      <a:gd name="T84" fmla="*/ 420 w 810"/>
                      <a:gd name="T85" fmla="*/ 26 h 536"/>
                      <a:gd name="T86" fmla="*/ 515 w 810"/>
                      <a:gd name="T87" fmla="*/ 30 h 536"/>
                      <a:gd name="T88" fmla="*/ 610 w 810"/>
                      <a:gd name="T89" fmla="*/ 34 h 536"/>
                      <a:gd name="T90" fmla="*/ 705 w 810"/>
                      <a:gd name="T91" fmla="*/ 36 h 536"/>
                      <a:gd name="T92" fmla="*/ 800 w 810"/>
                      <a:gd name="T93" fmla="*/ 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0" h="536">
                        <a:moveTo>
                          <a:pt x="800" y="36"/>
                        </a:moveTo>
                        <a:lnTo>
                          <a:pt x="791" y="63"/>
                        </a:lnTo>
                        <a:lnTo>
                          <a:pt x="770" y="80"/>
                        </a:lnTo>
                        <a:lnTo>
                          <a:pt x="768" y="86"/>
                        </a:lnTo>
                        <a:lnTo>
                          <a:pt x="786" y="115"/>
                        </a:lnTo>
                        <a:lnTo>
                          <a:pt x="799" y="118"/>
                        </a:lnTo>
                        <a:lnTo>
                          <a:pt x="810" y="131"/>
                        </a:lnTo>
                        <a:lnTo>
                          <a:pt x="809" y="394"/>
                        </a:lnTo>
                        <a:lnTo>
                          <a:pt x="794" y="394"/>
                        </a:lnTo>
                        <a:lnTo>
                          <a:pt x="800" y="410"/>
                        </a:lnTo>
                        <a:lnTo>
                          <a:pt x="796" y="434"/>
                        </a:lnTo>
                        <a:lnTo>
                          <a:pt x="805" y="435"/>
                        </a:lnTo>
                        <a:lnTo>
                          <a:pt x="808" y="449"/>
                        </a:lnTo>
                        <a:lnTo>
                          <a:pt x="803" y="460"/>
                        </a:lnTo>
                        <a:lnTo>
                          <a:pt x="803" y="471"/>
                        </a:lnTo>
                        <a:lnTo>
                          <a:pt x="796" y="489"/>
                        </a:lnTo>
                        <a:lnTo>
                          <a:pt x="789" y="503"/>
                        </a:lnTo>
                        <a:lnTo>
                          <a:pt x="800" y="518"/>
                        </a:lnTo>
                        <a:lnTo>
                          <a:pt x="805" y="536"/>
                        </a:lnTo>
                        <a:lnTo>
                          <a:pt x="791" y="534"/>
                        </a:lnTo>
                        <a:lnTo>
                          <a:pt x="783" y="523"/>
                        </a:lnTo>
                        <a:lnTo>
                          <a:pt x="780" y="514"/>
                        </a:lnTo>
                        <a:lnTo>
                          <a:pt x="771" y="511"/>
                        </a:lnTo>
                        <a:lnTo>
                          <a:pt x="765" y="504"/>
                        </a:lnTo>
                        <a:lnTo>
                          <a:pt x="736" y="496"/>
                        </a:lnTo>
                        <a:lnTo>
                          <a:pt x="718" y="482"/>
                        </a:lnTo>
                        <a:lnTo>
                          <a:pt x="679" y="486"/>
                        </a:lnTo>
                        <a:lnTo>
                          <a:pt x="660" y="484"/>
                        </a:lnTo>
                        <a:lnTo>
                          <a:pt x="649" y="495"/>
                        </a:lnTo>
                        <a:lnTo>
                          <a:pt x="643" y="496"/>
                        </a:lnTo>
                        <a:lnTo>
                          <a:pt x="618" y="482"/>
                        </a:lnTo>
                        <a:lnTo>
                          <a:pt x="591" y="462"/>
                        </a:lnTo>
                        <a:lnTo>
                          <a:pt x="473" y="459"/>
                        </a:lnTo>
                        <a:lnTo>
                          <a:pt x="383" y="455"/>
                        </a:lnTo>
                        <a:lnTo>
                          <a:pt x="274" y="449"/>
                        </a:lnTo>
                        <a:lnTo>
                          <a:pt x="111" y="437"/>
                        </a:lnTo>
                        <a:lnTo>
                          <a:pt x="0" y="429"/>
                        </a:lnTo>
                        <a:lnTo>
                          <a:pt x="25" y="137"/>
                        </a:lnTo>
                        <a:lnTo>
                          <a:pt x="28" y="137"/>
                        </a:lnTo>
                        <a:lnTo>
                          <a:pt x="39" y="0"/>
                        </a:lnTo>
                        <a:lnTo>
                          <a:pt x="184" y="12"/>
                        </a:lnTo>
                        <a:lnTo>
                          <a:pt x="326" y="21"/>
                        </a:lnTo>
                        <a:lnTo>
                          <a:pt x="420" y="26"/>
                        </a:lnTo>
                        <a:lnTo>
                          <a:pt x="515" y="30"/>
                        </a:lnTo>
                        <a:lnTo>
                          <a:pt x="610" y="34"/>
                        </a:lnTo>
                        <a:lnTo>
                          <a:pt x="705" y="36"/>
                        </a:lnTo>
                        <a:lnTo>
                          <a:pt x="800" y="36"/>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5" name="Louisiana" descr="{&quot;Key&quot;:&quot;louisiana&quot;,&quot;Name&quot;:&quot;Louisiana&quot;,&quot;Value&quot;:1.0,&quot;Formula&quot;:&quot;&quot;,&quot;Text&quot;:&quot;&quot;,&quot;OfficeApplication&quot;:1,&quot;HasValue&quot;:true}">
                    <a:extLst>
                      <a:ext uri="{FF2B5EF4-FFF2-40B4-BE49-F238E27FC236}">
                        <a16:creationId xmlns:a16="http://schemas.microsoft.com/office/drawing/2014/main" id="{2473E9D7-9178-3314-26C9-5CBC1636CB6A}"/>
                      </a:ext>
                    </a:extLst>
                  </p:cNvPr>
                  <p:cNvSpPr>
                    <a:spLocks noEditPoints="1"/>
                  </p:cNvSpPr>
                  <p:nvPr/>
                </p:nvSpPr>
                <p:spPr bwMode="auto">
                  <a:xfrm>
                    <a:off x="6936967" y="5198930"/>
                    <a:ext cx="341549" cy="296009"/>
                  </a:xfrm>
                  <a:custGeom>
                    <a:avLst/>
                    <a:gdLst>
                      <a:gd name="T0" fmla="*/ 270 w 657"/>
                      <a:gd name="T1" fmla="*/ 510 h 569"/>
                      <a:gd name="T2" fmla="*/ 298 w 657"/>
                      <a:gd name="T3" fmla="*/ 520 h 569"/>
                      <a:gd name="T4" fmla="*/ 551 w 657"/>
                      <a:gd name="T5" fmla="*/ 395 h 569"/>
                      <a:gd name="T6" fmla="*/ 492 w 657"/>
                      <a:gd name="T7" fmla="*/ 377 h 569"/>
                      <a:gd name="T8" fmla="*/ 480 w 657"/>
                      <a:gd name="T9" fmla="*/ 425 h 569"/>
                      <a:gd name="T10" fmla="*/ 532 w 657"/>
                      <a:gd name="T11" fmla="*/ 417 h 569"/>
                      <a:gd name="T12" fmla="*/ 544 w 657"/>
                      <a:gd name="T13" fmla="*/ 431 h 569"/>
                      <a:gd name="T14" fmla="*/ 578 w 657"/>
                      <a:gd name="T15" fmla="*/ 430 h 569"/>
                      <a:gd name="T16" fmla="*/ 610 w 657"/>
                      <a:gd name="T17" fmla="*/ 444 h 569"/>
                      <a:gd name="T18" fmla="*/ 573 w 657"/>
                      <a:gd name="T19" fmla="*/ 485 h 569"/>
                      <a:gd name="T20" fmla="*/ 587 w 657"/>
                      <a:gd name="T21" fmla="*/ 506 h 569"/>
                      <a:gd name="T22" fmla="*/ 615 w 657"/>
                      <a:gd name="T23" fmla="*/ 522 h 569"/>
                      <a:gd name="T24" fmla="*/ 637 w 657"/>
                      <a:gd name="T25" fmla="*/ 567 h 569"/>
                      <a:gd name="T26" fmla="*/ 597 w 657"/>
                      <a:gd name="T27" fmla="*/ 539 h 569"/>
                      <a:gd name="T28" fmla="*/ 541 w 657"/>
                      <a:gd name="T29" fmla="*/ 509 h 569"/>
                      <a:gd name="T30" fmla="*/ 524 w 657"/>
                      <a:gd name="T31" fmla="*/ 526 h 569"/>
                      <a:gd name="T32" fmla="*/ 503 w 657"/>
                      <a:gd name="T33" fmla="*/ 569 h 569"/>
                      <a:gd name="T34" fmla="*/ 480 w 657"/>
                      <a:gd name="T35" fmla="*/ 539 h 569"/>
                      <a:gd name="T36" fmla="*/ 425 w 657"/>
                      <a:gd name="T37" fmla="*/ 560 h 569"/>
                      <a:gd name="T38" fmla="*/ 360 w 657"/>
                      <a:gd name="T39" fmla="*/ 546 h 569"/>
                      <a:gd name="T40" fmla="*/ 360 w 657"/>
                      <a:gd name="T41" fmla="*/ 516 h 569"/>
                      <a:gd name="T42" fmla="*/ 317 w 657"/>
                      <a:gd name="T43" fmla="*/ 496 h 569"/>
                      <a:gd name="T44" fmla="*/ 286 w 657"/>
                      <a:gd name="T45" fmla="*/ 481 h 569"/>
                      <a:gd name="T46" fmla="*/ 271 w 657"/>
                      <a:gd name="T47" fmla="*/ 476 h 569"/>
                      <a:gd name="T48" fmla="*/ 258 w 657"/>
                      <a:gd name="T49" fmla="*/ 503 h 569"/>
                      <a:gd name="T50" fmla="*/ 185 w 657"/>
                      <a:gd name="T51" fmla="*/ 508 h 569"/>
                      <a:gd name="T52" fmla="*/ 85 w 657"/>
                      <a:gd name="T53" fmla="*/ 486 h 569"/>
                      <a:gd name="T54" fmla="*/ 30 w 657"/>
                      <a:gd name="T55" fmla="*/ 483 h 569"/>
                      <a:gd name="T56" fmla="*/ 41 w 657"/>
                      <a:gd name="T57" fmla="*/ 456 h 569"/>
                      <a:gd name="T58" fmla="*/ 45 w 657"/>
                      <a:gd name="T59" fmla="*/ 396 h 569"/>
                      <a:gd name="T60" fmla="*/ 52 w 657"/>
                      <a:gd name="T61" fmla="*/ 365 h 569"/>
                      <a:gd name="T62" fmla="*/ 65 w 657"/>
                      <a:gd name="T63" fmla="*/ 305 h 569"/>
                      <a:gd name="T64" fmla="*/ 53 w 657"/>
                      <a:gd name="T65" fmla="*/ 253 h 569"/>
                      <a:gd name="T66" fmla="*/ 21 w 657"/>
                      <a:gd name="T67" fmla="*/ 178 h 569"/>
                      <a:gd name="T68" fmla="*/ 110 w 657"/>
                      <a:gd name="T69" fmla="*/ 10 h 569"/>
                      <a:gd name="T70" fmla="*/ 365 w 657"/>
                      <a:gd name="T71" fmla="*/ 13 h 569"/>
                      <a:gd name="T72" fmla="*/ 363 w 657"/>
                      <a:gd name="T73" fmla="*/ 66 h 569"/>
                      <a:gd name="T74" fmla="*/ 371 w 657"/>
                      <a:gd name="T75" fmla="*/ 135 h 569"/>
                      <a:gd name="T76" fmla="*/ 350 w 657"/>
                      <a:gd name="T77" fmla="*/ 166 h 569"/>
                      <a:gd name="T78" fmla="*/ 330 w 657"/>
                      <a:gd name="T79" fmla="*/ 213 h 569"/>
                      <a:gd name="T80" fmla="*/ 318 w 657"/>
                      <a:gd name="T81" fmla="*/ 255 h 569"/>
                      <a:gd name="T82" fmla="*/ 308 w 657"/>
                      <a:gd name="T83" fmla="*/ 276 h 569"/>
                      <a:gd name="T84" fmla="*/ 425 w 657"/>
                      <a:gd name="T85" fmla="*/ 291 h 569"/>
                      <a:gd name="T86" fmla="*/ 536 w 657"/>
                      <a:gd name="T87" fmla="*/ 331 h 569"/>
                      <a:gd name="T88" fmla="*/ 567 w 657"/>
                      <a:gd name="T89" fmla="*/ 385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7" h="569">
                        <a:moveTo>
                          <a:pt x="298" y="520"/>
                        </a:moveTo>
                        <a:lnTo>
                          <a:pt x="293" y="521"/>
                        </a:lnTo>
                        <a:lnTo>
                          <a:pt x="270" y="510"/>
                        </a:lnTo>
                        <a:lnTo>
                          <a:pt x="281" y="498"/>
                        </a:lnTo>
                        <a:lnTo>
                          <a:pt x="307" y="506"/>
                        </a:lnTo>
                        <a:lnTo>
                          <a:pt x="298" y="520"/>
                        </a:lnTo>
                        <a:close/>
                        <a:moveTo>
                          <a:pt x="582" y="400"/>
                        </a:moveTo>
                        <a:lnTo>
                          <a:pt x="558" y="404"/>
                        </a:lnTo>
                        <a:lnTo>
                          <a:pt x="551" y="395"/>
                        </a:lnTo>
                        <a:lnTo>
                          <a:pt x="525" y="394"/>
                        </a:lnTo>
                        <a:lnTo>
                          <a:pt x="512" y="380"/>
                        </a:lnTo>
                        <a:lnTo>
                          <a:pt x="492" y="377"/>
                        </a:lnTo>
                        <a:lnTo>
                          <a:pt x="470" y="404"/>
                        </a:lnTo>
                        <a:lnTo>
                          <a:pt x="467" y="415"/>
                        </a:lnTo>
                        <a:lnTo>
                          <a:pt x="480" y="425"/>
                        </a:lnTo>
                        <a:lnTo>
                          <a:pt x="502" y="430"/>
                        </a:lnTo>
                        <a:lnTo>
                          <a:pt x="518" y="426"/>
                        </a:lnTo>
                        <a:lnTo>
                          <a:pt x="532" y="417"/>
                        </a:lnTo>
                        <a:lnTo>
                          <a:pt x="537" y="409"/>
                        </a:lnTo>
                        <a:lnTo>
                          <a:pt x="549" y="416"/>
                        </a:lnTo>
                        <a:lnTo>
                          <a:pt x="544" y="431"/>
                        </a:lnTo>
                        <a:lnTo>
                          <a:pt x="565" y="446"/>
                        </a:lnTo>
                        <a:lnTo>
                          <a:pt x="573" y="446"/>
                        </a:lnTo>
                        <a:lnTo>
                          <a:pt x="578" y="430"/>
                        </a:lnTo>
                        <a:lnTo>
                          <a:pt x="596" y="419"/>
                        </a:lnTo>
                        <a:lnTo>
                          <a:pt x="596" y="437"/>
                        </a:lnTo>
                        <a:lnTo>
                          <a:pt x="610" y="444"/>
                        </a:lnTo>
                        <a:lnTo>
                          <a:pt x="600" y="458"/>
                        </a:lnTo>
                        <a:lnTo>
                          <a:pt x="595" y="453"/>
                        </a:lnTo>
                        <a:lnTo>
                          <a:pt x="573" y="485"/>
                        </a:lnTo>
                        <a:lnTo>
                          <a:pt x="563" y="489"/>
                        </a:lnTo>
                        <a:lnTo>
                          <a:pt x="571" y="500"/>
                        </a:lnTo>
                        <a:lnTo>
                          <a:pt x="587" y="506"/>
                        </a:lnTo>
                        <a:lnTo>
                          <a:pt x="592" y="517"/>
                        </a:lnTo>
                        <a:lnTo>
                          <a:pt x="602" y="515"/>
                        </a:lnTo>
                        <a:lnTo>
                          <a:pt x="615" y="522"/>
                        </a:lnTo>
                        <a:lnTo>
                          <a:pt x="632" y="520"/>
                        </a:lnTo>
                        <a:lnTo>
                          <a:pt x="657" y="549"/>
                        </a:lnTo>
                        <a:lnTo>
                          <a:pt x="637" y="567"/>
                        </a:lnTo>
                        <a:lnTo>
                          <a:pt x="622" y="566"/>
                        </a:lnTo>
                        <a:lnTo>
                          <a:pt x="612" y="561"/>
                        </a:lnTo>
                        <a:lnTo>
                          <a:pt x="597" y="539"/>
                        </a:lnTo>
                        <a:lnTo>
                          <a:pt x="561" y="526"/>
                        </a:lnTo>
                        <a:lnTo>
                          <a:pt x="557" y="520"/>
                        </a:lnTo>
                        <a:lnTo>
                          <a:pt x="541" y="509"/>
                        </a:lnTo>
                        <a:lnTo>
                          <a:pt x="532" y="510"/>
                        </a:lnTo>
                        <a:lnTo>
                          <a:pt x="518" y="501"/>
                        </a:lnTo>
                        <a:lnTo>
                          <a:pt x="524" y="526"/>
                        </a:lnTo>
                        <a:lnTo>
                          <a:pt x="518" y="539"/>
                        </a:lnTo>
                        <a:lnTo>
                          <a:pt x="521" y="554"/>
                        </a:lnTo>
                        <a:lnTo>
                          <a:pt x="503" y="569"/>
                        </a:lnTo>
                        <a:lnTo>
                          <a:pt x="497" y="558"/>
                        </a:lnTo>
                        <a:lnTo>
                          <a:pt x="498" y="545"/>
                        </a:lnTo>
                        <a:lnTo>
                          <a:pt x="480" y="539"/>
                        </a:lnTo>
                        <a:lnTo>
                          <a:pt x="458" y="540"/>
                        </a:lnTo>
                        <a:lnTo>
                          <a:pt x="441" y="568"/>
                        </a:lnTo>
                        <a:lnTo>
                          <a:pt x="425" y="560"/>
                        </a:lnTo>
                        <a:lnTo>
                          <a:pt x="412" y="561"/>
                        </a:lnTo>
                        <a:lnTo>
                          <a:pt x="373" y="554"/>
                        </a:lnTo>
                        <a:lnTo>
                          <a:pt x="360" y="546"/>
                        </a:lnTo>
                        <a:lnTo>
                          <a:pt x="373" y="529"/>
                        </a:lnTo>
                        <a:lnTo>
                          <a:pt x="365" y="511"/>
                        </a:lnTo>
                        <a:lnTo>
                          <a:pt x="360" y="516"/>
                        </a:lnTo>
                        <a:lnTo>
                          <a:pt x="332" y="513"/>
                        </a:lnTo>
                        <a:lnTo>
                          <a:pt x="327" y="496"/>
                        </a:lnTo>
                        <a:lnTo>
                          <a:pt x="317" y="496"/>
                        </a:lnTo>
                        <a:lnTo>
                          <a:pt x="318" y="484"/>
                        </a:lnTo>
                        <a:lnTo>
                          <a:pt x="311" y="481"/>
                        </a:lnTo>
                        <a:lnTo>
                          <a:pt x="286" y="481"/>
                        </a:lnTo>
                        <a:lnTo>
                          <a:pt x="290" y="470"/>
                        </a:lnTo>
                        <a:lnTo>
                          <a:pt x="272" y="471"/>
                        </a:lnTo>
                        <a:lnTo>
                          <a:pt x="271" y="476"/>
                        </a:lnTo>
                        <a:lnTo>
                          <a:pt x="253" y="483"/>
                        </a:lnTo>
                        <a:lnTo>
                          <a:pt x="252" y="490"/>
                        </a:lnTo>
                        <a:lnTo>
                          <a:pt x="258" y="503"/>
                        </a:lnTo>
                        <a:lnTo>
                          <a:pt x="237" y="516"/>
                        </a:lnTo>
                        <a:lnTo>
                          <a:pt x="202" y="513"/>
                        </a:lnTo>
                        <a:lnTo>
                          <a:pt x="185" y="508"/>
                        </a:lnTo>
                        <a:lnTo>
                          <a:pt x="140" y="490"/>
                        </a:lnTo>
                        <a:lnTo>
                          <a:pt x="117" y="485"/>
                        </a:lnTo>
                        <a:lnTo>
                          <a:pt x="85" y="486"/>
                        </a:lnTo>
                        <a:lnTo>
                          <a:pt x="48" y="493"/>
                        </a:lnTo>
                        <a:lnTo>
                          <a:pt x="37" y="499"/>
                        </a:lnTo>
                        <a:lnTo>
                          <a:pt x="30" y="483"/>
                        </a:lnTo>
                        <a:lnTo>
                          <a:pt x="43" y="475"/>
                        </a:lnTo>
                        <a:lnTo>
                          <a:pt x="46" y="460"/>
                        </a:lnTo>
                        <a:lnTo>
                          <a:pt x="41" y="456"/>
                        </a:lnTo>
                        <a:lnTo>
                          <a:pt x="51" y="443"/>
                        </a:lnTo>
                        <a:lnTo>
                          <a:pt x="50" y="411"/>
                        </a:lnTo>
                        <a:lnTo>
                          <a:pt x="45" y="396"/>
                        </a:lnTo>
                        <a:lnTo>
                          <a:pt x="51" y="388"/>
                        </a:lnTo>
                        <a:lnTo>
                          <a:pt x="47" y="371"/>
                        </a:lnTo>
                        <a:lnTo>
                          <a:pt x="52" y="365"/>
                        </a:lnTo>
                        <a:lnTo>
                          <a:pt x="66" y="333"/>
                        </a:lnTo>
                        <a:lnTo>
                          <a:pt x="70" y="315"/>
                        </a:lnTo>
                        <a:lnTo>
                          <a:pt x="65" y="305"/>
                        </a:lnTo>
                        <a:lnTo>
                          <a:pt x="72" y="300"/>
                        </a:lnTo>
                        <a:lnTo>
                          <a:pt x="51" y="259"/>
                        </a:lnTo>
                        <a:lnTo>
                          <a:pt x="53" y="253"/>
                        </a:lnTo>
                        <a:lnTo>
                          <a:pt x="31" y="221"/>
                        </a:lnTo>
                        <a:lnTo>
                          <a:pt x="32" y="203"/>
                        </a:lnTo>
                        <a:lnTo>
                          <a:pt x="21" y="178"/>
                        </a:lnTo>
                        <a:lnTo>
                          <a:pt x="3" y="161"/>
                        </a:lnTo>
                        <a:lnTo>
                          <a:pt x="0" y="14"/>
                        </a:lnTo>
                        <a:lnTo>
                          <a:pt x="110" y="10"/>
                        </a:lnTo>
                        <a:lnTo>
                          <a:pt x="262" y="4"/>
                        </a:lnTo>
                        <a:lnTo>
                          <a:pt x="352" y="0"/>
                        </a:lnTo>
                        <a:lnTo>
                          <a:pt x="365" y="13"/>
                        </a:lnTo>
                        <a:lnTo>
                          <a:pt x="357" y="23"/>
                        </a:lnTo>
                        <a:lnTo>
                          <a:pt x="356" y="56"/>
                        </a:lnTo>
                        <a:lnTo>
                          <a:pt x="363" y="66"/>
                        </a:lnTo>
                        <a:lnTo>
                          <a:pt x="365" y="81"/>
                        </a:lnTo>
                        <a:lnTo>
                          <a:pt x="388" y="96"/>
                        </a:lnTo>
                        <a:lnTo>
                          <a:pt x="371" y="135"/>
                        </a:lnTo>
                        <a:lnTo>
                          <a:pt x="368" y="145"/>
                        </a:lnTo>
                        <a:lnTo>
                          <a:pt x="361" y="150"/>
                        </a:lnTo>
                        <a:lnTo>
                          <a:pt x="350" y="166"/>
                        </a:lnTo>
                        <a:lnTo>
                          <a:pt x="340" y="170"/>
                        </a:lnTo>
                        <a:lnTo>
                          <a:pt x="332" y="188"/>
                        </a:lnTo>
                        <a:lnTo>
                          <a:pt x="330" y="213"/>
                        </a:lnTo>
                        <a:lnTo>
                          <a:pt x="318" y="224"/>
                        </a:lnTo>
                        <a:lnTo>
                          <a:pt x="323" y="236"/>
                        </a:lnTo>
                        <a:lnTo>
                          <a:pt x="318" y="255"/>
                        </a:lnTo>
                        <a:lnTo>
                          <a:pt x="307" y="256"/>
                        </a:lnTo>
                        <a:lnTo>
                          <a:pt x="311" y="268"/>
                        </a:lnTo>
                        <a:lnTo>
                          <a:pt x="308" y="276"/>
                        </a:lnTo>
                        <a:lnTo>
                          <a:pt x="316" y="289"/>
                        </a:lnTo>
                        <a:lnTo>
                          <a:pt x="306" y="298"/>
                        </a:lnTo>
                        <a:lnTo>
                          <a:pt x="425" y="291"/>
                        </a:lnTo>
                        <a:lnTo>
                          <a:pt x="547" y="284"/>
                        </a:lnTo>
                        <a:lnTo>
                          <a:pt x="547" y="291"/>
                        </a:lnTo>
                        <a:lnTo>
                          <a:pt x="536" y="331"/>
                        </a:lnTo>
                        <a:lnTo>
                          <a:pt x="543" y="348"/>
                        </a:lnTo>
                        <a:lnTo>
                          <a:pt x="560" y="363"/>
                        </a:lnTo>
                        <a:lnTo>
                          <a:pt x="567" y="385"/>
                        </a:lnTo>
                        <a:lnTo>
                          <a:pt x="573" y="398"/>
                        </a:lnTo>
                        <a:lnTo>
                          <a:pt x="582" y="40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6" name="Texas" descr="{&quot;Key&quot;:&quot;texas&quot;,&quot;Name&quot;:&quot;Texas&quot;,&quot;Value&quot;:1.0,&quot;Formula&quot;:&quot;&quot;,&quot;Text&quot;:&quot;&quot;,&quot;OfficeApplication&quot;:1,&quot;HasValue&quot;:true}">
                    <a:extLst>
                      <a:ext uri="{FF2B5EF4-FFF2-40B4-BE49-F238E27FC236}">
                        <a16:creationId xmlns:a16="http://schemas.microsoft.com/office/drawing/2014/main" id="{30045AC3-B657-3DA0-0037-E4430D5B6396}"/>
                      </a:ext>
                    </a:extLst>
                  </p:cNvPr>
                  <p:cNvSpPr>
                    <a:spLocks noEditPoints="1"/>
                  </p:cNvSpPr>
                  <p:nvPr/>
                </p:nvSpPr>
                <p:spPr bwMode="auto">
                  <a:xfrm>
                    <a:off x="6124838" y="4925691"/>
                    <a:ext cx="850079" cy="830561"/>
                  </a:xfrm>
                  <a:custGeom>
                    <a:avLst/>
                    <a:gdLst>
                      <a:gd name="T0" fmla="*/ 1166 w 1632"/>
                      <a:gd name="T1" fmla="*/ 1327 h 1594"/>
                      <a:gd name="T2" fmla="*/ 1267 w 1632"/>
                      <a:gd name="T3" fmla="*/ 1225 h 1594"/>
                      <a:gd name="T4" fmla="*/ 1505 w 1632"/>
                      <a:gd name="T5" fmla="*/ 445 h 1594"/>
                      <a:gd name="T6" fmla="*/ 1560 w 1632"/>
                      <a:gd name="T7" fmla="*/ 538 h 1594"/>
                      <a:gd name="T8" fmla="*/ 1613 w 1632"/>
                      <a:gd name="T9" fmla="*/ 776 h 1594"/>
                      <a:gd name="T10" fmla="*/ 1626 w 1632"/>
                      <a:gd name="T11" fmla="*/ 856 h 1594"/>
                      <a:gd name="T12" fmla="*/ 1609 w 1632"/>
                      <a:gd name="T13" fmla="*/ 935 h 1594"/>
                      <a:gd name="T14" fmla="*/ 1583 w 1632"/>
                      <a:gd name="T15" fmla="*/ 1011 h 1594"/>
                      <a:gd name="T16" fmla="*/ 1479 w 1632"/>
                      <a:gd name="T17" fmla="*/ 1050 h 1594"/>
                      <a:gd name="T18" fmla="*/ 1446 w 1632"/>
                      <a:gd name="T19" fmla="*/ 1021 h 1594"/>
                      <a:gd name="T20" fmla="*/ 1428 w 1632"/>
                      <a:gd name="T21" fmla="*/ 1121 h 1594"/>
                      <a:gd name="T22" fmla="*/ 1293 w 1632"/>
                      <a:gd name="T23" fmla="*/ 1190 h 1594"/>
                      <a:gd name="T24" fmla="*/ 1252 w 1632"/>
                      <a:gd name="T25" fmla="*/ 1195 h 1594"/>
                      <a:gd name="T26" fmla="*/ 1218 w 1632"/>
                      <a:gd name="T27" fmla="*/ 1228 h 1594"/>
                      <a:gd name="T28" fmla="*/ 1186 w 1632"/>
                      <a:gd name="T29" fmla="*/ 1270 h 1594"/>
                      <a:gd name="T30" fmla="*/ 1138 w 1632"/>
                      <a:gd name="T31" fmla="*/ 1300 h 1594"/>
                      <a:gd name="T32" fmla="*/ 1104 w 1632"/>
                      <a:gd name="T33" fmla="*/ 1379 h 1594"/>
                      <a:gd name="T34" fmla="*/ 1122 w 1632"/>
                      <a:gd name="T35" fmla="*/ 1408 h 1594"/>
                      <a:gd name="T36" fmla="*/ 1131 w 1632"/>
                      <a:gd name="T37" fmla="*/ 1493 h 1594"/>
                      <a:gd name="T38" fmla="*/ 1145 w 1632"/>
                      <a:gd name="T39" fmla="*/ 1554 h 1594"/>
                      <a:gd name="T40" fmla="*/ 1128 w 1632"/>
                      <a:gd name="T41" fmla="*/ 1594 h 1594"/>
                      <a:gd name="T42" fmla="*/ 1012 w 1632"/>
                      <a:gd name="T43" fmla="*/ 1553 h 1594"/>
                      <a:gd name="T44" fmla="*/ 947 w 1632"/>
                      <a:gd name="T45" fmla="*/ 1513 h 1594"/>
                      <a:gd name="T46" fmla="*/ 898 w 1632"/>
                      <a:gd name="T47" fmla="*/ 1482 h 1594"/>
                      <a:gd name="T48" fmla="*/ 873 w 1632"/>
                      <a:gd name="T49" fmla="*/ 1414 h 1594"/>
                      <a:gd name="T50" fmla="*/ 860 w 1632"/>
                      <a:gd name="T51" fmla="*/ 1332 h 1594"/>
                      <a:gd name="T52" fmla="*/ 812 w 1632"/>
                      <a:gd name="T53" fmla="*/ 1280 h 1594"/>
                      <a:gd name="T54" fmla="*/ 749 w 1632"/>
                      <a:gd name="T55" fmla="*/ 1175 h 1594"/>
                      <a:gd name="T56" fmla="*/ 707 w 1632"/>
                      <a:gd name="T57" fmla="*/ 1088 h 1594"/>
                      <a:gd name="T58" fmla="*/ 649 w 1632"/>
                      <a:gd name="T59" fmla="*/ 1015 h 1594"/>
                      <a:gd name="T60" fmla="*/ 601 w 1632"/>
                      <a:gd name="T61" fmla="*/ 993 h 1594"/>
                      <a:gd name="T62" fmla="*/ 502 w 1632"/>
                      <a:gd name="T63" fmla="*/ 985 h 1594"/>
                      <a:gd name="T64" fmla="*/ 433 w 1632"/>
                      <a:gd name="T65" fmla="*/ 1063 h 1594"/>
                      <a:gd name="T66" fmla="*/ 369 w 1632"/>
                      <a:gd name="T67" fmla="*/ 1086 h 1594"/>
                      <a:gd name="T68" fmla="*/ 319 w 1632"/>
                      <a:gd name="T69" fmla="*/ 1045 h 1594"/>
                      <a:gd name="T70" fmla="*/ 230 w 1632"/>
                      <a:gd name="T71" fmla="*/ 979 h 1594"/>
                      <a:gd name="T72" fmla="*/ 211 w 1632"/>
                      <a:gd name="T73" fmla="*/ 889 h 1594"/>
                      <a:gd name="T74" fmla="*/ 158 w 1632"/>
                      <a:gd name="T75" fmla="*/ 803 h 1594"/>
                      <a:gd name="T76" fmla="*/ 86 w 1632"/>
                      <a:gd name="T77" fmla="*/ 725 h 1594"/>
                      <a:gd name="T78" fmla="*/ 15 w 1632"/>
                      <a:gd name="T79" fmla="*/ 646 h 1594"/>
                      <a:gd name="T80" fmla="*/ 333 w 1632"/>
                      <a:gd name="T81" fmla="*/ 644 h 1594"/>
                      <a:gd name="T82" fmla="*/ 764 w 1632"/>
                      <a:gd name="T83" fmla="*/ 16 h 1594"/>
                      <a:gd name="T84" fmla="*/ 893 w 1632"/>
                      <a:gd name="T85" fmla="*/ 326 h 1594"/>
                      <a:gd name="T86" fmla="*/ 934 w 1632"/>
                      <a:gd name="T87" fmla="*/ 355 h 1594"/>
                      <a:gd name="T88" fmla="*/ 1010 w 1632"/>
                      <a:gd name="T89" fmla="*/ 369 h 1594"/>
                      <a:gd name="T90" fmla="*/ 1067 w 1632"/>
                      <a:gd name="T91" fmla="*/ 389 h 1594"/>
                      <a:gd name="T92" fmla="*/ 1117 w 1632"/>
                      <a:gd name="T93" fmla="*/ 396 h 1594"/>
                      <a:gd name="T94" fmla="*/ 1173 w 1632"/>
                      <a:gd name="T95" fmla="*/ 408 h 1594"/>
                      <a:gd name="T96" fmla="*/ 1209 w 1632"/>
                      <a:gd name="T97" fmla="*/ 401 h 1594"/>
                      <a:gd name="T98" fmla="*/ 1269 w 1632"/>
                      <a:gd name="T99" fmla="*/ 426 h 1594"/>
                      <a:gd name="T100" fmla="*/ 1314 w 1632"/>
                      <a:gd name="T101" fmla="*/ 418 h 1594"/>
                      <a:gd name="T102" fmla="*/ 1376 w 1632"/>
                      <a:gd name="T103" fmla="*/ 411 h 1594"/>
                      <a:gd name="T104" fmla="*/ 1457 w 1632"/>
                      <a:gd name="T105" fmla="*/ 430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2" h="1594">
                        <a:moveTo>
                          <a:pt x="1166" y="1327"/>
                        </a:moveTo>
                        <a:lnTo>
                          <a:pt x="1146" y="1370"/>
                        </a:lnTo>
                        <a:lnTo>
                          <a:pt x="1140" y="1372"/>
                        </a:lnTo>
                        <a:lnTo>
                          <a:pt x="1158" y="1328"/>
                        </a:lnTo>
                        <a:lnTo>
                          <a:pt x="1166" y="1327"/>
                        </a:lnTo>
                        <a:close/>
                        <a:moveTo>
                          <a:pt x="1185" y="1295"/>
                        </a:moveTo>
                        <a:lnTo>
                          <a:pt x="1201" y="1261"/>
                        </a:lnTo>
                        <a:lnTo>
                          <a:pt x="1208" y="1265"/>
                        </a:lnTo>
                        <a:lnTo>
                          <a:pt x="1185" y="1295"/>
                        </a:lnTo>
                        <a:close/>
                        <a:moveTo>
                          <a:pt x="1267" y="1225"/>
                        </a:moveTo>
                        <a:lnTo>
                          <a:pt x="1228" y="1249"/>
                        </a:lnTo>
                        <a:lnTo>
                          <a:pt x="1227" y="1245"/>
                        </a:lnTo>
                        <a:lnTo>
                          <a:pt x="1253" y="1227"/>
                        </a:lnTo>
                        <a:lnTo>
                          <a:pt x="1267" y="1225"/>
                        </a:lnTo>
                        <a:close/>
                        <a:moveTo>
                          <a:pt x="1505" y="445"/>
                        </a:moveTo>
                        <a:lnTo>
                          <a:pt x="1516" y="458"/>
                        </a:lnTo>
                        <a:lnTo>
                          <a:pt x="1527" y="453"/>
                        </a:lnTo>
                        <a:lnTo>
                          <a:pt x="1551" y="454"/>
                        </a:lnTo>
                        <a:lnTo>
                          <a:pt x="1557" y="458"/>
                        </a:lnTo>
                        <a:lnTo>
                          <a:pt x="1560" y="538"/>
                        </a:lnTo>
                        <a:lnTo>
                          <a:pt x="1563" y="685"/>
                        </a:lnTo>
                        <a:lnTo>
                          <a:pt x="1581" y="701"/>
                        </a:lnTo>
                        <a:lnTo>
                          <a:pt x="1592" y="726"/>
                        </a:lnTo>
                        <a:lnTo>
                          <a:pt x="1591" y="745"/>
                        </a:lnTo>
                        <a:lnTo>
                          <a:pt x="1613" y="776"/>
                        </a:lnTo>
                        <a:lnTo>
                          <a:pt x="1611" y="783"/>
                        </a:lnTo>
                        <a:lnTo>
                          <a:pt x="1632" y="824"/>
                        </a:lnTo>
                        <a:lnTo>
                          <a:pt x="1624" y="829"/>
                        </a:lnTo>
                        <a:lnTo>
                          <a:pt x="1629" y="839"/>
                        </a:lnTo>
                        <a:lnTo>
                          <a:pt x="1626" y="856"/>
                        </a:lnTo>
                        <a:lnTo>
                          <a:pt x="1612" y="889"/>
                        </a:lnTo>
                        <a:lnTo>
                          <a:pt x="1607" y="895"/>
                        </a:lnTo>
                        <a:lnTo>
                          <a:pt x="1611" y="911"/>
                        </a:lnTo>
                        <a:lnTo>
                          <a:pt x="1604" y="920"/>
                        </a:lnTo>
                        <a:lnTo>
                          <a:pt x="1609" y="935"/>
                        </a:lnTo>
                        <a:lnTo>
                          <a:pt x="1611" y="966"/>
                        </a:lnTo>
                        <a:lnTo>
                          <a:pt x="1601" y="980"/>
                        </a:lnTo>
                        <a:lnTo>
                          <a:pt x="1593" y="980"/>
                        </a:lnTo>
                        <a:lnTo>
                          <a:pt x="1584" y="998"/>
                        </a:lnTo>
                        <a:lnTo>
                          <a:pt x="1583" y="1011"/>
                        </a:lnTo>
                        <a:lnTo>
                          <a:pt x="1592" y="1026"/>
                        </a:lnTo>
                        <a:lnTo>
                          <a:pt x="1568" y="1025"/>
                        </a:lnTo>
                        <a:lnTo>
                          <a:pt x="1492" y="1061"/>
                        </a:lnTo>
                        <a:lnTo>
                          <a:pt x="1498" y="1046"/>
                        </a:lnTo>
                        <a:lnTo>
                          <a:pt x="1479" y="1050"/>
                        </a:lnTo>
                        <a:lnTo>
                          <a:pt x="1487" y="1025"/>
                        </a:lnTo>
                        <a:lnTo>
                          <a:pt x="1479" y="1013"/>
                        </a:lnTo>
                        <a:lnTo>
                          <a:pt x="1469" y="1015"/>
                        </a:lnTo>
                        <a:lnTo>
                          <a:pt x="1463" y="1030"/>
                        </a:lnTo>
                        <a:lnTo>
                          <a:pt x="1446" y="1021"/>
                        </a:lnTo>
                        <a:lnTo>
                          <a:pt x="1444" y="1048"/>
                        </a:lnTo>
                        <a:lnTo>
                          <a:pt x="1462" y="1073"/>
                        </a:lnTo>
                        <a:lnTo>
                          <a:pt x="1439" y="1098"/>
                        </a:lnTo>
                        <a:lnTo>
                          <a:pt x="1428" y="1106"/>
                        </a:lnTo>
                        <a:lnTo>
                          <a:pt x="1428" y="1121"/>
                        </a:lnTo>
                        <a:lnTo>
                          <a:pt x="1400" y="1146"/>
                        </a:lnTo>
                        <a:lnTo>
                          <a:pt x="1371" y="1164"/>
                        </a:lnTo>
                        <a:lnTo>
                          <a:pt x="1360" y="1168"/>
                        </a:lnTo>
                        <a:lnTo>
                          <a:pt x="1343" y="1168"/>
                        </a:lnTo>
                        <a:lnTo>
                          <a:pt x="1293" y="1190"/>
                        </a:lnTo>
                        <a:lnTo>
                          <a:pt x="1286" y="1175"/>
                        </a:lnTo>
                        <a:lnTo>
                          <a:pt x="1275" y="1183"/>
                        </a:lnTo>
                        <a:lnTo>
                          <a:pt x="1247" y="1180"/>
                        </a:lnTo>
                        <a:lnTo>
                          <a:pt x="1245" y="1190"/>
                        </a:lnTo>
                        <a:lnTo>
                          <a:pt x="1252" y="1195"/>
                        </a:lnTo>
                        <a:lnTo>
                          <a:pt x="1267" y="1213"/>
                        </a:lnTo>
                        <a:lnTo>
                          <a:pt x="1235" y="1229"/>
                        </a:lnTo>
                        <a:lnTo>
                          <a:pt x="1218" y="1211"/>
                        </a:lnTo>
                        <a:lnTo>
                          <a:pt x="1210" y="1215"/>
                        </a:lnTo>
                        <a:lnTo>
                          <a:pt x="1218" y="1228"/>
                        </a:lnTo>
                        <a:lnTo>
                          <a:pt x="1218" y="1240"/>
                        </a:lnTo>
                        <a:lnTo>
                          <a:pt x="1205" y="1254"/>
                        </a:lnTo>
                        <a:lnTo>
                          <a:pt x="1168" y="1256"/>
                        </a:lnTo>
                        <a:lnTo>
                          <a:pt x="1176" y="1265"/>
                        </a:lnTo>
                        <a:lnTo>
                          <a:pt x="1186" y="1270"/>
                        </a:lnTo>
                        <a:lnTo>
                          <a:pt x="1165" y="1300"/>
                        </a:lnTo>
                        <a:lnTo>
                          <a:pt x="1155" y="1293"/>
                        </a:lnTo>
                        <a:lnTo>
                          <a:pt x="1121" y="1294"/>
                        </a:lnTo>
                        <a:lnTo>
                          <a:pt x="1124" y="1299"/>
                        </a:lnTo>
                        <a:lnTo>
                          <a:pt x="1138" y="1300"/>
                        </a:lnTo>
                        <a:lnTo>
                          <a:pt x="1142" y="1314"/>
                        </a:lnTo>
                        <a:lnTo>
                          <a:pt x="1154" y="1323"/>
                        </a:lnTo>
                        <a:lnTo>
                          <a:pt x="1132" y="1375"/>
                        </a:lnTo>
                        <a:lnTo>
                          <a:pt x="1118" y="1371"/>
                        </a:lnTo>
                        <a:lnTo>
                          <a:pt x="1104" y="1379"/>
                        </a:lnTo>
                        <a:lnTo>
                          <a:pt x="1104" y="1386"/>
                        </a:lnTo>
                        <a:lnTo>
                          <a:pt x="1119" y="1389"/>
                        </a:lnTo>
                        <a:lnTo>
                          <a:pt x="1129" y="1383"/>
                        </a:lnTo>
                        <a:lnTo>
                          <a:pt x="1128" y="1404"/>
                        </a:lnTo>
                        <a:lnTo>
                          <a:pt x="1122" y="1408"/>
                        </a:lnTo>
                        <a:lnTo>
                          <a:pt x="1124" y="1420"/>
                        </a:lnTo>
                        <a:lnTo>
                          <a:pt x="1115" y="1421"/>
                        </a:lnTo>
                        <a:lnTo>
                          <a:pt x="1113" y="1449"/>
                        </a:lnTo>
                        <a:lnTo>
                          <a:pt x="1122" y="1457"/>
                        </a:lnTo>
                        <a:lnTo>
                          <a:pt x="1131" y="1493"/>
                        </a:lnTo>
                        <a:lnTo>
                          <a:pt x="1127" y="1509"/>
                        </a:lnTo>
                        <a:lnTo>
                          <a:pt x="1140" y="1520"/>
                        </a:lnTo>
                        <a:lnTo>
                          <a:pt x="1138" y="1530"/>
                        </a:lnTo>
                        <a:lnTo>
                          <a:pt x="1145" y="1543"/>
                        </a:lnTo>
                        <a:lnTo>
                          <a:pt x="1145" y="1554"/>
                        </a:lnTo>
                        <a:lnTo>
                          <a:pt x="1153" y="1561"/>
                        </a:lnTo>
                        <a:lnTo>
                          <a:pt x="1155" y="1575"/>
                        </a:lnTo>
                        <a:lnTo>
                          <a:pt x="1167" y="1578"/>
                        </a:lnTo>
                        <a:lnTo>
                          <a:pt x="1152" y="1578"/>
                        </a:lnTo>
                        <a:lnTo>
                          <a:pt x="1128" y="1594"/>
                        </a:lnTo>
                        <a:lnTo>
                          <a:pt x="1095" y="1566"/>
                        </a:lnTo>
                        <a:lnTo>
                          <a:pt x="1078" y="1561"/>
                        </a:lnTo>
                        <a:lnTo>
                          <a:pt x="1060" y="1563"/>
                        </a:lnTo>
                        <a:lnTo>
                          <a:pt x="1022" y="1559"/>
                        </a:lnTo>
                        <a:lnTo>
                          <a:pt x="1012" y="1553"/>
                        </a:lnTo>
                        <a:lnTo>
                          <a:pt x="1003" y="1540"/>
                        </a:lnTo>
                        <a:lnTo>
                          <a:pt x="976" y="1530"/>
                        </a:lnTo>
                        <a:lnTo>
                          <a:pt x="967" y="1533"/>
                        </a:lnTo>
                        <a:lnTo>
                          <a:pt x="955" y="1523"/>
                        </a:lnTo>
                        <a:lnTo>
                          <a:pt x="947" y="1513"/>
                        </a:lnTo>
                        <a:lnTo>
                          <a:pt x="935" y="1513"/>
                        </a:lnTo>
                        <a:lnTo>
                          <a:pt x="925" y="1508"/>
                        </a:lnTo>
                        <a:lnTo>
                          <a:pt x="908" y="1507"/>
                        </a:lnTo>
                        <a:lnTo>
                          <a:pt x="906" y="1488"/>
                        </a:lnTo>
                        <a:lnTo>
                          <a:pt x="898" y="1482"/>
                        </a:lnTo>
                        <a:lnTo>
                          <a:pt x="905" y="1463"/>
                        </a:lnTo>
                        <a:lnTo>
                          <a:pt x="893" y="1454"/>
                        </a:lnTo>
                        <a:lnTo>
                          <a:pt x="888" y="1433"/>
                        </a:lnTo>
                        <a:lnTo>
                          <a:pt x="876" y="1425"/>
                        </a:lnTo>
                        <a:lnTo>
                          <a:pt x="873" y="1414"/>
                        </a:lnTo>
                        <a:lnTo>
                          <a:pt x="862" y="1408"/>
                        </a:lnTo>
                        <a:lnTo>
                          <a:pt x="867" y="1385"/>
                        </a:lnTo>
                        <a:lnTo>
                          <a:pt x="860" y="1365"/>
                        </a:lnTo>
                        <a:lnTo>
                          <a:pt x="863" y="1353"/>
                        </a:lnTo>
                        <a:lnTo>
                          <a:pt x="860" y="1332"/>
                        </a:lnTo>
                        <a:lnTo>
                          <a:pt x="847" y="1320"/>
                        </a:lnTo>
                        <a:lnTo>
                          <a:pt x="833" y="1315"/>
                        </a:lnTo>
                        <a:lnTo>
                          <a:pt x="821" y="1300"/>
                        </a:lnTo>
                        <a:lnTo>
                          <a:pt x="815" y="1295"/>
                        </a:lnTo>
                        <a:lnTo>
                          <a:pt x="812" y="1280"/>
                        </a:lnTo>
                        <a:lnTo>
                          <a:pt x="797" y="1263"/>
                        </a:lnTo>
                        <a:lnTo>
                          <a:pt x="788" y="1241"/>
                        </a:lnTo>
                        <a:lnTo>
                          <a:pt x="773" y="1233"/>
                        </a:lnTo>
                        <a:lnTo>
                          <a:pt x="762" y="1220"/>
                        </a:lnTo>
                        <a:lnTo>
                          <a:pt x="749" y="1175"/>
                        </a:lnTo>
                        <a:lnTo>
                          <a:pt x="738" y="1158"/>
                        </a:lnTo>
                        <a:lnTo>
                          <a:pt x="736" y="1143"/>
                        </a:lnTo>
                        <a:lnTo>
                          <a:pt x="723" y="1125"/>
                        </a:lnTo>
                        <a:lnTo>
                          <a:pt x="718" y="1096"/>
                        </a:lnTo>
                        <a:lnTo>
                          <a:pt x="707" y="1088"/>
                        </a:lnTo>
                        <a:lnTo>
                          <a:pt x="701" y="1073"/>
                        </a:lnTo>
                        <a:lnTo>
                          <a:pt x="676" y="1054"/>
                        </a:lnTo>
                        <a:lnTo>
                          <a:pt x="673" y="1043"/>
                        </a:lnTo>
                        <a:lnTo>
                          <a:pt x="661" y="1034"/>
                        </a:lnTo>
                        <a:lnTo>
                          <a:pt x="649" y="1015"/>
                        </a:lnTo>
                        <a:lnTo>
                          <a:pt x="641" y="1016"/>
                        </a:lnTo>
                        <a:lnTo>
                          <a:pt x="634" y="1009"/>
                        </a:lnTo>
                        <a:lnTo>
                          <a:pt x="629" y="995"/>
                        </a:lnTo>
                        <a:lnTo>
                          <a:pt x="611" y="990"/>
                        </a:lnTo>
                        <a:lnTo>
                          <a:pt x="601" y="993"/>
                        </a:lnTo>
                        <a:lnTo>
                          <a:pt x="558" y="983"/>
                        </a:lnTo>
                        <a:lnTo>
                          <a:pt x="539" y="984"/>
                        </a:lnTo>
                        <a:lnTo>
                          <a:pt x="517" y="970"/>
                        </a:lnTo>
                        <a:lnTo>
                          <a:pt x="507" y="975"/>
                        </a:lnTo>
                        <a:lnTo>
                          <a:pt x="502" y="985"/>
                        </a:lnTo>
                        <a:lnTo>
                          <a:pt x="488" y="983"/>
                        </a:lnTo>
                        <a:lnTo>
                          <a:pt x="466" y="988"/>
                        </a:lnTo>
                        <a:lnTo>
                          <a:pt x="452" y="1009"/>
                        </a:lnTo>
                        <a:lnTo>
                          <a:pt x="437" y="1045"/>
                        </a:lnTo>
                        <a:lnTo>
                          <a:pt x="433" y="1063"/>
                        </a:lnTo>
                        <a:lnTo>
                          <a:pt x="421" y="1068"/>
                        </a:lnTo>
                        <a:lnTo>
                          <a:pt x="405" y="1084"/>
                        </a:lnTo>
                        <a:lnTo>
                          <a:pt x="398" y="1095"/>
                        </a:lnTo>
                        <a:lnTo>
                          <a:pt x="378" y="1086"/>
                        </a:lnTo>
                        <a:lnTo>
                          <a:pt x="369" y="1086"/>
                        </a:lnTo>
                        <a:lnTo>
                          <a:pt x="357" y="1076"/>
                        </a:lnTo>
                        <a:lnTo>
                          <a:pt x="349" y="1066"/>
                        </a:lnTo>
                        <a:lnTo>
                          <a:pt x="333" y="1061"/>
                        </a:lnTo>
                        <a:lnTo>
                          <a:pt x="321" y="1051"/>
                        </a:lnTo>
                        <a:lnTo>
                          <a:pt x="319" y="1045"/>
                        </a:lnTo>
                        <a:lnTo>
                          <a:pt x="302" y="1041"/>
                        </a:lnTo>
                        <a:lnTo>
                          <a:pt x="286" y="1033"/>
                        </a:lnTo>
                        <a:lnTo>
                          <a:pt x="262" y="1003"/>
                        </a:lnTo>
                        <a:lnTo>
                          <a:pt x="252" y="1000"/>
                        </a:lnTo>
                        <a:lnTo>
                          <a:pt x="230" y="979"/>
                        </a:lnTo>
                        <a:lnTo>
                          <a:pt x="227" y="961"/>
                        </a:lnTo>
                        <a:lnTo>
                          <a:pt x="215" y="938"/>
                        </a:lnTo>
                        <a:lnTo>
                          <a:pt x="213" y="924"/>
                        </a:lnTo>
                        <a:lnTo>
                          <a:pt x="218" y="900"/>
                        </a:lnTo>
                        <a:lnTo>
                          <a:pt x="211" y="889"/>
                        </a:lnTo>
                        <a:lnTo>
                          <a:pt x="200" y="863"/>
                        </a:lnTo>
                        <a:lnTo>
                          <a:pt x="197" y="845"/>
                        </a:lnTo>
                        <a:lnTo>
                          <a:pt x="183" y="825"/>
                        </a:lnTo>
                        <a:lnTo>
                          <a:pt x="174" y="820"/>
                        </a:lnTo>
                        <a:lnTo>
                          <a:pt x="158" y="803"/>
                        </a:lnTo>
                        <a:lnTo>
                          <a:pt x="142" y="795"/>
                        </a:lnTo>
                        <a:lnTo>
                          <a:pt x="120" y="771"/>
                        </a:lnTo>
                        <a:lnTo>
                          <a:pt x="117" y="760"/>
                        </a:lnTo>
                        <a:lnTo>
                          <a:pt x="96" y="743"/>
                        </a:lnTo>
                        <a:lnTo>
                          <a:pt x="86" y="725"/>
                        </a:lnTo>
                        <a:lnTo>
                          <a:pt x="71" y="708"/>
                        </a:lnTo>
                        <a:lnTo>
                          <a:pt x="51" y="698"/>
                        </a:lnTo>
                        <a:lnTo>
                          <a:pt x="38" y="676"/>
                        </a:lnTo>
                        <a:lnTo>
                          <a:pt x="32" y="655"/>
                        </a:lnTo>
                        <a:lnTo>
                          <a:pt x="15" y="646"/>
                        </a:lnTo>
                        <a:lnTo>
                          <a:pt x="5" y="636"/>
                        </a:lnTo>
                        <a:lnTo>
                          <a:pt x="0" y="610"/>
                        </a:lnTo>
                        <a:lnTo>
                          <a:pt x="87" y="620"/>
                        </a:lnTo>
                        <a:lnTo>
                          <a:pt x="223" y="634"/>
                        </a:lnTo>
                        <a:lnTo>
                          <a:pt x="333" y="644"/>
                        </a:lnTo>
                        <a:lnTo>
                          <a:pt x="443" y="654"/>
                        </a:lnTo>
                        <a:lnTo>
                          <a:pt x="497" y="1"/>
                        </a:lnTo>
                        <a:lnTo>
                          <a:pt x="502" y="0"/>
                        </a:lnTo>
                        <a:lnTo>
                          <a:pt x="641" y="9"/>
                        </a:lnTo>
                        <a:lnTo>
                          <a:pt x="764" y="16"/>
                        </a:lnTo>
                        <a:lnTo>
                          <a:pt x="852" y="21"/>
                        </a:lnTo>
                        <a:lnTo>
                          <a:pt x="839" y="301"/>
                        </a:lnTo>
                        <a:lnTo>
                          <a:pt x="853" y="303"/>
                        </a:lnTo>
                        <a:lnTo>
                          <a:pt x="877" y="329"/>
                        </a:lnTo>
                        <a:lnTo>
                          <a:pt x="893" y="326"/>
                        </a:lnTo>
                        <a:lnTo>
                          <a:pt x="911" y="331"/>
                        </a:lnTo>
                        <a:lnTo>
                          <a:pt x="912" y="321"/>
                        </a:lnTo>
                        <a:lnTo>
                          <a:pt x="927" y="329"/>
                        </a:lnTo>
                        <a:lnTo>
                          <a:pt x="936" y="341"/>
                        </a:lnTo>
                        <a:lnTo>
                          <a:pt x="934" y="355"/>
                        </a:lnTo>
                        <a:lnTo>
                          <a:pt x="954" y="359"/>
                        </a:lnTo>
                        <a:lnTo>
                          <a:pt x="963" y="359"/>
                        </a:lnTo>
                        <a:lnTo>
                          <a:pt x="972" y="365"/>
                        </a:lnTo>
                        <a:lnTo>
                          <a:pt x="992" y="370"/>
                        </a:lnTo>
                        <a:lnTo>
                          <a:pt x="1010" y="369"/>
                        </a:lnTo>
                        <a:lnTo>
                          <a:pt x="1018" y="380"/>
                        </a:lnTo>
                        <a:lnTo>
                          <a:pt x="1028" y="380"/>
                        </a:lnTo>
                        <a:lnTo>
                          <a:pt x="1037" y="371"/>
                        </a:lnTo>
                        <a:lnTo>
                          <a:pt x="1067" y="373"/>
                        </a:lnTo>
                        <a:lnTo>
                          <a:pt x="1067" y="389"/>
                        </a:lnTo>
                        <a:lnTo>
                          <a:pt x="1085" y="396"/>
                        </a:lnTo>
                        <a:lnTo>
                          <a:pt x="1082" y="409"/>
                        </a:lnTo>
                        <a:lnTo>
                          <a:pt x="1092" y="413"/>
                        </a:lnTo>
                        <a:lnTo>
                          <a:pt x="1102" y="410"/>
                        </a:lnTo>
                        <a:lnTo>
                          <a:pt x="1117" y="396"/>
                        </a:lnTo>
                        <a:lnTo>
                          <a:pt x="1126" y="396"/>
                        </a:lnTo>
                        <a:lnTo>
                          <a:pt x="1129" y="409"/>
                        </a:lnTo>
                        <a:lnTo>
                          <a:pt x="1142" y="410"/>
                        </a:lnTo>
                        <a:lnTo>
                          <a:pt x="1153" y="419"/>
                        </a:lnTo>
                        <a:lnTo>
                          <a:pt x="1173" y="408"/>
                        </a:lnTo>
                        <a:lnTo>
                          <a:pt x="1177" y="414"/>
                        </a:lnTo>
                        <a:lnTo>
                          <a:pt x="1174" y="425"/>
                        </a:lnTo>
                        <a:lnTo>
                          <a:pt x="1187" y="433"/>
                        </a:lnTo>
                        <a:lnTo>
                          <a:pt x="1189" y="423"/>
                        </a:lnTo>
                        <a:lnTo>
                          <a:pt x="1209" y="401"/>
                        </a:lnTo>
                        <a:lnTo>
                          <a:pt x="1216" y="413"/>
                        </a:lnTo>
                        <a:lnTo>
                          <a:pt x="1236" y="416"/>
                        </a:lnTo>
                        <a:lnTo>
                          <a:pt x="1241" y="408"/>
                        </a:lnTo>
                        <a:lnTo>
                          <a:pt x="1259" y="426"/>
                        </a:lnTo>
                        <a:lnTo>
                          <a:pt x="1269" y="426"/>
                        </a:lnTo>
                        <a:lnTo>
                          <a:pt x="1279" y="439"/>
                        </a:lnTo>
                        <a:lnTo>
                          <a:pt x="1284" y="430"/>
                        </a:lnTo>
                        <a:lnTo>
                          <a:pt x="1294" y="430"/>
                        </a:lnTo>
                        <a:lnTo>
                          <a:pt x="1301" y="421"/>
                        </a:lnTo>
                        <a:lnTo>
                          <a:pt x="1314" y="418"/>
                        </a:lnTo>
                        <a:lnTo>
                          <a:pt x="1327" y="410"/>
                        </a:lnTo>
                        <a:lnTo>
                          <a:pt x="1337" y="416"/>
                        </a:lnTo>
                        <a:lnTo>
                          <a:pt x="1347" y="415"/>
                        </a:lnTo>
                        <a:lnTo>
                          <a:pt x="1368" y="403"/>
                        </a:lnTo>
                        <a:lnTo>
                          <a:pt x="1376" y="411"/>
                        </a:lnTo>
                        <a:lnTo>
                          <a:pt x="1397" y="414"/>
                        </a:lnTo>
                        <a:lnTo>
                          <a:pt x="1408" y="409"/>
                        </a:lnTo>
                        <a:lnTo>
                          <a:pt x="1414" y="400"/>
                        </a:lnTo>
                        <a:lnTo>
                          <a:pt x="1443" y="415"/>
                        </a:lnTo>
                        <a:lnTo>
                          <a:pt x="1457" y="430"/>
                        </a:lnTo>
                        <a:lnTo>
                          <a:pt x="1471" y="434"/>
                        </a:lnTo>
                        <a:lnTo>
                          <a:pt x="1498" y="445"/>
                        </a:lnTo>
                        <a:lnTo>
                          <a:pt x="1505" y="44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7" name="Connecticut" descr="{&quot;Key&quot;:&quot;connecticut&quot;,&quot;Name&quot;:&quot;Connecticut&quot;,&quot;Value&quot;:1.0,&quot;Formula&quot;:&quot;&quot;,&quot;Text&quot;:&quot;&quot;,&quot;OfficeApplication&quot;:1,&quot;HasValue&quot;:true}">
                    <a:extLst>
                      <a:ext uri="{FF2B5EF4-FFF2-40B4-BE49-F238E27FC236}">
                        <a16:creationId xmlns:a16="http://schemas.microsoft.com/office/drawing/2014/main" id="{C41CD2FF-EE2E-3881-9C84-16519F45CF4B}"/>
                      </a:ext>
                    </a:extLst>
                  </p:cNvPr>
                  <p:cNvSpPr>
                    <a:spLocks/>
                  </p:cNvSpPr>
                  <p:nvPr/>
                </p:nvSpPr>
                <p:spPr bwMode="auto">
                  <a:xfrm>
                    <a:off x="8065707" y="4344515"/>
                    <a:ext cx="103007" cy="100838"/>
                  </a:xfrm>
                  <a:custGeom>
                    <a:avLst/>
                    <a:gdLst>
                      <a:gd name="T0" fmla="*/ 178 w 199"/>
                      <a:gd name="T1" fmla="*/ 0 h 193"/>
                      <a:gd name="T2" fmla="*/ 197 w 199"/>
                      <a:gd name="T3" fmla="*/ 70 h 193"/>
                      <a:gd name="T4" fmla="*/ 199 w 199"/>
                      <a:gd name="T5" fmla="*/ 100 h 193"/>
                      <a:gd name="T6" fmla="*/ 193 w 199"/>
                      <a:gd name="T7" fmla="*/ 96 h 193"/>
                      <a:gd name="T8" fmla="*/ 172 w 199"/>
                      <a:gd name="T9" fmla="*/ 107 h 193"/>
                      <a:gd name="T10" fmla="*/ 163 w 199"/>
                      <a:gd name="T11" fmla="*/ 109 h 193"/>
                      <a:gd name="T12" fmla="*/ 154 w 199"/>
                      <a:gd name="T13" fmla="*/ 116 h 193"/>
                      <a:gd name="T14" fmla="*/ 138 w 199"/>
                      <a:gd name="T15" fmla="*/ 120 h 193"/>
                      <a:gd name="T16" fmla="*/ 132 w 199"/>
                      <a:gd name="T17" fmla="*/ 126 h 193"/>
                      <a:gd name="T18" fmla="*/ 120 w 199"/>
                      <a:gd name="T19" fmla="*/ 125 h 193"/>
                      <a:gd name="T20" fmla="*/ 103 w 199"/>
                      <a:gd name="T21" fmla="*/ 132 h 193"/>
                      <a:gd name="T22" fmla="*/ 65 w 199"/>
                      <a:gd name="T23" fmla="*/ 157 h 193"/>
                      <a:gd name="T24" fmla="*/ 28 w 199"/>
                      <a:gd name="T25" fmla="*/ 189 h 193"/>
                      <a:gd name="T26" fmla="*/ 20 w 199"/>
                      <a:gd name="T27" fmla="*/ 193 h 193"/>
                      <a:gd name="T28" fmla="*/ 8 w 199"/>
                      <a:gd name="T29" fmla="*/ 181 h 193"/>
                      <a:gd name="T30" fmla="*/ 29 w 199"/>
                      <a:gd name="T31" fmla="*/ 159 h 193"/>
                      <a:gd name="T32" fmla="*/ 20 w 199"/>
                      <a:gd name="T33" fmla="*/ 149 h 193"/>
                      <a:gd name="T34" fmla="*/ 0 w 199"/>
                      <a:gd name="T35" fmla="*/ 40 h 193"/>
                      <a:gd name="T36" fmla="*/ 77 w 199"/>
                      <a:gd name="T37" fmla="*/ 24 h 193"/>
                      <a:gd name="T38" fmla="*/ 165 w 199"/>
                      <a:gd name="T39" fmla="*/ 2 h 193"/>
                      <a:gd name="T40" fmla="*/ 178 w 199"/>
                      <a:gd name="T4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9" h="193">
                        <a:moveTo>
                          <a:pt x="178" y="0"/>
                        </a:moveTo>
                        <a:lnTo>
                          <a:pt x="197" y="70"/>
                        </a:lnTo>
                        <a:lnTo>
                          <a:pt x="199" y="100"/>
                        </a:lnTo>
                        <a:lnTo>
                          <a:pt x="193" y="96"/>
                        </a:lnTo>
                        <a:lnTo>
                          <a:pt x="172" y="107"/>
                        </a:lnTo>
                        <a:lnTo>
                          <a:pt x="163" y="109"/>
                        </a:lnTo>
                        <a:lnTo>
                          <a:pt x="154" y="116"/>
                        </a:lnTo>
                        <a:lnTo>
                          <a:pt x="138" y="120"/>
                        </a:lnTo>
                        <a:lnTo>
                          <a:pt x="132" y="126"/>
                        </a:lnTo>
                        <a:lnTo>
                          <a:pt x="120" y="125"/>
                        </a:lnTo>
                        <a:lnTo>
                          <a:pt x="103" y="132"/>
                        </a:lnTo>
                        <a:lnTo>
                          <a:pt x="65" y="157"/>
                        </a:lnTo>
                        <a:lnTo>
                          <a:pt x="28" y="189"/>
                        </a:lnTo>
                        <a:lnTo>
                          <a:pt x="20" y="193"/>
                        </a:lnTo>
                        <a:lnTo>
                          <a:pt x="8" y="181"/>
                        </a:lnTo>
                        <a:lnTo>
                          <a:pt x="29" y="159"/>
                        </a:lnTo>
                        <a:lnTo>
                          <a:pt x="20" y="149"/>
                        </a:lnTo>
                        <a:lnTo>
                          <a:pt x="0" y="40"/>
                        </a:lnTo>
                        <a:lnTo>
                          <a:pt x="77" y="24"/>
                        </a:lnTo>
                        <a:lnTo>
                          <a:pt x="165" y="2"/>
                        </a:lnTo>
                        <a:lnTo>
                          <a:pt x="178"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8" name="New Hampshire" descr="{&quot;Key&quot;:&quot;new hampshire&quot;,&quot;Name&quot;:&quot;New Hampshire&quot;,&quot;Value&quot;:1.0,&quot;Formula&quot;:&quot;&quot;,&quot;Text&quot;:&quot;&quot;,&quot;OfficeApplication&quot;:1,&quot;HasValue&quot;:true}">
                    <a:extLst>
                      <a:ext uri="{FF2B5EF4-FFF2-40B4-BE49-F238E27FC236}">
                        <a16:creationId xmlns:a16="http://schemas.microsoft.com/office/drawing/2014/main" id="{978F6676-2EAB-11DE-A42C-132DA5A96CD5}"/>
                      </a:ext>
                    </a:extLst>
                  </p:cNvPr>
                  <p:cNvSpPr>
                    <a:spLocks/>
                  </p:cNvSpPr>
                  <p:nvPr/>
                </p:nvSpPr>
                <p:spPr bwMode="auto">
                  <a:xfrm>
                    <a:off x="8094982" y="4092961"/>
                    <a:ext cx="99754" cy="208182"/>
                  </a:xfrm>
                  <a:custGeom>
                    <a:avLst/>
                    <a:gdLst>
                      <a:gd name="T0" fmla="*/ 186 w 191"/>
                      <a:gd name="T1" fmla="*/ 303 h 400"/>
                      <a:gd name="T2" fmla="*/ 191 w 191"/>
                      <a:gd name="T3" fmla="*/ 312 h 400"/>
                      <a:gd name="T4" fmla="*/ 187 w 191"/>
                      <a:gd name="T5" fmla="*/ 333 h 400"/>
                      <a:gd name="T6" fmla="*/ 176 w 191"/>
                      <a:gd name="T7" fmla="*/ 335 h 400"/>
                      <a:gd name="T8" fmla="*/ 144 w 191"/>
                      <a:gd name="T9" fmla="*/ 373 h 400"/>
                      <a:gd name="T10" fmla="*/ 24 w 191"/>
                      <a:gd name="T11" fmla="*/ 400 h 400"/>
                      <a:gd name="T12" fmla="*/ 9 w 191"/>
                      <a:gd name="T13" fmla="*/ 383 h 400"/>
                      <a:gd name="T14" fmla="*/ 12 w 191"/>
                      <a:gd name="T15" fmla="*/ 364 h 400"/>
                      <a:gd name="T16" fmla="*/ 6 w 191"/>
                      <a:gd name="T17" fmla="*/ 325 h 400"/>
                      <a:gd name="T18" fmla="*/ 9 w 191"/>
                      <a:gd name="T19" fmla="*/ 319 h 400"/>
                      <a:gd name="T20" fmla="*/ 0 w 191"/>
                      <a:gd name="T21" fmla="*/ 285 h 400"/>
                      <a:gd name="T22" fmla="*/ 3 w 191"/>
                      <a:gd name="T23" fmla="*/ 269 h 400"/>
                      <a:gd name="T24" fmla="*/ 2 w 191"/>
                      <a:gd name="T25" fmla="*/ 257 h 400"/>
                      <a:gd name="T26" fmla="*/ 10 w 191"/>
                      <a:gd name="T27" fmla="*/ 245 h 400"/>
                      <a:gd name="T28" fmla="*/ 8 w 191"/>
                      <a:gd name="T29" fmla="*/ 230 h 400"/>
                      <a:gd name="T30" fmla="*/ 12 w 191"/>
                      <a:gd name="T31" fmla="*/ 190 h 400"/>
                      <a:gd name="T32" fmla="*/ 8 w 191"/>
                      <a:gd name="T33" fmla="*/ 170 h 400"/>
                      <a:gd name="T34" fmla="*/ 12 w 191"/>
                      <a:gd name="T35" fmla="*/ 160 h 400"/>
                      <a:gd name="T36" fmla="*/ 25 w 191"/>
                      <a:gd name="T37" fmla="*/ 154 h 400"/>
                      <a:gd name="T38" fmla="*/ 38 w 191"/>
                      <a:gd name="T39" fmla="*/ 138 h 400"/>
                      <a:gd name="T40" fmla="*/ 45 w 191"/>
                      <a:gd name="T41" fmla="*/ 113 h 400"/>
                      <a:gd name="T42" fmla="*/ 31 w 191"/>
                      <a:gd name="T43" fmla="*/ 95 h 400"/>
                      <a:gd name="T44" fmla="*/ 37 w 191"/>
                      <a:gd name="T45" fmla="*/ 69 h 400"/>
                      <a:gd name="T46" fmla="*/ 33 w 191"/>
                      <a:gd name="T47" fmla="*/ 53 h 400"/>
                      <a:gd name="T48" fmla="*/ 36 w 191"/>
                      <a:gd name="T49" fmla="*/ 18 h 400"/>
                      <a:gd name="T50" fmla="*/ 43 w 191"/>
                      <a:gd name="T51" fmla="*/ 8 h 400"/>
                      <a:gd name="T52" fmla="*/ 60 w 191"/>
                      <a:gd name="T53" fmla="*/ 9 h 400"/>
                      <a:gd name="T54" fmla="*/ 63 w 191"/>
                      <a:gd name="T55" fmla="*/ 0 h 400"/>
                      <a:gd name="T56" fmla="*/ 146 w 191"/>
                      <a:gd name="T57" fmla="*/ 242 h 400"/>
                      <a:gd name="T58" fmla="*/ 151 w 191"/>
                      <a:gd name="T59" fmla="*/ 267 h 400"/>
                      <a:gd name="T60" fmla="*/ 172 w 191"/>
                      <a:gd name="T61" fmla="*/ 283 h 400"/>
                      <a:gd name="T62" fmla="*/ 175 w 191"/>
                      <a:gd name="T63" fmla="*/ 294 h 400"/>
                      <a:gd name="T64" fmla="*/ 186 w 191"/>
                      <a:gd name="T65" fmla="*/ 30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400">
                        <a:moveTo>
                          <a:pt x="186" y="303"/>
                        </a:moveTo>
                        <a:lnTo>
                          <a:pt x="191" y="312"/>
                        </a:lnTo>
                        <a:lnTo>
                          <a:pt x="187" y="333"/>
                        </a:lnTo>
                        <a:lnTo>
                          <a:pt x="176" y="335"/>
                        </a:lnTo>
                        <a:lnTo>
                          <a:pt x="144" y="373"/>
                        </a:lnTo>
                        <a:lnTo>
                          <a:pt x="24" y="400"/>
                        </a:lnTo>
                        <a:lnTo>
                          <a:pt x="9" y="383"/>
                        </a:lnTo>
                        <a:lnTo>
                          <a:pt x="12" y="364"/>
                        </a:lnTo>
                        <a:lnTo>
                          <a:pt x="6" y="325"/>
                        </a:lnTo>
                        <a:lnTo>
                          <a:pt x="9" y="319"/>
                        </a:lnTo>
                        <a:lnTo>
                          <a:pt x="0" y="285"/>
                        </a:lnTo>
                        <a:lnTo>
                          <a:pt x="3" y="269"/>
                        </a:lnTo>
                        <a:lnTo>
                          <a:pt x="2" y="257"/>
                        </a:lnTo>
                        <a:lnTo>
                          <a:pt x="10" y="245"/>
                        </a:lnTo>
                        <a:lnTo>
                          <a:pt x="8" y="230"/>
                        </a:lnTo>
                        <a:lnTo>
                          <a:pt x="12" y="190"/>
                        </a:lnTo>
                        <a:lnTo>
                          <a:pt x="8" y="170"/>
                        </a:lnTo>
                        <a:lnTo>
                          <a:pt x="12" y="160"/>
                        </a:lnTo>
                        <a:lnTo>
                          <a:pt x="25" y="154"/>
                        </a:lnTo>
                        <a:lnTo>
                          <a:pt x="38" y="138"/>
                        </a:lnTo>
                        <a:lnTo>
                          <a:pt x="45" y="113"/>
                        </a:lnTo>
                        <a:lnTo>
                          <a:pt x="31" y="95"/>
                        </a:lnTo>
                        <a:lnTo>
                          <a:pt x="37" y="69"/>
                        </a:lnTo>
                        <a:lnTo>
                          <a:pt x="33" y="53"/>
                        </a:lnTo>
                        <a:lnTo>
                          <a:pt x="36" y="18"/>
                        </a:lnTo>
                        <a:lnTo>
                          <a:pt x="43" y="8"/>
                        </a:lnTo>
                        <a:lnTo>
                          <a:pt x="60" y="9"/>
                        </a:lnTo>
                        <a:lnTo>
                          <a:pt x="63" y="0"/>
                        </a:lnTo>
                        <a:lnTo>
                          <a:pt x="146" y="242"/>
                        </a:lnTo>
                        <a:lnTo>
                          <a:pt x="151" y="267"/>
                        </a:lnTo>
                        <a:lnTo>
                          <a:pt x="172" y="283"/>
                        </a:lnTo>
                        <a:lnTo>
                          <a:pt x="175" y="294"/>
                        </a:lnTo>
                        <a:lnTo>
                          <a:pt x="186" y="30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29" name="Rhode Island" descr="{&quot;Key&quot;:&quot;rhode island&quot;,&quot;Name&quot;:&quot;Rhode Island&quot;,&quot;Value&quot;:1.0,&quot;Formula&quot;:&quot;&quot;,&quot;Text&quot;:&quot;&quot;,&quot;OfficeApplication&quot;:1,&quot;HasValue&quot;:true}">
                    <a:extLst>
                      <a:ext uri="{FF2B5EF4-FFF2-40B4-BE49-F238E27FC236}">
                        <a16:creationId xmlns:a16="http://schemas.microsoft.com/office/drawing/2014/main" id="{F2A7CBA8-C5AA-1C28-A403-A058428F5991}"/>
                      </a:ext>
                    </a:extLst>
                  </p:cNvPr>
                  <p:cNvSpPr>
                    <a:spLocks noEditPoints="1"/>
                  </p:cNvSpPr>
                  <p:nvPr/>
                </p:nvSpPr>
                <p:spPr bwMode="auto">
                  <a:xfrm>
                    <a:off x="8157871" y="4338009"/>
                    <a:ext cx="46624" cy="58551"/>
                  </a:xfrm>
                  <a:custGeom>
                    <a:avLst/>
                    <a:gdLst>
                      <a:gd name="T0" fmla="*/ 90 w 90"/>
                      <a:gd name="T1" fmla="*/ 63 h 113"/>
                      <a:gd name="T2" fmla="*/ 82 w 90"/>
                      <a:gd name="T3" fmla="*/ 68 h 113"/>
                      <a:gd name="T4" fmla="*/ 76 w 90"/>
                      <a:gd name="T5" fmla="*/ 43 h 113"/>
                      <a:gd name="T6" fmla="*/ 82 w 90"/>
                      <a:gd name="T7" fmla="*/ 43 h 113"/>
                      <a:gd name="T8" fmla="*/ 90 w 90"/>
                      <a:gd name="T9" fmla="*/ 63 h 113"/>
                      <a:gd name="T10" fmla="*/ 70 w 90"/>
                      <a:gd name="T11" fmla="*/ 39 h 113"/>
                      <a:gd name="T12" fmla="*/ 56 w 90"/>
                      <a:gd name="T13" fmla="*/ 38 h 113"/>
                      <a:gd name="T14" fmla="*/ 53 w 90"/>
                      <a:gd name="T15" fmla="*/ 64 h 113"/>
                      <a:gd name="T16" fmla="*/ 60 w 90"/>
                      <a:gd name="T17" fmla="*/ 79 h 113"/>
                      <a:gd name="T18" fmla="*/ 56 w 90"/>
                      <a:gd name="T19" fmla="*/ 95 h 113"/>
                      <a:gd name="T20" fmla="*/ 45 w 90"/>
                      <a:gd name="T21" fmla="*/ 98 h 113"/>
                      <a:gd name="T22" fmla="*/ 21 w 90"/>
                      <a:gd name="T23" fmla="*/ 113 h 113"/>
                      <a:gd name="T24" fmla="*/ 19 w 90"/>
                      <a:gd name="T25" fmla="*/ 83 h 113"/>
                      <a:gd name="T26" fmla="*/ 0 w 90"/>
                      <a:gd name="T27" fmla="*/ 13 h 113"/>
                      <a:gd name="T28" fmla="*/ 42 w 90"/>
                      <a:gd name="T29" fmla="*/ 0 h 113"/>
                      <a:gd name="T30" fmla="*/ 56 w 90"/>
                      <a:gd name="T31" fmla="*/ 30 h 113"/>
                      <a:gd name="T32" fmla="*/ 70 w 90"/>
                      <a:gd name="T33"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13">
                        <a:moveTo>
                          <a:pt x="90" y="63"/>
                        </a:moveTo>
                        <a:lnTo>
                          <a:pt x="82" y="68"/>
                        </a:lnTo>
                        <a:lnTo>
                          <a:pt x="76" y="43"/>
                        </a:lnTo>
                        <a:lnTo>
                          <a:pt x="82" y="43"/>
                        </a:lnTo>
                        <a:lnTo>
                          <a:pt x="90" y="63"/>
                        </a:lnTo>
                        <a:close/>
                        <a:moveTo>
                          <a:pt x="70" y="39"/>
                        </a:moveTo>
                        <a:lnTo>
                          <a:pt x="56" y="38"/>
                        </a:lnTo>
                        <a:lnTo>
                          <a:pt x="53" y="64"/>
                        </a:lnTo>
                        <a:lnTo>
                          <a:pt x="60" y="79"/>
                        </a:lnTo>
                        <a:lnTo>
                          <a:pt x="56" y="95"/>
                        </a:lnTo>
                        <a:lnTo>
                          <a:pt x="45" y="98"/>
                        </a:lnTo>
                        <a:lnTo>
                          <a:pt x="21" y="113"/>
                        </a:lnTo>
                        <a:lnTo>
                          <a:pt x="19" y="83"/>
                        </a:lnTo>
                        <a:lnTo>
                          <a:pt x="0" y="13"/>
                        </a:lnTo>
                        <a:lnTo>
                          <a:pt x="42" y="0"/>
                        </a:lnTo>
                        <a:lnTo>
                          <a:pt x="56" y="30"/>
                        </a:lnTo>
                        <a:lnTo>
                          <a:pt x="70" y="39"/>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0" name="Vermont" descr="{&quot;Key&quot;:&quot;vermont&quot;,&quot;Name&quot;:&quot;Vermont&quot;,&quot;Value&quot;:1.0,&quot;Formula&quot;:&quot;&quot;,&quot;Text&quot;:&quot;&quot;,&quot;OfficeApplication&quot;:1,&quot;HasValue&quot;:true}">
                    <a:extLst>
                      <a:ext uri="{FF2B5EF4-FFF2-40B4-BE49-F238E27FC236}">
                        <a16:creationId xmlns:a16="http://schemas.microsoft.com/office/drawing/2014/main" id="{F4CAD7A1-660C-414D-141C-717B0FC0D0A0}"/>
                      </a:ext>
                    </a:extLst>
                  </p:cNvPr>
                  <p:cNvSpPr>
                    <a:spLocks/>
                  </p:cNvSpPr>
                  <p:nvPr/>
                </p:nvSpPr>
                <p:spPr bwMode="auto">
                  <a:xfrm>
                    <a:off x="8016914" y="4121152"/>
                    <a:ext cx="101923" cy="190834"/>
                  </a:xfrm>
                  <a:custGeom>
                    <a:avLst/>
                    <a:gdLst>
                      <a:gd name="T0" fmla="*/ 174 w 195"/>
                      <a:gd name="T1" fmla="*/ 347 h 367"/>
                      <a:gd name="T2" fmla="*/ 90 w 195"/>
                      <a:gd name="T3" fmla="*/ 367 h 367"/>
                      <a:gd name="T4" fmla="*/ 62 w 195"/>
                      <a:gd name="T5" fmla="*/ 252 h 367"/>
                      <a:gd name="T6" fmla="*/ 55 w 195"/>
                      <a:gd name="T7" fmla="*/ 244 h 367"/>
                      <a:gd name="T8" fmla="*/ 41 w 195"/>
                      <a:gd name="T9" fmla="*/ 244 h 367"/>
                      <a:gd name="T10" fmla="*/ 43 w 195"/>
                      <a:gd name="T11" fmla="*/ 228 h 367"/>
                      <a:gd name="T12" fmla="*/ 30 w 195"/>
                      <a:gd name="T13" fmla="*/ 192 h 367"/>
                      <a:gd name="T14" fmla="*/ 25 w 195"/>
                      <a:gd name="T15" fmla="*/ 187 h 367"/>
                      <a:gd name="T16" fmla="*/ 26 w 195"/>
                      <a:gd name="T17" fmla="*/ 162 h 367"/>
                      <a:gd name="T18" fmla="*/ 30 w 195"/>
                      <a:gd name="T19" fmla="*/ 159 h 367"/>
                      <a:gd name="T20" fmla="*/ 25 w 195"/>
                      <a:gd name="T21" fmla="*/ 140 h 367"/>
                      <a:gd name="T22" fmla="*/ 25 w 195"/>
                      <a:gd name="T23" fmla="*/ 124 h 367"/>
                      <a:gd name="T24" fmla="*/ 14 w 195"/>
                      <a:gd name="T25" fmla="*/ 111 h 367"/>
                      <a:gd name="T26" fmla="*/ 10 w 195"/>
                      <a:gd name="T27" fmla="*/ 100 h 367"/>
                      <a:gd name="T28" fmla="*/ 9 w 195"/>
                      <a:gd name="T29" fmla="*/ 79 h 367"/>
                      <a:gd name="T30" fmla="*/ 4 w 195"/>
                      <a:gd name="T31" fmla="*/ 74 h 367"/>
                      <a:gd name="T32" fmla="*/ 0 w 195"/>
                      <a:gd name="T33" fmla="*/ 50 h 367"/>
                      <a:gd name="T34" fmla="*/ 105 w 195"/>
                      <a:gd name="T35" fmla="*/ 22 h 367"/>
                      <a:gd name="T36" fmla="*/ 184 w 195"/>
                      <a:gd name="T37" fmla="*/ 0 h 367"/>
                      <a:gd name="T38" fmla="*/ 187 w 195"/>
                      <a:gd name="T39" fmla="*/ 16 h 367"/>
                      <a:gd name="T40" fmla="*/ 181 w 195"/>
                      <a:gd name="T41" fmla="*/ 42 h 367"/>
                      <a:gd name="T42" fmla="*/ 195 w 195"/>
                      <a:gd name="T43" fmla="*/ 60 h 367"/>
                      <a:gd name="T44" fmla="*/ 189 w 195"/>
                      <a:gd name="T45" fmla="*/ 85 h 367"/>
                      <a:gd name="T46" fmla="*/ 175 w 195"/>
                      <a:gd name="T47" fmla="*/ 101 h 367"/>
                      <a:gd name="T48" fmla="*/ 162 w 195"/>
                      <a:gd name="T49" fmla="*/ 107 h 367"/>
                      <a:gd name="T50" fmla="*/ 159 w 195"/>
                      <a:gd name="T51" fmla="*/ 117 h 367"/>
                      <a:gd name="T52" fmla="*/ 162 w 195"/>
                      <a:gd name="T53" fmla="*/ 137 h 367"/>
                      <a:gd name="T54" fmla="*/ 159 w 195"/>
                      <a:gd name="T55" fmla="*/ 177 h 367"/>
                      <a:gd name="T56" fmla="*/ 160 w 195"/>
                      <a:gd name="T57" fmla="*/ 192 h 367"/>
                      <a:gd name="T58" fmla="*/ 152 w 195"/>
                      <a:gd name="T59" fmla="*/ 204 h 367"/>
                      <a:gd name="T60" fmla="*/ 154 w 195"/>
                      <a:gd name="T61" fmla="*/ 216 h 367"/>
                      <a:gd name="T62" fmla="*/ 150 w 195"/>
                      <a:gd name="T63" fmla="*/ 232 h 367"/>
                      <a:gd name="T64" fmla="*/ 159 w 195"/>
                      <a:gd name="T65" fmla="*/ 266 h 367"/>
                      <a:gd name="T66" fmla="*/ 156 w 195"/>
                      <a:gd name="T67" fmla="*/ 272 h 367"/>
                      <a:gd name="T68" fmla="*/ 162 w 195"/>
                      <a:gd name="T69" fmla="*/ 311 h 367"/>
                      <a:gd name="T70" fmla="*/ 159 w 195"/>
                      <a:gd name="T71" fmla="*/ 330 h 367"/>
                      <a:gd name="T72" fmla="*/ 174 w 195"/>
                      <a:gd name="T73" fmla="*/ 34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5" h="367">
                        <a:moveTo>
                          <a:pt x="174" y="347"/>
                        </a:moveTo>
                        <a:lnTo>
                          <a:pt x="90" y="367"/>
                        </a:lnTo>
                        <a:lnTo>
                          <a:pt x="62" y="252"/>
                        </a:lnTo>
                        <a:lnTo>
                          <a:pt x="55" y="244"/>
                        </a:lnTo>
                        <a:lnTo>
                          <a:pt x="41" y="244"/>
                        </a:lnTo>
                        <a:lnTo>
                          <a:pt x="43" y="228"/>
                        </a:lnTo>
                        <a:lnTo>
                          <a:pt x="30" y="192"/>
                        </a:lnTo>
                        <a:lnTo>
                          <a:pt x="25" y="187"/>
                        </a:lnTo>
                        <a:lnTo>
                          <a:pt x="26" y="162"/>
                        </a:lnTo>
                        <a:lnTo>
                          <a:pt x="30" y="159"/>
                        </a:lnTo>
                        <a:lnTo>
                          <a:pt x="25" y="140"/>
                        </a:lnTo>
                        <a:lnTo>
                          <a:pt x="25" y="124"/>
                        </a:lnTo>
                        <a:lnTo>
                          <a:pt x="14" y="111"/>
                        </a:lnTo>
                        <a:lnTo>
                          <a:pt x="10" y="100"/>
                        </a:lnTo>
                        <a:lnTo>
                          <a:pt x="9" y="79"/>
                        </a:lnTo>
                        <a:lnTo>
                          <a:pt x="4" y="74"/>
                        </a:lnTo>
                        <a:lnTo>
                          <a:pt x="0" y="50"/>
                        </a:lnTo>
                        <a:lnTo>
                          <a:pt x="105" y="22"/>
                        </a:lnTo>
                        <a:lnTo>
                          <a:pt x="184" y="0"/>
                        </a:lnTo>
                        <a:lnTo>
                          <a:pt x="187" y="16"/>
                        </a:lnTo>
                        <a:lnTo>
                          <a:pt x="181" y="42"/>
                        </a:lnTo>
                        <a:lnTo>
                          <a:pt x="195" y="60"/>
                        </a:lnTo>
                        <a:lnTo>
                          <a:pt x="189" y="85"/>
                        </a:lnTo>
                        <a:lnTo>
                          <a:pt x="175" y="101"/>
                        </a:lnTo>
                        <a:lnTo>
                          <a:pt x="162" y="107"/>
                        </a:lnTo>
                        <a:lnTo>
                          <a:pt x="159" y="117"/>
                        </a:lnTo>
                        <a:lnTo>
                          <a:pt x="162" y="137"/>
                        </a:lnTo>
                        <a:lnTo>
                          <a:pt x="159" y="177"/>
                        </a:lnTo>
                        <a:lnTo>
                          <a:pt x="160" y="192"/>
                        </a:lnTo>
                        <a:lnTo>
                          <a:pt x="152" y="204"/>
                        </a:lnTo>
                        <a:lnTo>
                          <a:pt x="154" y="216"/>
                        </a:lnTo>
                        <a:lnTo>
                          <a:pt x="150" y="232"/>
                        </a:lnTo>
                        <a:lnTo>
                          <a:pt x="159" y="266"/>
                        </a:lnTo>
                        <a:lnTo>
                          <a:pt x="156" y="272"/>
                        </a:lnTo>
                        <a:lnTo>
                          <a:pt x="162" y="311"/>
                        </a:lnTo>
                        <a:lnTo>
                          <a:pt x="159" y="330"/>
                        </a:lnTo>
                        <a:lnTo>
                          <a:pt x="174" y="347"/>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1" name="Alabama" descr="{&quot;Key&quot;:&quot;alabama&quot;,&quot;Name&quot;:&quot;Alabama&quot;,&quot;Value&quot;:1.0,&quot;Formula&quot;:&quot;&quot;,&quot;Text&quot;:&quot;&quot;,&quot;OfficeApplication&quot;:1,&quot;HasValue&quot;:true}">
                    <a:extLst>
                      <a:ext uri="{FF2B5EF4-FFF2-40B4-BE49-F238E27FC236}">
                        <a16:creationId xmlns:a16="http://schemas.microsoft.com/office/drawing/2014/main" id="{5FBA4BB0-6F8D-0720-5509-8D549F82C222}"/>
                      </a:ext>
                    </a:extLst>
                  </p:cNvPr>
                  <p:cNvSpPr>
                    <a:spLocks/>
                  </p:cNvSpPr>
                  <p:nvPr/>
                </p:nvSpPr>
                <p:spPr bwMode="auto">
                  <a:xfrm>
                    <a:off x="7296949" y="5021108"/>
                    <a:ext cx="233121" cy="372994"/>
                  </a:xfrm>
                  <a:custGeom>
                    <a:avLst/>
                    <a:gdLst>
                      <a:gd name="T0" fmla="*/ 307 w 449"/>
                      <a:gd name="T1" fmla="*/ 0 h 717"/>
                      <a:gd name="T2" fmla="*/ 316 w 449"/>
                      <a:gd name="T3" fmla="*/ 32 h 717"/>
                      <a:gd name="T4" fmla="*/ 336 w 449"/>
                      <a:gd name="T5" fmla="*/ 101 h 717"/>
                      <a:gd name="T6" fmla="*/ 390 w 449"/>
                      <a:gd name="T7" fmla="*/ 290 h 717"/>
                      <a:gd name="T8" fmla="*/ 396 w 449"/>
                      <a:gd name="T9" fmla="*/ 307 h 717"/>
                      <a:gd name="T10" fmla="*/ 401 w 449"/>
                      <a:gd name="T11" fmla="*/ 312 h 717"/>
                      <a:gd name="T12" fmla="*/ 410 w 449"/>
                      <a:gd name="T13" fmla="*/ 335 h 717"/>
                      <a:gd name="T14" fmla="*/ 421 w 449"/>
                      <a:gd name="T15" fmla="*/ 347 h 717"/>
                      <a:gd name="T16" fmla="*/ 427 w 449"/>
                      <a:gd name="T17" fmla="*/ 360 h 717"/>
                      <a:gd name="T18" fmla="*/ 429 w 449"/>
                      <a:gd name="T19" fmla="*/ 376 h 717"/>
                      <a:gd name="T20" fmla="*/ 439 w 449"/>
                      <a:gd name="T21" fmla="*/ 385 h 717"/>
                      <a:gd name="T22" fmla="*/ 422 w 449"/>
                      <a:gd name="T23" fmla="*/ 405 h 717"/>
                      <a:gd name="T24" fmla="*/ 424 w 449"/>
                      <a:gd name="T25" fmla="*/ 423 h 717"/>
                      <a:gd name="T26" fmla="*/ 416 w 449"/>
                      <a:gd name="T27" fmla="*/ 451 h 717"/>
                      <a:gd name="T28" fmla="*/ 424 w 449"/>
                      <a:gd name="T29" fmla="*/ 470 h 717"/>
                      <a:gd name="T30" fmla="*/ 434 w 449"/>
                      <a:gd name="T31" fmla="*/ 492 h 717"/>
                      <a:gd name="T32" fmla="*/ 430 w 449"/>
                      <a:gd name="T33" fmla="*/ 531 h 717"/>
                      <a:gd name="T34" fmla="*/ 434 w 449"/>
                      <a:gd name="T35" fmla="*/ 543 h 717"/>
                      <a:gd name="T36" fmla="*/ 445 w 449"/>
                      <a:gd name="T37" fmla="*/ 557 h 717"/>
                      <a:gd name="T38" fmla="*/ 449 w 449"/>
                      <a:gd name="T39" fmla="*/ 570 h 717"/>
                      <a:gd name="T40" fmla="*/ 328 w 449"/>
                      <a:gd name="T41" fmla="*/ 583 h 717"/>
                      <a:gd name="T42" fmla="*/ 250 w 449"/>
                      <a:gd name="T43" fmla="*/ 591 h 717"/>
                      <a:gd name="T44" fmla="*/ 125 w 449"/>
                      <a:gd name="T45" fmla="*/ 603 h 717"/>
                      <a:gd name="T46" fmla="*/ 122 w 449"/>
                      <a:gd name="T47" fmla="*/ 622 h 717"/>
                      <a:gd name="T48" fmla="*/ 141 w 449"/>
                      <a:gd name="T49" fmla="*/ 643 h 717"/>
                      <a:gd name="T50" fmla="*/ 153 w 449"/>
                      <a:gd name="T51" fmla="*/ 653 h 717"/>
                      <a:gd name="T52" fmla="*/ 150 w 449"/>
                      <a:gd name="T53" fmla="*/ 668 h 717"/>
                      <a:gd name="T54" fmla="*/ 153 w 449"/>
                      <a:gd name="T55" fmla="*/ 678 h 717"/>
                      <a:gd name="T56" fmla="*/ 156 w 449"/>
                      <a:gd name="T57" fmla="*/ 683 h 717"/>
                      <a:gd name="T58" fmla="*/ 149 w 449"/>
                      <a:gd name="T59" fmla="*/ 696 h 717"/>
                      <a:gd name="T60" fmla="*/ 136 w 449"/>
                      <a:gd name="T61" fmla="*/ 703 h 717"/>
                      <a:gd name="T62" fmla="*/ 135 w 449"/>
                      <a:gd name="T63" fmla="*/ 710 h 717"/>
                      <a:gd name="T64" fmla="*/ 111 w 449"/>
                      <a:gd name="T65" fmla="*/ 717 h 717"/>
                      <a:gd name="T66" fmla="*/ 111 w 449"/>
                      <a:gd name="T67" fmla="*/ 706 h 717"/>
                      <a:gd name="T68" fmla="*/ 91 w 449"/>
                      <a:gd name="T69" fmla="*/ 692 h 717"/>
                      <a:gd name="T70" fmla="*/ 87 w 449"/>
                      <a:gd name="T71" fmla="*/ 683 h 717"/>
                      <a:gd name="T72" fmla="*/ 91 w 449"/>
                      <a:gd name="T73" fmla="*/ 673 h 717"/>
                      <a:gd name="T74" fmla="*/ 85 w 449"/>
                      <a:gd name="T75" fmla="*/ 657 h 717"/>
                      <a:gd name="T76" fmla="*/ 71 w 449"/>
                      <a:gd name="T77" fmla="*/ 660 h 717"/>
                      <a:gd name="T78" fmla="*/ 66 w 449"/>
                      <a:gd name="T79" fmla="*/ 690 h 717"/>
                      <a:gd name="T80" fmla="*/ 67 w 449"/>
                      <a:gd name="T81" fmla="*/ 707 h 717"/>
                      <a:gd name="T82" fmla="*/ 36 w 449"/>
                      <a:gd name="T83" fmla="*/ 700 h 717"/>
                      <a:gd name="T84" fmla="*/ 31 w 449"/>
                      <a:gd name="T85" fmla="*/ 702 h 717"/>
                      <a:gd name="T86" fmla="*/ 2 w 449"/>
                      <a:gd name="T87" fmla="*/ 483 h 717"/>
                      <a:gd name="T88" fmla="*/ 7 w 449"/>
                      <a:gd name="T89" fmla="*/ 266 h 717"/>
                      <a:gd name="T90" fmla="*/ 14 w 449"/>
                      <a:gd name="T91" fmla="*/ 42 h 717"/>
                      <a:gd name="T92" fmla="*/ 1 w 449"/>
                      <a:gd name="T93" fmla="*/ 28 h 717"/>
                      <a:gd name="T94" fmla="*/ 0 w 449"/>
                      <a:gd name="T95" fmla="*/ 26 h 717"/>
                      <a:gd name="T96" fmla="*/ 80 w 449"/>
                      <a:gd name="T97" fmla="*/ 20 h 717"/>
                      <a:gd name="T98" fmla="*/ 174 w 449"/>
                      <a:gd name="T99" fmla="*/ 13 h 717"/>
                      <a:gd name="T100" fmla="*/ 307 w 449"/>
                      <a:gd name="T101"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 h="717">
                        <a:moveTo>
                          <a:pt x="307" y="0"/>
                        </a:moveTo>
                        <a:lnTo>
                          <a:pt x="316" y="32"/>
                        </a:lnTo>
                        <a:lnTo>
                          <a:pt x="336" y="101"/>
                        </a:lnTo>
                        <a:lnTo>
                          <a:pt x="390" y="290"/>
                        </a:lnTo>
                        <a:lnTo>
                          <a:pt x="396" y="307"/>
                        </a:lnTo>
                        <a:lnTo>
                          <a:pt x="401" y="312"/>
                        </a:lnTo>
                        <a:lnTo>
                          <a:pt x="410" y="335"/>
                        </a:lnTo>
                        <a:lnTo>
                          <a:pt x="421" y="347"/>
                        </a:lnTo>
                        <a:lnTo>
                          <a:pt x="427" y="360"/>
                        </a:lnTo>
                        <a:lnTo>
                          <a:pt x="429" y="376"/>
                        </a:lnTo>
                        <a:lnTo>
                          <a:pt x="439" y="385"/>
                        </a:lnTo>
                        <a:lnTo>
                          <a:pt x="422" y="405"/>
                        </a:lnTo>
                        <a:lnTo>
                          <a:pt x="424" y="423"/>
                        </a:lnTo>
                        <a:lnTo>
                          <a:pt x="416" y="451"/>
                        </a:lnTo>
                        <a:lnTo>
                          <a:pt x="424" y="470"/>
                        </a:lnTo>
                        <a:lnTo>
                          <a:pt x="434" y="492"/>
                        </a:lnTo>
                        <a:lnTo>
                          <a:pt x="430" y="531"/>
                        </a:lnTo>
                        <a:lnTo>
                          <a:pt x="434" y="543"/>
                        </a:lnTo>
                        <a:lnTo>
                          <a:pt x="445" y="557"/>
                        </a:lnTo>
                        <a:lnTo>
                          <a:pt x="449" y="570"/>
                        </a:lnTo>
                        <a:lnTo>
                          <a:pt x="328" y="583"/>
                        </a:lnTo>
                        <a:lnTo>
                          <a:pt x="250" y="591"/>
                        </a:lnTo>
                        <a:lnTo>
                          <a:pt x="125" y="603"/>
                        </a:lnTo>
                        <a:lnTo>
                          <a:pt x="122" y="622"/>
                        </a:lnTo>
                        <a:lnTo>
                          <a:pt x="141" y="643"/>
                        </a:lnTo>
                        <a:lnTo>
                          <a:pt x="153" y="653"/>
                        </a:lnTo>
                        <a:lnTo>
                          <a:pt x="150" y="668"/>
                        </a:lnTo>
                        <a:lnTo>
                          <a:pt x="153" y="678"/>
                        </a:lnTo>
                        <a:lnTo>
                          <a:pt x="156" y="683"/>
                        </a:lnTo>
                        <a:lnTo>
                          <a:pt x="149" y="696"/>
                        </a:lnTo>
                        <a:lnTo>
                          <a:pt x="136" y="703"/>
                        </a:lnTo>
                        <a:lnTo>
                          <a:pt x="135" y="710"/>
                        </a:lnTo>
                        <a:lnTo>
                          <a:pt x="111" y="717"/>
                        </a:lnTo>
                        <a:lnTo>
                          <a:pt x="111" y="706"/>
                        </a:lnTo>
                        <a:lnTo>
                          <a:pt x="91" y="692"/>
                        </a:lnTo>
                        <a:lnTo>
                          <a:pt x="87" y="683"/>
                        </a:lnTo>
                        <a:lnTo>
                          <a:pt x="91" y="673"/>
                        </a:lnTo>
                        <a:lnTo>
                          <a:pt x="85" y="657"/>
                        </a:lnTo>
                        <a:lnTo>
                          <a:pt x="71" y="660"/>
                        </a:lnTo>
                        <a:lnTo>
                          <a:pt x="66" y="690"/>
                        </a:lnTo>
                        <a:lnTo>
                          <a:pt x="67" y="707"/>
                        </a:lnTo>
                        <a:lnTo>
                          <a:pt x="36" y="700"/>
                        </a:lnTo>
                        <a:lnTo>
                          <a:pt x="31" y="702"/>
                        </a:lnTo>
                        <a:lnTo>
                          <a:pt x="2" y="483"/>
                        </a:lnTo>
                        <a:lnTo>
                          <a:pt x="7" y="266"/>
                        </a:lnTo>
                        <a:lnTo>
                          <a:pt x="14" y="42"/>
                        </a:lnTo>
                        <a:lnTo>
                          <a:pt x="1" y="28"/>
                        </a:lnTo>
                        <a:lnTo>
                          <a:pt x="0" y="26"/>
                        </a:lnTo>
                        <a:lnTo>
                          <a:pt x="80" y="20"/>
                        </a:lnTo>
                        <a:lnTo>
                          <a:pt x="174" y="13"/>
                        </a:lnTo>
                        <a:lnTo>
                          <a:pt x="307"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2" name="Florida" descr="{&quot;Key&quot;:&quot;florida&quot;,&quot;Name&quot;:&quot;Florida&quot;,&quot;Value&quot;:1.0,&quot;Formula&quot;:&quot;&quot;,&quot;Text&quot;:&quot;&quot;,&quot;OfficeApplication&quot;:1,&quot;HasValue&quot;:true}">
                    <a:extLst>
                      <a:ext uri="{FF2B5EF4-FFF2-40B4-BE49-F238E27FC236}">
                        <a16:creationId xmlns:a16="http://schemas.microsoft.com/office/drawing/2014/main" id="{C92C5765-65F9-9A1B-896F-7477F26E172B}"/>
                      </a:ext>
                    </a:extLst>
                  </p:cNvPr>
                  <p:cNvSpPr>
                    <a:spLocks noEditPoints="1"/>
                  </p:cNvSpPr>
                  <p:nvPr/>
                </p:nvSpPr>
                <p:spPr bwMode="auto">
                  <a:xfrm>
                    <a:off x="7359370" y="5303831"/>
                    <a:ext cx="554069" cy="423955"/>
                  </a:xfrm>
                  <a:custGeom>
                    <a:avLst/>
                    <a:gdLst>
                      <a:gd name="T0" fmla="*/ 924 w 1064"/>
                      <a:gd name="T1" fmla="*/ 329 h 815"/>
                      <a:gd name="T2" fmla="*/ 769 w 1064"/>
                      <a:gd name="T3" fmla="*/ 8 h 815"/>
                      <a:gd name="T4" fmla="*/ 792 w 1064"/>
                      <a:gd name="T5" fmla="*/ 53 h 815"/>
                      <a:gd name="T6" fmla="*/ 837 w 1064"/>
                      <a:gd name="T7" fmla="*/ 164 h 815"/>
                      <a:gd name="T8" fmla="*/ 913 w 1064"/>
                      <a:gd name="T9" fmla="*/ 298 h 815"/>
                      <a:gd name="T10" fmla="*/ 917 w 1064"/>
                      <a:gd name="T11" fmla="*/ 320 h 815"/>
                      <a:gd name="T12" fmla="*/ 994 w 1064"/>
                      <a:gd name="T13" fmla="*/ 448 h 815"/>
                      <a:gd name="T14" fmla="*/ 1043 w 1064"/>
                      <a:gd name="T15" fmla="*/ 521 h 815"/>
                      <a:gd name="T16" fmla="*/ 1057 w 1064"/>
                      <a:gd name="T17" fmla="*/ 581 h 815"/>
                      <a:gd name="T18" fmla="*/ 1059 w 1064"/>
                      <a:gd name="T19" fmla="*/ 686 h 815"/>
                      <a:gd name="T20" fmla="*/ 1048 w 1064"/>
                      <a:gd name="T21" fmla="*/ 725 h 815"/>
                      <a:gd name="T22" fmla="*/ 1044 w 1064"/>
                      <a:gd name="T23" fmla="*/ 774 h 815"/>
                      <a:gd name="T24" fmla="*/ 1005 w 1064"/>
                      <a:gd name="T25" fmla="*/ 804 h 815"/>
                      <a:gd name="T26" fmla="*/ 956 w 1064"/>
                      <a:gd name="T27" fmla="*/ 815 h 815"/>
                      <a:gd name="T28" fmla="*/ 954 w 1064"/>
                      <a:gd name="T29" fmla="*/ 792 h 815"/>
                      <a:gd name="T30" fmla="*/ 965 w 1064"/>
                      <a:gd name="T31" fmla="*/ 784 h 815"/>
                      <a:gd name="T32" fmla="*/ 909 w 1064"/>
                      <a:gd name="T33" fmla="*/ 724 h 815"/>
                      <a:gd name="T34" fmla="*/ 858 w 1064"/>
                      <a:gd name="T35" fmla="*/ 710 h 815"/>
                      <a:gd name="T36" fmla="*/ 830 w 1064"/>
                      <a:gd name="T37" fmla="*/ 659 h 815"/>
                      <a:gd name="T38" fmla="*/ 796 w 1064"/>
                      <a:gd name="T39" fmla="*/ 629 h 815"/>
                      <a:gd name="T40" fmla="*/ 774 w 1064"/>
                      <a:gd name="T41" fmla="*/ 570 h 815"/>
                      <a:gd name="T42" fmla="*/ 743 w 1064"/>
                      <a:gd name="T43" fmla="*/ 575 h 815"/>
                      <a:gd name="T44" fmla="*/ 696 w 1064"/>
                      <a:gd name="T45" fmla="*/ 506 h 815"/>
                      <a:gd name="T46" fmla="*/ 705 w 1064"/>
                      <a:gd name="T47" fmla="*/ 474 h 815"/>
                      <a:gd name="T48" fmla="*/ 708 w 1064"/>
                      <a:gd name="T49" fmla="*/ 437 h 815"/>
                      <a:gd name="T50" fmla="*/ 676 w 1064"/>
                      <a:gd name="T51" fmla="*/ 436 h 815"/>
                      <a:gd name="T52" fmla="*/ 693 w 1064"/>
                      <a:gd name="T53" fmla="*/ 469 h 815"/>
                      <a:gd name="T54" fmla="*/ 663 w 1064"/>
                      <a:gd name="T55" fmla="*/ 454 h 815"/>
                      <a:gd name="T56" fmla="*/ 673 w 1064"/>
                      <a:gd name="T57" fmla="*/ 360 h 815"/>
                      <a:gd name="T58" fmla="*/ 649 w 1064"/>
                      <a:gd name="T59" fmla="*/ 279 h 815"/>
                      <a:gd name="T60" fmla="*/ 611 w 1064"/>
                      <a:gd name="T61" fmla="*/ 260 h 815"/>
                      <a:gd name="T62" fmla="*/ 582 w 1064"/>
                      <a:gd name="T63" fmla="*/ 229 h 815"/>
                      <a:gd name="T64" fmla="*/ 537 w 1064"/>
                      <a:gd name="T65" fmla="*/ 190 h 815"/>
                      <a:gd name="T66" fmla="*/ 498 w 1064"/>
                      <a:gd name="T67" fmla="*/ 155 h 815"/>
                      <a:gd name="T68" fmla="*/ 435 w 1064"/>
                      <a:gd name="T69" fmla="*/ 147 h 815"/>
                      <a:gd name="T70" fmla="*/ 408 w 1064"/>
                      <a:gd name="T71" fmla="*/ 176 h 815"/>
                      <a:gd name="T72" fmla="*/ 364 w 1064"/>
                      <a:gd name="T73" fmla="*/ 210 h 815"/>
                      <a:gd name="T74" fmla="*/ 310 w 1064"/>
                      <a:gd name="T75" fmla="*/ 207 h 815"/>
                      <a:gd name="T76" fmla="*/ 250 w 1064"/>
                      <a:gd name="T77" fmla="*/ 147 h 815"/>
                      <a:gd name="T78" fmla="*/ 167 w 1064"/>
                      <a:gd name="T79" fmla="*/ 136 h 815"/>
                      <a:gd name="T80" fmla="*/ 159 w 1064"/>
                      <a:gd name="T81" fmla="*/ 125 h 815"/>
                      <a:gd name="T82" fmla="*/ 80 w 1064"/>
                      <a:gd name="T83" fmla="*/ 144 h 815"/>
                      <a:gd name="T84" fmla="*/ 65 w 1064"/>
                      <a:gd name="T85" fmla="*/ 134 h 815"/>
                      <a:gd name="T86" fmla="*/ 39 w 1064"/>
                      <a:gd name="T87" fmla="*/ 137 h 815"/>
                      <a:gd name="T88" fmla="*/ 32 w 1064"/>
                      <a:gd name="T89" fmla="*/ 111 h 815"/>
                      <a:gd name="T90" fmla="*/ 3 w 1064"/>
                      <a:gd name="T91" fmla="*/ 61 h 815"/>
                      <a:gd name="T92" fmla="*/ 327 w 1064"/>
                      <a:gd name="T93" fmla="*/ 27 h 815"/>
                      <a:gd name="T94" fmla="*/ 349 w 1064"/>
                      <a:gd name="T95" fmla="*/ 65 h 815"/>
                      <a:gd name="T96" fmla="*/ 687 w 1064"/>
                      <a:gd name="T97" fmla="*/ 64 h 815"/>
                      <a:gd name="T98" fmla="*/ 708 w 1064"/>
                      <a:gd name="T99" fmla="*/ 35 h 815"/>
                      <a:gd name="T100" fmla="*/ 709 w 1064"/>
                      <a:gd name="T101" fmla="*/ 2 h 815"/>
                      <a:gd name="T102" fmla="*/ 769 w 1064"/>
                      <a:gd name="T103" fmla="*/ 8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4" h="815">
                        <a:moveTo>
                          <a:pt x="933" y="300"/>
                        </a:moveTo>
                        <a:lnTo>
                          <a:pt x="930" y="320"/>
                        </a:lnTo>
                        <a:lnTo>
                          <a:pt x="924" y="329"/>
                        </a:lnTo>
                        <a:lnTo>
                          <a:pt x="919" y="306"/>
                        </a:lnTo>
                        <a:lnTo>
                          <a:pt x="933" y="300"/>
                        </a:lnTo>
                        <a:close/>
                        <a:moveTo>
                          <a:pt x="769" y="8"/>
                        </a:moveTo>
                        <a:lnTo>
                          <a:pt x="779" y="10"/>
                        </a:lnTo>
                        <a:lnTo>
                          <a:pt x="780" y="35"/>
                        </a:lnTo>
                        <a:lnTo>
                          <a:pt x="792" y="53"/>
                        </a:lnTo>
                        <a:lnTo>
                          <a:pt x="793" y="65"/>
                        </a:lnTo>
                        <a:lnTo>
                          <a:pt x="822" y="136"/>
                        </a:lnTo>
                        <a:lnTo>
                          <a:pt x="837" y="164"/>
                        </a:lnTo>
                        <a:lnTo>
                          <a:pt x="882" y="234"/>
                        </a:lnTo>
                        <a:lnTo>
                          <a:pt x="933" y="294"/>
                        </a:lnTo>
                        <a:lnTo>
                          <a:pt x="913" y="298"/>
                        </a:lnTo>
                        <a:lnTo>
                          <a:pt x="912" y="280"/>
                        </a:lnTo>
                        <a:lnTo>
                          <a:pt x="898" y="273"/>
                        </a:lnTo>
                        <a:lnTo>
                          <a:pt x="917" y="320"/>
                        </a:lnTo>
                        <a:lnTo>
                          <a:pt x="929" y="341"/>
                        </a:lnTo>
                        <a:lnTo>
                          <a:pt x="985" y="426"/>
                        </a:lnTo>
                        <a:lnTo>
                          <a:pt x="994" y="448"/>
                        </a:lnTo>
                        <a:lnTo>
                          <a:pt x="1025" y="498"/>
                        </a:lnTo>
                        <a:lnTo>
                          <a:pt x="1029" y="499"/>
                        </a:lnTo>
                        <a:lnTo>
                          <a:pt x="1043" y="521"/>
                        </a:lnTo>
                        <a:lnTo>
                          <a:pt x="1052" y="544"/>
                        </a:lnTo>
                        <a:lnTo>
                          <a:pt x="1059" y="576"/>
                        </a:lnTo>
                        <a:lnTo>
                          <a:pt x="1057" y="581"/>
                        </a:lnTo>
                        <a:lnTo>
                          <a:pt x="1060" y="621"/>
                        </a:lnTo>
                        <a:lnTo>
                          <a:pt x="1064" y="681"/>
                        </a:lnTo>
                        <a:lnTo>
                          <a:pt x="1059" y="686"/>
                        </a:lnTo>
                        <a:lnTo>
                          <a:pt x="1059" y="703"/>
                        </a:lnTo>
                        <a:lnTo>
                          <a:pt x="1053" y="706"/>
                        </a:lnTo>
                        <a:lnTo>
                          <a:pt x="1048" y="725"/>
                        </a:lnTo>
                        <a:lnTo>
                          <a:pt x="1047" y="744"/>
                        </a:lnTo>
                        <a:lnTo>
                          <a:pt x="1053" y="761"/>
                        </a:lnTo>
                        <a:lnTo>
                          <a:pt x="1044" y="774"/>
                        </a:lnTo>
                        <a:lnTo>
                          <a:pt x="1041" y="786"/>
                        </a:lnTo>
                        <a:lnTo>
                          <a:pt x="1020" y="786"/>
                        </a:lnTo>
                        <a:lnTo>
                          <a:pt x="1005" y="804"/>
                        </a:lnTo>
                        <a:lnTo>
                          <a:pt x="985" y="801"/>
                        </a:lnTo>
                        <a:lnTo>
                          <a:pt x="979" y="807"/>
                        </a:lnTo>
                        <a:lnTo>
                          <a:pt x="956" y="815"/>
                        </a:lnTo>
                        <a:lnTo>
                          <a:pt x="941" y="801"/>
                        </a:lnTo>
                        <a:lnTo>
                          <a:pt x="943" y="786"/>
                        </a:lnTo>
                        <a:lnTo>
                          <a:pt x="954" y="792"/>
                        </a:lnTo>
                        <a:lnTo>
                          <a:pt x="973" y="799"/>
                        </a:lnTo>
                        <a:lnTo>
                          <a:pt x="974" y="791"/>
                        </a:lnTo>
                        <a:lnTo>
                          <a:pt x="965" y="784"/>
                        </a:lnTo>
                        <a:lnTo>
                          <a:pt x="949" y="781"/>
                        </a:lnTo>
                        <a:lnTo>
                          <a:pt x="941" y="776"/>
                        </a:lnTo>
                        <a:lnTo>
                          <a:pt x="909" y="724"/>
                        </a:lnTo>
                        <a:lnTo>
                          <a:pt x="898" y="715"/>
                        </a:lnTo>
                        <a:lnTo>
                          <a:pt x="874" y="709"/>
                        </a:lnTo>
                        <a:lnTo>
                          <a:pt x="858" y="710"/>
                        </a:lnTo>
                        <a:lnTo>
                          <a:pt x="859" y="701"/>
                        </a:lnTo>
                        <a:lnTo>
                          <a:pt x="838" y="687"/>
                        </a:lnTo>
                        <a:lnTo>
                          <a:pt x="830" y="659"/>
                        </a:lnTo>
                        <a:lnTo>
                          <a:pt x="823" y="636"/>
                        </a:lnTo>
                        <a:lnTo>
                          <a:pt x="814" y="637"/>
                        </a:lnTo>
                        <a:lnTo>
                          <a:pt x="796" y="629"/>
                        </a:lnTo>
                        <a:lnTo>
                          <a:pt x="788" y="607"/>
                        </a:lnTo>
                        <a:lnTo>
                          <a:pt x="786" y="579"/>
                        </a:lnTo>
                        <a:lnTo>
                          <a:pt x="774" y="570"/>
                        </a:lnTo>
                        <a:lnTo>
                          <a:pt x="770" y="591"/>
                        </a:lnTo>
                        <a:lnTo>
                          <a:pt x="754" y="587"/>
                        </a:lnTo>
                        <a:lnTo>
                          <a:pt x="743" y="575"/>
                        </a:lnTo>
                        <a:lnTo>
                          <a:pt x="711" y="529"/>
                        </a:lnTo>
                        <a:lnTo>
                          <a:pt x="708" y="512"/>
                        </a:lnTo>
                        <a:lnTo>
                          <a:pt x="696" y="506"/>
                        </a:lnTo>
                        <a:lnTo>
                          <a:pt x="694" y="495"/>
                        </a:lnTo>
                        <a:lnTo>
                          <a:pt x="704" y="490"/>
                        </a:lnTo>
                        <a:lnTo>
                          <a:pt x="705" y="474"/>
                        </a:lnTo>
                        <a:lnTo>
                          <a:pt x="721" y="450"/>
                        </a:lnTo>
                        <a:lnTo>
                          <a:pt x="715" y="432"/>
                        </a:lnTo>
                        <a:lnTo>
                          <a:pt x="708" y="437"/>
                        </a:lnTo>
                        <a:lnTo>
                          <a:pt x="691" y="426"/>
                        </a:lnTo>
                        <a:lnTo>
                          <a:pt x="680" y="424"/>
                        </a:lnTo>
                        <a:lnTo>
                          <a:pt x="676" y="436"/>
                        </a:lnTo>
                        <a:lnTo>
                          <a:pt x="693" y="441"/>
                        </a:lnTo>
                        <a:lnTo>
                          <a:pt x="695" y="449"/>
                        </a:lnTo>
                        <a:lnTo>
                          <a:pt x="693" y="469"/>
                        </a:lnTo>
                        <a:lnTo>
                          <a:pt x="686" y="469"/>
                        </a:lnTo>
                        <a:lnTo>
                          <a:pt x="669" y="455"/>
                        </a:lnTo>
                        <a:lnTo>
                          <a:pt x="663" y="454"/>
                        </a:lnTo>
                        <a:lnTo>
                          <a:pt x="666" y="411"/>
                        </a:lnTo>
                        <a:lnTo>
                          <a:pt x="663" y="399"/>
                        </a:lnTo>
                        <a:lnTo>
                          <a:pt x="673" y="360"/>
                        </a:lnTo>
                        <a:lnTo>
                          <a:pt x="670" y="315"/>
                        </a:lnTo>
                        <a:lnTo>
                          <a:pt x="665" y="292"/>
                        </a:lnTo>
                        <a:lnTo>
                          <a:pt x="649" y="279"/>
                        </a:lnTo>
                        <a:lnTo>
                          <a:pt x="644" y="264"/>
                        </a:lnTo>
                        <a:lnTo>
                          <a:pt x="634" y="256"/>
                        </a:lnTo>
                        <a:lnTo>
                          <a:pt x="611" y="260"/>
                        </a:lnTo>
                        <a:lnTo>
                          <a:pt x="602" y="246"/>
                        </a:lnTo>
                        <a:lnTo>
                          <a:pt x="592" y="244"/>
                        </a:lnTo>
                        <a:lnTo>
                          <a:pt x="582" y="229"/>
                        </a:lnTo>
                        <a:lnTo>
                          <a:pt x="555" y="215"/>
                        </a:lnTo>
                        <a:lnTo>
                          <a:pt x="553" y="195"/>
                        </a:lnTo>
                        <a:lnTo>
                          <a:pt x="537" y="190"/>
                        </a:lnTo>
                        <a:lnTo>
                          <a:pt x="525" y="175"/>
                        </a:lnTo>
                        <a:lnTo>
                          <a:pt x="513" y="162"/>
                        </a:lnTo>
                        <a:lnTo>
                          <a:pt x="498" y="155"/>
                        </a:lnTo>
                        <a:lnTo>
                          <a:pt x="489" y="154"/>
                        </a:lnTo>
                        <a:lnTo>
                          <a:pt x="465" y="141"/>
                        </a:lnTo>
                        <a:lnTo>
                          <a:pt x="435" y="147"/>
                        </a:lnTo>
                        <a:lnTo>
                          <a:pt x="422" y="160"/>
                        </a:lnTo>
                        <a:lnTo>
                          <a:pt x="429" y="176"/>
                        </a:lnTo>
                        <a:lnTo>
                          <a:pt x="408" y="176"/>
                        </a:lnTo>
                        <a:lnTo>
                          <a:pt x="392" y="189"/>
                        </a:lnTo>
                        <a:lnTo>
                          <a:pt x="382" y="199"/>
                        </a:lnTo>
                        <a:lnTo>
                          <a:pt x="364" y="210"/>
                        </a:lnTo>
                        <a:lnTo>
                          <a:pt x="334" y="215"/>
                        </a:lnTo>
                        <a:lnTo>
                          <a:pt x="312" y="222"/>
                        </a:lnTo>
                        <a:lnTo>
                          <a:pt x="310" y="207"/>
                        </a:lnTo>
                        <a:lnTo>
                          <a:pt x="302" y="195"/>
                        </a:lnTo>
                        <a:lnTo>
                          <a:pt x="258" y="165"/>
                        </a:lnTo>
                        <a:lnTo>
                          <a:pt x="250" y="147"/>
                        </a:lnTo>
                        <a:lnTo>
                          <a:pt x="232" y="154"/>
                        </a:lnTo>
                        <a:lnTo>
                          <a:pt x="205" y="144"/>
                        </a:lnTo>
                        <a:lnTo>
                          <a:pt x="167" y="136"/>
                        </a:lnTo>
                        <a:lnTo>
                          <a:pt x="192" y="122"/>
                        </a:lnTo>
                        <a:lnTo>
                          <a:pt x="174" y="119"/>
                        </a:lnTo>
                        <a:lnTo>
                          <a:pt x="159" y="125"/>
                        </a:lnTo>
                        <a:lnTo>
                          <a:pt x="149" y="124"/>
                        </a:lnTo>
                        <a:lnTo>
                          <a:pt x="125" y="135"/>
                        </a:lnTo>
                        <a:lnTo>
                          <a:pt x="80" y="144"/>
                        </a:lnTo>
                        <a:lnTo>
                          <a:pt x="93" y="134"/>
                        </a:lnTo>
                        <a:lnTo>
                          <a:pt x="82" y="125"/>
                        </a:lnTo>
                        <a:lnTo>
                          <a:pt x="65" y="134"/>
                        </a:lnTo>
                        <a:lnTo>
                          <a:pt x="45" y="157"/>
                        </a:lnTo>
                        <a:lnTo>
                          <a:pt x="34" y="155"/>
                        </a:lnTo>
                        <a:lnTo>
                          <a:pt x="39" y="137"/>
                        </a:lnTo>
                        <a:lnTo>
                          <a:pt x="32" y="136"/>
                        </a:lnTo>
                        <a:lnTo>
                          <a:pt x="28" y="126"/>
                        </a:lnTo>
                        <a:lnTo>
                          <a:pt x="32" y="111"/>
                        </a:lnTo>
                        <a:lnTo>
                          <a:pt x="19" y="101"/>
                        </a:lnTo>
                        <a:lnTo>
                          <a:pt x="0" y="80"/>
                        </a:lnTo>
                        <a:lnTo>
                          <a:pt x="3" y="61"/>
                        </a:lnTo>
                        <a:lnTo>
                          <a:pt x="128" y="49"/>
                        </a:lnTo>
                        <a:lnTo>
                          <a:pt x="207" y="41"/>
                        </a:lnTo>
                        <a:lnTo>
                          <a:pt x="327" y="27"/>
                        </a:lnTo>
                        <a:lnTo>
                          <a:pt x="335" y="41"/>
                        </a:lnTo>
                        <a:lnTo>
                          <a:pt x="342" y="60"/>
                        </a:lnTo>
                        <a:lnTo>
                          <a:pt x="349" y="65"/>
                        </a:lnTo>
                        <a:lnTo>
                          <a:pt x="513" y="55"/>
                        </a:lnTo>
                        <a:lnTo>
                          <a:pt x="680" y="42"/>
                        </a:lnTo>
                        <a:lnTo>
                          <a:pt x="687" y="64"/>
                        </a:lnTo>
                        <a:lnTo>
                          <a:pt x="694" y="70"/>
                        </a:lnTo>
                        <a:lnTo>
                          <a:pt x="709" y="66"/>
                        </a:lnTo>
                        <a:lnTo>
                          <a:pt x="708" y="35"/>
                        </a:lnTo>
                        <a:lnTo>
                          <a:pt x="703" y="26"/>
                        </a:lnTo>
                        <a:lnTo>
                          <a:pt x="702" y="14"/>
                        </a:lnTo>
                        <a:lnTo>
                          <a:pt x="709" y="2"/>
                        </a:lnTo>
                        <a:lnTo>
                          <a:pt x="717" y="0"/>
                        </a:lnTo>
                        <a:lnTo>
                          <a:pt x="743" y="7"/>
                        </a:lnTo>
                        <a:lnTo>
                          <a:pt x="769" y="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3" name="Georgia" descr="{&quot;Key&quot;:&quot;georgia&quot;,&quot;Name&quot;:&quot;Georgia&quot;,&quot;Value&quot;:1.0,&quot;Formula&quot;:&quot;&quot;,&quot;Text&quot;:&quot;&quot;,&quot;OfficeApplication&quot;:1,&quot;HasValue&quot;:true}">
                    <a:extLst>
                      <a:ext uri="{FF2B5EF4-FFF2-40B4-BE49-F238E27FC236}">
                        <a16:creationId xmlns:a16="http://schemas.microsoft.com/office/drawing/2014/main" id="{EBDD3CBB-0034-C583-8526-454443A51D8E}"/>
                      </a:ext>
                    </a:extLst>
                  </p:cNvPr>
                  <p:cNvSpPr>
                    <a:spLocks noEditPoints="1"/>
                  </p:cNvSpPr>
                  <p:nvPr/>
                </p:nvSpPr>
                <p:spPr bwMode="auto">
                  <a:xfrm>
                    <a:off x="7456339" y="4999422"/>
                    <a:ext cx="330707" cy="340465"/>
                  </a:xfrm>
                  <a:custGeom>
                    <a:avLst/>
                    <a:gdLst>
                      <a:gd name="T0" fmla="*/ 593 w 635"/>
                      <a:gd name="T1" fmla="*/ 485 h 654"/>
                      <a:gd name="T2" fmla="*/ 605 w 635"/>
                      <a:gd name="T3" fmla="*/ 468 h 654"/>
                      <a:gd name="T4" fmla="*/ 628 w 635"/>
                      <a:gd name="T5" fmla="*/ 388 h 654"/>
                      <a:gd name="T6" fmla="*/ 622 w 635"/>
                      <a:gd name="T7" fmla="*/ 414 h 654"/>
                      <a:gd name="T8" fmla="*/ 613 w 635"/>
                      <a:gd name="T9" fmla="*/ 427 h 654"/>
                      <a:gd name="T10" fmla="*/ 589 w 635"/>
                      <a:gd name="T11" fmla="*/ 463 h 654"/>
                      <a:gd name="T12" fmla="*/ 592 w 635"/>
                      <a:gd name="T13" fmla="*/ 500 h 654"/>
                      <a:gd name="T14" fmla="*/ 589 w 635"/>
                      <a:gd name="T15" fmla="*/ 527 h 654"/>
                      <a:gd name="T16" fmla="*/ 579 w 635"/>
                      <a:gd name="T17" fmla="*/ 554 h 654"/>
                      <a:gd name="T18" fmla="*/ 584 w 635"/>
                      <a:gd name="T19" fmla="*/ 592 h 654"/>
                      <a:gd name="T20" fmla="*/ 531 w 635"/>
                      <a:gd name="T21" fmla="*/ 584 h 654"/>
                      <a:gd name="T22" fmla="*/ 516 w 635"/>
                      <a:gd name="T23" fmla="*/ 598 h 654"/>
                      <a:gd name="T24" fmla="*/ 523 w 635"/>
                      <a:gd name="T25" fmla="*/ 619 h 654"/>
                      <a:gd name="T26" fmla="*/ 509 w 635"/>
                      <a:gd name="T27" fmla="*/ 654 h 654"/>
                      <a:gd name="T28" fmla="*/ 495 w 635"/>
                      <a:gd name="T29" fmla="*/ 626 h 654"/>
                      <a:gd name="T30" fmla="*/ 164 w 635"/>
                      <a:gd name="T31" fmla="*/ 649 h 654"/>
                      <a:gd name="T32" fmla="*/ 150 w 635"/>
                      <a:gd name="T33" fmla="*/ 625 h 654"/>
                      <a:gd name="T34" fmla="*/ 138 w 635"/>
                      <a:gd name="T35" fmla="*/ 599 h 654"/>
                      <a:gd name="T36" fmla="*/ 123 w 635"/>
                      <a:gd name="T37" fmla="*/ 573 h 654"/>
                      <a:gd name="T38" fmla="*/ 116 w 635"/>
                      <a:gd name="T39" fmla="*/ 511 h 654"/>
                      <a:gd name="T40" fmla="*/ 116 w 635"/>
                      <a:gd name="T41" fmla="*/ 465 h 654"/>
                      <a:gd name="T42" fmla="*/ 131 w 635"/>
                      <a:gd name="T43" fmla="*/ 426 h 654"/>
                      <a:gd name="T44" fmla="*/ 120 w 635"/>
                      <a:gd name="T45" fmla="*/ 401 h 654"/>
                      <a:gd name="T46" fmla="*/ 103 w 635"/>
                      <a:gd name="T47" fmla="*/ 376 h 654"/>
                      <a:gd name="T48" fmla="*/ 89 w 635"/>
                      <a:gd name="T49" fmla="*/ 349 h 654"/>
                      <a:gd name="T50" fmla="*/ 29 w 635"/>
                      <a:gd name="T51" fmla="*/ 143 h 654"/>
                      <a:gd name="T52" fmla="*/ 0 w 635"/>
                      <a:gd name="T53" fmla="*/ 41 h 654"/>
                      <a:gd name="T54" fmla="*/ 151 w 635"/>
                      <a:gd name="T55" fmla="*/ 21 h 654"/>
                      <a:gd name="T56" fmla="*/ 290 w 635"/>
                      <a:gd name="T57" fmla="*/ 10 h 654"/>
                      <a:gd name="T58" fmla="*/ 271 w 635"/>
                      <a:gd name="T59" fmla="*/ 46 h 654"/>
                      <a:gd name="T60" fmla="*/ 303 w 635"/>
                      <a:gd name="T61" fmla="*/ 63 h 654"/>
                      <a:gd name="T62" fmla="*/ 336 w 635"/>
                      <a:gd name="T63" fmla="*/ 74 h 654"/>
                      <a:gd name="T64" fmla="*/ 356 w 635"/>
                      <a:gd name="T65" fmla="*/ 111 h 654"/>
                      <a:gd name="T66" fmla="*/ 380 w 635"/>
                      <a:gd name="T67" fmla="*/ 140 h 654"/>
                      <a:gd name="T68" fmla="*/ 424 w 635"/>
                      <a:gd name="T69" fmla="*/ 165 h 654"/>
                      <a:gd name="T70" fmla="*/ 453 w 635"/>
                      <a:gd name="T71" fmla="*/ 189 h 654"/>
                      <a:gd name="T72" fmla="*/ 470 w 635"/>
                      <a:gd name="T73" fmla="*/ 216 h 654"/>
                      <a:gd name="T74" fmla="*/ 488 w 635"/>
                      <a:gd name="T75" fmla="*/ 234 h 654"/>
                      <a:gd name="T76" fmla="*/ 528 w 635"/>
                      <a:gd name="T77" fmla="*/ 255 h 654"/>
                      <a:gd name="T78" fmla="*/ 543 w 635"/>
                      <a:gd name="T79" fmla="*/ 280 h 654"/>
                      <a:gd name="T80" fmla="*/ 551 w 635"/>
                      <a:gd name="T81" fmla="*/ 313 h 654"/>
                      <a:gd name="T82" fmla="*/ 593 w 635"/>
                      <a:gd name="T83" fmla="*/ 354 h 654"/>
                      <a:gd name="T84" fmla="*/ 604 w 635"/>
                      <a:gd name="T85" fmla="*/ 384 h 654"/>
                      <a:gd name="T86" fmla="*/ 628 w 635"/>
                      <a:gd name="T87" fmla="*/ 38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5" h="654">
                        <a:moveTo>
                          <a:pt x="598" y="488"/>
                        </a:moveTo>
                        <a:lnTo>
                          <a:pt x="593" y="485"/>
                        </a:lnTo>
                        <a:lnTo>
                          <a:pt x="598" y="468"/>
                        </a:lnTo>
                        <a:lnTo>
                          <a:pt x="605" y="468"/>
                        </a:lnTo>
                        <a:lnTo>
                          <a:pt x="598" y="488"/>
                        </a:lnTo>
                        <a:close/>
                        <a:moveTo>
                          <a:pt x="628" y="388"/>
                        </a:moveTo>
                        <a:lnTo>
                          <a:pt x="635" y="390"/>
                        </a:lnTo>
                        <a:lnTo>
                          <a:pt x="622" y="414"/>
                        </a:lnTo>
                        <a:lnTo>
                          <a:pt x="609" y="412"/>
                        </a:lnTo>
                        <a:lnTo>
                          <a:pt x="613" y="427"/>
                        </a:lnTo>
                        <a:lnTo>
                          <a:pt x="598" y="439"/>
                        </a:lnTo>
                        <a:lnTo>
                          <a:pt x="589" y="463"/>
                        </a:lnTo>
                        <a:lnTo>
                          <a:pt x="585" y="487"/>
                        </a:lnTo>
                        <a:lnTo>
                          <a:pt x="592" y="500"/>
                        </a:lnTo>
                        <a:lnTo>
                          <a:pt x="600" y="505"/>
                        </a:lnTo>
                        <a:lnTo>
                          <a:pt x="589" y="527"/>
                        </a:lnTo>
                        <a:lnTo>
                          <a:pt x="587" y="544"/>
                        </a:lnTo>
                        <a:lnTo>
                          <a:pt x="579" y="554"/>
                        </a:lnTo>
                        <a:lnTo>
                          <a:pt x="578" y="570"/>
                        </a:lnTo>
                        <a:lnTo>
                          <a:pt x="584" y="592"/>
                        </a:lnTo>
                        <a:lnTo>
                          <a:pt x="558" y="592"/>
                        </a:lnTo>
                        <a:lnTo>
                          <a:pt x="531" y="584"/>
                        </a:lnTo>
                        <a:lnTo>
                          <a:pt x="524" y="587"/>
                        </a:lnTo>
                        <a:lnTo>
                          <a:pt x="516" y="598"/>
                        </a:lnTo>
                        <a:lnTo>
                          <a:pt x="518" y="610"/>
                        </a:lnTo>
                        <a:lnTo>
                          <a:pt x="523" y="619"/>
                        </a:lnTo>
                        <a:lnTo>
                          <a:pt x="524" y="650"/>
                        </a:lnTo>
                        <a:lnTo>
                          <a:pt x="509" y="654"/>
                        </a:lnTo>
                        <a:lnTo>
                          <a:pt x="501" y="648"/>
                        </a:lnTo>
                        <a:lnTo>
                          <a:pt x="495" y="626"/>
                        </a:lnTo>
                        <a:lnTo>
                          <a:pt x="328" y="639"/>
                        </a:lnTo>
                        <a:lnTo>
                          <a:pt x="164" y="649"/>
                        </a:lnTo>
                        <a:lnTo>
                          <a:pt x="156" y="644"/>
                        </a:lnTo>
                        <a:lnTo>
                          <a:pt x="150" y="625"/>
                        </a:lnTo>
                        <a:lnTo>
                          <a:pt x="141" y="611"/>
                        </a:lnTo>
                        <a:lnTo>
                          <a:pt x="138" y="599"/>
                        </a:lnTo>
                        <a:lnTo>
                          <a:pt x="126" y="585"/>
                        </a:lnTo>
                        <a:lnTo>
                          <a:pt x="123" y="573"/>
                        </a:lnTo>
                        <a:lnTo>
                          <a:pt x="126" y="534"/>
                        </a:lnTo>
                        <a:lnTo>
                          <a:pt x="116" y="511"/>
                        </a:lnTo>
                        <a:lnTo>
                          <a:pt x="109" y="493"/>
                        </a:lnTo>
                        <a:lnTo>
                          <a:pt x="116" y="465"/>
                        </a:lnTo>
                        <a:lnTo>
                          <a:pt x="115" y="446"/>
                        </a:lnTo>
                        <a:lnTo>
                          <a:pt x="131" y="426"/>
                        </a:lnTo>
                        <a:lnTo>
                          <a:pt x="121" y="418"/>
                        </a:lnTo>
                        <a:lnTo>
                          <a:pt x="120" y="401"/>
                        </a:lnTo>
                        <a:lnTo>
                          <a:pt x="114" y="389"/>
                        </a:lnTo>
                        <a:lnTo>
                          <a:pt x="103" y="376"/>
                        </a:lnTo>
                        <a:lnTo>
                          <a:pt x="94" y="354"/>
                        </a:lnTo>
                        <a:lnTo>
                          <a:pt x="89" y="349"/>
                        </a:lnTo>
                        <a:lnTo>
                          <a:pt x="83" y="331"/>
                        </a:lnTo>
                        <a:lnTo>
                          <a:pt x="29" y="143"/>
                        </a:lnTo>
                        <a:lnTo>
                          <a:pt x="9" y="74"/>
                        </a:lnTo>
                        <a:lnTo>
                          <a:pt x="0" y="41"/>
                        </a:lnTo>
                        <a:lnTo>
                          <a:pt x="28" y="38"/>
                        </a:lnTo>
                        <a:lnTo>
                          <a:pt x="151" y="21"/>
                        </a:lnTo>
                        <a:lnTo>
                          <a:pt x="294" y="0"/>
                        </a:lnTo>
                        <a:lnTo>
                          <a:pt x="290" y="10"/>
                        </a:lnTo>
                        <a:lnTo>
                          <a:pt x="275" y="30"/>
                        </a:lnTo>
                        <a:lnTo>
                          <a:pt x="271" y="46"/>
                        </a:lnTo>
                        <a:lnTo>
                          <a:pt x="276" y="51"/>
                        </a:lnTo>
                        <a:lnTo>
                          <a:pt x="303" y="63"/>
                        </a:lnTo>
                        <a:lnTo>
                          <a:pt x="316" y="74"/>
                        </a:lnTo>
                        <a:lnTo>
                          <a:pt x="336" y="74"/>
                        </a:lnTo>
                        <a:lnTo>
                          <a:pt x="351" y="96"/>
                        </a:lnTo>
                        <a:lnTo>
                          <a:pt x="356" y="111"/>
                        </a:lnTo>
                        <a:lnTo>
                          <a:pt x="375" y="129"/>
                        </a:lnTo>
                        <a:lnTo>
                          <a:pt x="380" y="140"/>
                        </a:lnTo>
                        <a:lnTo>
                          <a:pt x="408" y="154"/>
                        </a:lnTo>
                        <a:lnTo>
                          <a:pt x="424" y="165"/>
                        </a:lnTo>
                        <a:lnTo>
                          <a:pt x="433" y="181"/>
                        </a:lnTo>
                        <a:lnTo>
                          <a:pt x="453" y="189"/>
                        </a:lnTo>
                        <a:lnTo>
                          <a:pt x="469" y="201"/>
                        </a:lnTo>
                        <a:lnTo>
                          <a:pt x="470" y="216"/>
                        </a:lnTo>
                        <a:lnTo>
                          <a:pt x="483" y="221"/>
                        </a:lnTo>
                        <a:lnTo>
                          <a:pt x="488" y="234"/>
                        </a:lnTo>
                        <a:lnTo>
                          <a:pt x="496" y="243"/>
                        </a:lnTo>
                        <a:lnTo>
                          <a:pt x="528" y="255"/>
                        </a:lnTo>
                        <a:lnTo>
                          <a:pt x="533" y="270"/>
                        </a:lnTo>
                        <a:lnTo>
                          <a:pt x="543" y="280"/>
                        </a:lnTo>
                        <a:lnTo>
                          <a:pt x="549" y="295"/>
                        </a:lnTo>
                        <a:lnTo>
                          <a:pt x="551" y="313"/>
                        </a:lnTo>
                        <a:lnTo>
                          <a:pt x="579" y="329"/>
                        </a:lnTo>
                        <a:lnTo>
                          <a:pt x="593" y="354"/>
                        </a:lnTo>
                        <a:lnTo>
                          <a:pt x="592" y="370"/>
                        </a:lnTo>
                        <a:lnTo>
                          <a:pt x="604" y="384"/>
                        </a:lnTo>
                        <a:lnTo>
                          <a:pt x="612" y="381"/>
                        </a:lnTo>
                        <a:lnTo>
                          <a:pt x="628" y="388"/>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4" name="Mississippi" descr="{&quot;Key&quot;:&quot;mississippi&quot;,&quot;Name&quot;:&quot;Mississippi&quot;,&quot;Value&quot;:1.0,&quot;Formula&quot;:&quot;&quot;,&quot;Text&quot;:&quot;&quot;,&quot;OfficeApplication&quot;:1,&quot;HasValue&quot;:true}">
                    <a:extLst>
                      <a:ext uri="{FF2B5EF4-FFF2-40B4-BE49-F238E27FC236}">
                        <a16:creationId xmlns:a16="http://schemas.microsoft.com/office/drawing/2014/main" id="{5DF348D7-D53C-7C18-4414-CC3DAC42354F}"/>
                      </a:ext>
                    </a:extLst>
                  </p:cNvPr>
                  <p:cNvSpPr>
                    <a:spLocks/>
                  </p:cNvSpPr>
                  <p:nvPr/>
                </p:nvSpPr>
                <p:spPr bwMode="auto">
                  <a:xfrm>
                    <a:off x="7096357" y="5035204"/>
                    <a:ext cx="216857" cy="371909"/>
                  </a:xfrm>
                  <a:custGeom>
                    <a:avLst/>
                    <a:gdLst>
                      <a:gd name="T0" fmla="*/ 399 w 416"/>
                      <a:gd name="T1" fmla="*/ 14 h 714"/>
                      <a:gd name="T2" fmla="*/ 387 w 416"/>
                      <a:gd name="T3" fmla="*/ 455 h 714"/>
                      <a:gd name="T4" fmla="*/ 407 w 416"/>
                      <a:gd name="T5" fmla="*/ 684 h 714"/>
                      <a:gd name="T6" fmla="*/ 374 w 416"/>
                      <a:gd name="T7" fmla="*/ 683 h 714"/>
                      <a:gd name="T8" fmla="*/ 349 w 416"/>
                      <a:gd name="T9" fmla="*/ 671 h 714"/>
                      <a:gd name="T10" fmla="*/ 300 w 416"/>
                      <a:gd name="T11" fmla="*/ 696 h 714"/>
                      <a:gd name="T12" fmla="*/ 286 w 416"/>
                      <a:gd name="T13" fmla="*/ 714 h 714"/>
                      <a:gd name="T14" fmla="*/ 267 w 416"/>
                      <a:gd name="T15" fmla="*/ 711 h 714"/>
                      <a:gd name="T16" fmla="*/ 254 w 416"/>
                      <a:gd name="T17" fmla="*/ 676 h 714"/>
                      <a:gd name="T18" fmla="*/ 230 w 416"/>
                      <a:gd name="T19" fmla="*/ 645 h 714"/>
                      <a:gd name="T20" fmla="*/ 241 w 416"/>
                      <a:gd name="T21" fmla="*/ 598 h 714"/>
                      <a:gd name="T22" fmla="*/ 0 w 416"/>
                      <a:gd name="T23" fmla="*/ 611 h 714"/>
                      <a:gd name="T24" fmla="*/ 2 w 416"/>
                      <a:gd name="T25" fmla="*/ 590 h 714"/>
                      <a:gd name="T26" fmla="*/ 1 w 416"/>
                      <a:gd name="T27" fmla="*/ 570 h 714"/>
                      <a:gd name="T28" fmla="*/ 17 w 416"/>
                      <a:gd name="T29" fmla="*/ 550 h 714"/>
                      <a:gd name="T30" fmla="*/ 24 w 416"/>
                      <a:gd name="T31" fmla="*/ 526 h 714"/>
                      <a:gd name="T32" fmla="*/ 34 w 416"/>
                      <a:gd name="T33" fmla="*/ 484 h 714"/>
                      <a:gd name="T34" fmla="*/ 55 w 416"/>
                      <a:gd name="T35" fmla="*/ 464 h 714"/>
                      <a:gd name="T36" fmla="*/ 65 w 416"/>
                      <a:gd name="T37" fmla="*/ 449 h 714"/>
                      <a:gd name="T38" fmla="*/ 59 w 416"/>
                      <a:gd name="T39" fmla="*/ 395 h 714"/>
                      <a:gd name="T40" fmla="*/ 50 w 416"/>
                      <a:gd name="T41" fmla="*/ 370 h 714"/>
                      <a:gd name="T42" fmla="*/ 59 w 416"/>
                      <a:gd name="T43" fmla="*/ 326 h 714"/>
                      <a:gd name="T44" fmla="*/ 46 w 416"/>
                      <a:gd name="T45" fmla="*/ 299 h 714"/>
                      <a:gd name="T46" fmla="*/ 51 w 416"/>
                      <a:gd name="T47" fmla="*/ 276 h 714"/>
                      <a:gd name="T48" fmla="*/ 47 w 416"/>
                      <a:gd name="T49" fmla="*/ 260 h 714"/>
                      <a:gd name="T50" fmla="*/ 36 w 416"/>
                      <a:gd name="T51" fmla="*/ 238 h 714"/>
                      <a:gd name="T52" fmla="*/ 37 w 416"/>
                      <a:gd name="T53" fmla="*/ 213 h 714"/>
                      <a:gd name="T54" fmla="*/ 55 w 416"/>
                      <a:gd name="T55" fmla="*/ 179 h 714"/>
                      <a:gd name="T56" fmla="*/ 69 w 416"/>
                      <a:gd name="T57" fmla="*/ 163 h 714"/>
                      <a:gd name="T58" fmla="*/ 62 w 416"/>
                      <a:gd name="T59" fmla="*/ 145 h 714"/>
                      <a:gd name="T60" fmla="*/ 77 w 416"/>
                      <a:gd name="T61" fmla="*/ 126 h 714"/>
                      <a:gd name="T62" fmla="*/ 105 w 416"/>
                      <a:gd name="T63" fmla="*/ 83 h 714"/>
                      <a:gd name="T64" fmla="*/ 106 w 416"/>
                      <a:gd name="T65" fmla="*/ 58 h 714"/>
                      <a:gd name="T66" fmla="*/ 116 w 416"/>
                      <a:gd name="T67" fmla="*/ 44 h 714"/>
                      <a:gd name="T68" fmla="*/ 137 w 416"/>
                      <a:gd name="T69" fmla="*/ 29 h 714"/>
                      <a:gd name="T70" fmla="*/ 257 w 416"/>
                      <a:gd name="T71" fmla="*/ 1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6" h="714">
                        <a:moveTo>
                          <a:pt x="386" y="0"/>
                        </a:moveTo>
                        <a:lnTo>
                          <a:pt x="399" y="14"/>
                        </a:lnTo>
                        <a:lnTo>
                          <a:pt x="392" y="238"/>
                        </a:lnTo>
                        <a:lnTo>
                          <a:pt x="387" y="455"/>
                        </a:lnTo>
                        <a:lnTo>
                          <a:pt x="416" y="674"/>
                        </a:lnTo>
                        <a:lnTo>
                          <a:pt x="407" y="684"/>
                        </a:lnTo>
                        <a:lnTo>
                          <a:pt x="396" y="681"/>
                        </a:lnTo>
                        <a:lnTo>
                          <a:pt x="374" y="683"/>
                        </a:lnTo>
                        <a:lnTo>
                          <a:pt x="360" y="674"/>
                        </a:lnTo>
                        <a:lnTo>
                          <a:pt x="349" y="671"/>
                        </a:lnTo>
                        <a:lnTo>
                          <a:pt x="339" y="681"/>
                        </a:lnTo>
                        <a:lnTo>
                          <a:pt x="300" y="696"/>
                        </a:lnTo>
                        <a:lnTo>
                          <a:pt x="289" y="703"/>
                        </a:lnTo>
                        <a:lnTo>
                          <a:pt x="286" y="714"/>
                        </a:lnTo>
                        <a:lnTo>
                          <a:pt x="276" y="714"/>
                        </a:lnTo>
                        <a:lnTo>
                          <a:pt x="267" y="711"/>
                        </a:lnTo>
                        <a:lnTo>
                          <a:pt x="261" y="699"/>
                        </a:lnTo>
                        <a:lnTo>
                          <a:pt x="254" y="676"/>
                        </a:lnTo>
                        <a:lnTo>
                          <a:pt x="237" y="661"/>
                        </a:lnTo>
                        <a:lnTo>
                          <a:pt x="230" y="645"/>
                        </a:lnTo>
                        <a:lnTo>
                          <a:pt x="241" y="605"/>
                        </a:lnTo>
                        <a:lnTo>
                          <a:pt x="241" y="598"/>
                        </a:lnTo>
                        <a:lnTo>
                          <a:pt x="119" y="605"/>
                        </a:lnTo>
                        <a:lnTo>
                          <a:pt x="0" y="611"/>
                        </a:lnTo>
                        <a:lnTo>
                          <a:pt x="10" y="603"/>
                        </a:lnTo>
                        <a:lnTo>
                          <a:pt x="2" y="590"/>
                        </a:lnTo>
                        <a:lnTo>
                          <a:pt x="5" y="581"/>
                        </a:lnTo>
                        <a:lnTo>
                          <a:pt x="1" y="570"/>
                        </a:lnTo>
                        <a:lnTo>
                          <a:pt x="12" y="569"/>
                        </a:lnTo>
                        <a:lnTo>
                          <a:pt x="17" y="550"/>
                        </a:lnTo>
                        <a:lnTo>
                          <a:pt x="12" y="538"/>
                        </a:lnTo>
                        <a:lnTo>
                          <a:pt x="24" y="526"/>
                        </a:lnTo>
                        <a:lnTo>
                          <a:pt x="26" y="501"/>
                        </a:lnTo>
                        <a:lnTo>
                          <a:pt x="34" y="484"/>
                        </a:lnTo>
                        <a:lnTo>
                          <a:pt x="44" y="480"/>
                        </a:lnTo>
                        <a:lnTo>
                          <a:pt x="55" y="464"/>
                        </a:lnTo>
                        <a:lnTo>
                          <a:pt x="62" y="459"/>
                        </a:lnTo>
                        <a:lnTo>
                          <a:pt x="65" y="449"/>
                        </a:lnTo>
                        <a:lnTo>
                          <a:pt x="82" y="410"/>
                        </a:lnTo>
                        <a:lnTo>
                          <a:pt x="59" y="395"/>
                        </a:lnTo>
                        <a:lnTo>
                          <a:pt x="57" y="380"/>
                        </a:lnTo>
                        <a:lnTo>
                          <a:pt x="50" y="370"/>
                        </a:lnTo>
                        <a:lnTo>
                          <a:pt x="51" y="336"/>
                        </a:lnTo>
                        <a:lnTo>
                          <a:pt x="59" y="326"/>
                        </a:lnTo>
                        <a:lnTo>
                          <a:pt x="46" y="314"/>
                        </a:lnTo>
                        <a:lnTo>
                          <a:pt x="46" y="299"/>
                        </a:lnTo>
                        <a:lnTo>
                          <a:pt x="52" y="294"/>
                        </a:lnTo>
                        <a:lnTo>
                          <a:pt x="51" y="276"/>
                        </a:lnTo>
                        <a:lnTo>
                          <a:pt x="41" y="269"/>
                        </a:lnTo>
                        <a:lnTo>
                          <a:pt x="47" y="260"/>
                        </a:lnTo>
                        <a:lnTo>
                          <a:pt x="47" y="245"/>
                        </a:lnTo>
                        <a:lnTo>
                          <a:pt x="36" y="238"/>
                        </a:lnTo>
                        <a:lnTo>
                          <a:pt x="42" y="223"/>
                        </a:lnTo>
                        <a:lnTo>
                          <a:pt x="37" y="213"/>
                        </a:lnTo>
                        <a:lnTo>
                          <a:pt x="54" y="196"/>
                        </a:lnTo>
                        <a:lnTo>
                          <a:pt x="55" y="179"/>
                        </a:lnTo>
                        <a:lnTo>
                          <a:pt x="49" y="170"/>
                        </a:lnTo>
                        <a:lnTo>
                          <a:pt x="69" y="163"/>
                        </a:lnTo>
                        <a:lnTo>
                          <a:pt x="71" y="154"/>
                        </a:lnTo>
                        <a:lnTo>
                          <a:pt x="62" y="145"/>
                        </a:lnTo>
                        <a:lnTo>
                          <a:pt x="72" y="138"/>
                        </a:lnTo>
                        <a:lnTo>
                          <a:pt x="77" y="126"/>
                        </a:lnTo>
                        <a:lnTo>
                          <a:pt x="104" y="104"/>
                        </a:lnTo>
                        <a:lnTo>
                          <a:pt x="105" y="83"/>
                        </a:lnTo>
                        <a:lnTo>
                          <a:pt x="101" y="73"/>
                        </a:lnTo>
                        <a:lnTo>
                          <a:pt x="106" y="58"/>
                        </a:lnTo>
                        <a:lnTo>
                          <a:pt x="117" y="54"/>
                        </a:lnTo>
                        <a:lnTo>
                          <a:pt x="116" y="44"/>
                        </a:lnTo>
                        <a:lnTo>
                          <a:pt x="129" y="39"/>
                        </a:lnTo>
                        <a:lnTo>
                          <a:pt x="137" y="29"/>
                        </a:lnTo>
                        <a:lnTo>
                          <a:pt x="134" y="18"/>
                        </a:lnTo>
                        <a:lnTo>
                          <a:pt x="257" y="10"/>
                        </a:lnTo>
                        <a:lnTo>
                          <a:pt x="386" y="0"/>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5" name="South Carolina" descr="{&quot;Key&quot;:&quot;south carolina&quot;,&quot;Name&quot;:&quot;South Carolina&quot;,&quot;Value&quot;:1.0,&quot;Formula&quot;:&quot;&quot;,&quot;Text&quot;:&quot;&quot;,&quot;OfficeApplication&quot;:1,&quot;HasValue&quot;:true}">
                    <a:extLst>
                      <a:ext uri="{FF2B5EF4-FFF2-40B4-BE49-F238E27FC236}">
                        <a16:creationId xmlns:a16="http://schemas.microsoft.com/office/drawing/2014/main" id="{401099A2-47B5-08FF-F1E0-35698D760241}"/>
                      </a:ext>
                    </a:extLst>
                  </p:cNvPr>
                  <p:cNvSpPr>
                    <a:spLocks/>
                  </p:cNvSpPr>
                  <p:nvPr/>
                </p:nvSpPr>
                <p:spPr bwMode="auto">
                  <a:xfrm>
                    <a:off x="7598380" y="4969062"/>
                    <a:ext cx="305768" cy="232037"/>
                  </a:xfrm>
                  <a:custGeom>
                    <a:avLst/>
                    <a:gdLst>
                      <a:gd name="T0" fmla="*/ 568 w 588"/>
                      <a:gd name="T1" fmla="*/ 148 h 446"/>
                      <a:gd name="T2" fmla="*/ 533 w 588"/>
                      <a:gd name="T3" fmla="*/ 208 h 446"/>
                      <a:gd name="T4" fmla="*/ 513 w 588"/>
                      <a:gd name="T5" fmla="*/ 272 h 446"/>
                      <a:gd name="T6" fmla="*/ 490 w 588"/>
                      <a:gd name="T7" fmla="*/ 276 h 446"/>
                      <a:gd name="T8" fmla="*/ 477 w 588"/>
                      <a:gd name="T9" fmla="*/ 311 h 446"/>
                      <a:gd name="T10" fmla="*/ 462 w 588"/>
                      <a:gd name="T11" fmla="*/ 330 h 446"/>
                      <a:gd name="T12" fmla="*/ 433 w 588"/>
                      <a:gd name="T13" fmla="*/ 351 h 446"/>
                      <a:gd name="T14" fmla="*/ 405 w 588"/>
                      <a:gd name="T15" fmla="*/ 371 h 446"/>
                      <a:gd name="T16" fmla="*/ 385 w 588"/>
                      <a:gd name="T17" fmla="*/ 373 h 446"/>
                      <a:gd name="T18" fmla="*/ 403 w 588"/>
                      <a:gd name="T19" fmla="*/ 388 h 446"/>
                      <a:gd name="T20" fmla="*/ 382 w 588"/>
                      <a:gd name="T21" fmla="*/ 407 h 446"/>
                      <a:gd name="T22" fmla="*/ 361 w 588"/>
                      <a:gd name="T23" fmla="*/ 402 h 446"/>
                      <a:gd name="T24" fmla="*/ 372 w 588"/>
                      <a:gd name="T25" fmla="*/ 425 h 446"/>
                      <a:gd name="T26" fmla="*/ 356 w 588"/>
                      <a:gd name="T27" fmla="*/ 446 h 446"/>
                      <a:gd name="T28" fmla="*/ 332 w 588"/>
                      <a:gd name="T29" fmla="*/ 442 h 446"/>
                      <a:gd name="T30" fmla="*/ 321 w 588"/>
                      <a:gd name="T31" fmla="*/ 412 h 446"/>
                      <a:gd name="T32" fmla="*/ 280 w 588"/>
                      <a:gd name="T33" fmla="*/ 371 h 446"/>
                      <a:gd name="T34" fmla="*/ 271 w 588"/>
                      <a:gd name="T35" fmla="*/ 338 h 446"/>
                      <a:gd name="T36" fmla="*/ 256 w 588"/>
                      <a:gd name="T37" fmla="*/ 313 h 446"/>
                      <a:gd name="T38" fmla="*/ 216 w 588"/>
                      <a:gd name="T39" fmla="*/ 292 h 446"/>
                      <a:gd name="T40" fmla="*/ 198 w 588"/>
                      <a:gd name="T41" fmla="*/ 275 h 446"/>
                      <a:gd name="T42" fmla="*/ 181 w 588"/>
                      <a:gd name="T43" fmla="*/ 247 h 446"/>
                      <a:gd name="T44" fmla="*/ 152 w 588"/>
                      <a:gd name="T45" fmla="*/ 223 h 446"/>
                      <a:gd name="T46" fmla="*/ 108 w 588"/>
                      <a:gd name="T47" fmla="*/ 198 h 446"/>
                      <a:gd name="T48" fmla="*/ 85 w 588"/>
                      <a:gd name="T49" fmla="*/ 170 h 446"/>
                      <a:gd name="T50" fmla="*/ 65 w 588"/>
                      <a:gd name="T51" fmla="*/ 132 h 446"/>
                      <a:gd name="T52" fmla="*/ 31 w 588"/>
                      <a:gd name="T53" fmla="*/ 121 h 446"/>
                      <a:gd name="T54" fmla="*/ 0 w 588"/>
                      <a:gd name="T55" fmla="*/ 105 h 446"/>
                      <a:gd name="T56" fmla="*/ 18 w 588"/>
                      <a:gd name="T57" fmla="*/ 68 h 446"/>
                      <a:gd name="T58" fmla="*/ 57 w 588"/>
                      <a:gd name="T59" fmla="*/ 42 h 446"/>
                      <a:gd name="T60" fmla="*/ 85 w 588"/>
                      <a:gd name="T61" fmla="*/ 26 h 446"/>
                      <a:gd name="T62" fmla="*/ 260 w 588"/>
                      <a:gd name="T63" fmla="*/ 0 h 446"/>
                      <a:gd name="T64" fmla="*/ 278 w 588"/>
                      <a:gd name="T65" fmla="*/ 3 h 446"/>
                      <a:gd name="T66" fmla="*/ 302 w 588"/>
                      <a:gd name="T67" fmla="*/ 41 h 446"/>
                      <a:gd name="T68" fmla="*/ 436 w 588"/>
                      <a:gd name="T69" fmla="*/ 22 h 446"/>
                      <a:gd name="T70" fmla="*/ 588 w 588"/>
                      <a:gd name="T71" fmla="*/ 1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446">
                        <a:moveTo>
                          <a:pt x="588" y="128"/>
                        </a:moveTo>
                        <a:lnTo>
                          <a:pt x="568" y="148"/>
                        </a:lnTo>
                        <a:lnTo>
                          <a:pt x="551" y="172"/>
                        </a:lnTo>
                        <a:lnTo>
                          <a:pt x="533" y="208"/>
                        </a:lnTo>
                        <a:lnTo>
                          <a:pt x="531" y="242"/>
                        </a:lnTo>
                        <a:lnTo>
                          <a:pt x="513" y="272"/>
                        </a:lnTo>
                        <a:lnTo>
                          <a:pt x="502" y="277"/>
                        </a:lnTo>
                        <a:lnTo>
                          <a:pt x="490" y="276"/>
                        </a:lnTo>
                        <a:lnTo>
                          <a:pt x="490" y="291"/>
                        </a:lnTo>
                        <a:lnTo>
                          <a:pt x="477" y="311"/>
                        </a:lnTo>
                        <a:lnTo>
                          <a:pt x="465" y="318"/>
                        </a:lnTo>
                        <a:lnTo>
                          <a:pt x="462" y="330"/>
                        </a:lnTo>
                        <a:lnTo>
                          <a:pt x="450" y="343"/>
                        </a:lnTo>
                        <a:lnTo>
                          <a:pt x="433" y="351"/>
                        </a:lnTo>
                        <a:lnTo>
                          <a:pt x="413" y="368"/>
                        </a:lnTo>
                        <a:lnTo>
                          <a:pt x="405" y="371"/>
                        </a:lnTo>
                        <a:lnTo>
                          <a:pt x="388" y="365"/>
                        </a:lnTo>
                        <a:lnTo>
                          <a:pt x="385" y="373"/>
                        </a:lnTo>
                        <a:lnTo>
                          <a:pt x="397" y="378"/>
                        </a:lnTo>
                        <a:lnTo>
                          <a:pt x="403" y="388"/>
                        </a:lnTo>
                        <a:lnTo>
                          <a:pt x="392" y="403"/>
                        </a:lnTo>
                        <a:lnTo>
                          <a:pt x="382" y="407"/>
                        </a:lnTo>
                        <a:lnTo>
                          <a:pt x="365" y="396"/>
                        </a:lnTo>
                        <a:lnTo>
                          <a:pt x="361" y="402"/>
                        </a:lnTo>
                        <a:lnTo>
                          <a:pt x="378" y="415"/>
                        </a:lnTo>
                        <a:lnTo>
                          <a:pt x="372" y="425"/>
                        </a:lnTo>
                        <a:lnTo>
                          <a:pt x="356" y="441"/>
                        </a:lnTo>
                        <a:lnTo>
                          <a:pt x="356" y="446"/>
                        </a:lnTo>
                        <a:lnTo>
                          <a:pt x="340" y="440"/>
                        </a:lnTo>
                        <a:lnTo>
                          <a:pt x="332" y="442"/>
                        </a:lnTo>
                        <a:lnTo>
                          <a:pt x="320" y="428"/>
                        </a:lnTo>
                        <a:lnTo>
                          <a:pt x="321" y="412"/>
                        </a:lnTo>
                        <a:lnTo>
                          <a:pt x="307" y="387"/>
                        </a:lnTo>
                        <a:lnTo>
                          <a:pt x="280" y="371"/>
                        </a:lnTo>
                        <a:lnTo>
                          <a:pt x="277" y="353"/>
                        </a:lnTo>
                        <a:lnTo>
                          <a:pt x="271" y="338"/>
                        </a:lnTo>
                        <a:lnTo>
                          <a:pt x="261" y="328"/>
                        </a:lnTo>
                        <a:lnTo>
                          <a:pt x="256" y="313"/>
                        </a:lnTo>
                        <a:lnTo>
                          <a:pt x="225" y="301"/>
                        </a:lnTo>
                        <a:lnTo>
                          <a:pt x="216" y="292"/>
                        </a:lnTo>
                        <a:lnTo>
                          <a:pt x="211" y="280"/>
                        </a:lnTo>
                        <a:lnTo>
                          <a:pt x="198" y="275"/>
                        </a:lnTo>
                        <a:lnTo>
                          <a:pt x="197" y="260"/>
                        </a:lnTo>
                        <a:lnTo>
                          <a:pt x="181" y="247"/>
                        </a:lnTo>
                        <a:lnTo>
                          <a:pt x="161" y="240"/>
                        </a:lnTo>
                        <a:lnTo>
                          <a:pt x="152" y="223"/>
                        </a:lnTo>
                        <a:lnTo>
                          <a:pt x="136" y="212"/>
                        </a:lnTo>
                        <a:lnTo>
                          <a:pt x="108" y="198"/>
                        </a:lnTo>
                        <a:lnTo>
                          <a:pt x="103" y="187"/>
                        </a:lnTo>
                        <a:lnTo>
                          <a:pt x="85" y="170"/>
                        </a:lnTo>
                        <a:lnTo>
                          <a:pt x="80" y="155"/>
                        </a:lnTo>
                        <a:lnTo>
                          <a:pt x="65" y="132"/>
                        </a:lnTo>
                        <a:lnTo>
                          <a:pt x="45" y="132"/>
                        </a:lnTo>
                        <a:lnTo>
                          <a:pt x="31" y="121"/>
                        </a:lnTo>
                        <a:lnTo>
                          <a:pt x="5" y="110"/>
                        </a:lnTo>
                        <a:lnTo>
                          <a:pt x="0" y="105"/>
                        </a:lnTo>
                        <a:lnTo>
                          <a:pt x="3" y="88"/>
                        </a:lnTo>
                        <a:lnTo>
                          <a:pt x="18" y="68"/>
                        </a:lnTo>
                        <a:lnTo>
                          <a:pt x="22" y="58"/>
                        </a:lnTo>
                        <a:lnTo>
                          <a:pt x="57" y="42"/>
                        </a:lnTo>
                        <a:lnTo>
                          <a:pt x="65" y="41"/>
                        </a:lnTo>
                        <a:lnTo>
                          <a:pt x="85" y="26"/>
                        </a:lnTo>
                        <a:lnTo>
                          <a:pt x="116" y="15"/>
                        </a:lnTo>
                        <a:lnTo>
                          <a:pt x="260" y="0"/>
                        </a:lnTo>
                        <a:lnTo>
                          <a:pt x="267" y="12"/>
                        </a:lnTo>
                        <a:lnTo>
                          <a:pt x="278" y="3"/>
                        </a:lnTo>
                        <a:lnTo>
                          <a:pt x="297" y="22"/>
                        </a:lnTo>
                        <a:lnTo>
                          <a:pt x="302" y="41"/>
                        </a:lnTo>
                        <a:lnTo>
                          <a:pt x="430" y="22"/>
                        </a:lnTo>
                        <a:lnTo>
                          <a:pt x="436" y="22"/>
                        </a:lnTo>
                        <a:lnTo>
                          <a:pt x="495" y="65"/>
                        </a:lnTo>
                        <a:lnTo>
                          <a:pt x="588" y="12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6" name="Illinois" descr="{&quot;Key&quot;:&quot;illinois&quot;,&quot;Name&quot;:&quot;Illinois&quot;,&quot;Value&quot;:1.0,&quot;Formula&quot;:&quot;&quot;,&quot;Text&quot;:&quot;&quot;,&quot;OfficeApplication&quot;:1,&quot;HasValue&quot;:true}">
                    <a:extLst>
                      <a:ext uri="{FF2B5EF4-FFF2-40B4-BE49-F238E27FC236}">
                        <a16:creationId xmlns:a16="http://schemas.microsoft.com/office/drawing/2014/main" id="{5025190D-8B01-1F4C-DBB7-CA7B28746966}"/>
                      </a:ext>
                    </a:extLst>
                  </p:cNvPr>
                  <p:cNvSpPr>
                    <a:spLocks/>
                  </p:cNvSpPr>
                  <p:nvPr/>
                </p:nvSpPr>
                <p:spPr bwMode="auto">
                  <a:xfrm>
                    <a:off x="7070334" y="4468123"/>
                    <a:ext cx="241795" cy="421786"/>
                  </a:xfrm>
                  <a:custGeom>
                    <a:avLst/>
                    <a:gdLst>
                      <a:gd name="T0" fmla="*/ 383 w 464"/>
                      <a:gd name="T1" fmla="*/ 31 h 811"/>
                      <a:gd name="T2" fmla="*/ 399 w 464"/>
                      <a:gd name="T3" fmla="*/ 58 h 811"/>
                      <a:gd name="T4" fmla="*/ 415 w 464"/>
                      <a:gd name="T5" fmla="*/ 100 h 811"/>
                      <a:gd name="T6" fmla="*/ 453 w 464"/>
                      <a:gd name="T7" fmla="*/ 450 h 811"/>
                      <a:gd name="T8" fmla="*/ 448 w 464"/>
                      <a:gd name="T9" fmla="*/ 474 h 811"/>
                      <a:gd name="T10" fmla="*/ 451 w 464"/>
                      <a:gd name="T11" fmla="*/ 503 h 811"/>
                      <a:gd name="T12" fmla="*/ 456 w 464"/>
                      <a:gd name="T13" fmla="*/ 522 h 811"/>
                      <a:gd name="T14" fmla="*/ 460 w 464"/>
                      <a:gd name="T15" fmla="*/ 549 h 811"/>
                      <a:gd name="T16" fmla="*/ 451 w 464"/>
                      <a:gd name="T17" fmla="*/ 574 h 811"/>
                      <a:gd name="T18" fmla="*/ 440 w 464"/>
                      <a:gd name="T19" fmla="*/ 589 h 811"/>
                      <a:gd name="T20" fmla="*/ 420 w 464"/>
                      <a:gd name="T21" fmla="*/ 609 h 811"/>
                      <a:gd name="T22" fmla="*/ 424 w 464"/>
                      <a:gd name="T23" fmla="*/ 629 h 811"/>
                      <a:gd name="T24" fmla="*/ 415 w 464"/>
                      <a:gd name="T25" fmla="*/ 681 h 811"/>
                      <a:gd name="T26" fmla="*/ 404 w 464"/>
                      <a:gd name="T27" fmla="*/ 706 h 811"/>
                      <a:gd name="T28" fmla="*/ 410 w 464"/>
                      <a:gd name="T29" fmla="*/ 730 h 811"/>
                      <a:gd name="T30" fmla="*/ 369 w 464"/>
                      <a:gd name="T31" fmla="*/ 764 h 811"/>
                      <a:gd name="T32" fmla="*/ 374 w 464"/>
                      <a:gd name="T33" fmla="*/ 791 h 811"/>
                      <a:gd name="T34" fmla="*/ 324 w 464"/>
                      <a:gd name="T35" fmla="*/ 774 h 811"/>
                      <a:gd name="T36" fmla="*/ 294 w 464"/>
                      <a:gd name="T37" fmla="*/ 800 h 811"/>
                      <a:gd name="T38" fmla="*/ 286 w 464"/>
                      <a:gd name="T39" fmla="*/ 803 h 811"/>
                      <a:gd name="T40" fmla="*/ 251 w 464"/>
                      <a:gd name="T41" fmla="*/ 773 h 811"/>
                      <a:gd name="T42" fmla="*/ 258 w 464"/>
                      <a:gd name="T43" fmla="*/ 748 h 811"/>
                      <a:gd name="T44" fmla="*/ 244 w 464"/>
                      <a:gd name="T45" fmla="*/ 710 h 811"/>
                      <a:gd name="T46" fmla="*/ 223 w 464"/>
                      <a:gd name="T47" fmla="*/ 691 h 811"/>
                      <a:gd name="T48" fmla="*/ 176 w 464"/>
                      <a:gd name="T49" fmla="*/ 669 h 811"/>
                      <a:gd name="T50" fmla="*/ 143 w 464"/>
                      <a:gd name="T51" fmla="*/ 629 h 811"/>
                      <a:gd name="T52" fmla="*/ 161 w 464"/>
                      <a:gd name="T53" fmla="*/ 579 h 811"/>
                      <a:gd name="T54" fmla="*/ 168 w 464"/>
                      <a:gd name="T55" fmla="*/ 550 h 811"/>
                      <a:gd name="T56" fmla="*/ 131 w 464"/>
                      <a:gd name="T57" fmla="*/ 533 h 811"/>
                      <a:gd name="T58" fmla="*/ 101 w 464"/>
                      <a:gd name="T59" fmla="*/ 530 h 811"/>
                      <a:gd name="T60" fmla="*/ 85 w 464"/>
                      <a:gd name="T61" fmla="*/ 484 h 811"/>
                      <a:gd name="T62" fmla="*/ 51 w 464"/>
                      <a:gd name="T63" fmla="*/ 455 h 811"/>
                      <a:gd name="T64" fmla="*/ 10 w 464"/>
                      <a:gd name="T65" fmla="*/ 409 h 811"/>
                      <a:gd name="T66" fmla="*/ 4 w 464"/>
                      <a:gd name="T67" fmla="*/ 388 h 811"/>
                      <a:gd name="T68" fmla="*/ 1 w 464"/>
                      <a:gd name="T69" fmla="*/ 344 h 811"/>
                      <a:gd name="T70" fmla="*/ 14 w 464"/>
                      <a:gd name="T71" fmla="*/ 331 h 811"/>
                      <a:gd name="T72" fmla="*/ 34 w 464"/>
                      <a:gd name="T73" fmla="*/ 293 h 811"/>
                      <a:gd name="T74" fmla="*/ 43 w 464"/>
                      <a:gd name="T75" fmla="*/ 268 h 811"/>
                      <a:gd name="T76" fmla="*/ 56 w 464"/>
                      <a:gd name="T77" fmla="*/ 230 h 811"/>
                      <a:gd name="T78" fmla="*/ 40 w 464"/>
                      <a:gd name="T79" fmla="*/ 214 h 811"/>
                      <a:gd name="T80" fmla="*/ 43 w 464"/>
                      <a:gd name="T81" fmla="*/ 186 h 811"/>
                      <a:gd name="T82" fmla="*/ 80 w 464"/>
                      <a:gd name="T83" fmla="*/ 174 h 811"/>
                      <a:gd name="T84" fmla="*/ 108 w 464"/>
                      <a:gd name="T85" fmla="*/ 159 h 811"/>
                      <a:gd name="T86" fmla="*/ 120 w 464"/>
                      <a:gd name="T87" fmla="*/ 129 h 811"/>
                      <a:gd name="T88" fmla="*/ 136 w 464"/>
                      <a:gd name="T89" fmla="*/ 86 h 811"/>
                      <a:gd name="T90" fmla="*/ 105 w 464"/>
                      <a:gd name="T91" fmla="*/ 56 h 811"/>
                      <a:gd name="T92" fmla="*/ 76 w 464"/>
                      <a:gd name="T93" fmla="*/ 23 h 811"/>
                      <a:gd name="T94" fmla="*/ 173 w 464"/>
                      <a:gd name="T95" fmla="*/ 14 h 811"/>
                      <a:gd name="T96" fmla="*/ 381 w 464"/>
                      <a:gd name="T97"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4" h="811">
                        <a:moveTo>
                          <a:pt x="381" y="0"/>
                        </a:moveTo>
                        <a:lnTo>
                          <a:pt x="383" y="31"/>
                        </a:lnTo>
                        <a:lnTo>
                          <a:pt x="391" y="53"/>
                        </a:lnTo>
                        <a:lnTo>
                          <a:pt x="399" y="58"/>
                        </a:lnTo>
                        <a:lnTo>
                          <a:pt x="405" y="78"/>
                        </a:lnTo>
                        <a:lnTo>
                          <a:pt x="415" y="100"/>
                        </a:lnTo>
                        <a:lnTo>
                          <a:pt x="423" y="108"/>
                        </a:lnTo>
                        <a:lnTo>
                          <a:pt x="453" y="450"/>
                        </a:lnTo>
                        <a:lnTo>
                          <a:pt x="444" y="460"/>
                        </a:lnTo>
                        <a:lnTo>
                          <a:pt x="448" y="474"/>
                        </a:lnTo>
                        <a:lnTo>
                          <a:pt x="441" y="481"/>
                        </a:lnTo>
                        <a:lnTo>
                          <a:pt x="451" y="503"/>
                        </a:lnTo>
                        <a:lnTo>
                          <a:pt x="458" y="508"/>
                        </a:lnTo>
                        <a:lnTo>
                          <a:pt x="456" y="522"/>
                        </a:lnTo>
                        <a:lnTo>
                          <a:pt x="464" y="537"/>
                        </a:lnTo>
                        <a:lnTo>
                          <a:pt x="460" y="549"/>
                        </a:lnTo>
                        <a:lnTo>
                          <a:pt x="453" y="554"/>
                        </a:lnTo>
                        <a:lnTo>
                          <a:pt x="451" y="574"/>
                        </a:lnTo>
                        <a:lnTo>
                          <a:pt x="439" y="584"/>
                        </a:lnTo>
                        <a:lnTo>
                          <a:pt x="440" y="589"/>
                        </a:lnTo>
                        <a:lnTo>
                          <a:pt x="431" y="605"/>
                        </a:lnTo>
                        <a:lnTo>
                          <a:pt x="420" y="609"/>
                        </a:lnTo>
                        <a:lnTo>
                          <a:pt x="416" y="623"/>
                        </a:lnTo>
                        <a:lnTo>
                          <a:pt x="424" y="629"/>
                        </a:lnTo>
                        <a:lnTo>
                          <a:pt x="413" y="645"/>
                        </a:lnTo>
                        <a:lnTo>
                          <a:pt x="415" y="681"/>
                        </a:lnTo>
                        <a:lnTo>
                          <a:pt x="414" y="689"/>
                        </a:lnTo>
                        <a:lnTo>
                          <a:pt x="404" y="706"/>
                        </a:lnTo>
                        <a:lnTo>
                          <a:pt x="415" y="723"/>
                        </a:lnTo>
                        <a:lnTo>
                          <a:pt x="410" y="730"/>
                        </a:lnTo>
                        <a:lnTo>
                          <a:pt x="371" y="743"/>
                        </a:lnTo>
                        <a:lnTo>
                          <a:pt x="369" y="764"/>
                        </a:lnTo>
                        <a:lnTo>
                          <a:pt x="379" y="778"/>
                        </a:lnTo>
                        <a:lnTo>
                          <a:pt x="374" y="791"/>
                        </a:lnTo>
                        <a:lnTo>
                          <a:pt x="356" y="786"/>
                        </a:lnTo>
                        <a:lnTo>
                          <a:pt x="324" y="774"/>
                        </a:lnTo>
                        <a:lnTo>
                          <a:pt x="308" y="778"/>
                        </a:lnTo>
                        <a:lnTo>
                          <a:pt x="294" y="800"/>
                        </a:lnTo>
                        <a:lnTo>
                          <a:pt x="301" y="811"/>
                        </a:lnTo>
                        <a:lnTo>
                          <a:pt x="286" y="803"/>
                        </a:lnTo>
                        <a:lnTo>
                          <a:pt x="276" y="808"/>
                        </a:lnTo>
                        <a:lnTo>
                          <a:pt x="251" y="773"/>
                        </a:lnTo>
                        <a:lnTo>
                          <a:pt x="258" y="759"/>
                        </a:lnTo>
                        <a:lnTo>
                          <a:pt x="258" y="748"/>
                        </a:lnTo>
                        <a:lnTo>
                          <a:pt x="248" y="730"/>
                        </a:lnTo>
                        <a:lnTo>
                          <a:pt x="244" y="710"/>
                        </a:lnTo>
                        <a:lnTo>
                          <a:pt x="233" y="706"/>
                        </a:lnTo>
                        <a:lnTo>
                          <a:pt x="223" y="691"/>
                        </a:lnTo>
                        <a:lnTo>
                          <a:pt x="199" y="676"/>
                        </a:lnTo>
                        <a:lnTo>
                          <a:pt x="176" y="669"/>
                        </a:lnTo>
                        <a:lnTo>
                          <a:pt x="148" y="643"/>
                        </a:lnTo>
                        <a:lnTo>
                          <a:pt x="143" y="629"/>
                        </a:lnTo>
                        <a:lnTo>
                          <a:pt x="154" y="594"/>
                        </a:lnTo>
                        <a:lnTo>
                          <a:pt x="161" y="579"/>
                        </a:lnTo>
                        <a:lnTo>
                          <a:pt x="160" y="564"/>
                        </a:lnTo>
                        <a:lnTo>
                          <a:pt x="168" y="550"/>
                        </a:lnTo>
                        <a:lnTo>
                          <a:pt x="160" y="544"/>
                        </a:lnTo>
                        <a:lnTo>
                          <a:pt x="131" y="533"/>
                        </a:lnTo>
                        <a:lnTo>
                          <a:pt x="115" y="546"/>
                        </a:lnTo>
                        <a:lnTo>
                          <a:pt x="101" y="530"/>
                        </a:lnTo>
                        <a:lnTo>
                          <a:pt x="96" y="501"/>
                        </a:lnTo>
                        <a:lnTo>
                          <a:pt x="85" y="484"/>
                        </a:lnTo>
                        <a:lnTo>
                          <a:pt x="58" y="466"/>
                        </a:lnTo>
                        <a:lnTo>
                          <a:pt x="51" y="455"/>
                        </a:lnTo>
                        <a:lnTo>
                          <a:pt x="21" y="431"/>
                        </a:lnTo>
                        <a:lnTo>
                          <a:pt x="10" y="409"/>
                        </a:lnTo>
                        <a:lnTo>
                          <a:pt x="10" y="396"/>
                        </a:lnTo>
                        <a:lnTo>
                          <a:pt x="4" y="388"/>
                        </a:lnTo>
                        <a:lnTo>
                          <a:pt x="0" y="364"/>
                        </a:lnTo>
                        <a:lnTo>
                          <a:pt x="1" y="344"/>
                        </a:lnTo>
                        <a:lnTo>
                          <a:pt x="8" y="334"/>
                        </a:lnTo>
                        <a:lnTo>
                          <a:pt x="14" y="331"/>
                        </a:lnTo>
                        <a:lnTo>
                          <a:pt x="13" y="303"/>
                        </a:lnTo>
                        <a:lnTo>
                          <a:pt x="34" y="293"/>
                        </a:lnTo>
                        <a:lnTo>
                          <a:pt x="40" y="285"/>
                        </a:lnTo>
                        <a:lnTo>
                          <a:pt x="43" y="268"/>
                        </a:lnTo>
                        <a:lnTo>
                          <a:pt x="55" y="249"/>
                        </a:lnTo>
                        <a:lnTo>
                          <a:pt x="56" y="230"/>
                        </a:lnTo>
                        <a:lnTo>
                          <a:pt x="50" y="220"/>
                        </a:lnTo>
                        <a:lnTo>
                          <a:pt x="40" y="214"/>
                        </a:lnTo>
                        <a:lnTo>
                          <a:pt x="39" y="205"/>
                        </a:lnTo>
                        <a:lnTo>
                          <a:pt x="43" y="186"/>
                        </a:lnTo>
                        <a:lnTo>
                          <a:pt x="49" y="179"/>
                        </a:lnTo>
                        <a:lnTo>
                          <a:pt x="80" y="174"/>
                        </a:lnTo>
                        <a:lnTo>
                          <a:pt x="90" y="165"/>
                        </a:lnTo>
                        <a:lnTo>
                          <a:pt x="108" y="159"/>
                        </a:lnTo>
                        <a:lnTo>
                          <a:pt x="118" y="149"/>
                        </a:lnTo>
                        <a:lnTo>
                          <a:pt x="120" y="129"/>
                        </a:lnTo>
                        <a:lnTo>
                          <a:pt x="131" y="118"/>
                        </a:lnTo>
                        <a:lnTo>
                          <a:pt x="136" y="86"/>
                        </a:lnTo>
                        <a:lnTo>
                          <a:pt x="131" y="74"/>
                        </a:lnTo>
                        <a:lnTo>
                          <a:pt x="105" y="56"/>
                        </a:lnTo>
                        <a:lnTo>
                          <a:pt x="98" y="38"/>
                        </a:lnTo>
                        <a:lnTo>
                          <a:pt x="76" y="23"/>
                        </a:lnTo>
                        <a:lnTo>
                          <a:pt x="78" y="20"/>
                        </a:lnTo>
                        <a:lnTo>
                          <a:pt x="173" y="14"/>
                        </a:lnTo>
                        <a:lnTo>
                          <a:pt x="286" y="8"/>
                        </a:lnTo>
                        <a:lnTo>
                          <a:pt x="381"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38" name="Kentucky" descr="{&quot;Key&quot;:&quot;kentucky&quot;,&quot;Name&quot;:&quot;Kentucky&quot;,&quot;Value&quot;:1.0,&quot;Formula&quot;:&quot;&quot;,&quot;Text&quot;:&quot;&quot;,&quot;OfficeApplication&quot;:1,&quot;HasValue&quot;:true}">
                    <a:extLst>
                      <a:ext uri="{FF2B5EF4-FFF2-40B4-BE49-F238E27FC236}">
                        <a16:creationId xmlns:a16="http://schemas.microsoft.com/office/drawing/2014/main" id="{54CAB6C3-FF14-802E-665F-336B0D60CE74}"/>
                      </a:ext>
                    </a:extLst>
                  </p:cNvPr>
                  <p:cNvSpPr>
                    <a:spLocks/>
                  </p:cNvSpPr>
                  <p:nvPr/>
                </p:nvSpPr>
                <p:spPr bwMode="auto">
                  <a:xfrm>
                    <a:off x="7211291" y="4701244"/>
                    <a:ext cx="439135" cy="226615"/>
                  </a:xfrm>
                  <a:custGeom>
                    <a:avLst/>
                    <a:gdLst>
                      <a:gd name="T0" fmla="*/ 759 w 843"/>
                      <a:gd name="T1" fmla="*/ 96 h 436"/>
                      <a:gd name="T2" fmla="*/ 803 w 843"/>
                      <a:gd name="T3" fmla="*/ 171 h 436"/>
                      <a:gd name="T4" fmla="*/ 825 w 843"/>
                      <a:gd name="T5" fmla="*/ 186 h 436"/>
                      <a:gd name="T6" fmla="*/ 805 w 843"/>
                      <a:gd name="T7" fmla="*/ 231 h 436"/>
                      <a:gd name="T8" fmla="*/ 768 w 843"/>
                      <a:gd name="T9" fmla="*/ 261 h 436"/>
                      <a:gd name="T10" fmla="*/ 754 w 843"/>
                      <a:gd name="T11" fmla="*/ 285 h 436"/>
                      <a:gd name="T12" fmla="*/ 730 w 843"/>
                      <a:gd name="T13" fmla="*/ 307 h 436"/>
                      <a:gd name="T14" fmla="*/ 714 w 843"/>
                      <a:gd name="T15" fmla="*/ 325 h 436"/>
                      <a:gd name="T16" fmla="*/ 684 w 843"/>
                      <a:gd name="T17" fmla="*/ 339 h 436"/>
                      <a:gd name="T18" fmla="*/ 660 w 843"/>
                      <a:gd name="T19" fmla="*/ 354 h 436"/>
                      <a:gd name="T20" fmla="*/ 463 w 843"/>
                      <a:gd name="T21" fmla="*/ 375 h 436"/>
                      <a:gd name="T22" fmla="*/ 343 w 843"/>
                      <a:gd name="T23" fmla="*/ 381 h 436"/>
                      <a:gd name="T24" fmla="*/ 184 w 843"/>
                      <a:gd name="T25" fmla="*/ 400 h 436"/>
                      <a:gd name="T26" fmla="*/ 155 w 843"/>
                      <a:gd name="T27" fmla="*/ 395 h 436"/>
                      <a:gd name="T28" fmla="*/ 0 w 843"/>
                      <a:gd name="T29" fmla="*/ 436 h 436"/>
                      <a:gd name="T30" fmla="*/ 19 w 843"/>
                      <a:gd name="T31" fmla="*/ 424 h 436"/>
                      <a:gd name="T32" fmla="*/ 30 w 843"/>
                      <a:gd name="T33" fmla="*/ 399 h 436"/>
                      <a:gd name="T34" fmla="*/ 30 w 843"/>
                      <a:gd name="T35" fmla="*/ 364 h 436"/>
                      <a:gd name="T36" fmla="*/ 37 w 843"/>
                      <a:gd name="T37" fmla="*/ 330 h 436"/>
                      <a:gd name="T38" fmla="*/ 85 w 843"/>
                      <a:gd name="T39" fmla="*/ 339 h 436"/>
                      <a:gd name="T40" fmla="*/ 108 w 843"/>
                      <a:gd name="T41" fmla="*/ 330 h 436"/>
                      <a:gd name="T42" fmla="*/ 100 w 843"/>
                      <a:gd name="T43" fmla="*/ 295 h 436"/>
                      <a:gd name="T44" fmla="*/ 144 w 843"/>
                      <a:gd name="T45" fmla="*/ 275 h 436"/>
                      <a:gd name="T46" fmla="*/ 143 w 843"/>
                      <a:gd name="T47" fmla="*/ 241 h 436"/>
                      <a:gd name="T48" fmla="*/ 155 w 843"/>
                      <a:gd name="T49" fmla="*/ 235 h 436"/>
                      <a:gd name="T50" fmla="*/ 160 w 843"/>
                      <a:gd name="T51" fmla="*/ 214 h 436"/>
                      <a:gd name="T52" fmla="*/ 185 w 843"/>
                      <a:gd name="T53" fmla="*/ 216 h 436"/>
                      <a:gd name="T54" fmla="*/ 199 w 843"/>
                      <a:gd name="T55" fmla="*/ 212 h 436"/>
                      <a:gd name="T56" fmla="*/ 254 w 843"/>
                      <a:gd name="T57" fmla="*/ 224 h 436"/>
                      <a:gd name="T58" fmla="*/ 282 w 843"/>
                      <a:gd name="T59" fmla="*/ 192 h 436"/>
                      <a:gd name="T60" fmla="*/ 315 w 843"/>
                      <a:gd name="T61" fmla="*/ 199 h 436"/>
                      <a:gd name="T62" fmla="*/ 325 w 843"/>
                      <a:gd name="T63" fmla="*/ 171 h 436"/>
                      <a:gd name="T64" fmla="*/ 343 w 843"/>
                      <a:gd name="T65" fmla="*/ 175 h 436"/>
                      <a:gd name="T66" fmla="*/ 372 w 843"/>
                      <a:gd name="T67" fmla="*/ 184 h 436"/>
                      <a:gd name="T68" fmla="*/ 384 w 843"/>
                      <a:gd name="T69" fmla="*/ 151 h 436"/>
                      <a:gd name="T70" fmla="*/ 408 w 843"/>
                      <a:gd name="T71" fmla="*/ 134 h 436"/>
                      <a:gd name="T72" fmla="*/ 420 w 843"/>
                      <a:gd name="T73" fmla="*/ 109 h 436"/>
                      <a:gd name="T74" fmla="*/ 427 w 843"/>
                      <a:gd name="T75" fmla="*/ 69 h 436"/>
                      <a:gd name="T76" fmla="*/ 455 w 843"/>
                      <a:gd name="T77" fmla="*/ 71 h 436"/>
                      <a:gd name="T78" fmla="*/ 495 w 843"/>
                      <a:gd name="T79" fmla="*/ 52 h 436"/>
                      <a:gd name="T80" fmla="*/ 487 w 843"/>
                      <a:gd name="T81" fmla="*/ 35 h 436"/>
                      <a:gd name="T82" fmla="*/ 484 w 843"/>
                      <a:gd name="T83" fmla="*/ 14 h 436"/>
                      <a:gd name="T84" fmla="*/ 500 w 843"/>
                      <a:gd name="T85" fmla="*/ 0 h 436"/>
                      <a:gd name="T86" fmla="*/ 532 w 843"/>
                      <a:gd name="T87" fmla="*/ 2 h 436"/>
                      <a:gd name="T88" fmla="*/ 565 w 843"/>
                      <a:gd name="T89" fmla="*/ 41 h 436"/>
                      <a:gd name="T90" fmla="*/ 590 w 843"/>
                      <a:gd name="T91" fmla="*/ 40 h 436"/>
                      <a:gd name="T92" fmla="*/ 622 w 843"/>
                      <a:gd name="T93" fmla="*/ 59 h 436"/>
                      <a:gd name="T94" fmla="*/ 642 w 843"/>
                      <a:gd name="T95" fmla="*/ 45 h 436"/>
                      <a:gd name="T96" fmla="*/ 669 w 843"/>
                      <a:gd name="T97" fmla="*/ 57 h 436"/>
                      <a:gd name="T98" fmla="*/ 698 w 843"/>
                      <a:gd name="T99" fmla="*/ 36 h 436"/>
                      <a:gd name="T100" fmla="*/ 723 w 843"/>
                      <a:gd name="T101" fmla="*/ 51 h 436"/>
                      <a:gd name="T102" fmla="*/ 753 w 843"/>
                      <a:gd name="T103" fmla="*/ 71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3" h="436">
                        <a:moveTo>
                          <a:pt x="753" y="71"/>
                        </a:moveTo>
                        <a:lnTo>
                          <a:pt x="759" y="96"/>
                        </a:lnTo>
                        <a:lnTo>
                          <a:pt x="754" y="111"/>
                        </a:lnTo>
                        <a:lnTo>
                          <a:pt x="803" y="171"/>
                        </a:lnTo>
                        <a:lnTo>
                          <a:pt x="817" y="179"/>
                        </a:lnTo>
                        <a:lnTo>
                          <a:pt x="825" y="186"/>
                        </a:lnTo>
                        <a:lnTo>
                          <a:pt x="843" y="187"/>
                        </a:lnTo>
                        <a:lnTo>
                          <a:pt x="805" y="231"/>
                        </a:lnTo>
                        <a:lnTo>
                          <a:pt x="775" y="252"/>
                        </a:lnTo>
                        <a:lnTo>
                          <a:pt x="768" y="261"/>
                        </a:lnTo>
                        <a:lnTo>
                          <a:pt x="767" y="272"/>
                        </a:lnTo>
                        <a:lnTo>
                          <a:pt x="754" y="285"/>
                        </a:lnTo>
                        <a:lnTo>
                          <a:pt x="752" y="296"/>
                        </a:lnTo>
                        <a:lnTo>
                          <a:pt x="730" y="307"/>
                        </a:lnTo>
                        <a:lnTo>
                          <a:pt x="725" y="321"/>
                        </a:lnTo>
                        <a:lnTo>
                          <a:pt x="714" y="325"/>
                        </a:lnTo>
                        <a:lnTo>
                          <a:pt x="695" y="336"/>
                        </a:lnTo>
                        <a:lnTo>
                          <a:pt x="684" y="339"/>
                        </a:lnTo>
                        <a:lnTo>
                          <a:pt x="668" y="351"/>
                        </a:lnTo>
                        <a:lnTo>
                          <a:pt x="660" y="354"/>
                        </a:lnTo>
                        <a:lnTo>
                          <a:pt x="499" y="369"/>
                        </a:lnTo>
                        <a:lnTo>
                          <a:pt x="463" y="375"/>
                        </a:lnTo>
                        <a:lnTo>
                          <a:pt x="389" y="380"/>
                        </a:lnTo>
                        <a:lnTo>
                          <a:pt x="343" y="381"/>
                        </a:lnTo>
                        <a:lnTo>
                          <a:pt x="333" y="384"/>
                        </a:lnTo>
                        <a:lnTo>
                          <a:pt x="184" y="400"/>
                        </a:lnTo>
                        <a:lnTo>
                          <a:pt x="179" y="396"/>
                        </a:lnTo>
                        <a:lnTo>
                          <a:pt x="155" y="395"/>
                        </a:lnTo>
                        <a:lnTo>
                          <a:pt x="162" y="422"/>
                        </a:lnTo>
                        <a:lnTo>
                          <a:pt x="0" y="436"/>
                        </a:lnTo>
                        <a:lnTo>
                          <a:pt x="7" y="415"/>
                        </a:lnTo>
                        <a:lnTo>
                          <a:pt x="19" y="424"/>
                        </a:lnTo>
                        <a:lnTo>
                          <a:pt x="24" y="419"/>
                        </a:lnTo>
                        <a:lnTo>
                          <a:pt x="30" y="399"/>
                        </a:lnTo>
                        <a:lnTo>
                          <a:pt x="28" y="382"/>
                        </a:lnTo>
                        <a:lnTo>
                          <a:pt x="30" y="364"/>
                        </a:lnTo>
                        <a:lnTo>
                          <a:pt x="23" y="352"/>
                        </a:lnTo>
                        <a:lnTo>
                          <a:pt x="37" y="330"/>
                        </a:lnTo>
                        <a:lnTo>
                          <a:pt x="53" y="326"/>
                        </a:lnTo>
                        <a:lnTo>
                          <a:pt x="85" y="339"/>
                        </a:lnTo>
                        <a:lnTo>
                          <a:pt x="103" y="344"/>
                        </a:lnTo>
                        <a:lnTo>
                          <a:pt x="108" y="330"/>
                        </a:lnTo>
                        <a:lnTo>
                          <a:pt x="98" y="316"/>
                        </a:lnTo>
                        <a:lnTo>
                          <a:pt x="100" y="295"/>
                        </a:lnTo>
                        <a:lnTo>
                          <a:pt x="139" y="282"/>
                        </a:lnTo>
                        <a:lnTo>
                          <a:pt x="144" y="275"/>
                        </a:lnTo>
                        <a:lnTo>
                          <a:pt x="133" y="259"/>
                        </a:lnTo>
                        <a:lnTo>
                          <a:pt x="143" y="241"/>
                        </a:lnTo>
                        <a:lnTo>
                          <a:pt x="144" y="234"/>
                        </a:lnTo>
                        <a:lnTo>
                          <a:pt x="155" y="235"/>
                        </a:lnTo>
                        <a:lnTo>
                          <a:pt x="160" y="229"/>
                        </a:lnTo>
                        <a:lnTo>
                          <a:pt x="160" y="214"/>
                        </a:lnTo>
                        <a:lnTo>
                          <a:pt x="172" y="220"/>
                        </a:lnTo>
                        <a:lnTo>
                          <a:pt x="185" y="216"/>
                        </a:lnTo>
                        <a:lnTo>
                          <a:pt x="194" y="221"/>
                        </a:lnTo>
                        <a:lnTo>
                          <a:pt x="199" y="212"/>
                        </a:lnTo>
                        <a:lnTo>
                          <a:pt x="213" y="206"/>
                        </a:lnTo>
                        <a:lnTo>
                          <a:pt x="254" y="224"/>
                        </a:lnTo>
                        <a:lnTo>
                          <a:pt x="258" y="210"/>
                        </a:lnTo>
                        <a:lnTo>
                          <a:pt x="282" y="192"/>
                        </a:lnTo>
                        <a:lnTo>
                          <a:pt x="292" y="205"/>
                        </a:lnTo>
                        <a:lnTo>
                          <a:pt x="315" y="199"/>
                        </a:lnTo>
                        <a:lnTo>
                          <a:pt x="315" y="186"/>
                        </a:lnTo>
                        <a:lnTo>
                          <a:pt x="325" y="171"/>
                        </a:lnTo>
                        <a:lnTo>
                          <a:pt x="340" y="165"/>
                        </a:lnTo>
                        <a:lnTo>
                          <a:pt x="343" y="175"/>
                        </a:lnTo>
                        <a:lnTo>
                          <a:pt x="354" y="181"/>
                        </a:lnTo>
                        <a:lnTo>
                          <a:pt x="372" y="184"/>
                        </a:lnTo>
                        <a:lnTo>
                          <a:pt x="384" y="172"/>
                        </a:lnTo>
                        <a:lnTo>
                          <a:pt x="384" y="151"/>
                        </a:lnTo>
                        <a:lnTo>
                          <a:pt x="392" y="139"/>
                        </a:lnTo>
                        <a:lnTo>
                          <a:pt x="408" y="134"/>
                        </a:lnTo>
                        <a:lnTo>
                          <a:pt x="412" y="115"/>
                        </a:lnTo>
                        <a:lnTo>
                          <a:pt x="420" y="109"/>
                        </a:lnTo>
                        <a:lnTo>
                          <a:pt x="433" y="92"/>
                        </a:lnTo>
                        <a:lnTo>
                          <a:pt x="427" y="69"/>
                        </a:lnTo>
                        <a:lnTo>
                          <a:pt x="447" y="65"/>
                        </a:lnTo>
                        <a:lnTo>
                          <a:pt x="455" y="71"/>
                        </a:lnTo>
                        <a:lnTo>
                          <a:pt x="475" y="57"/>
                        </a:lnTo>
                        <a:lnTo>
                          <a:pt x="495" y="52"/>
                        </a:lnTo>
                        <a:lnTo>
                          <a:pt x="497" y="37"/>
                        </a:lnTo>
                        <a:lnTo>
                          <a:pt x="487" y="35"/>
                        </a:lnTo>
                        <a:lnTo>
                          <a:pt x="490" y="24"/>
                        </a:lnTo>
                        <a:lnTo>
                          <a:pt x="484" y="14"/>
                        </a:lnTo>
                        <a:lnTo>
                          <a:pt x="489" y="9"/>
                        </a:lnTo>
                        <a:lnTo>
                          <a:pt x="500" y="0"/>
                        </a:lnTo>
                        <a:lnTo>
                          <a:pt x="510" y="9"/>
                        </a:lnTo>
                        <a:lnTo>
                          <a:pt x="532" y="2"/>
                        </a:lnTo>
                        <a:lnTo>
                          <a:pt x="547" y="11"/>
                        </a:lnTo>
                        <a:lnTo>
                          <a:pt x="565" y="41"/>
                        </a:lnTo>
                        <a:lnTo>
                          <a:pt x="578" y="44"/>
                        </a:lnTo>
                        <a:lnTo>
                          <a:pt x="590" y="40"/>
                        </a:lnTo>
                        <a:lnTo>
                          <a:pt x="603" y="42"/>
                        </a:lnTo>
                        <a:lnTo>
                          <a:pt x="622" y="59"/>
                        </a:lnTo>
                        <a:lnTo>
                          <a:pt x="629" y="57"/>
                        </a:lnTo>
                        <a:lnTo>
                          <a:pt x="642" y="45"/>
                        </a:lnTo>
                        <a:lnTo>
                          <a:pt x="660" y="50"/>
                        </a:lnTo>
                        <a:lnTo>
                          <a:pt x="669" y="57"/>
                        </a:lnTo>
                        <a:lnTo>
                          <a:pt x="688" y="51"/>
                        </a:lnTo>
                        <a:lnTo>
                          <a:pt x="698" y="36"/>
                        </a:lnTo>
                        <a:lnTo>
                          <a:pt x="713" y="30"/>
                        </a:lnTo>
                        <a:lnTo>
                          <a:pt x="723" y="51"/>
                        </a:lnTo>
                        <a:lnTo>
                          <a:pt x="739" y="56"/>
                        </a:lnTo>
                        <a:lnTo>
                          <a:pt x="753" y="71"/>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0" name="Ohio" descr="{&quot;Key&quot;:&quot;ohio&quot;,&quot;Name&quot;:&quot;Ohio&quot;,&quot;Value&quot;:1.0,&quot;Formula&quot;:&quot;&quot;,&quot;Text&quot;:&quot;&quot;,&quot;OfficeApplication&quot;:1,&quot;HasValue&quot;:true}">
                    <a:extLst>
                      <a:ext uri="{FF2B5EF4-FFF2-40B4-BE49-F238E27FC236}">
                        <a16:creationId xmlns:a16="http://schemas.microsoft.com/office/drawing/2014/main" id="{50B8C7E0-1238-C7C7-58AD-440F1B0F8CF0}"/>
                      </a:ext>
                    </a:extLst>
                  </p:cNvPr>
                  <p:cNvSpPr>
                    <a:spLocks/>
                  </p:cNvSpPr>
                  <p:nvPr/>
                </p:nvSpPr>
                <p:spPr bwMode="auto">
                  <a:xfrm>
                    <a:off x="7443327" y="4452943"/>
                    <a:ext cx="253722" cy="285167"/>
                  </a:xfrm>
                  <a:custGeom>
                    <a:avLst/>
                    <a:gdLst>
                      <a:gd name="T0" fmla="*/ 471 w 488"/>
                      <a:gd name="T1" fmla="*/ 203 h 548"/>
                      <a:gd name="T2" fmla="*/ 481 w 488"/>
                      <a:gd name="T3" fmla="*/ 228 h 548"/>
                      <a:gd name="T4" fmla="*/ 481 w 488"/>
                      <a:gd name="T5" fmla="*/ 250 h 548"/>
                      <a:gd name="T6" fmla="*/ 479 w 488"/>
                      <a:gd name="T7" fmla="*/ 299 h 548"/>
                      <a:gd name="T8" fmla="*/ 473 w 488"/>
                      <a:gd name="T9" fmla="*/ 344 h 548"/>
                      <a:gd name="T10" fmla="*/ 449 w 488"/>
                      <a:gd name="T11" fmla="*/ 374 h 548"/>
                      <a:gd name="T12" fmla="*/ 423 w 488"/>
                      <a:gd name="T13" fmla="*/ 392 h 548"/>
                      <a:gd name="T14" fmla="*/ 404 w 488"/>
                      <a:gd name="T15" fmla="*/ 405 h 548"/>
                      <a:gd name="T16" fmla="*/ 386 w 488"/>
                      <a:gd name="T17" fmla="*/ 423 h 548"/>
                      <a:gd name="T18" fmla="*/ 381 w 488"/>
                      <a:gd name="T19" fmla="*/ 464 h 548"/>
                      <a:gd name="T20" fmla="*/ 356 w 488"/>
                      <a:gd name="T21" fmla="*/ 455 h 548"/>
                      <a:gd name="T22" fmla="*/ 350 w 488"/>
                      <a:gd name="T23" fmla="*/ 517 h 548"/>
                      <a:gd name="T24" fmla="*/ 338 w 488"/>
                      <a:gd name="T25" fmla="*/ 540 h 548"/>
                      <a:gd name="T26" fmla="*/ 309 w 488"/>
                      <a:gd name="T27" fmla="*/ 548 h 548"/>
                      <a:gd name="T28" fmla="*/ 279 w 488"/>
                      <a:gd name="T29" fmla="*/ 528 h 548"/>
                      <a:gd name="T30" fmla="*/ 254 w 488"/>
                      <a:gd name="T31" fmla="*/ 513 h 548"/>
                      <a:gd name="T32" fmla="*/ 225 w 488"/>
                      <a:gd name="T33" fmla="*/ 534 h 548"/>
                      <a:gd name="T34" fmla="*/ 198 w 488"/>
                      <a:gd name="T35" fmla="*/ 522 h 548"/>
                      <a:gd name="T36" fmla="*/ 178 w 488"/>
                      <a:gd name="T37" fmla="*/ 535 h 548"/>
                      <a:gd name="T38" fmla="*/ 146 w 488"/>
                      <a:gd name="T39" fmla="*/ 517 h 548"/>
                      <a:gd name="T40" fmla="*/ 121 w 488"/>
                      <a:gd name="T41" fmla="*/ 518 h 548"/>
                      <a:gd name="T42" fmla="*/ 88 w 488"/>
                      <a:gd name="T43" fmla="*/ 479 h 548"/>
                      <a:gd name="T44" fmla="*/ 56 w 488"/>
                      <a:gd name="T45" fmla="*/ 477 h 548"/>
                      <a:gd name="T46" fmla="*/ 9 w 488"/>
                      <a:gd name="T47" fmla="*/ 168 h 548"/>
                      <a:gd name="T48" fmla="*/ 55 w 488"/>
                      <a:gd name="T49" fmla="*/ 102 h 548"/>
                      <a:gd name="T50" fmla="*/ 161 w 488"/>
                      <a:gd name="T51" fmla="*/ 87 h 548"/>
                      <a:gd name="T52" fmla="*/ 186 w 488"/>
                      <a:gd name="T53" fmla="*/ 95 h 548"/>
                      <a:gd name="T54" fmla="*/ 219 w 488"/>
                      <a:gd name="T55" fmla="*/ 113 h 548"/>
                      <a:gd name="T56" fmla="*/ 255 w 488"/>
                      <a:gd name="T57" fmla="*/ 119 h 548"/>
                      <a:gd name="T58" fmla="*/ 303 w 488"/>
                      <a:gd name="T59" fmla="*/ 94 h 548"/>
                      <a:gd name="T60" fmla="*/ 341 w 488"/>
                      <a:gd name="T61" fmla="*/ 87 h 548"/>
                      <a:gd name="T62" fmla="*/ 404 w 488"/>
                      <a:gd name="T63" fmla="*/ 29 h 548"/>
                      <a:gd name="T64" fmla="*/ 488 w 488"/>
                      <a:gd name="T65" fmla="*/ 19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548">
                        <a:moveTo>
                          <a:pt x="488" y="192"/>
                        </a:moveTo>
                        <a:lnTo>
                          <a:pt x="471" y="203"/>
                        </a:lnTo>
                        <a:lnTo>
                          <a:pt x="483" y="219"/>
                        </a:lnTo>
                        <a:lnTo>
                          <a:pt x="481" y="228"/>
                        </a:lnTo>
                        <a:lnTo>
                          <a:pt x="486" y="239"/>
                        </a:lnTo>
                        <a:lnTo>
                          <a:pt x="481" y="250"/>
                        </a:lnTo>
                        <a:lnTo>
                          <a:pt x="478" y="280"/>
                        </a:lnTo>
                        <a:lnTo>
                          <a:pt x="479" y="299"/>
                        </a:lnTo>
                        <a:lnTo>
                          <a:pt x="473" y="320"/>
                        </a:lnTo>
                        <a:lnTo>
                          <a:pt x="473" y="344"/>
                        </a:lnTo>
                        <a:lnTo>
                          <a:pt x="455" y="362"/>
                        </a:lnTo>
                        <a:lnTo>
                          <a:pt x="449" y="374"/>
                        </a:lnTo>
                        <a:lnTo>
                          <a:pt x="440" y="384"/>
                        </a:lnTo>
                        <a:lnTo>
                          <a:pt x="423" y="392"/>
                        </a:lnTo>
                        <a:lnTo>
                          <a:pt x="411" y="388"/>
                        </a:lnTo>
                        <a:lnTo>
                          <a:pt x="404" y="405"/>
                        </a:lnTo>
                        <a:lnTo>
                          <a:pt x="391" y="410"/>
                        </a:lnTo>
                        <a:lnTo>
                          <a:pt x="386" y="423"/>
                        </a:lnTo>
                        <a:lnTo>
                          <a:pt x="389" y="460"/>
                        </a:lnTo>
                        <a:lnTo>
                          <a:pt x="381" y="464"/>
                        </a:lnTo>
                        <a:lnTo>
                          <a:pt x="361" y="452"/>
                        </a:lnTo>
                        <a:lnTo>
                          <a:pt x="356" y="455"/>
                        </a:lnTo>
                        <a:lnTo>
                          <a:pt x="344" y="489"/>
                        </a:lnTo>
                        <a:lnTo>
                          <a:pt x="350" y="517"/>
                        </a:lnTo>
                        <a:lnTo>
                          <a:pt x="343" y="517"/>
                        </a:lnTo>
                        <a:lnTo>
                          <a:pt x="338" y="540"/>
                        </a:lnTo>
                        <a:lnTo>
                          <a:pt x="319" y="548"/>
                        </a:lnTo>
                        <a:lnTo>
                          <a:pt x="309" y="548"/>
                        </a:lnTo>
                        <a:lnTo>
                          <a:pt x="295" y="533"/>
                        </a:lnTo>
                        <a:lnTo>
                          <a:pt x="279" y="528"/>
                        </a:lnTo>
                        <a:lnTo>
                          <a:pt x="269" y="507"/>
                        </a:lnTo>
                        <a:lnTo>
                          <a:pt x="254" y="513"/>
                        </a:lnTo>
                        <a:lnTo>
                          <a:pt x="244" y="528"/>
                        </a:lnTo>
                        <a:lnTo>
                          <a:pt x="225" y="534"/>
                        </a:lnTo>
                        <a:lnTo>
                          <a:pt x="216" y="527"/>
                        </a:lnTo>
                        <a:lnTo>
                          <a:pt x="198" y="522"/>
                        </a:lnTo>
                        <a:lnTo>
                          <a:pt x="185" y="534"/>
                        </a:lnTo>
                        <a:lnTo>
                          <a:pt x="178" y="535"/>
                        </a:lnTo>
                        <a:lnTo>
                          <a:pt x="159" y="519"/>
                        </a:lnTo>
                        <a:lnTo>
                          <a:pt x="146" y="517"/>
                        </a:lnTo>
                        <a:lnTo>
                          <a:pt x="134" y="520"/>
                        </a:lnTo>
                        <a:lnTo>
                          <a:pt x="121" y="518"/>
                        </a:lnTo>
                        <a:lnTo>
                          <a:pt x="103" y="488"/>
                        </a:lnTo>
                        <a:lnTo>
                          <a:pt x="88" y="479"/>
                        </a:lnTo>
                        <a:lnTo>
                          <a:pt x="66" y="485"/>
                        </a:lnTo>
                        <a:lnTo>
                          <a:pt x="56" y="477"/>
                        </a:lnTo>
                        <a:lnTo>
                          <a:pt x="45" y="485"/>
                        </a:lnTo>
                        <a:lnTo>
                          <a:pt x="9" y="168"/>
                        </a:lnTo>
                        <a:lnTo>
                          <a:pt x="0" y="109"/>
                        </a:lnTo>
                        <a:lnTo>
                          <a:pt x="55" y="102"/>
                        </a:lnTo>
                        <a:lnTo>
                          <a:pt x="144" y="85"/>
                        </a:lnTo>
                        <a:lnTo>
                          <a:pt x="161" y="87"/>
                        </a:lnTo>
                        <a:lnTo>
                          <a:pt x="173" y="94"/>
                        </a:lnTo>
                        <a:lnTo>
                          <a:pt x="186" y="95"/>
                        </a:lnTo>
                        <a:lnTo>
                          <a:pt x="209" y="120"/>
                        </a:lnTo>
                        <a:lnTo>
                          <a:pt x="219" y="113"/>
                        </a:lnTo>
                        <a:lnTo>
                          <a:pt x="241" y="112"/>
                        </a:lnTo>
                        <a:lnTo>
                          <a:pt x="255" y="119"/>
                        </a:lnTo>
                        <a:lnTo>
                          <a:pt x="281" y="107"/>
                        </a:lnTo>
                        <a:lnTo>
                          <a:pt x="303" y="94"/>
                        </a:lnTo>
                        <a:lnTo>
                          <a:pt x="320" y="95"/>
                        </a:lnTo>
                        <a:lnTo>
                          <a:pt x="341" y="87"/>
                        </a:lnTo>
                        <a:lnTo>
                          <a:pt x="371" y="52"/>
                        </a:lnTo>
                        <a:lnTo>
                          <a:pt x="404" y="29"/>
                        </a:lnTo>
                        <a:lnTo>
                          <a:pt x="454" y="0"/>
                        </a:lnTo>
                        <a:lnTo>
                          <a:pt x="488" y="192"/>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1" name="Tennessee" descr="{&quot;Key&quot;:&quot;tennessee&quot;,&quot;Name&quot;:&quot;Tennessee&quot;,&quot;Value&quot;:1.0,&quot;Formula&quot;:&quot;&quot;,&quot;Text&quot;:&quot;&quot;,&quot;OfficeApplication&quot;:1,&quot;HasValue&quot;:true}">
                    <a:extLst>
                      <a:ext uri="{FF2B5EF4-FFF2-40B4-BE49-F238E27FC236}">
                        <a16:creationId xmlns:a16="http://schemas.microsoft.com/office/drawing/2014/main" id="{C5534487-E1B2-5EBA-B380-2B8C245A8271}"/>
                      </a:ext>
                    </a:extLst>
                  </p:cNvPr>
                  <p:cNvSpPr>
                    <a:spLocks/>
                  </p:cNvSpPr>
                  <p:nvPr/>
                </p:nvSpPr>
                <p:spPr bwMode="auto">
                  <a:xfrm>
                    <a:off x="7165751" y="4864971"/>
                    <a:ext cx="513951" cy="179991"/>
                  </a:xfrm>
                  <a:custGeom>
                    <a:avLst/>
                    <a:gdLst>
                      <a:gd name="T0" fmla="*/ 852 w 987"/>
                      <a:gd name="T1" fmla="*/ 22 h 345"/>
                      <a:gd name="T2" fmla="*/ 958 w 987"/>
                      <a:gd name="T3" fmla="*/ 4 h 345"/>
                      <a:gd name="T4" fmla="*/ 983 w 987"/>
                      <a:gd name="T5" fmla="*/ 14 h 345"/>
                      <a:gd name="T6" fmla="*/ 963 w 987"/>
                      <a:gd name="T7" fmla="*/ 51 h 345"/>
                      <a:gd name="T8" fmla="*/ 950 w 987"/>
                      <a:gd name="T9" fmla="*/ 81 h 345"/>
                      <a:gd name="T10" fmla="*/ 913 w 987"/>
                      <a:gd name="T11" fmla="*/ 87 h 345"/>
                      <a:gd name="T12" fmla="*/ 895 w 987"/>
                      <a:gd name="T13" fmla="*/ 109 h 345"/>
                      <a:gd name="T14" fmla="*/ 872 w 987"/>
                      <a:gd name="T15" fmla="*/ 107 h 345"/>
                      <a:gd name="T16" fmla="*/ 861 w 987"/>
                      <a:gd name="T17" fmla="*/ 116 h 345"/>
                      <a:gd name="T18" fmla="*/ 841 w 987"/>
                      <a:gd name="T19" fmla="*/ 143 h 345"/>
                      <a:gd name="T20" fmla="*/ 796 w 987"/>
                      <a:gd name="T21" fmla="*/ 182 h 345"/>
                      <a:gd name="T22" fmla="*/ 752 w 987"/>
                      <a:gd name="T23" fmla="*/ 196 h 345"/>
                      <a:gd name="T24" fmla="*/ 737 w 987"/>
                      <a:gd name="T25" fmla="*/ 230 h 345"/>
                      <a:gd name="T26" fmla="*/ 712 w 987"/>
                      <a:gd name="T27" fmla="*/ 240 h 345"/>
                      <a:gd name="T28" fmla="*/ 709 w 987"/>
                      <a:gd name="T29" fmla="*/ 278 h 345"/>
                      <a:gd name="T30" fmla="*/ 558 w 987"/>
                      <a:gd name="T31" fmla="*/ 298 h 345"/>
                      <a:gd name="T32" fmla="*/ 331 w 987"/>
                      <a:gd name="T33" fmla="*/ 318 h 345"/>
                      <a:gd name="T34" fmla="*/ 252 w 987"/>
                      <a:gd name="T35" fmla="*/ 327 h 345"/>
                      <a:gd name="T36" fmla="*/ 0 w 987"/>
                      <a:gd name="T37" fmla="*/ 345 h 345"/>
                      <a:gd name="T38" fmla="*/ 13 w 987"/>
                      <a:gd name="T39" fmla="*/ 326 h 345"/>
                      <a:gd name="T40" fmla="*/ 20 w 987"/>
                      <a:gd name="T41" fmla="*/ 303 h 345"/>
                      <a:gd name="T42" fmla="*/ 28 w 987"/>
                      <a:gd name="T43" fmla="*/ 277 h 345"/>
                      <a:gd name="T44" fmla="*/ 40 w 987"/>
                      <a:gd name="T45" fmla="*/ 262 h 345"/>
                      <a:gd name="T46" fmla="*/ 36 w 987"/>
                      <a:gd name="T47" fmla="*/ 236 h 345"/>
                      <a:gd name="T48" fmla="*/ 55 w 987"/>
                      <a:gd name="T49" fmla="*/ 209 h 345"/>
                      <a:gd name="T50" fmla="*/ 58 w 987"/>
                      <a:gd name="T51" fmla="*/ 196 h 345"/>
                      <a:gd name="T52" fmla="*/ 70 w 987"/>
                      <a:gd name="T53" fmla="*/ 174 h 345"/>
                      <a:gd name="T54" fmla="*/ 72 w 987"/>
                      <a:gd name="T55" fmla="*/ 157 h 345"/>
                      <a:gd name="T56" fmla="*/ 77 w 987"/>
                      <a:gd name="T57" fmla="*/ 139 h 345"/>
                      <a:gd name="T58" fmla="*/ 80 w 987"/>
                      <a:gd name="T59" fmla="*/ 121 h 345"/>
                      <a:gd name="T60" fmla="*/ 250 w 987"/>
                      <a:gd name="T61" fmla="*/ 107 h 345"/>
                      <a:gd name="T62" fmla="*/ 267 w 987"/>
                      <a:gd name="T63" fmla="*/ 81 h 345"/>
                      <a:gd name="T64" fmla="*/ 421 w 987"/>
                      <a:gd name="T65" fmla="*/ 68 h 345"/>
                      <a:gd name="T66" fmla="*/ 477 w 987"/>
                      <a:gd name="T67" fmla="*/ 65 h 345"/>
                      <a:gd name="T68" fmla="*/ 587 w 987"/>
                      <a:gd name="T69" fmla="*/ 53 h 345"/>
                      <a:gd name="T70" fmla="*/ 756 w 987"/>
                      <a:gd name="T71" fmla="*/ 3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7" h="345">
                        <a:moveTo>
                          <a:pt x="756" y="36"/>
                        </a:moveTo>
                        <a:lnTo>
                          <a:pt x="852" y="22"/>
                        </a:lnTo>
                        <a:lnTo>
                          <a:pt x="953" y="7"/>
                        </a:lnTo>
                        <a:lnTo>
                          <a:pt x="958" y="4"/>
                        </a:lnTo>
                        <a:lnTo>
                          <a:pt x="987" y="0"/>
                        </a:lnTo>
                        <a:lnTo>
                          <a:pt x="983" y="14"/>
                        </a:lnTo>
                        <a:lnTo>
                          <a:pt x="982" y="31"/>
                        </a:lnTo>
                        <a:lnTo>
                          <a:pt x="963" y="51"/>
                        </a:lnTo>
                        <a:lnTo>
                          <a:pt x="956" y="75"/>
                        </a:lnTo>
                        <a:lnTo>
                          <a:pt x="950" y="81"/>
                        </a:lnTo>
                        <a:lnTo>
                          <a:pt x="935" y="75"/>
                        </a:lnTo>
                        <a:lnTo>
                          <a:pt x="913" y="87"/>
                        </a:lnTo>
                        <a:lnTo>
                          <a:pt x="904" y="104"/>
                        </a:lnTo>
                        <a:lnTo>
                          <a:pt x="895" y="109"/>
                        </a:lnTo>
                        <a:lnTo>
                          <a:pt x="887" y="97"/>
                        </a:lnTo>
                        <a:lnTo>
                          <a:pt x="872" y="107"/>
                        </a:lnTo>
                        <a:lnTo>
                          <a:pt x="868" y="118"/>
                        </a:lnTo>
                        <a:lnTo>
                          <a:pt x="861" y="116"/>
                        </a:lnTo>
                        <a:lnTo>
                          <a:pt x="852" y="142"/>
                        </a:lnTo>
                        <a:lnTo>
                          <a:pt x="841" y="143"/>
                        </a:lnTo>
                        <a:lnTo>
                          <a:pt x="822" y="156"/>
                        </a:lnTo>
                        <a:lnTo>
                          <a:pt x="796" y="182"/>
                        </a:lnTo>
                        <a:lnTo>
                          <a:pt x="768" y="186"/>
                        </a:lnTo>
                        <a:lnTo>
                          <a:pt x="752" y="196"/>
                        </a:lnTo>
                        <a:lnTo>
                          <a:pt x="738" y="211"/>
                        </a:lnTo>
                        <a:lnTo>
                          <a:pt x="737" y="230"/>
                        </a:lnTo>
                        <a:lnTo>
                          <a:pt x="732" y="236"/>
                        </a:lnTo>
                        <a:lnTo>
                          <a:pt x="712" y="240"/>
                        </a:lnTo>
                        <a:lnTo>
                          <a:pt x="708" y="247"/>
                        </a:lnTo>
                        <a:lnTo>
                          <a:pt x="709" y="278"/>
                        </a:lnTo>
                        <a:lnTo>
                          <a:pt x="586" y="295"/>
                        </a:lnTo>
                        <a:lnTo>
                          <a:pt x="558" y="298"/>
                        </a:lnTo>
                        <a:lnTo>
                          <a:pt x="424" y="312"/>
                        </a:lnTo>
                        <a:lnTo>
                          <a:pt x="331" y="318"/>
                        </a:lnTo>
                        <a:lnTo>
                          <a:pt x="251" y="325"/>
                        </a:lnTo>
                        <a:lnTo>
                          <a:pt x="252" y="327"/>
                        </a:lnTo>
                        <a:lnTo>
                          <a:pt x="123" y="337"/>
                        </a:lnTo>
                        <a:lnTo>
                          <a:pt x="0" y="345"/>
                        </a:lnTo>
                        <a:lnTo>
                          <a:pt x="8" y="337"/>
                        </a:lnTo>
                        <a:lnTo>
                          <a:pt x="13" y="326"/>
                        </a:lnTo>
                        <a:lnTo>
                          <a:pt x="23" y="316"/>
                        </a:lnTo>
                        <a:lnTo>
                          <a:pt x="20" y="303"/>
                        </a:lnTo>
                        <a:lnTo>
                          <a:pt x="20" y="287"/>
                        </a:lnTo>
                        <a:lnTo>
                          <a:pt x="28" y="277"/>
                        </a:lnTo>
                        <a:lnTo>
                          <a:pt x="28" y="268"/>
                        </a:lnTo>
                        <a:lnTo>
                          <a:pt x="40" y="262"/>
                        </a:lnTo>
                        <a:lnTo>
                          <a:pt x="40" y="247"/>
                        </a:lnTo>
                        <a:lnTo>
                          <a:pt x="36" y="236"/>
                        </a:lnTo>
                        <a:lnTo>
                          <a:pt x="60" y="220"/>
                        </a:lnTo>
                        <a:lnTo>
                          <a:pt x="55" y="209"/>
                        </a:lnTo>
                        <a:lnTo>
                          <a:pt x="66" y="207"/>
                        </a:lnTo>
                        <a:lnTo>
                          <a:pt x="58" y="196"/>
                        </a:lnTo>
                        <a:lnTo>
                          <a:pt x="63" y="180"/>
                        </a:lnTo>
                        <a:lnTo>
                          <a:pt x="70" y="174"/>
                        </a:lnTo>
                        <a:lnTo>
                          <a:pt x="60" y="160"/>
                        </a:lnTo>
                        <a:lnTo>
                          <a:pt x="72" y="157"/>
                        </a:lnTo>
                        <a:lnTo>
                          <a:pt x="66" y="147"/>
                        </a:lnTo>
                        <a:lnTo>
                          <a:pt x="77" y="139"/>
                        </a:lnTo>
                        <a:lnTo>
                          <a:pt x="72" y="121"/>
                        </a:lnTo>
                        <a:lnTo>
                          <a:pt x="80" y="121"/>
                        </a:lnTo>
                        <a:lnTo>
                          <a:pt x="88" y="121"/>
                        </a:lnTo>
                        <a:lnTo>
                          <a:pt x="250" y="107"/>
                        </a:lnTo>
                        <a:lnTo>
                          <a:pt x="243" y="80"/>
                        </a:lnTo>
                        <a:lnTo>
                          <a:pt x="267" y="81"/>
                        </a:lnTo>
                        <a:lnTo>
                          <a:pt x="272" y="85"/>
                        </a:lnTo>
                        <a:lnTo>
                          <a:pt x="421" y="68"/>
                        </a:lnTo>
                        <a:lnTo>
                          <a:pt x="431" y="66"/>
                        </a:lnTo>
                        <a:lnTo>
                          <a:pt x="477" y="65"/>
                        </a:lnTo>
                        <a:lnTo>
                          <a:pt x="551" y="60"/>
                        </a:lnTo>
                        <a:lnTo>
                          <a:pt x="587" y="53"/>
                        </a:lnTo>
                        <a:lnTo>
                          <a:pt x="748" y="38"/>
                        </a:lnTo>
                        <a:lnTo>
                          <a:pt x="756" y="36"/>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2" name="Virginia" descr="{&quot;Key&quot;:&quot;virginia&quot;,&quot;Name&quot;:&quot;Virginia&quot;,&quot;Value&quot;:1.0,&quot;Formula&quot;:&quot;&quot;,&quot;Text&quot;:&quot;&quot;,&quot;OfficeApplication&quot;:1,&quot;HasValue&quot;:true}">
                    <a:extLst>
                      <a:ext uri="{FF2B5EF4-FFF2-40B4-BE49-F238E27FC236}">
                        <a16:creationId xmlns:a16="http://schemas.microsoft.com/office/drawing/2014/main" id="{BA957303-B6A5-87C3-6CB7-8F43547D8996}"/>
                      </a:ext>
                    </a:extLst>
                  </p:cNvPr>
                  <p:cNvSpPr>
                    <a:spLocks noEditPoints="1"/>
                  </p:cNvSpPr>
                  <p:nvPr/>
                </p:nvSpPr>
                <p:spPr bwMode="auto">
                  <a:xfrm>
                    <a:off x="7559346" y="4618839"/>
                    <a:ext cx="470579" cy="264565"/>
                  </a:xfrm>
                  <a:custGeom>
                    <a:avLst/>
                    <a:gdLst>
                      <a:gd name="T0" fmla="*/ 905 w 905"/>
                      <a:gd name="T1" fmla="*/ 135 h 510"/>
                      <a:gd name="T2" fmla="*/ 899 w 905"/>
                      <a:gd name="T3" fmla="*/ 164 h 510"/>
                      <a:gd name="T4" fmla="*/ 867 w 905"/>
                      <a:gd name="T5" fmla="*/ 275 h 510"/>
                      <a:gd name="T6" fmla="*/ 862 w 905"/>
                      <a:gd name="T7" fmla="*/ 213 h 510"/>
                      <a:gd name="T8" fmla="*/ 865 w 905"/>
                      <a:gd name="T9" fmla="*/ 176 h 510"/>
                      <a:gd name="T10" fmla="*/ 604 w 905"/>
                      <a:gd name="T11" fmla="*/ 5 h 510"/>
                      <a:gd name="T12" fmla="*/ 636 w 905"/>
                      <a:gd name="T13" fmla="*/ 29 h 510"/>
                      <a:gd name="T14" fmla="*/ 669 w 905"/>
                      <a:gd name="T15" fmla="*/ 42 h 510"/>
                      <a:gd name="T16" fmla="*/ 695 w 905"/>
                      <a:gd name="T17" fmla="*/ 55 h 510"/>
                      <a:gd name="T18" fmla="*/ 690 w 905"/>
                      <a:gd name="T19" fmla="*/ 90 h 510"/>
                      <a:gd name="T20" fmla="*/ 681 w 905"/>
                      <a:gd name="T21" fmla="*/ 135 h 510"/>
                      <a:gd name="T22" fmla="*/ 711 w 905"/>
                      <a:gd name="T23" fmla="*/ 134 h 510"/>
                      <a:gd name="T24" fmla="*/ 762 w 905"/>
                      <a:gd name="T25" fmla="*/ 146 h 510"/>
                      <a:gd name="T26" fmla="*/ 814 w 905"/>
                      <a:gd name="T27" fmla="*/ 184 h 510"/>
                      <a:gd name="T28" fmla="*/ 799 w 905"/>
                      <a:gd name="T29" fmla="*/ 217 h 510"/>
                      <a:gd name="T30" fmla="*/ 820 w 905"/>
                      <a:gd name="T31" fmla="*/ 247 h 510"/>
                      <a:gd name="T32" fmla="*/ 809 w 905"/>
                      <a:gd name="T33" fmla="*/ 276 h 510"/>
                      <a:gd name="T34" fmla="*/ 820 w 905"/>
                      <a:gd name="T35" fmla="*/ 309 h 510"/>
                      <a:gd name="T36" fmla="*/ 791 w 905"/>
                      <a:gd name="T37" fmla="*/ 281 h 510"/>
                      <a:gd name="T38" fmla="*/ 791 w 905"/>
                      <a:gd name="T39" fmla="*/ 305 h 510"/>
                      <a:gd name="T40" fmla="*/ 835 w 905"/>
                      <a:gd name="T41" fmla="*/ 319 h 510"/>
                      <a:gd name="T42" fmla="*/ 872 w 905"/>
                      <a:gd name="T43" fmla="*/ 307 h 510"/>
                      <a:gd name="T44" fmla="*/ 896 w 905"/>
                      <a:gd name="T45" fmla="*/ 356 h 510"/>
                      <a:gd name="T46" fmla="*/ 886 w 905"/>
                      <a:gd name="T47" fmla="*/ 357 h 510"/>
                      <a:gd name="T48" fmla="*/ 665 w 905"/>
                      <a:gd name="T49" fmla="*/ 406 h 510"/>
                      <a:gd name="T50" fmla="*/ 346 w 905"/>
                      <a:gd name="T51" fmla="*/ 463 h 510"/>
                      <a:gd name="T52" fmla="*/ 231 w 905"/>
                      <a:gd name="T53" fmla="*/ 474 h 510"/>
                      <a:gd name="T54" fmla="*/ 96 w 905"/>
                      <a:gd name="T55" fmla="*/ 496 h 510"/>
                      <a:gd name="T56" fmla="*/ 27 w 905"/>
                      <a:gd name="T57" fmla="*/ 495 h 510"/>
                      <a:gd name="T58" fmla="*/ 62 w 905"/>
                      <a:gd name="T59" fmla="*/ 466 h 510"/>
                      <a:gd name="T60" fmla="*/ 99 w 905"/>
                      <a:gd name="T61" fmla="*/ 431 h 510"/>
                      <a:gd name="T62" fmla="*/ 137 w 905"/>
                      <a:gd name="T63" fmla="*/ 390 h 510"/>
                      <a:gd name="T64" fmla="*/ 182 w 905"/>
                      <a:gd name="T65" fmla="*/ 369 h 510"/>
                      <a:gd name="T66" fmla="*/ 231 w 905"/>
                      <a:gd name="T67" fmla="*/ 385 h 510"/>
                      <a:gd name="T68" fmla="*/ 276 w 905"/>
                      <a:gd name="T69" fmla="*/ 369 h 510"/>
                      <a:gd name="T70" fmla="*/ 305 w 905"/>
                      <a:gd name="T71" fmla="*/ 342 h 510"/>
                      <a:gd name="T72" fmla="*/ 350 w 905"/>
                      <a:gd name="T73" fmla="*/ 334 h 510"/>
                      <a:gd name="T74" fmla="*/ 371 w 905"/>
                      <a:gd name="T75" fmla="*/ 304 h 510"/>
                      <a:gd name="T76" fmla="*/ 387 w 905"/>
                      <a:gd name="T77" fmla="*/ 242 h 510"/>
                      <a:gd name="T78" fmla="*/ 410 w 905"/>
                      <a:gd name="T79" fmla="*/ 174 h 510"/>
                      <a:gd name="T80" fmla="*/ 430 w 905"/>
                      <a:gd name="T81" fmla="*/ 165 h 510"/>
                      <a:gd name="T82" fmla="*/ 466 w 905"/>
                      <a:gd name="T83" fmla="*/ 134 h 510"/>
                      <a:gd name="T84" fmla="*/ 504 w 905"/>
                      <a:gd name="T85" fmla="*/ 84 h 510"/>
                      <a:gd name="T86" fmla="*/ 531 w 905"/>
                      <a:gd name="T87" fmla="*/ 27 h 510"/>
                      <a:gd name="T88" fmla="*/ 604 w 905"/>
                      <a:gd name="T89" fmla="*/ 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5" h="510">
                        <a:moveTo>
                          <a:pt x="876" y="149"/>
                        </a:moveTo>
                        <a:lnTo>
                          <a:pt x="879" y="144"/>
                        </a:lnTo>
                        <a:lnTo>
                          <a:pt x="905" y="135"/>
                        </a:lnTo>
                        <a:lnTo>
                          <a:pt x="901" y="144"/>
                        </a:lnTo>
                        <a:lnTo>
                          <a:pt x="905" y="156"/>
                        </a:lnTo>
                        <a:lnTo>
                          <a:pt x="899" y="164"/>
                        </a:lnTo>
                        <a:lnTo>
                          <a:pt x="874" y="226"/>
                        </a:lnTo>
                        <a:lnTo>
                          <a:pt x="869" y="241"/>
                        </a:lnTo>
                        <a:lnTo>
                          <a:pt x="867" y="275"/>
                        </a:lnTo>
                        <a:lnTo>
                          <a:pt x="857" y="259"/>
                        </a:lnTo>
                        <a:lnTo>
                          <a:pt x="856" y="250"/>
                        </a:lnTo>
                        <a:lnTo>
                          <a:pt x="862" y="213"/>
                        </a:lnTo>
                        <a:lnTo>
                          <a:pt x="857" y="206"/>
                        </a:lnTo>
                        <a:lnTo>
                          <a:pt x="869" y="186"/>
                        </a:lnTo>
                        <a:lnTo>
                          <a:pt x="865" y="176"/>
                        </a:lnTo>
                        <a:lnTo>
                          <a:pt x="874" y="169"/>
                        </a:lnTo>
                        <a:lnTo>
                          <a:pt x="876" y="149"/>
                        </a:lnTo>
                        <a:close/>
                        <a:moveTo>
                          <a:pt x="604" y="5"/>
                        </a:moveTo>
                        <a:lnTo>
                          <a:pt x="624" y="5"/>
                        </a:lnTo>
                        <a:lnTo>
                          <a:pt x="635" y="11"/>
                        </a:lnTo>
                        <a:lnTo>
                          <a:pt x="636" y="29"/>
                        </a:lnTo>
                        <a:lnTo>
                          <a:pt x="645" y="34"/>
                        </a:lnTo>
                        <a:lnTo>
                          <a:pt x="662" y="35"/>
                        </a:lnTo>
                        <a:lnTo>
                          <a:pt x="669" y="42"/>
                        </a:lnTo>
                        <a:lnTo>
                          <a:pt x="682" y="47"/>
                        </a:lnTo>
                        <a:lnTo>
                          <a:pt x="690" y="50"/>
                        </a:lnTo>
                        <a:lnTo>
                          <a:pt x="695" y="55"/>
                        </a:lnTo>
                        <a:lnTo>
                          <a:pt x="697" y="76"/>
                        </a:lnTo>
                        <a:lnTo>
                          <a:pt x="690" y="80"/>
                        </a:lnTo>
                        <a:lnTo>
                          <a:pt x="690" y="90"/>
                        </a:lnTo>
                        <a:lnTo>
                          <a:pt x="679" y="89"/>
                        </a:lnTo>
                        <a:lnTo>
                          <a:pt x="674" y="121"/>
                        </a:lnTo>
                        <a:lnTo>
                          <a:pt x="681" y="135"/>
                        </a:lnTo>
                        <a:lnTo>
                          <a:pt x="686" y="136"/>
                        </a:lnTo>
                        <a:lnTo>
                          <a:pt x="711" y="125"/>
                        </a:lnTo>
                        <a:lnTo>
                          <a:pt x="711" y="134"/>
                        </a:lnTo>
                        <a:lnTo>
                          <a:pt x="722" y="146"/>
                        </a:lnTo>
                        <a:lnTo>
                          <a:pt x="732" y="149"/>
                        </a:lnTo>
                        <a:lnTo>
                          <a:pt x="762" y="146"/>
                        </a:lnTo>
                        <a:lnTo>
                          <a:pt x="776" y="163"/>
                        </a:lnTo>
                        <a:lnTo>
                          <a:pt x="811" y="172"/>
                        </a:lnTo>
                        <a:lnTo>
                          <a:pt x="814" y="184"/>
                        </a:lnTo>
                        <a:lnTo>
                          <a:pt x="809" y="199"/>
                        </a:lnTo>
                        <a:lnTo>
                          <a:pt x="809" y="214"/>
                        </a:lnTo>
                        <a:lnTo>
                          <a:pt x="799" y="217"/>
                        </a:lnTo>
                        <a:lnTo>
                          <a:pt x="811" y="230"/>
                        </a:lnTo>
                        <a:lnTo>
                          <a:pt x="826" y="238"/>
                        </a:lnTo>
                        <a:lnTo>
                          <a:pt x="820" y="247"/>
                        </a:lnTo>
                        <a:lnTo>
                          <a:pt x="809" y="247"/>
                        </a:lnTo>
                        <a:lnTo>
                          <a:pt x="816" y="265"/>
                        </a:lnTo>
                        <a:lnTo>
                          <a:pt x="809" y="276"/>
                        </a:lnTo>
                        <a:lnTo>
                          <a:pt x="830" y="281"/>
                        </a:lnTo>
                        <a:lnTo>
                          <a:pt x="834" y="300"/>
                        </a:lnTo>
                        <a:lnTo>
                          <a:pt x="820" y="309"/>
                        </a:lnTo>
                        <a:lnTo>
                          <a:pt x="816" y="301"/>
                        </a:lnTo>
                        <a:lnTo>
                          <a:pt x="795" y="292"/>
                        </a:lnTo>
                        <a:lnTo>
                          <a:pt x="791" y="281"/>
                        </a:lnTo>
                        <a:lnTo>
                          <a:pt x="760" y="279"/>
                        </a:lnTo>
                        <a:lnTo>
                          <a:pt x="782" y="291"/>
                        </a:lnTo>
                        <a:lnTo>
                          <a:pt x="791" y="305"/>
                        </a:lnTo>
                        <a:lnTo>
                          <a:pt x="802" y="305"/>
                        </a:lnTo>
                        <a:lnTo>
                          <a:pt x="816" y="320"/>
                        </a:lnTo>
                        <a:lnTo>
                          <a:pt x="835" y="319"/>
                        </a:lnTo>
                        <a:lnTo>
                          <a:pt x="839" y="307"/>
                        </a:lnTo>
                        <a:lnTo>
                          <a:pt x="856" y="310"/>
                        </a:lnTo>
                        <a:lnTo>
                          <a:pt x="872" y="307"/>
                        </a:lnTo>
                        <a:lnTo>
                          <a:pt x="879" y="321"/>
                        </a:lnTo>
                        <a:lnTo>
                          <a:pt x="899" y="355"/>
                        </a:lnTo>
                        <a:lnTo>
                          <a:pt x="896" y="356"/>
                        </a:lnTo>
                        <a:lnTo>
                          <a:pt x="885" y="335"/>
                        </a:lnTo>
                        <a:lnTo>
                          <a:pt x="881" y="335"/>
                        </a:lnTo>
                        <a:lnTo>
                          <a:pt x="886" y="357"/>
                        </a:lnTo>
                        <a:lnTo>
                          <a:pt x="881" y="359"/>
                        </a:lnTo>
                        <a:lnTo>
                          <a:pt x="879" y="360"/>
                        </a:lnTo>
                        <a:lnTo>
                          <a:pt x="665" y="406"/>
                        </a:lnTo>
                        <a:lnTo>
                          <a:pt x="559" y="428"/>
                        </a:lnTo>
                        <a:lnTo>
                          <a:pt x="414" y="454"/>
                        </a:lnTo>
                        <a:lnTo>
                          <a:pt x="346" y="463"/>
                        </a:lnTo>
                        <a:lnTo>
                          <a:pt x="282" y="473"/>
                        </a:lnTo>
                        <a:lnTo>
                          <a:pt x="236" y="476"/>
                        </a:lnTo>
                        <a:lnTo>
                          <a:pt x="231" y="474"/>
                        </a:lnTo>
                        <a:lnTo>
                          <a:pt x="202" y="477"/>
                        </a:lnTo>
                        <a:lnTo>
                          <a:pt x="197" y="481"/>
                        </a:lnTo>
                        <a:lnTo>
                          <a:pt x="96" y="496"/>
                        </a:lnTo>
                        <a:lnTo>
                          <a:pt x="0" y="510"/>
                        </a:lnTo>
                        <a:lnTo>
                          <a:pt x="16" y="497"/>
                        </a:lnTo>
                        <a:lnTo>
                          <a:pt x="27" y="495"/>
                        </a:lnTo>
                        <a:lnTo>
                          <a:pt x="46" y="484"/>
                        </a:lnTo>
                        <a:lnTo>
                          <a:pt x="57" y="480"/>
                        </a:lnTo>
                        <a:lnTo>
                          <a:pt x="62" y="466"/>
                        </a:lnTo>
                        <a:lnTo>
                          <a:pt x="84" y="455"/>
                        </a:lnTo>
                        <a:lnTo>
                          <a:pt x="86" y="444"/>
                        </a:lnTo>
                        <a:lnTo>
                          <a:pt x="99" y="431"/>
                        </a:lnTo>
                        <a:lnTo>
                          <a:pt x="100" y="420"/>
                        </a:lnTo>
                        <a:lnTo>
                          <a:pt x="107" y="411"/>
                        </a:lnTo>
                        <a:lnTo>
                          <a:pt x="137" y="390"/>
                        </a:lnTo>
                        <a:lnTo>
                          <a:pt x="175" y="346"/>
                        </a:lnTo>
                        <a:lnTo>
                          <a:pt x="176" y="357"/>
                        </a:lnTo>
                        <a:lnTo>
                          <a:pt x="182" y="369"/>
                        </a:lnTo>
                        <a:lnTo>
                          <a:pt x="197" y="380"/>
                        </a:lnTo>
                        <a:lnTo>
                          <a:pt x="220" y="387"/>
                        </a:lnTo>
                        <a:lnTo>
                          <a:pt x="231" y="385"/>
                        </a:lnTo>
                        <a:lnTo>
                          <a:pt x="251" y="365"/>
                        </a:lnTo>
                        <a:lnTo>
                          <a:pt x="266" y="375"/>
                        </a:lnTo>
                        <a:lnTo>
                          <a:pt x="276" y="369"/>
                        </a:lnTo>
                        <a:lnTo>
                          <a:pt x="297" y="362"/>
                        </a:lnTo>
                        <a:lnTo>
                          <a:pt x="305" y="354"/>
                        </a:lnTo>
                        <a:lnTo>
                          <a:pt x="305" y="342"/>
                        </a:lnTo>
                        <a:lnTo>
                          <a:pt x="320" y="345"/>
                        </a:lnTo>
                        <a:lnTo>
                          <a:pt x="341" y="330"/>
                        </a:lnTo>
                        <a:lnTo>
                          <a:pt x="350" y="334"/>
                        </a:lnTo>
                        <a:lnTo>
                          <a:pt x="366" y="319"/>
                        </a:lnTo>
                        <a:lnTo>
                          <a:pt x="364" y="310"/>
                        </a:lnTo>
                        <a:lnTo>
                          <a:pt x="371" y="304"/>
                        </a:lnTo>
                        <a:lnTo>
                          <a:pt x="362" y="294"/>
                        </a:lnTo>
                        <a:lnTo>
                          <a:pt x="369" y="274"/>
                        </a:lnTo>
                        <a:lnTo>
                          <a:pt x="387" y="242"/>
                        </a:lnTo>
                        <a:lnTo>
                          <a:pt x="392" y="216"/>
                        </a:lnTo>
                        <a:lnTo>
                          <a:pt x="404" y="199"/>
                        </a:lnTo>
                        <a:lnTo>
                          <a:pt x="410" y="174"/>
                        </a:lnTo>
                        <a:lnTo>
                          <a:pt x="412" y="151"/>
                        </a:lnTo>
                        <a:lnTo>
                          <a:pt x="422" y="152"/>
                        </a:lnTo>
                        <a:lnTo>
                          <a:pt x="430" y="165"/>
                        </a:lnTo>
                        <a:lnTo>
                          <a:pt x="455" y="167"/>
                        </a:lnTo>
                        <a:lnTo>
                          <a:pt x="464" y="152"/>
                        </a:lnTo>
                        <a:lnTo>
                          <a:pt x="466" y="134"/>
                        </a:lnTo>
                        <a:lnTo>
                          <a:pt x="479" y="101"/>
                        </a:lnTo>
                        <a:lnTo>
                          <a:pt x="494" y="106"/>
                        </a:lnTo>
                        <a:lnTo>
                          <a:pt x="504" y="84"/>
                        </a:lnTo>
                        <a:lnTo>
                          <a:pt x="512" y="81"/>
                        </a:lnTo>
                        <a:lnTo>
                          <a:pt x="532" y="44"/>
                        </a:lnTo>
                        <a:lnTo>
                          <a:pt x="531" y="27"/>
                        </a:lnTo>
                        <a:lnTo>
                          <a:pt x="535" y="0"/>
                        </a:lnTo>
                        <a:lnTo>
                          <a:pt x="597" y="34"/>
                        </a:lnTo>
                        <a:lnTo>
                          <a:pt x="604" y="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3" name="Wisconsin" descr="{&quot;Key&quot;:&quot;wisconsin&quot;,&quot;Name&quot;:&quot;Wisconsin&quot;,&quot;Value&quot;:1.0,&quot;Formula&quot;:&quot;&quot;,&quot;Text&quot;:&quot;&quot;,&quot;OfficeApplication&quot;:1,&quot;HasValue&quot;:true}">
                    <a:extLst>
                      <a:ext uri="{FF2B5EF4-FFF2-40B4-BE49-F238E27FC236}">
                        <a16:creationId xmlns:a16="http://schemas.microsoft.com/office/drawing/2014/main" id="{E914853F-54B1-C17B-5712-C859CEBD8AEA}"/>
                      </a:ext>
                    </a:extLst>
                  </p:cNvPr>
                  <p:cNvSpPr>
                    <a:spLocks noEditPoints="1"/>
                  </p:cNvSpPr>
                  <p:nvPr/>
                </p:nvSpPr>
                <p:spPr bwMode="auto">
                  <a:xfrm>
                    <a:off x="6974917" y="4140757"/>
                    <a:ext cx="313358" cy="338297"/>
                  </a:xfrm>
                  <a:custGeom>
                    <a:avLst/>
                    <a:gdLst>
                      <a:gd name="T0" fmla="*/ 602 w 602"/>
                      <a:gd name="T1" fmla="*/ 232 h 649"/>
                      <a:gd name="T2" fmla="*/ 588 w 602"/>
                      <a:gd name="T3" fmla="*/ 277 h 649"/>
                      <a:gd name="T4" fmla="*/ 574 w 602"/>
                      <a:gd name="T5" fmla="*/ 283 h 649"/>
                      <a:gd name="T6" fmla="*/ 584 w 602"/>
                      <a:gd name="T7" fmla="*/ 233 h 649"/>
                      <a:gd name="T8" fmla="*/ 602 w 602"/>
                      <a:gd name="T9" fmla="*/ 214 h 649"/>
                      <a:gd name="T10" fmla="*/ 247 w 602"/>
                      <a:gd name="T11" fmla="*/ 58 h 649"/>
                      <a:gd name="T12" fmla="*/ 277 w 602"/>
                      <a:gd name="T13" fmla="*/ 87 h 649"/>
                      <a:gd name="T14" fmla="*/ 409 w 602"/>
                      <a:gd name="T15" fmla="*/ 123 h 649"/>
                      <a:gd name="T16" fmla="*/ 439 w 602"/>
                      <a:gd name="T17" fmla="*/ 122 h 649"/>
                      <a:gd name="T18" fmla="*/ 484 w 602"/>
                      <a:gd name="T19" fmla="*/ 133 h 649"/>
                      <a:gd name="T20" fmla="*/ 507 w 602"/>
                      <a:gd name="T21" fmla="*/ 154 h 649"/>
                      <a:gd name="T22" fmla="*/ 520 w 602"/>
                      <a:gd name="T23" fmla="*/ 194 h 649"/>
                      <a:gd name="T24" fmla="*/ 538 w 602"/>
                      <a:gd name="T25" fmla="*/ 210 h 649"/>
                      <a:gd name="T26" fmla="*/ 533 w 602"/>
                      <a:gd name="T27" fmla="*/ 237 h 649"/>
                      <a:gd name="T28" fmla="*/ 544 w 602"/>
                      <a:gd name="T29" fmla="*/ 262 h 649"/>
                      <a:gd name="T30" fmla="*/ 525 w 602"/>
                      <a:gd name="T31" fmla="*/ 281 h 649"/>
                      <a:gd name="T32" fmla="*/ 509 w 602"/>
                      <a:gd name="T33" fmla="*/ 329 h 649"/>
                      <a:gd name="T34" fmla="*/ 535 w 602"/>
                      <a:gd name="T35" fmla="*/ 314 h 649"/>
                      <a:gd name="T36" fmla="*/ 565 w 602"/>
                      <a:gd name="T37" fmla="*/ 278 h 649"/>
                      <a:gd name="T38" fmla="*/ 577 w 602"/>
                      <a:gd name="T39" fmla="*/ 306 h 649"/>
                      <a:gd name="T40" fmla="*/ 563 w 602"/>
                      <a:gd name="T41" fmla="*/ 362 h 649"/>
                      <a:gd name="T42" fmla="*/ 557 w 602"/>
                      <a:gd name="T43" fmla="*/ 394 h 649"/>
                      <a:gd name="T44" fmla="*/ 550 w 602"/>
                      <a:gd name="T45" fmla="*/ 436 h 649"/>
                      <a:gd name="T46" fmla="*/ 548 w 602"/>
                      <a:gd name="T47" fmla="*/ 471 h 649"/>
                      <a:gd name="T48" fmla="*/ 539 w 602"/>
                      <a:gd name="T49" fmla="*/ 518 h 649"/>
                      <a:gd name="T50" fmla="*/ 544 w 602"/>
                      <a:gd name="T51" fmla="*/ 551 h 649"/>
                      <a:gd name="T52" fmla="*/ 552 w 602"/>
                      <a:gd name="T53" fmla="*/ 573 h 649"/>
                      <a:gd name="T54" fmla="*/ 558 w 602"/>
                      <a:gd name="T55" fmla="*/ 606 h 649"/>
                      <a:gd name="T56" fmla="*/ 465 w 602"/>
                      <a:gd name="T57" fmla="*/ 637 h 649"/>
                      <a:gd name="T58" fmla="*/ 257 w 602"/>
                      <a:gd name="T59" fmla="*/ 649 h 649"/>
                      <a:gd name="T60" fmla="*/ 249 w 602"/>
                      <a:gd name="T61" fmla="*/ 628 h 649"/>
                      <a:gd name="T62" fmla="*/ 212 w 602"/>
                      <a:gd name="T63" fmla="*/ 618 h 649"/>
                      <a:gd name="T64" fmla="*/ 195 w 602"/>
                      <a:gd name="T65" fmla="*/ 558 h 649"/>
                      <a:gd name="T66" fmla="*/ 200 w 602"/>
                      <a:gd name="T67" fmla="*/ 531 h 649"/>
                      <a:gd name="T68" fmla="*/ 184 w 602"/>
                      <a:gd name="T69" fmla="*/ 508 h 649"/>
                      <a:gd name="T70" fmla="*/ 175 w 602"/>
                      <a:gd name="T71" fmla="*/ 448 h 649"/>
                      <a:gd name="T72" fmla="*/ 149 w 602"/>
                      <a:gd name="T73" fmla="*/ 428 h 649"/>
                      <a:gd name="T74" fmla="*/ 118 w 602"/>
                      <a:gd name="T75" fmla="*/ 412 h 649"/>
                      <a:gd name="T76" fmla="*/ 88 w 602"/>
                      <a:gd name="T77" fmla="*/ 377 h 649"/>
                      <a:gd name="T78" fmla="*/ 57 w 602"/>
                      <a:gd name="T79" fmla="*/ 357 h 649"/>
                      <a:gd name="T80" fmla="*/ 12 w 602"/>
                      <a:gd name="T81" fmla="*/ 332 h 649"/>
                      <a:gd name="T82" fmla="*/ 12 w 602"/>
                      <a:gd name="T83" fmla="*/ 285 h 649"/>
                      <a:gd name="T84" fmla="*/ 24 w 602"/>
                      <a:gd name="T85" fmla="*/ 232 h 649"/>
                      <a:gd name="T86" fmla="*/ 0 w 602"/>
                      <a:gd name="T87" fmla="*/ 213 h 649"/>
                      <a:gd name="T88" fmla="*/ 9 w 602"/>
                      <a:gd name="T89" fmla="*/ 183 h 649"/>
                      <a:gd name="T90" fmla="*/ 52 w 602"/>
                      <a:gd name="T91" fmla="*/ 145 h 649"/>
                      <a:gd name="T92" fmla="*/ 55 w 602"/>
                      <a:gd name="T93" fmla="*/ 52 h 649"/>
                      <a:gd name="T94" fmla="*/ 73 w 602"/>
                      <a:gd name="T95" fmla="*/ 35 h 649"/>
                      <a:gd name="T96" fmla="*/ 105 w 602"/>
                      <a:gd name="T97" fmla="*/ 43 h 649"/>
                      <a:gd name="T98" fmla="*/ 160 w 602"/>
                      <a:gd name="T99" fmla="*/ 14 h 649"/>
                      <a:gd name="T100" fmla="*/ 185 w 602"/>
                      <a:gd name="T101" fmla="*/ 3 h 649"/>
                      <a:gd name="T102" fmla="*/ 207 w 602"/>
                      <a:gd name="T103" fmla="*/ 9 h 649"/>
                      <a:gd name="T104" fmla="*/ 195 w 602"/>
                      <a:gd name="T105" fmla="*/ 54 h 649"/>
                      <a:gd name="T106" fmla="*/ 229 w 602"/>
                      <a:gd name="T107" fmla="*/ 5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2" h="649">
                        <a:moveTo>
                          <a:pt x="602" y="214"/>
                        </a:moveTo>
                        <a:lnTo>
                          <a:pt x="602" y="232"/>
                        </a:lnTo>
                        <a:lnTo>
                          <a:pt x="592" y="260"/>
                        </a:lnTo>
                        <a:lnTo>
                          <a:pt x="588" y="277"/>
                        </a:lnTo>
                        <a:lnTo>
                          <a:pt x="583" y="285"/>
                        </a:lnTo>
                        <a:lnTo>
                          <a:pt x="574" y="283"/>
                        </a:lnTo>
                        <a:lnTo>
                          <a:pt x="569" y="272"/>
                        </a:lnTo>
                        <a:lnTo>
                          <a:pt x="584" y="233"/>
                        </a:lnTo>
                        <a:lnTo>
                          <a:pt x="593" y="229"/>
                        </a:lnTo>
                        <a:lnTo>
                          <a:pt x="602" y="214"/>
                        </a:lnTo>
                        <a:close/>
                        <a:moveTo>
                          <a:pt x="245" y="53"/>
                        </a:moveTo>
                        <a:lnTo>
                          <a:pt x="247" y="58"/>
                        </a:lnTo>
                        <a:lnTo>
                          <a:pt x="264" y="63"/>
                        </a:lnTo>
                        <a:lnTo>
                          <a:pt x="277" y="87"/>
                        </a:lnTo>
                        <a:lnTo>
                          <a:pt x="379" y="108"/>
                        </a:lnTo>
                        <a:lnTo>
                          <a:pt x="409" y="123"/>
                        </a:lnTo>
                        <a:lnTo>
                          <a:pt x="429" y="124"/>
                        </a:lnTo>
                        <a:lnTo>
                          <a:pt x="439" y="122"/>
                        </a:lnTo>
                        <a:lnTo>
                          <a:pt x="477" y="128"/>
                        </a:lnTo>
                        <a:lnTo>
                          <a:pt x="484" y="133"/>
                        </a:lnTo>
                        <a:lnTo>
                          <a:pt x="490" y="152"/>
                        </a:lnTo>
                        <a:lnTo>
                          <a:pt x="507" y="154"/>
                        </a:lnTo>
                        <a:lnTo>
                          <a:pt x="519" y="164"/>
                        </a:lnTo>
                        <a:lnTo>
                          <a:pt x="520" y="194"/>
                        </a:lnTo>
                        <a:lnTo>
                          <a:pt x="514" y="210"/>
                        </a:lnTo>
                        <a:lnTo>
                          <a:pt x="538" y="210"/>
                        </a:lnTo>
                        <a:lnTo>
                          <a:pt x="533" y="228"/>
                        </a:lnTo>
                        <a:lnTo>
                          <a:pt x="533" y="237"/>
                        </a:lnTo>
                        <a:lnTo>
                          <a:pt x="547" y="247"/>
                        </a:lnTo>
                        <a:lnTo>
                          <a:pt x="544" y="262"/>
                        </a:lnTo>
                        <a:lnTo>
                          <a:pt x="527" y="272"/>
                        </a:lnTo>
                        <a:lnTo>
                          <a:pt x="525" y="281"/>
                        </a:lnTo>
                        <a:lnTo>
                          <a:pt x="514" y="304"/>
                        </a:lnTo>
                        <a:lnTo>
                          <a:pt x="509" y="329"/>
                        </a:lnTo>
                        <a:lnTo>
                          <a:pt x="523" y="324"/>
                        </a:lnTo>
                        <a:lnTo>
                          <a:pt x="535" y="314"/>
                        </a:lnTo>
                        <a:lnTo>
                          <a:pt x="545" y="291"/>
                        </a:lnTo>
                        <a:lnTo>
                          <a:pt x="565" y="278"/>
                        </a:lnTo>
                        <a:lnTo>
                          <a:pt x="579" y="288"/>
                        </a:lnTo>
                        <a:lnTo>
                          <a:pt x="577" y="306"/>
                        </a:lnTo>
                        <a:lnTo>
                          <a:pt x="567" y="331"/>
                        </a:lnTo>
                        <a:lnTo>
                          <a:pt x="563" y="362"/>
                        </a:lnTo>
                        <a:lnTo>
                          <a:pt x="570" y="376"/>
                        </a:lnTo>
                        <a:lnTo>
                          <a:pt x="557" y="394"/>
                        </a:lnTo>
                        <a:lnTo>
                          <a:pt x="550" y="421"/>
                        </a:lnTo>
                        <a:lnTo>
                          <a:pt x="550" y="436"/>
                        </a:lnTo>
                        <a:lnTo>
                          <a:pt x="555" y="452"/>
                        </a:lnTo>
                        <a:lnTo>
                          <a:pt x="548" y="471"/>
                        </a:lnTo>
                        <a:lnTo>
                          <a:pt x="548" y="488"/>
                        </a:lnTo>
                        <a:lnTo>
                          <a:pt x="539" y="518"/>
                        </a:lnTo>
                        <a:lnTo>
                          <a:pt x="545" y="542"/>
                        </a:lnTo>
                        <a:lnTo>
                          <a:pt x="544" y="551"/>
                        </a:lnTo>
                        <a:lnTo>
                          <a:pt x="550" y="562"/>
                        </a:lnTo>
                        <a:lnTo>
                          <a:pt x="552" y="573"/>
                        </a:lnTo>
                        <a:lnTo>
                          <a:pt x="559" y="582"/>
                        </a:lnTo>
                        <a:lnTo>
                          <a:pt x="558" y="606"/>
                        </a:lnTo>
                        <a:lnTo>
                          <a:pt x="560" y="629"/>
                        </a:lnTo>
                        <a:lnTo>
                          <a:pt x="465" y="637"/>
                        </a:lnTo>
                        <a:lnTo>
                          <a:pt x="352" y="643"/>
                        </a:lnTo>
                        <a:lnTo>
                          <a:pt x="257" y="649"/>
                        </a:lnTo>
                        <a:lnTo>
                          <a:pt x="258" y="644"/>
                        </a:lnTo>
                        <a:lnTo>
                          <a:pt x="249" y="628"/>
                        </a:lnTo>
                        <a:lnTo>
                          <a:pt x="220" y="623"/>
                        </a:lnTo>
                        <a:lnTo>
                          <a:pt x="212" y="618"/>
                        </a:lnTo>
                        <a:lnTo>
                          <a:pt x="202" y="593"/>
                        </a:lnTo>
                        <a:lnTo>
                          <a:pt x="195" y="558"/>
                        </a:lnTo>
                        <a:lnTo>
                          <a:pt x="203" y="539"/>
                        </a:lnTo>
                        <a:lnTo>
                          <a:pt x="200" y="531"/>
                        </a:lnTo>
                        <a:lnTo>
                          <a:pt x="190" y="528"/>
                        </a:lnTo>
                        <a:lnTo>
                          <a:pt x="184" y="508"/>
                        </a:lnTo>
                        <a:lnTo>
                          <a:pt x="182" y="469"/>
                        </a:lnTo>
                        <a:lnTo>
                          <a:pt x="175" y="448"/>
                        </a:lnTo>
                        <a:lnTo>
                          <a:pt x="162" y="433"/>
                        </a:lnTo>
                        <a:lnTo>
                          <a:pt x="149" y="428"/>
                        </a:lnTo>
                        <a:lnTo>
                          <a:pt x="137" y="427"/>
                        </a:lnTo>
                        <a:lnTo>
                          <a:pt x="118" y="412"/>
                        </a:lnTo>
                        <a:lnTo>
                          <a:pt x="104" y="390"/>
                        </a:lnTo>
                        <a:lnTo>
                          <a:pt x="88" y="377"/>
                        </a:lnTo>
                        <a:lnTo>
                          <a:pt x="70" y="373"/>
                        </a:lnTo>
                        <a:lnTo>
                          <a:pt x="57" y="357"/>
                        </a:lnTo>
                        <a:lnTo>
                          <a:pt x="37" y="353"/>
                        </a:lnTo>
                        <a:lnTo>
                          <a:pt x="12" y="332"/>
                        </a:lnTo>
                        <a:lnTo>
                          <a:pt x="16" y="308"/>
                        </a:lnTo>
                        <a:lnTo>
                          <a:pt x="12" y="285"/>
                        </a:lnTo>
                        <a:lnTo>
                          <a:pt x="15" y="253"/>
                        </a:lnTo>
                        <a:lnTo>
                          <a:pt x="24" y="232"/>
                        </a:lnTo>
                        <a:lnTo>
                          <a:pt x="14" y="215"/>
                        </a:lnTo>
                        <a:lnTo>
                          <a:pt x="0" y="213"/>
                        </a:lnTo>
                        <a:lnTo>
                          <a:pt x="0" y="193"/>
                        </a:lnTo>
                        <a:lnTo>
                          <a:pt x="9" y="183"/>
                        </a:lnTo>
                        <a:lnTo>
                          <a:pt x="18" y="163"/>
                        </a:lnTo>
                        <a:lnTo>
                          <a:pt x="52" y="145"/>
                        </a:lnTo>
                        <a:lnTo>
                          <a:pt x="58" y="137"/>
                        </a:lnTo>
                        <a:lnTo>
                          <a:pt x="55" y="52"/>
                        </a:lnTo>
                        <a:lnTo>
                          <a:pt x="63" y="49"/>
                        </a:lnTo>
                        <a:lnTo>
                          <a:pt x="73" y="35"/>
                        </a:lnTo>
                        <a:lnTo>
                          <a:pt x="88" y="45"/>
                        </a:lnTo>
                        <a:lnTo>
                          <a:pt x="105" y="43"/>
                        </a:lnTo>
                        <a:lnTo>
                          <a:pt x="142" y="28"/>
                        </a:lnTo>
                        <a:lnTo>
                          <a:pt x="160" y="14"/>
                        </a:lnTo>
                        <a:lnTo>
                          <a:pt x="170" y="17"/>
                        </a:lnTo>
                        <a:lnTo>
                          <a:pt x="185" y="3"/>
                        </a:lnTo>
                        <a:lnTo>
                          <a:pt x="198" y="0"/>
                        </a:lnTo>
                        <a:lnTo>
                          <a:pt x="207" y="9"/>
                        </a:lnTo>
                        <a:lnTo>
                          <a:pt x="198" y="24"/>
                        </a:lnTo>
                        <a:lnTo>
                          <a:pt x="195" y="54"/>
                        </a:lnTo>
                        <a:lnTo>
                          <a:pt x="212" y="40"/>
                        </a:lnTo>
                        <a:lnTo>
                          <a:pt x="229" y="50"/>
                        </a:lnTo>
                        <a:lnTo>
                          <a:pt x="245" y="5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4" name="West Virginia" descr="{&quot;Key&quot;:&quot;west virginia&quot;,&quot;Name&quot;:&quot;West Virginia&quot;,&quot;Value&quot;:1.0,&quot;Formula&quot;:&quot;&quot;,&quot;Text&quot;:&quot;&quot;,&quot;OfficeApplication&quot;:1,&quot;HasValue&quot;:true}">
                    <a:extLst>
                      <a:ext uri="{FF2B5EF4-FFF2-40B4-BE49-F238E27FC236}">
                        <a16:creationId xmlns:a16="http://schemas.microsoft.com/office/drawing/2014/main" id="{6BC508AB-FB03-EF1C-96E9-9FB15C477EF5}"/>
                      </a:ext>
                    </a:extLst>
                  </p:cNvPr>
                  <p:cNvSpPr>
                    <a:spLocks/>
                  </p:cNvSpPr>
                  <p:nvPr/>
                </p:nvSpPr>
                <p:spPr bwMode="auto">
                  <a:xfrm>
                    <a:off x="7603802" y="4552697"/>
                    <a:ext cx="268902" cy="267818"/>
                  </a:xfrm>
                  <a:custGeom>
                    <a:avLst/>
                    <a:gdLst>
                      <a:gd name="T0" fmla="*/ 327 w 518"/>
                      <a:gd name="T1" fmla="*/ 186 h 514"/>
                      <a:gd name="T2" fmla="*/ 367 w 518"/>
                      <a:gd name="T3" fmla="*/ 138 h 514"/>
                      <a:gd name="T4" fmla="*/ 395 w 518"/>
                      <a:gd name="T5" fmla="*/ 110 h 514"/>
                      <a:gd name="T6" fmla="*/ 420 w 518"/>
                      <a:gd name="T7" fmla="*/ 121 h 514"/>
                      <a:gd name="T8" fmla="*/ 432 w 518"/>
                      <a:gd name="T9" fmla="*/ 105 h 514"/>
                      <a:gd name="T10" fmla="*/ 455 w 518"/>
                      <a:gd name="T11" fmla="*/ 90 h 514"/>
                      <a:gd name="T12" fmla="*/ 485 w 518"/>
                      <a:gd name="T13" fmla="*/ 97 h 514"/>
                      <a:gd name="T14" fmla="*/ 498 w 518"/>
                      <a:gd name="T15" fmla="*/ 107 h 514"/>
                      <a:gd name="T16" fmla="*/ 518 w 518"/>
                      <a:gd name="T17" fmla="*/ 131 h 514"/>
                      <a:gd name="T18" fmla="*/ 450 w 518"/>
                      <a:gd name="T19" fmla="*/ 126 h 514"/>
                      <a:gd name="T20" fmla="*/ 447 w 518"/>
                      <a:gd name="T21" fmla="*/ 170 h 514"/>
                      <a:gd name="T22" fmla="*/ 418 w 518"/>
                      <a:gd name="T23" fmla="*/ 210 h 514"/>
                      <a:gd name="T24" fmla="*/ 393 w 518"/>
                      <a:gd name="T25" fmla="*/ 227 h 514"/>
                      <a:gd name="T26" fmla="*/ 378 w 518"/>
                      <a:gd name="T27" fmla="*/ 279 h 514"/>
                      <a:gd name="T28" fmla="*/ 345 w 518"/>
                      <a:gd name="T29" fmla="*/ 291 h 514"/>
                      <a:gd name="T30" fmla="*/ 327 w 518"/>
                      <a:gd name="T31" fmla="*/ 277 h 514"/>
                      <a:gd name="T32" fmla="*/ 318 w 518"/>
                      <a:gd name="T33" fmla="*/ 325 h 514"/>
                      <a:gd name="T34" fmla="*/ 302 w 518"/>
                      <a:gd name="T35" fmla="*/ 368 h 514"/>
                      <a:gd name="T36" fmla="*/ 277 w 518"/>
                      <a:gd name="T37" fmla="*/ 420 h 514"/>
                      <a:gd name="T38" fmla="*/ 278 w 518"/>
                      <a:gd name="T39" fmla="*/ 436 h 514"/>
                      <a:gd name="T40" fmla="*/ 265 w 518"/>
                      <a:gd name="T41" fmla="*/ 460 h 514"/>
                      <a:gd name="T42" fmla="*/ 235 w 518"/>
                      <a:gd name="T43" fmla="*/ 471 h 514"/>
                      <a:gd name="T44" fmla="*/ 220 w 518"/>
                      <a:gd name="T45" fmla="*/ 480 h 514"/>
                      <a:gd name="T46" fmla="*/ 191 w 518"/>
                      <a:gd name="T47" fmla="*/ 495 h 514"/>
                      <a:gd name="T48" fmla="*/ 166 w 518"/>
                      <a:gd name="T49" fmla="*/ 491 h 514"/>
                      <a:gd name="T50" fmla="*/ 135 w 518"/>
                      <a:gd name="T51" fmla="*/ 514 h 514"/>
                      <a:gd name="T52" fmla="*/ 97 w 518"/>
                      <a:gd name="T53" fmla="*/ 495 h 514"/>
                      <a:gd name="T54" fmla="*/ 90 w 518"/>
                      <a:gd name="T55" fmla="*/ 472 h 514"/>
                      <a:gd name="T56" fmla="*/ 63 w 518"/>
                      <a:gd name="T57" fmla="*/ 464 h 514"/>
                      <a:gd name="T58" fmla="*/ 1 w 518"/>
                      <a:gd name="T59" fmla="*/ 396 h 514"/>
                      <a:gd name="T60" fmla="*/ 0 w 518"/>
                      <a:gd name="T61" fmla="*/ 356 h 514"/>
                      <a:gd name="T62" fmla="*/ 28 w 518"/>
                      <a:gd name="T63" fmla="*/ 349 h 514"/>
                      <a:gd name="T64" fmla="*/ 41 w 518"/>
                      <a:gd name="T65" fmla="*/ 325 h 514"/>
                      <a:gd name="T66" fmla="*/ 47 w 518"/>
                      <a:gd name="T67" fmla="*/ 264 h 514"/>
                      <a:gd name="T68" fmla="*/ 72 w 518"/>
                      <a:gd name="T69" fmla="*/ 272 h 514"/>
                      <a:gd name="T70" fmla="*/ 77 w 518"/>
                      <a:gd name="T71" fmla="*/ 231 h 514"/>
                      <a:gd name="T72" fmla="*/ 95 w 518"/>
                      <a:gd name="T73" fmla="*/ 214 h 514"/>
                      <a:gd name="T74" fmla="*/ 113 w 518"/>
                      <a:gd name="T75" fmla="*/ 200 h 514"/>
                      <a:gd name="T76" fmla="*/ 140 w 518"/>
                      <a:gd name="T77" fmla="*/ 182 h 514"/>
                      <a:gd name="T78" fmla="*/ 163 w 518"/>
                      <a:gd name="T79" fmla="*/ 152 h 514"/>
                      <a:gd name="T80" fmla="*/ 170 w 518"/>
                      <a:gd name="T81" fmla="*/ 107 h 514"/>
                      <a:gd name="T82" fmla="*/ 172 w 518"/>
                      <a:gd name="T83" fmla="*/ 59 h 514"/>
                      <a:gd name="T84" fmla="*/ 172 w 518"/>
                      <a:gd name="T85" fmla="*/ 36 h 514"/>
                      <a:gd name="T86" fmla="*/ 162 w 518"/>
                      <a:gd name="T87" fmla="*/ 11 h 514"/>
                      <a:gd name="T88" fmla="*/ 201 w 518"/>
                      <a:gd name="T89" fmla="*/ 1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8" h="514">
                        <a:moveTo>
                          <a:pt x="316" y="112"/>
                        </a:moveTo>
                        <a:lnTo>
                          <a:pt x="327" y="186"/>
                        </a:lnTo>
                        <a:lnTo>
                          <a:pt x="357" y="153"/>
                        </a:lnTo>
                        <a:lnTo>
                          <a:pt x="367" y="138"/>
                        </a:lnTo>
                        <a:lnTo>
                          <a:pt x="378" y="141"/>
                        </a:lnTo>
                        <a:lnTo>
                          <a:pt x="395" y="110"/>
                        </a:lnTo>
                        <a:lnTo>
                          <a:pt x="400" y="118"/>
                        </a:lnTo>
                        <a:lnTo>
                          <a:pt x="420" y="121"/>
                        </a:lnTo>
                        <a:lnTo>
                          <a:pt x="431" y="118"/>
                        </a:lnTo>
                        <a:lnTo>
                          <a:pt x="432" y="105"/>
                        </a:lnTo>
                        <a:lnTo>
                          <a:pt x="450" y="100"/>
                        </a:lnTo>
                        <a:lnTo>
                          <a:pt x="455" y="90"/>
                        </a:lnTo>
                        <a:lnTo>
                          <a:pt x="463" y="87"/>
                        </a:lnTo>
                        <a:lnTo>
                          <a:pt x="485" y="97"/>
                        </a:lnTo>
                        <a:lnTo>
                          <a:pt x="493" y="93"/>
                        </a:lnTo>
                        <a:lnTo>
                          <a:pt x="498" y="107"/>
                        </a:lnTo>
                        <a:lnTo>
                          <a:pt x="507" y="110"/>
                        </a:lnTo>
                        <a:lnTo>
                          <a:pt x="518" y="131"/>
                        </a:lnTo>
                        <a:lnTo>
                          <a:pt x="512" y="160"/>
                        </a:lnTo>
                        <a:lnTo>
                          <a:pt x="450" y="126"/>
                        </a:lnTo>
                        <a:lnTo>
                          <a:pt x="446" y="154"/>
                        </a:lnTo>
                        <a:lnTo>
                          <a:pt x="447" y="170"/>
                        </a:lnTo>
                        <a:lnTo>
                          <a:pt x="427" y="207"/>
                        </a:lnTo>
                        <a:lnTo>
                          <a:pt x="418" y="210"/>
                        </a:lnTo>
                        <a:lnTo>
                          <a:pt x="409" y="232"/>
                        </a:lnTo>
                        <a:lnTo>
                          <a:pt x="393" y="227"/>
                        </a:lnTo>
                        <a:lnTo>
                          <a:pt x="381" y="260"/>
                        </a:lnTo>
                        <a:lnTo>
                          <a:pt x="378" y="279"/>
                        </a:lnTo>
                        <a:lnTo>
                          <a:pt x="370" y="294"/>
                        </a:lnTo>
                        <a:lnTo>
                          <a:pt x="345" y="291"/>
                        </a:lnTo>
                        <a:lnTo>
                          <a:pt x="337" y="279"/>
                        </a:lnTo>
                        <a:lnTo>
                          <a:pt x="327" y="277"/>
                        </a:lnTo>
                        <a:lnTo>
                          <a:pt x="325" y="300"/>
                        </a:lnTo>
                        <a:lnTo>
                          <a:pt x="318" y="325"/>
                        </a:lnTo>
                        <a:lnTo>
                          <a:pt x="307" y="342"/>
                        </a:lnTo>
                        <a:lnTo>
                          <a:pt x="302" y="368"/>
                        </a:lnTo>
                        <a:lnTo>
                          <a:pt x="283" y="400"/>
                        </a:lnTo>
                        <a:lnTo>
                          <a:pt x="277" y="420"/>
                        </a:lnTo>
                        <a:lnTo>
                          <a:pt x="286" y="430"/>
                        </a:lnTo>
                        <a:lnTo>
                          <a:pt x="278" y="436"/>
                        </a:lnTo>
                        <a:lnTo>
                          <a:pt x="281" y="445"/>
                        </a:lnTo>
                        <a:lnTo>
                          <a:pt x="265" y="460"/>
                        </a:lnTo>
                        <a:lnTo>
                          <a:pt x="256" y="456"/>
                        </a:lnTo>
                        <a:lnTo>
                          <a:pt x="235" y="471"/>
                        </a:lnTo>
                        <a:lnTo>
                          <a:pt x="220" y="469"/>
                        </a:lnTo>
                        <a:lnTo>
                          <a:pt x="220" y="480"/>
                        </a:lnTo>
                        <a:lnTo>
                          <a:pt x="212" y="489"/>
                        </a:lnTo>
                        <a:lnTo>
                          <a:pt x="191" y="495"/>
                        </a:lnTo>
                        <a:lnTo>
                          <a:pt x="181" y="501"/>
                        </a:lnTo>
                        <a:lnTo>
                          <a:pt x="166" y="491"/>
                        </a:lnTo>
                        <a:lnTo>
                          <a:pt x="146" y="511"/>
                        </a:lnTo>
                        <a:lnTo>
                          <a:pt x="135" y="514"/>
                        </a:lnTo>
                        <a:lnTo>
                          <a:pt x="112" y="506"/>
                        </a:lnTo>
                        <a:lnTo>
                          <a:pt x="97" y="495"/>
                        </a:lnTo>
                        <a:lnTo>
                          <a:pt x="91" y="484"/>
                        </a:lnTo>
                        <a:lnTo>
                          <a:pt x="90" y="472"/>
                        </a:lnTo>
                        <a:lnTo>
                          <a:pt x="72" y="471"/>
                        </a:lnTo>
                        <a:lnTo>
                          <a:pt x="63" y="464"/>
                        </a:lnTo>
                        <a:lnTo>
                          <a:pt x="50" y="456"/>
                        </a:lnTo>
                        <a:lnTo>
                          <a:pt x="1" y="396"/>
                        </a:lnTo>
                        <a:lnTo>
                          <a:pt x="6" y="381"/>
                        </a:lnTo>
                        <a:lnTo>
                          <a:pt x="0" y="356"/>
                        </a:lnTo>
                        <a:lnTo>
                          <a:pt x="10" y="356"/>
                        </a:lnTo>
                        <a:lnTo>
                          <a:pt x="28" y="349"/>
                        </a:lnTo>
                        <a:lnTo>
                          <a:pt x="33" y="325"/>
                        </a:lnTo>
                        <a:lnTo>
                          <a:pt x="41" y="325"/>
                        </a:lnTo>
                        <a:lnTo>
                          <a:pt x="35" y="297"/>
                        </a:lnTo>
                        <a:lnTo>
                          <a:pt x="47" y="264"/>
                        </a:lnTo>
                        <a:lnTo>
                          <a:pt x="52" y="260"/>
                        </a:lnTo>
                        <a:lnTo>
                          <a:pt x="72" y="272"/>
                        </a:lnTo>
                        <a:lnTo>
                          <a:pt x="80" y="269"/>
                        </a:lnTo>
                        <a:lnTo>
                          <a:pt x="77" y="231"/>
                        </a:lnTo>
                        <a:lnTo>
                          <a:pt x="82" y="219"/>
                        </a:lnTo>
                        <a:lnTo>
                          <a:pt x="95" y="214"/>
                        </a:lnTo>
                        <a:lnTo>
                          <a:pt x="102" y="196"/>
                        </a:lnTo>
                        <a:lnTo>
                          <a:pt x="113" y="200"/>
                        </a:lnTo>
                        <a:lnTo>
                          <a:pt x="131" y="192"/>
                        </a:lnTo>
                        <a:lnTo>
                          <a:pt x="140" y="182"/>
                        </a:lnTo>
                        <a:lnTo>
                          <a:pt x="146" y="170"/>
                        </a:lnTo>
                        <a:lnTo>
                          <a:pt x="163" y="152"/>
                        </a:lnTo>
                        <a:lnTo>
                          <a:pt x="163" y="129"/>
                        </a:lnTo>
                        <a:lnTo>
                          <a:pt x="170" y="107"/>
                        </a:lnTo>
                        <a:lnTo>
                          <a:pt x="168" y="89"/>
                        </a:lnTo>
                        <a:lnTo>
                          <a:pt x="172" y="59"/>
                        </a:lnTo>
                        <a:lnTo>
                          <a:pt x="177" y="47"/>
                        </a:lnTo>
                        <a:lnTo>
                          <a:pt x="172" y="36"/>
                        </a:lnTo>
                        <a:lnTo>
                          <a:pt x="173" y="27"/>
                        </a:lnTo>
                        <a:lnTo>
                          <a:pt x="162" y="11"/>
                        </a:lnTo>
                        <a:lnTo>
                          <a:pt x="178" y="0"/>
                        </a:lnTo>
                        <a:lnTo>
                          <a:pt x="201" y="132"/>
                        </a:lnTo>
                        <a:lnTo>
                          <a:pt x="316" y="112"/>
                        </a:lnTo>
                        <a:close/>
                      </a:path>
                    </a:pathLst>
                  </a:custGeom>
                  <a:solidFill>
                    <a:srgbClr val="498FB0"/>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5" name="Delaware" descr="{&quot;Key&quot;:&quot;delaware&quot;,&quot;Name&quot;:&quot;Delaware&quot;,&quot;Value&quot;:1.0,&quot;Formula&quot;:&quot;&quot;,&quot;Text&quot;:&quot;&quot;,&quot;OfficeApplication&quot;:1,&quot;HasValue&quot;:true}">
                    <a:extLst>
                      <a:ext uri="{FF2B5EF4-FFF2-40B4-BE49-F238E27FC236}">
                        <a16:creationId xmlns:a16="http://schemas.microsoft.com/office/drawing/2014/main" id="{8B471878-63A5-B1E7-98AF-5645B2C9D5BE}"/>
                      </a:ext>
                    </a:extLst>
                  </p:cNvPr>
                  <p:cNvSpPr>
                    <a:spLocks/>
                  </p:cNvSpPr>
                  <p:nvPr/>
                </p:nvSpPr>
                <p:spPr bwMode="auto">
                  <a:xfrm>
                    <a:off x="7977880" y="4558119"/>
                    <a:ext cx="63973" cy="101923"/>
                  </a:xfrm>
                  <a:custGeom>
                    <a:avLst/>
                    <a:gdLst>
                      <a:gd name="T0" fmla="*/ 36 w 122"/>
                      <a:gd name="T1" fmla="*/ 0 h 197"/>
                      <a:gd name="T2" fmla="*/ 22 w 122"/>
                      <a:gd name="T3" fmla="*/ 31 h 197"/>
                      <a:gd name="T4" fmla="*/ 31 w 122"/>
                      <a:gd name="T5" fmla="*/ 40 h 197"/>
                      <a:gd name="T6" fmla="*/ 30 w 122"/>
                      <a:gd name="T7" fmla="*/ 52 h 197"/>
                      <a:gd name="T8" fmla="*/ 51 w 122"/>
                      <a:gd name="T9" fmla="*/ 70 h 197"/>
                      <a:gd name="T10" fmla="*/ 59 w 122"/>
                      <a:gd name="T11" fmla="*/ 81 h 197"/>
                      <a:gd name="T12" fmla="*/ 65 w 122"/>
                      <a:gd name="T13" fmla="*/ 105 h 197"/>
                      <a:gd name="T14" fmla="*/ 75 w 122"/>
                      <a:gd name="T15" fmla="*/ 113 h 197"/>
                      <a:gd name="T16" fmla="*/ 77 w 122"/>
                      <a:gd name="T17" fmla="*/ 121 h 197"/>
                      <a:gd name="T18" fmla="*/ 97 w 122"/>
                      <a:gd name="T19" fmla="*/ 136 h 197"/>
                      <a:gd name="T20" fmla="*/ 107 w 122"/>
                      <a:gd name="T21" fmla="*/ 133 h 197"/>
                      <a:gd name="T22" fmla="*/ 112 w 122"/>
                      <a:gd name="T23" fmla="*/ 150 h 197"/>
                      <a:gd name="T24" fmla="*/ 109 w 122"/>
                      <a:gd name="T25" fmla="*/ 165 h 197"/>
                      <a:gd name="T26" fmla="*/ 117 w 122"/>
                      <a:gd name="T27" fmla="*/ 167 h 197"/>
                      <a:gd name="T28" fmla="*/ 122 w 122"/>
                      <a:gd name="T29" fmla="*/ 181 h 197"/>
                      <a:gd name="T30" fmla="*/ 121 w 122"/>
                      <a:gd name="T31" fmla="*/ 182 h 197"/>
                      <a:gd name="T32" fmla="*/ 119 w 122"/>
                      <a:gd name="T33" fmla="*/ 182 h 197"/>
                      <a:gd name="T34" fmla="*/ 51 w 122"/>
                      <a:gd name="T35" fmla="*/ 197 h 197"/>
                      <a:gd name="T36" fmla="*/ 2 w 122"/>
                      <a:gd name="T37" fmla="*/ 31 h 197"/>
                      <a:gd name="T38" fmla="*/ 0 w 122"/>
                      <a:gd name="T39" fmla="*/ 21 h 197"/>
                      <a:gd name="T40" fmla="*/ 4 w 122"/>
                      <a:gd name="T41" fmla="*/ 11 h 197"/>
                      <a:gd name="T42" fmla="*/ 16 w 122"/>
                      <a:gd name="T43" fmla="*/ 0 h 197"/>
                      <a:gd name="T44" fmla="*/ 36 w 122"/>
                      <a:gd name="T4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97">
                        <a:moveTo>
                          <a:pt x="36" y="0"/>
                        </a:moveTo>
                        <a:lnTo>
                          <a:pt x="22" y="31"/>
                        </a:lnTo>
                        <a:lnTo>
                          <a:pt x="31" y="40"/>
                        </a:lnTo>
                        <a:lnTo>
                          <a:pt x="30" y="52"/>
                        </a:lnTo>
                        <a:lnTo>
                          <a:pt x="51" y="70"/>
                        </a:lnTo>
                        <a:lnTo>
                          <a:pt x="59" y="81"/>
                        </a:lnTo>
                        <a:lnTo>
                          <a:pt x="65" y="105"/>
                        </a:lnTo>
                        <a:lnTo>
                          <a:pt x="75" y="113"/>
                        </a:lnTo>
                        <a:lnTo>
                          <a:pt x="77" y="121"/>
                        </a:lnTo>
                        <a:lnTo>
                          <a:pt x="97" y="136"/>
                        </a:lnTo>
                        <a:lnTo>
                          <a:pt x="107" y="133"/>
                        </a:lnTo>
                        <a:lnTo>
                          <a:pt x="112" y="150"/>
                        </a:lnTo>
                        <a:lnTo>
                          <a:pt x="109" y="165"/>
                        </a:lnTo>
                        <a:lnTo>
                          <a:pt x="117" y="167"/>
                        </a:lnTo>
                        <a:lnTo>
                          <a:pt x="122" y="181"/>
                        </a:lnTo>
                        <a:lnTo>
                          <a:pt x="121" y="182"/>
                        </a:lnTo>
                        <a:lnTo>
                          <a:pt x="119" y="182"/>
                        </a:lnTo>
                        <a:lnTo>
                          <a:pt x="51" y="197"/>
                        </a:lnTo>
                        <a:lnTo>
                          <a:pt x="2" y="31"/>
                        </a:lnTo>
                        <a:lnTo>
                          <a:pt x="0" y="21"/>
                        </a:lnTo>
                        <a:lnTo>
                          <a:pt x="4" y="11"/>
                        </a:lnTo>
                        <a:lnTo>
                          <a:pt x="16" y="0"/>
                        </a:lnTo>
                        <a:lnTo>
                          <a:pt x="36"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6" name="Washington DC" descr="{&quot;Key&quot;:&quot;washington dc&quot;,&quot;Name&quot;:&quot;Washington DC&quot;,&quot;Value&quot;:1.0,&quot;Formula&quot;:&quot;&quot;,&quot;Text&quot;:&quot;&quot;,&quot;OfficeApplication&quot;:1,&quot;HasValue&quot;:true}">
                    <a:extLst>
                      <a:ext uri="{FF2B5EF4-FFF2-40B4-BE49-F238E27FC236}">
                        <a16:creationId xmlns:a16="http://schemas.microsoft.com/office/drawing/2014/main" id="{7A77FF56-E275-2A53-7E17-00F7D66137B9}"/>
                      </a:ext>
                    </a:extLst>
                  </p:cNvPr>
                  <p:cNvSpPr>
                    <a:spLocks/>
                  </p:cNvSpPr>
                  <p:nvPr/>
                </p:nvSpPr>
                <p:spPr bwMode="auto">
                  <a:xfrm>
                    <a:off x="7913907" y="4637271"/>
                    <a:ext cx="13011" cy="14096"/>
                  </a:xfrm>
                  <a:custGeom>
                    <a:avLst/>
                    <a:gdLst>
                      <a:gd name="T0" fmla="*/ 15 w 25"/>
                      <a:gd name="T1" fmla="*/ 28 h 28"/>
                      <a:gd name="T2" fmla="*/ 14 w 25"/>
                      <a:gd name="T3" fmla="*/ 20 h 28"/>
                      <a:gd name="T4" fmla="*/ 13 w 25"/>
                      <a:gd name="T5" fmla="*/ 19 h 28"/>
                      <a:gd name="T6" fmla="*/ 8 w 25"/>
                      <a:gd name="T7" fmla="*/ 14 h 28"/>
                      <a:gd name="T8" fmla="*/ 0 w 25"/>
                      <a:gd name="T9" fmla="*/ 11 h 28"/>
                      <a:gd name="T10" fmla="*/ 8 w 25"/>
                      <a:gd name="T11" fmla="*/ 0 h 28"/>
                      <a:gd name="T12" fmla="*/ 25 w 25"/>
                      <a:gd name="T13" fmla="*/ 11 h 28"/>
                      <a:gd name="T14" fmla="*/ 15 w 25"/>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8">
                        <a:moveTo>
                          <a:pt x="15" y="28"/>
                        </a:moveTo>
                        <a:lnTo>
                          <a:pt x="14" y="20"/>
                        </a:lnTo>
                        <a:lnTo>
                          <a:pt x="13" y="19"/>
                        </a:lnTo>
                        <a:lnTo>
                          <a:pt x="8" y="14"/>
                        </a:lnTo>
                        <a:lnTo>
                          <a:pt x="0" y="11"/>
                        </a:lnTo>
                        <a:lnTo>
                          <a:pt x="8" y="0"/>
                        </a:lnTo>
                        <a:lnTo>
                          <a:pt x="25" y="11"/>
                        </a:lnTo>
                        <a:lnTo>
                          <a:pt x="15" y="28"/>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7" name="Maryland" descr="{&quot;Key&quot;:&quot;maryland&quot;,&quot;Name&quot;:&quot;Maryland&quot;,&quot;Value&quot;:1.0,&quot;Formula&quot;:&quot;&quot;,&quot;Text&quot;:&quot;&quot;,&quot;OfficeApplication&quot;:1,&quot;HasValue&quot;:true}">
                    <a:extLst>
                      <a:ext uri="{FF2B5EF4-FFF2-40B4-BE49-F238E27FC236}">
                        <a16:creationId xmlns:a16="http://schemas.microsoft.com/office/drawing/2014/main" id="{E5576DD3-7184-A174-813E-076058A4BD75}"/>
                      </a:ext>
                    </a:extLst>
                  </p:cNvPr>
                  <p:cNvSpPr>
                    <a:spLocks/>
                  </p:cNvSpPr>
                  <p:nvPr/>
                </p:nvSpPr>
                <p:spPr bwMode="auto">
                  <a:xfrm>
                    <a:off x="7767528" y="4568961"/>
                    <a:ext cx="273240" cy="127945"/>
                  </a:xfrm>
                  <a:custGeom>
                    <a:avLst/>
                    <a:gdLst>
                      <a:gd name="T0" fmla="*/ 406 w 523"/>
                      <a:gd name="T1" fmla="*/ 10 h 247"/>
                      <a:gd name="T2" fmla="*/ 523 w 523"/>
                      <a:gd name="T3" fmla="*/ 161 h 247"/>
                      <a:gd name="T4" fmla="*/ 513 w 523"/>
                      <a:gd name="T5" fmla="*/ 197 h 247"/>
                      <a:gd name="T6" fmla="*/ 504 w 523"/>
                      <a:gd name="T7" fmla="*/ 231 h 247"/>
                      <a:gd name="T8" fmla="*/ 475 w 523"/>
                      <a:gd name="T9" fmla="*/ 245 h 247"/>
                      <a:gd name="T10" fmla="*/ 451 w 523"/>
                      <a:gd name="T11" fmla="*/ 225 h 247"/>
                      <a:gd name="T12" fmla="*/ 444 w 523"/>
                      <a:gd name="T13" fmla="*/ 213 h 247"/>
                      <a:gd name="T14" fmla="*/ 424 w 523"/>
                      <a:gd name="T15" fmla="*/ 215 h 247"/>
                      <a:gd name="T16" fmla="*/ 385 w 523"/>
                      <a:gd name="T17" fmla="*/ 190 h 247"/>
                      <a:gd name="T18" fmla="*/ 386 w 523"/>
                      <a:gd name="T19" fmla="*/ 154 h 247"/>
                      <a:gd name="T20" fmla="*/ 375 w 523"/>
                      <a:gd name="T21" fmla="*/ 140 h 247"/>
                      <a:gd name="T22" fmla="*/ 390 w 523"/>
                      <a:gd name="T23" fmla="*/ 126 h 247"/>
                      <a:gd name="T24" fmla="*/ 386 w 523"/>
                      <a:gd name="T25" fmla="*/ 110 h 247"/>
                      <a:gd name="T26" fmla="*/ 369 w 523"/>
                      <a:gd name="T27" fmla="*/ 92 h 247"/>
                      <a:gd name="T28" fmla="*/ 387 w 523"/>
                      <a:gd name="T29" fmla="*/ 52 h 247"/>
                      <a:gd name="T30" fmla="*/ 369 w 523"/>
                      <a:gd name="T31" fmla="*/ 60 h 247"/>
                      <a:gd name="T32" fmla="*/ 351 w 523"/>
                      <a:gd name="T33" fmla="*/ 79 h 247"/>
                      <a:gd name="T34" fmla="*/ 359 w 523"/>
                      <a:gd name="T35" fmla="*/ 115 h 247"/>
                      <a:gd name="T36" fmla="*/ 355 w 523"/>
                      <a:gd name="T37" fmla="*/ 131 h 247"/>
                      <a:gd name="T38" fmla="*/ 354 w 523"/>
                      <a:gd name="T39" fmla="*/ 159 h 247"/>
                      <a:gd name="T40" fmla="*/ 379 w 523"/>
                      <a:gd name="T41" fmla="*/ 204 h 247"/>
                      <a:gd name="T42" fmla="*/ 385 w 523"/>
                      <a:gd name="T43" fmla="*/ 226 h 247"/>
                      <a:gd name="T44" fmla="*/ 382 w 523"/>
                      <a:gd name="T45" fmla="*/ 241 h 247"/>
                      <a:gd name="T46" fmla="*/ 344 w 523"/>
                      <a:gd name="T47" fmla="*/ 235 h 247"/>
                      <a:gd name="T48" fmla="*/ 306 w 523"/>
                      <a:gd name="T49" fmla="*/ 208 h 247"/>
                      <a:gd name="T50" fmla="*/ 282 w 523"/>
                      <a:gd name="T51" fmla="*/ 223 h 247"/>
                      <a:gd name="T52" fmla="*/ 284 w 523"/>
                      <a:gd name="T53" fmla="*/ 191 h 247"/>
                      <a:gd name="T54" fmla="*/ 297 w 523"/>
                      <a:gd name="T55" fmla="*/ 175 h 247"/>
                      <a:gd name="T56" fmla="*/ 306 w 523"/>
                      <a:gd name="T57" fmla="*/ 143 h 247"/>
                      <a:gd name="T58" fmla="*/ 281 w 523"/>
                      <a:gd name="T59" fmla="*/ 143 h 247"/>
                      <a:gd name="T60" fmla="*/ 261 w 523"/>
                      <a:gd name="T61" fmla="*/ 131 h 247"/>
                      <a:gd name="T62" fmla="*/ 235 w 523"/>
                      <a:gd name="T63" fmla="*/ 125 h 247"/>
                      <a:gd name="T64" fmla="*/ 222 w 523"/>
                      <a:gd name="T65" fmla="*/ 101 h 247"/>
                      <a:gd name="T66" fmla="*/ 191 w 523"/>
                      <a:gd name="T67" fmla="*/ 80 h 247"/>
                      <a:gd name="T68" fmla="*/ 177 w 523"/>
                      <a:gd name="T69" fmla="*/ 63 h 247"/>
                      <a:gd name="T70" fmla="*/ 147 w 523"/>
                      <a:gd name="T71" fmla="*/ 57 h 247"/>
                      <a:gd name="T72" fmla="*/ 134 w 523"/>
                      <a:gd name="T73" fmla="*/ 70 h 247"/>
                      <a:gd name="T74" fmla="*/ 115 w 523"/>
                      <a:gd name="T75" fmla="*/ 88 h 247"/>
                      <a:gd name="T76" fmla="*/ 84 w 523"/>
                      <a:gd name="T77" fmla="*/ 88 h 247"/>
                      <a:gd name="T78" fmla="*/ 62 w 523"/>
                      <a:gd name="T79" fmla="*/ 111 h 247"/>
                      <a:gd name="T80" fmla="*/ 41 w 523"/>
                      <a:gd name="T81" fmla="*/ 123 h 247"/>
                      <a:gd name="T82" fmla="*/ 0 w 523"/>
                      <a:gd name="T83" fmla="*/ 82 h 247"/>
                      <a:gd name="T84" fmla="*/ 215 w 523"/>
                      <a:gd name="T85" fmla="*/ 40 h 247"/>
                      <a:gd name="T86" fmla="*/ 404 w 523"/>
                      <a:gd name="T8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247">
                        <a:moveTo>
                          <a:pt x="404" y="0"/>
                        </a:moveTo>
                        <a:lnTo>
                          <a:pt x="406" y="10"/>
                        </a:lnTo>
                        <a:lnTo>
                          <a:pt x="455" y="176"/>
                        </a:lnTo>
                        <a:lnTo>
                          <a:pt x="523" y="161"/>
                        </a:lnTo>
                        <a:lnTo>
                          <a:pt x="521" y="193"/>
                        </a:lnTo>
                        <a:lnTo>
                          <a:pt x="513" y="197"/>
                        </a:lnTo>
                        <a:lnTo>
                          <a:pt x="510" y="215"/>
                        </a:lnTo>
                        <a:lnTo>
                          <a:pt x="504" y="231"/>
                        </a:lnTo>
                        <a:lnTo>
                          <a:pt x="477" y="240"/>
                        </a:lnTo>
                        <a:lnTo>
                          <a:pt x="475" y="245"/>
                        </a:lnTo>
                        <a:lnTo>
                          <a:pt x="447" y="247"/>
                        </a:lnTo>
                        <a:lnTo>
                          <a:pt x="451" y="225"/>
                        </a:lnTo>
                        <a:lnTo>
                          <a:pt x="436" y="225"/>
                        </a:lnTo>
                        <a:lnTo>
                          <a:pt x="444" y="213"/>
                        </a:lnTo>
                        <a:lnTo>
                          <a:pt x="436" y="209"/>
                        </a:lnTo>
                        <a:lnTo>
                          <a:pt x="424" y="215"/>
                        </a:lnTo>
                        <a:lnTo>
                          <a:pt x="400" y="206"/>
                        </a:lnTo>
                        <a:lnTo>
                          <a:pt x="385" y="190"/>
                        </a:lnTo>
                        <a:lnTo>
                          <a:pt x="397" y="159"/>
                        </a:lnTo>
                        <a:lnTo>
                          <a:pt x="386" y="154"/>
                        </a:lnTo>
                        <a:lnTo>
                          <a:pt x="374" y="154"/>
                        </a:lnTo>
                        <a:lnTo>
                          <a:pt x="375" y="140"/>
                        </a:lnTo>
                        <a:lnTo>
                          <a:pt x="386" y="140"/>
                        </a:lnTo>
                        <a:lnTo>
                          <a:pt x="390" y="126"/>
                        </a:lnTo>
                        <a:lnTo>
                          <a:pt x="377" y="120"/>
                        </a:lnTo>
                        <a:lnTo>
                          <a:pt x="386" y="110"/>
                        </a:lnTo>
                        <a:lnTo>
                          <a:pt x="385" y="94"/>
                        </a:lnTo>
                        <a:lnTo>
                          <a:pt x="369" y="92"/>
                        </a:lnTo>
                        <a:lnTo>
                          <a:pt x="374" y="66"/>
                        </a:lnTo>
                        <a:lnTo>
                          <a:pt x="387" y="52"/>
                        </a:lnTo>
                        <a:lnTo>
                          <a:pt x="381" y="42"/>
                        </a:lnTo>
                        <a:lnTo>
                          <a:pt x="369" y="60"/>
                        </a:lnTo>
                        <a:lnTo>
                          <a:pt x="346" y="71"/>
                        </a:lnTo>
                        <a:lnTo>
                          <a:pt x="351" y="79"/>
                        </a:lnTo>
                        <a:lnTo>
                          <a:pt x="347" y="90"/>
                        </a:lnTo>
                        <a:lnTo>
                          <a:pt x="359" y="115"/>
                        </a:lnTo>
                        <a:lnTo>
                          <a:pt x="350" y="121"/>
                        </a:lnTo>
                        <a:lnTo>
                          <a:pt x="355" y="131"/>
                        </a:lnTo>
                        <a:lnTo>
                          <a:pt x="349" y="152"/>
                        </a:lnTo>
                        <a:lnTo>
                          <a:pt x="354" y="159"/>
                        </a:lnTo>
                        <a:lnTo>
                          <a:pt x="361" y="186"/>
                        </a:lnTo>
                        <a:lnTo>
                          <a:pt x="379" y="204"/>
                        </a:lnTo>
                        <a:lnTo>
                          <a:pt x="377" y="213"/>
                        </a:lnTo>
                        <a:lnTo>
                          <a:pt x="385" y="226"/>
                        </a:lnTo>
                        <a:lnTo>
                          <a:pt x="395" y="237"/>
                        </a:lnTo>
                        <a:lnTo>
                          <a:pt x="382" y="241"/>
                        </a:lnTo>
                        <a:lnTo>
                          <a:pt x="359" y="232"/>
                        </a:lnTo>
                        <a:lnTo>
                          <a:pt x="344" y="235"/>
                        </a:lnTo>
                        <a:lnTo>
                          <a:pt x="322" y="230"/>
                        </a:lnTo>
                        <a:lnTo>
                          <a:pt x="306" y="208"/>
                        </a:lnTo>
                        <a:lnTo>
                          <a:pt x="290" y="226"/>
                        </a:lnTo>
                        <a:lnTo>
                          <a:pt x="282" y="223"/>
                        </a:lnTo>
                        <a:lnTo>
                          <a:pt x="279" y="210"/>
                        </a:lnTo>
                        <a:lnTo>
                          <a:pt x="284" y="191"/>
                        </a:lnTo>
                        <a:lnTo>
                          <a:pt x="291" y="187"/>
                        </a:lnTo>
                        <a:lnTo>
                          <a:pt x="297" y="175"/>
                        </a:lnTo>
                        <a:lnTo>
                          <a:pt x="296" y="160"/>
                        </a:lnTo>
                        <a:lnTo>
                          <a:pt x="306" y="143"/>
                        </a:lnTo>
                        <a:lnTo>
                          <a:pt x="289" y="132"/>
                        </a:lnTo>
                        <a:lnTo>
                          <a:pt x="281" y="143"/>
                        </a:lnTo>
                        <a:lnTo>
                          <a:pt x="267" y="138"/>
                        </a:lnTo>
                        <a:lnTo>
                          <a:pt x="261" y="131"/>
                        </a:lnTo>
                        <a:lnTo>
                          <a:pt x="244" y="130"/>
                        </a:lnTo>
                        <a:lnTo>
                          <a:pt x="235" y="125"/>
                        </a:lnTo>
                        <a:lnTo>
                          <a:pt x="234" y="107"/>
                        </a:lnTo>
                        <a:lnTo>
                          <a:pt x="222" y="101"/>
                        </a:lnTo>
                        <a:lnTo>
                          <a:pt x="202" y="101"/>
                        </a:lnTo>
                        <a:lnTo>
                          <a:pt x="191" y="80"/>
                        </a:lnTo>
                        <a:lnTo>
                          <a:pt x="182" y="77"/>
                        </a:lnTo>
                        <a:lnTo>
                          <a:pt x="177" y="63"/>
                        </a:lnTo>
                        <a:lnTo>
                          <a:pt x="169" y="67"/>
                        </a:lnTo>
                        <a:lnTo>
                          <a:pt x="147" y="57"/>
                        </a:lnTo>
                        <a:lnTo>
                          <a:pt x="139" y="60"/>
                        </a:lnTo>
                        <a:lnTo>
                          <a:pt x="134" y="70"/>
                        </a:lnTo>
                        <a:lnTo>
                          <a:pt x="116" y="75"/>
                        </a:lnTo>
                        <a:lnTo>
                          <a:pt x="115" y="88"/>
                        </a:lnTo>
                        <a:lnTo>
                          <a:pt x="104" y="91"/>
                        </a:lnTo>
                        <a:lnTo>
                          <a:pt x="84" y="88"/>
                        </a:lnTo>
                        <a:lnTo>
                          <a:pt x="79" y="80"/>
                        </a:lnTo>
                        <a:lnTo>
                          <a:pt x="62" y="111"/>
                        </a:lnTo>
                        <a:lnTo>
                          <a:pt x="51" y="108"/>
                        </a:lnTo>
                        <a:lnTo>
                          <a:pt x="41" y="123"/>
                        </a:lnTo>
                        <a:lnTo>
                          <a:pt x="11" y="156"/>
                        </a:lnTo>
                        <a:lnTo>
                          <a:pt x="0" y="82"/>
                        </a:lnTo>
                        <a:lnTo>
                          <a:pt x="114" y="61"/>
                        </a:lnTo>
                        <a:lnTo>
                          <a:pt x="215" y="40"/>
                        </a:lnTo>
                        <a:lnTo>
                          <a:pt x="341" y="13"/>
                        </a:lnTo>
                        <a:lnTo>
                          <a:pt x="404" y="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8" name="New Jersey" descr="{&quot;Key&quot;:&quot;new jersey&quot;,&quot;Name&quot;:&quot;New Jersey&quot;,&quot;Value&quot;:1.0,&quot;Formula&quot;:&quot;&quot;,&quot;Text&quot;:&quot;&quot;,&quot;OfficeApplication&quot;:1,&quot;HasValue&quot;:true}">
                    <a:extLst>
                      <a:ext uri="{FF2B5EF4-FFF2-40B4-BE49-F238E27FC236}">
                        <a16:creationId xmlns:a16="http://schemas.microsoft.com/office/drawing/2014/main" id="{6720CC8A-2060-300E-2412-5F655ECF29BB}"/>
                      </a:ext>
                    </a:extLst>
                  </p:cNvPr>
                  <p:cNvSpPr>
                    <a:spLocks/>
                  </p:cNvSpPr>
                  <p:nvPr/>
                </p:nvSpPr>
                <p:spPr bwMode="auto">
                  <a:xfrm>
                    <a:off x="7982349" y="4434464"/>
                    <a:ext cx="76984" cy="182160"/>
                  </a:xfrm>
                  <a:custGeom>
                    <a:avLst/>
                    <a:gdLst>
                      <a:gd name="T0" fmla="*/ 45 w 148"/>
                      <a:gd name="T1" fmla="*/ 197 h 349"/>
                      <a:gd name="T2" fmla="*/ 70 w 148"/>
                      <a:gd name="T3" fmla="*/ 166 h 349"/>
                      <a:gd name="T4" fmla="*/ 25 w 148"/>
                      <a:gd name="T5" fmla="*/ 136 h 349"/>
                      <a:gd name="T6" fmla="*/ 20 w 148"/>
                      <a:gd name="T7" fmla="*/ 122 h 349"/>
                      <a:gd name="T8" fmla="*/ 8 w 148"/>
                      <a:gd name="T9" fmla="*/ 122 h 349"/>
                      <a:gd name="T10" fmla="*/ 2 w 148"/>
                      <a:gd name="T11" fmla="*/ 96 h 349"/>
                      <a:gd name="T12" fmla="*/ 10 w 148"/>
                      <a:gd name="T13" fmla="*/ 89 h 349"/>
                      <a:gd name="T14" fmla="*/ 11 w 148"/>
                      <a:gd name="T15" fmla="*/ 75 h 349"/>
                      <a:gd name="T16" fmla="*/ 0 w 148"/>
                      <a:gd name="T17" fmla="*/ 64 h 349"/>
                      <a:gd name="T18" fmla="*/ 10 w 148"/>
                      <a:gd name="T19" fmla="*/ 51 h 349"/>
                      <a:gd name="T20" fmla="*/ 20 w 148"/>
                      <a:gd name="T21" fmla="*/ 29 h 349"/>
                      <a:gd name="T22" fmla="*/ 21 w 148"/>
                      <a:gd name="T23" fmla="*/ 15 h 349"/>
                      <a:gd name="T24" fmla="*/ 33 w 148"/>
                      <a:gd name="T25" fmla="*/ 0 h 349"/>
                      <a:gd name="T26" fmla="*/ 131 w 148"/>
                      <a:gd name="T27" fmla="*/ 31 h 349"/>
                      <a:gd name="T28" fmla="*/ 132 w 148"/>
                      <a:gd name="T29" fmla="*/ 39 h 349"/>
                      <a:gd name="T30" fmla="*/ 132 w 148"/>
                      <a:gd name="T31" fmla="*/ 39 h 349"/>
                      <a:gd name="T32" fmla="*/ 127 w 148"/>
                      <a:gd name="T33" fmla="*/ 72 h 349"/>
                      <a:gd name="T34" fmla="*/ 122 w 148"/>
                      <a:gd name="T35" fmla="*/ 82 h 349"/>
                      <a:gd name="T36" fmla="*/ 116 w 148"/>
                      <a:gd name="T37" fmla="*/ 84 h 349"/>
                      <a:gd name="T38" fmla="*/ 111 w 148"/>
                      <a:gd name="T39" fmla="*/ 89 h 349"/>
                      <a:gd name="T40" fmla="*/ 107 w 148"/>
                      <a:gd name="T41" fmla="*/ 110 h 349"/>
                      <a:gd name="T42" fmla="*/ 118 w 148"/>
                      <a:gd name="T43" fmla="*/ 116 h 349"/>
                      <a:gd name="T44" fmla="*/ 137 w 148"/>
                      <a:gd name="T45" fmla="*/ 114 h 349"/>
                      <a:gd name="T46" fmla="*/ 147 w 148"/>
                      <a:gd name="T47" fmla="*/ 126 h 349"/>
                      <a:gd name="T48" fmla="*/ 148 w 148"/>
                      <a:gd name="T49" fmla="*/ 172 h 349"/>
                      <a:gd name="T50" fmla="*/ 143 w 148"/>
                      <a:gd name="T51" fmla="*/ 174 h 349"/>
                      <a:gd name="T52" fmla="*/ 147 w 148"/>
                      <a:gd name="T53" fmla="*/ 197 h 349"/>
                      <a:gd name="T54" fmla="*/ 143 w 148"/>
                      <a:gd name="T55" fmla="*/ 214 h 349"/>
                      <a:gd name="T56" fmla="*/ 147 w 148"/>
                      <a:gd name="T57" fmla="*/ 220 h 349"/>
                      <a:gd name="T58" fmla="*/ 132 w 148"/>
                      <a:gd name="T59" fmla="*/ 246 h 349"/>
                      <a:gd name="T60" fmla="*/ 121 w 148"/>
                      <a:gd name="T61" fmla="*/ 274 h 349"/>
                      <a:gd name="T62" fmla="*/ 117 w 148"/>
                      <a:gd name="T63" fmla="*/ 291 h 349"/>
                      <a:gd name="T64" fmla="*/ 112 w 148"/>
                      <a:gd name="T65" fmla="*/ 304 h 349"/>
                      <a:gd name="T66" fmla="*/ 107 w 148"/>
                      <a:gd name="T67" fmla="*/ 326 h 349"/>
                      <a:gd name="T68" fmla="*/ 96 w 148"/>
                      <a:gd name="T69" fmla="*/ 345 h 349"/>
                      <a:gd name="T70" fmla="*/ 86 w 148"/>
                      <a:gd name="T71" fmla="*/ 349 h 349"/>
                      <a:gd name="T72" fmla="*/ 88 w 148"/>
                      <a:gd name="T73" fmla="*/ 317 h 349"/>
                      <a:gd name="T74" fmla="*/ 71 w 148"/>
                      <a:gd name="T75" fmla="*/ 311 h 349"/>
                      <a:gd name="T76" fmla="*/ 56 w 148"/>
                      <a:gd name="T77" fmla="*/ 316 h 349"/>
                      <a:gd name="T78" fmla="*/ 43 w 148"/>
                      <a:gd name="T79" fmla="*/ 305 h 349"/>
                      <a:gd name="T80" fmla="*/ 30 w 148"/>
                      <a:gd name="T81" fmla="*/ 302 h 349"/>
                      <a:gd name="T82" fmla="*/ 6 w 148"/>
                      <a:gd name="T83" fmla="*/ 286 h 349"/>
                      <a:gd name="T84" fmla="*/ 3 w 148"/>
                      <a:gd name="T85" fmla="*/ 261 h 349"/>
                      <a:gd name="T86" fmla="*/ 7 w 148"/>
                      <a:gd name="T87" fmla="*/ 241 h 349"/>
                      <a:gd name="T88" fmla="*/ 18 w 148"/>
                      <a:gd name="T89" fmla="*/ 229 h 349"/>
                      <a:gd name="T90" fmla="*/ 36 w 148"/>
                      <a:gd name="T91" fmla="*/ 220 h 349"/>
                      <a:gd name="T92" fmla="*/ 45 w 148"/>
                      <a:gd name="T93" fmla="*/ 197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 h="349">
                        <a:moveTo>
                          <a:pt x="45" y="197"/>
                        </a:moveTo>
                        <a:lnTo>
                          <a:pt x="70" y="166"/>
                        </a:lnTo>
                        <a:lnTo>
                          <a:pt x="25" y="136"/>
                        </a:lnTo>
                        <a:lnTo>
                          <a:pt x="20" y="122"/>
                        </a:lnTo>
                        <a:lnTo>
                          <a:pt x="8" y="122"/>
                        </a:lnTo>
                        <a:lnTo>
                          <a:pt x="2" y="96"/>
                        </a:lnTo>
                        <a:lnTo>
                          <a:pt x="10" y="89"/>
                        </a:lnTo>
                        <a:lnTo>
                          <a:pt x="11" y="75"/>
                        </a:lnTo>
                        <a:lnTo>
                          <a:pt x="0" y="64"/>
                        </a:lnTo>
                        <a:lnTo>
                          <a:pt x="10" y="51"/>
                        </a:lnTo>
                        <a:lnTo>
                          <a:pt x="20" y="29"/>
                        </a:lnTo>
                        <a:lnTo>
                          <a:pt x="21" y="15"/>
                        </a:lnTo>
                        <a:lnTo>
                          <a:pt x="33" y="0"/>
                        </a:lnTo>
                        <a:lnTo>
                          <a:pt x="131" y="31"/>
                        </a:lnTo>
                        <a:lnTo>
                          <a:pt x="132" y="39"/>
                        </a:lnTo>
                        <a:lnTo>
                          <a:pt x="132" y="39"/>
                        </a:lnTo>
                        <a:lnTo>
                          <a:pt x="127" y="72"/>
                        </a:lnTo>
                        <a:lnTo>
                          <a:pt x="122" y="82"/>
                        </a:lnTo>
                        <a:lnTo>
                          <a:pt x="116" y="84"/>
                        </a:lnTo>
                        <a:lnTo>
                          <a:pt x="111" y="89"/>
                        </a:lnTo>
                        <a:lnTo>
                          <a:pt x="107" y="110"/>
                        </a:lnTo>
                        <a:lnTo>
                          <a:pt x="118" y="116"/>
                        </a:lnTo>
                        <a:lnTo>
                          <a:pt x="137" y="114"/>
                        </a:lnTo>
                        <a:lnTo>
                          <a:pt x="147" y="126"/>
                        </a:lnTo>
                        <a:lnTo>
                          <a:pt x="148" y="172"/>
                        </a:lnTo>
                        <a:lnTo>
                          <a:pt x="143" y="174"/>
                        </a:lnTo>
                        <a:lnTo>
                          <a:pt x="147" y="197"/>
                        </a:lnTo>
                        <a:lnTo>
                          <a:pt x="143" y="214"/>
                        </a:lnTo>
                        <a:lnTo>
                          <a:pt x="147" y="220"/>
                        </a:lnTo>
                        <a:lnTo>
                          <a:pt x="132" y="246"/>
                        </a:lnTo>
                        <a:lnTo>
                          <a:pt x="121" y="274"/>
                        </a:lnTo>
                        <a:lnTo>
                          <a:pt x="117" y="291"/>
                        </a:lnTo>
                        <a:lnTo>
                          <a:pt x="112" y="304"/>
                        </a:lnTo>
                        <a:lnTo>
                          <a:pt x="107" y="326"/>
                        </a:lnTo>
                        <a:lnTo>
                          <a:pt x="96" y="345"/>
                        </a:lnTo>
                        <a:lnTo>
                          <a:pt x="86" y="349"/>
                        </a:lnTo>
                        <a:lnTo>
                          <a:pt x="88" y="317"/>
                        </a:lnTo>
                        <a:lnTo>
                          <a:pt x="71" y="311"/>
                        </a:lnTo>
                        <a:lnTo>
                          <a:pt x="56" y="316"/>
                        </a:lnTo>
                        <a:lnTo>
                          <a:pt x="43" y="305"/>
                        </a:lnTo>
                        <a:lnTo>
                          <a:pt x="30" y="302"/>
                        </a:lnTo>
                        <a:lnTo>
                          <a:pt x="6" y="286"/>
                        </a:lnTo>
                        <a:lnTo>
                          <a:pt x="3" y="261"/>
                        </a:lnTo>
                        <a:lnTo>
                          <a:pt x="7" y="241"/>
                        </a:lnTo>
                        <a:lnTo>
                          <a:pt x="18" y="229"/>
                        </a:lnTo>
                        <a:lnTo>
                          <a:pt x="36" y="220"/>
                        </a:lnTo>
                        <a:lnTo>
                          <a:pt x="45" y="197"/>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49" name="New York" descr="{&quot;Key&quot;:&quot;new york&quot;,&quot;Name&quot;:&quot;New York&quot;,&quot;Value&quot;:1.0,&quot;Formula&quot;:&quot;&quot;,&quot;Text&quot;:&quot;&quot;,&quot;OfficeApplication&quot;:1,&quot;HasValue&quot;:true}">
                    <a:extLst>
                      <a:ext uri="{FF2B5EF4-FFF2-40B4-BE49-F238E27FC236}">
                        <a16:creationId xmlns:a16="http://schemas.microsoft.com/office/drawing/2014/main" id="{C1C1F0B2-A600-C46E-4FD6-5AE70E40AD07}"/>
                      </a:ext>
                    </a:extLst>
                  </p:cNvPr>
                  <p:cNvSpPr>
                    <a:spLocks noEditPoints="1"/>
                  </p:cNvSpPr>
                  <p:nvPr/>
                </p:nvSpPr>
                <p:spPr bwMode="auto">
                  <a:xfrm>
                    <a:off x="7716567" y="4147175"/>
                    <a:ext cx="453231" cy="338297"/>
                  </a:xfrm>
                  <a:custGeom>
                    <a:avLst/>
                    <a:gdLst>
                      <a:gd name="T0" fmla="*/ 656 w 870"/>
                      <a:gd name="T1" fmla="*/ 648 h 650"/>
                      <a:gd name="T2" fmla="*/ 646 w 870"/>
                      <a:gd name="T3" fmla="*/ 637 h 650"/>
                      <a:gd name="T4" fmla="*/ 833 w 870"/>
                      <a:gd name="T5" fmla="*/ 516 h 650"/>
                      <a:gd name="T6" fmla="*/ 826 w 870"/>
                      <a:gd name="T7" fmla="*/ 539 h 650"/>
                      <a:gd name="T8" fmla="*/ 845 w 870"/>
                      <a:gd name="T9" fmla="*/ 525 h 650"/>
                      <a:gd name="T10" fmla="*/ 866 w 870"/>
                      <a:gd name="T11" fmla="*/ 517 h 650"/>
                      <a:gd name="T12" fmla="*/ 825 w 870"/>
                      <a:gd name="T13" fmla="*/ 559 h 650"/>
                      <a:gd name="T14" fmla="*/ 794 w 870"/>
                      <a:gd name="T15" fmla="*/ 576 h 650"/>
                      <a:gd name="T16" fmla="*/ 743 w 870"/>
                      <a:gd name="T17" fmla="*/ 602 h 650"/>
                      <a:gd name="T18" fmla="*/ 710 w 870"/>
                      <a:gd name="T19" fmla="*/ 622 h 650"/>
                      <a:gd name="T20" fmla="*/ 682 w 870"/>
                      <a:gd name="T21" fmla="*/ 629 h 650"/>
                      <a:gd name="T22" fmla="*/ 660 w 870"/>
                      <a:gd name="T23" fmla="*/ 635 h 650"/>
                      <a:gd name="T24" fmla="*/ 683 w 870"/>
                      <a:gd name="T25" fmla="*/ 604 h 650"/>
                      <a:gd name="T26" fmla="*/ 705 w 870"/>
                      <a:gd name="T27" fmla="*/ 582 h 650"/>
                      <a:gd name="T28" fmla="*/ 737 w 870"/>
                      <a:gd name="T29" fmla="*/ 575 h 650"/>
                      <a:gd name="T30" fmla="*/ 782 w 870"/>
                      <a:gd name="T31" fmla="*/ 555 h 650"/>
                      <a:gd name="T32" fmla="*/ 822 w 870"/>
                      <a:gd name="T33" fmla="*/ 517 h 650"/>
                      <a:gd name="T34" fmla="*/ 441 w 870"/>
                      <a:gd name="T35" fmla="*/ 35 h 650"/>
                      <a:gd name="T36" fmla="*/ 581 w 870"/>
                      <a:gd name="T37" fmla="*/ 23 h 650"/>
                      <a:gd name="T38" fmla="*/ 587 w 870"/>
                      <a:gd name="T39" fmla="*/ 50 h 650"/>
                      <a:gd name="T40" fmla="*/ 602 w 870"/>
                      <a:gd name="T41" fmla="*/ 73 h 650"/>
                      <a:gd name="T42" fmla="*/ 607 w 870"/>
                      <a:gd name="T43" fmla="*/ 108 h 650"/>
                      <a:gd name="T44" fmla="*/ 602 w 870"/>
                      <a:gd name="T45" fmla="*/ 137 h 650"/>
                      <a:gd name="T46" fmla="*/ 620 w 870"/>
                      <a:gd name="T47" fmla="*/ 178 h 650"/>
                      <a:gd name="T48" fmla="*/ 632 w 870"/>
                      <a:gd name="T49" fmla="*/ 193 h 650"/>
                      <a:gd name="T50" fmla="*/ 667 w 870"/>
                      <a:gd name="T51" fmla="*/ 317 h 650"/>
                      <a:gd name="T52" fmla="*/ 669 w 870"/>
                      <a:gd name="T53" fmla="*/ 420 h 650"/>
                      <a:gd name="T54" fmla="*/ 698 w 870"/>
                      <a:gd name="T55" fmla="*/ 539 h 650"/>
                      <a:gd name="T56" fmla="*/ 689 w 870"/>
                      <a:gd name="T57" fmla="*/ 573 h 650"/>
                      <a:gd name="T58" fmla="*/ 666 w 870"/>
                      <a:gd name="T59" fmla="*/ 609 h 650"/>
                      <a:gd name="T60" fmla="*/ 662 w 870"/>
                      <a:gd name="T61" fmla="*/ 582 h 650"/>
                      <a:gd name="T62" fmla="*/ 557 w 870"/>
                      <a:gd name="T63" fmla="*/ 541 h 650"/>
                      <a:gd name="T64" fmla="*/ 528 w 870"/>
                      <a:gd name="T65" fmla="*/ 536 h 650"/>
                      <a:gd name="T66" fmla="*/ 513 w 870"/>
                      <a:gd name="T67" fmla="*/ 500 h 650"/>
                      <a:gd name="T68" fmla="*/ 475 w 870"/>
                      <a:gd name="T69" fmla="*/ 476 h 650"/>
                      <a:gd name="T70" fmla="*/ 184 w 870"/>
                      <a:gd name="T71" fmla="*/ 539 h 650"/>
                      <a:gd name="T72" fmla="*/ 7 w 870"/>
                      <a:gd name="T73" fmla="*/ 572 h 650"/>
                      <a:gd name="T74" fmla="*/ 28 w 870"/>
                      <a:gd name="T75" fmla="*/ 507 h 650"/>
                      <a:gd name="T76" fmla="*/ 57 w 870"/>
                      <a:gd name="T77" fmla="*/ 476 h 650"/>
                      <a:gd name="T78" fmla="*/ 77 w 870"/>
                      <a:gd name="T79" fmla="*/ 447 h 650"/>
                      <a:gd name="T80" fmla="*/ 68 w 870"/>
                      <a:gd name="T81" fmla="*/ 415 h 650"/>
                      <a:gd name="T82" fmla="*/ 52 w 870"/>
                      <a:gd name="T83" fmla="*/ 400 h 650"/>
                      <a:gd name="T84" fmla="*/ 84 w 870"/>
                      <a:gd name="T85" fmla="*/ 356 h 650"/>
                      <a:gd name="T86" fmla="*/ 132 w 870"/>
                      <a:gd name="T87" fmla="*/ 343 h 650"/>
                      <a:gd name="T88" fmla="*/ 182 w 870"/>
                      <a:gd name="T89" fmla="*/ 338 h 650"/>
                      <a:gd name="T90" fmla="*/ 207 w 870"/>
                      <a:gd name="T91" fmla="*/ 347 h 650"/>
                      <a:gd name="T92" fmla="*/ 263 w 870"/>
                      <a:gd name="T93" fmla="*/ 331 h 650"/>
                      <a:gd name="T94" fmla="*/ 293 w 870"/>
                      <a:gd name="T95" fmla="*/ 307 h 650"/>
                      <a:gd name="T96" fmla="*/ 332 w 870"/>
                      <a:gd name="T97" fmla="*/ 279 h 650"/>
                      <a:gd name="T98" fmla="*/ 318 w 870"/>
                      <a:gd name="T99" fmla="*/ 230 h 650"/>
                      <a:gd name="T100" fmla="*/ 328 w 870"/>
                      <a:gd name="T101" fmla="*/ 203 h 650"/>
                      <a:gd name="T102" fmla="*/ 302 w 870"/>
                      <a:gd name="T103" fmla="*/ 196 h 650"/>
                      <a:gd name="T104" fmla="*/ 328 w 870"/>
                      <a:gd name="T105" fmla="*/ 170 h 650"/>
                      <a:gd name="T106" fmla="*/ 348 w 870"/>
                      <a:gd name="T107" fmla="*/ 131 h 650"/>
                      <a:gd name="T108" fmla="*/ 388 w 870"/>
                      <a:gd name="T109" fmla="*/ 67 h 650"/>
                      <a:gd name="T110" fmla="*/ 424 w 870"/>
                      <a:gd name="T111" fmla="*/ 3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0" h="650">
                        <a:moveTo>
                          <a:pt x="657" y="636"/>
                        </a:moveTo>
                        <a:lnTo>
                          <a:pt x="656" y="648"/>
                        </a:lnTo>
                        <a:lnTo>
                          <a:pt x="644" y="650"/>
                        </a:lnTo>
                        <a:lnTo>
                          <a:pt x="646" y="637"/>
                        </a:lnTo>
                        <a:lnTo>
                          <a:pt x="657" y="636"/>
                        </a:lnTo>
                        <a:close/>
                        <a:moveTo>
                          <a:pt x="833" y="516"/>
                        </a:moveTo>
                        <a:lnTo>
                          <a:pt x="818" y="531"/>
                        </a:lnTo>
                        <a:lnTo>
                          <a:pt x="826" y="539"/>
                        </a:lnTo>
                        <a:lnTo>
                          <a:pt x="836" y="535"/>
                        </a:lnTo>
                        <a:lnTo>
                          <a:pt x="845" y="525"/>
                        </a:lnTo>
                        <a:lnTo>
                          <a:pt x="852" y="531"/>
                        </a:lnTo>
                        <a:lnTo>
                          <a:pt x="866" y="517"/>
                        </a:lnTo>
                        <a:lnTo>
                          <a:pt x="870" y="521"/>
                        </a:lnTo>
                        <a:lnTo>
                          <a:pt x="825" y="559"/>
                        </a:lnTo>
                        <a:lnTo>
                          <a:pt x="807" y="574"/>
                        </a:lnTo>
                        <a:lnTo>
                          <a:pt x="794" y="576"/>
                        </a:lnTo>
                        <a:lnTo>
                          <a:pt x="773" y="591"/>
                        </a:lnTo>
                        <a:lnTo>
                          <a:pt x="743" y="602"/>
                        </a:lnTo>
                        <a:lnTo>
                          <a:pt x="730" y="614"/>
                        </a:lnTo>
                        <a:lnTo>
                          <a:pt x="710" y="622"/>
                        </a:lnTo>
                        <a:lnTo>
                          <a:pt x="697" y="634"/>
                        </a:lnTo>
                        <a:lnTo>
                          <a:pt x="682" y="629"/>
                        </a:lnTo>
                        <a:lnTo>
                          <a:pt x="668" y="644"/>
                        </a:lnTo>
                        <a:lnTo>
                          <a:pt x="660" y="635"/>
                        </a:lnTo>
                        <a:lnTo>
                          <a:pt x="668" y="610"/>
                        </a:lnTo>
                        <a:lnTo>
                          <a:pt x="683" y="604"/>
                        </a:lnTo>
                        <a:lnTo>
                          <a:pt x="685" y="595"/>
                        </a:lnTo>
                        <a:lnTo>
                          <a:pt x="705" y="582"/>
                        </a:lnTo>
                        <a:lnTo>
                          <a:pt x="708" y="577"/>
                        </a:lnTo>
                        <a:lnTo>
                          <a:pt x="737" y="575"/>
                        </a:lnTo>
                        <a:lnTo>
                          <a:pt x="747" y="562"/>
                        </a:lnTo>
                        <a:lnTo>
                          <a:pt x="782" y="555"/>
                        </a:lnTo>
                        <a:lnTo>
                          <a:pt x="800" y="546"/>
                        </a:lnTo>
                        <a:lnTo>
                          <a:pt x="822" y="517"/>
                        </a:lnTo>
                        <a:lnTo>
                          <a:pt x="833" y="516"/>
                        </a:lnTo>
                        <a:close/>
                        <a:moveTo>
                          <a:pt x="441" y="35"/>
                        </a:moveTo>
                        <a:lnTo>
                          <a:pt x="577" y="0"/>
                        </a:lnTo>
                        <a:lnTo>
                          <a:pt x="581" y="23"/>
                        </a:lnTo>
                        <a:lnTo>
                          <a:pt x="586" y="28"/>
                        </a:lnTo>
                        <a:lnTo>
                          <a:pt x="587" y="50"/>
                        </a:lnTo>
                        <a:lnTo>
                          <a:pt x="591" y="61"/>
                        </a:lnTo>
                        <a:lnTo>
                          <a:pt x="602" y="73"/>
                        </a:lnTo>
                        <a:lnTo>
                          <a:pt x="602" y="90"/>
                        </a:lnTo>
                        <a:lnTo>
                          <a:pt x="607" y="108"/>
                        </a:lnTo>
                        <a:lnTo>
                          <a:pt x="603" y="112"/>
                        </a:lnTo>
                        <a:lnTo>
                          <a:pt x="602" y="137"/>
                        </a:lnTo>
                        <a:lnTo>
                          <a:pt x="607" y="142"/>
                        </a:lnTo>
                        <a:lnTo>
                          <a:pt x="620" y="178"/>
                        </a:lnTo>
                        <a:lnTo>
                          <a:pt x="618" y="193"/>
                        </a:lnTo>
                        <a:lnTo>
                          <a:pt x="632" y="193"/>
                        </a:lnTo>
                        <a:lnTo>
                          <a:pt x="639" y="202"/>
                        </a:lnTo>
                        <a:lnTo>
                          <a:pt x="667" y="317"/>
                        </a:lnTo>
                        <a:lnTo>
                          <a:pt x="666" y="417"/>
                        </a:lnTo>
                        <a:lnTo>
                          <a:pt x="669" y="420"/>
                        </a:lnTo>
                        <a:lnTo>
                          <a:pt x="689" y="529"/>
                        </a:lnTo>
                        <a:lnTo>
                          <a:pt x="698" y="539"/>
                        </a:lnTo>
                        <a:lnTo>
                          <a:pt x="677" y="561"/>
                        </a:lnTo>
                        <a:lnTo>
                          <a:pt x="689" y="573"/>
                        </a:lnTo>
                        <a:lnTo>
                          <a:pt x="677" y="601"/>
                        </a:lnTo>
                        <a:lnTo>
                          <a:pt x="666" y="609"/>
                        </a:lnTo>
                        <a:lnTo>
                          <a:pt x="663" y="590"/>
                        </a:lnTo>
                        <a:lnTo>
                          <a:pt x="662" y="582"/>
                        </a:lnTo>
                        <a:lnTo>
                          <a:pt x="564" y="551"/>
                        </a:lnTo>
                        <a:lnTo>
                          <a:pt x="557" y="541"/>
                        </a:lnTo>
                        <a:lnTo>
                          <a:pt x="542" y="542"/>
                        </a:lnTo>
                        <a:lnTo>
                          <a:pt x="528" y="536"/>
                        </a:lnTo>
                        <a:lnTo>
                          <a:pt x="518" y="524"/>
                        </a:lnTo>
                        <a:lnTo>
                          <a:pt x="513" y="500"/>
                        </a:lnTo>
                        <a:lnTo>
                          <a:pt x="509" y="494"/>
                        </a:lnTo>
                        <a:lnTo>
                          <a:pt x="475" y="476"/>
                        </a:lnTo>
                        <a:lnTo>
                          <a:pt x="343" y="505"/>
                        </a:lnTo>
                        <a:lnTo>
                          <a:pt x="184" y="539"/>
                        </a:lnTo>
                        <a:lnTo>
                          <a:pt x="98" y="555"/>
                        </a:lnTo>
                        <a:lnTo>
                          <a:pt x="7" y="572"/>
                        </a:lnTo>
                        <a:lnTo>
                          <a:pt x="0" y="534"/>
                        </a:lnTo>
                        <a:lnTo>
                          <a:pt x="28" y="507"/>
                        </a:lnTo>
                        <a:lnTo>
                          <a:pt x="37" y="494"/>
                        </a:lnTo>
                        <a:lnTo>
                          <a:pt x="57" y="476"/>
                        </a:lnTo>
                        <a:lnTo>
                          <a:pt x="66" y="455"/>
                        </a:lnTo>
                        <a:lnTo>
                          <a:pt x="77" y="447"/>
                        </a:lnTo>
                        <a:lnTo>
                          <a:pt x="79" y="433"/>
                        </a:lnTo>
                        <a:lnTo>
                          <a:pt x="68" y="415"/>
                        </a:lnTo>
                        <a:lnTo>
                          <a:pt x="68" y="401"/>
                        </a:lnTo>
                        <a:lnTo>
                          <a:pt x="52" y="400"/>
                        </a:lnTo>
                        <a:lnTo>
                          <a:pt x="48" y="375"/>
                        </a:lnTo>
                        <a:lnTo>
                          <a:pt x="84" y="356"/>
                        </a:lnTo>
                        <a:lnTo>
                          <a:pt x="116" y="345"/>
                        </a:lnTo>
                        <a:lnTo>
                          <a:pt x="132" y="343"/>
                        </a:lnTo>
                        <a:lnTo>
                          <a:pt x="143" y="338"/>
                        </a:lnTo>
                        <a:lnTo>
                          <a:pt x="182" y="338"/>
                        </a:lnTo>
                        <a:lnTo>
                          <a:pt x="197" y="346"/>
                        </a:lnTo>
                        <a:lnTo>
                          <a:pt x="207" y="347"/>
                        </a:lnTo>
                        <a:lnTo>
                          <a:pt x="223" y="337"/>
                        </a:lnTo>
                        <a:lnTo>
                          <a:pt x="263" y="331"/>
                        </a:lnTo>
                        <a:lnTo>
                          <a:pt x="289" y="317"/>
                        </a:lnTo>
                        <a:lnTo>
                          <a:pt x="293" y="307"/>
                        </a:lnTo>
                        <a:lnTo>
                          <a:pt x="314" y="282"/>
                        </a:lnTo>
                        <a:lnTo>
                          <a:pt x="332" y="279"/>
                        </a:lnTo>
                        <a:lnTo>
                          <a:pt x="336" y="257"/>
                        </a:lnTo>
                        <a:lnTo>
                          <a:pt x="318" y="230"/>
                        </a:lnTo>
                        <a:lnTo>
                          <a:pt x="331" y="222"/>
                        </a:lnTo>
                        <a:lnTo>
                          <a:pt x="328" y="203"/>
                        </a:lnTo>
                        <a:lnTo>
                          <a:pt x="312" y="203"/>
                        </a:lnTo>
                        <a:lnTo>
                          <a:pt x="302" y="196"/>
                        </a:lnTo>
                        <a:lnTo>
                          <a:pt x="317" y="178"/>
                        </a:lnTo>
                        <a:lnTo>
                          <a:pt x="328" y="170"/>
                        </a:lnTo>
                        <a:lnTo>
                          <a:pt x="352" y="137"/>
                        </a:lnTo>
                        <a:lnTo>
                          <a:pt x="348" y="131"/>
                        </a:lnTo>
                        <a:lnTo>
                          <a:pt x="354" y="117"/>
                        </a:lnTo>
                        <a:lnTo>
                          <a:pt x="388" y="67"/>
                        </a:lnTo>
                        <a:lnTo>
                          <a:pt x="401" y="55"/>
                        </a:lnTo>
                        <a:lnTo>
                          <a:pt x="424" y="36"/>
                        </a:lnTo>
                        <a:lnTo>
                          <a:pt x="441" y="3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0" name="Pensylvania" descr="{&quot;Key&quot;:&quot;pensylvania&quot;,&quot;Name&quot;:&quot;Pensylvania&quot;,&quot;Value&quot;:1.0,&quot;Formula&quot;:&quot;&quot;,&quot;Text&quot;:&quot;&quot;,&quot;OfficeApplication&quot;:1,&quot;HasValue&quot;:true}">
                    <a:extLst>
                      <a:ext uri="{FF2B5EF4-FFF2-40B4-BE49-F238E27FC236}">
                        <a16:creationId xmlns:a16="http://schemas.microsoft.com/office/drawing/2014/main" id="{EBC9F393-05E2-EC26-3F12-ED8B9F630B95}"/>
                      </a:ext>
                    </a:extLst>
                  </p:cNvPr>
                  <p:cNvSpPr>
                    <a:spLocks/>
                  </p:cNvSpPr>
                  <p:nvPr/>
                </p:nvSpPr>
                <p:spPr bwMode="auto">
                  <a:xfrm>
                    <a:off x="7678617" y="4394392"/>
                    <a:ext cx="351308" cy="227700"/>
                  </a:xfrm>
                  <a:custGeom>
                    <a:avLst/>
                    <a:gdLst>
                      <a:gd name="T0" fmla="*/ 637 w 674"/>
                      <a:gd name="T1" fmla="*/ 75 h 436"/>
                      <a:gd name="T2" fmla="*/ 625 w 674"/>
                      <a:gd name="T3" fmla="*/ 90 h 436"/>
                      <a:gd name="T4" fmla="*/ 624 w 674"/>
                      <a:gd name="T5" fmla="*/ 104 h 436"/>
                      <a:gd name="T6" fmla="*/ 614 w 674"/>
                      <a:gd name="T7" fmla="*/ 126 h 436"/>
                      <a:gd name="T8" fmla="*/ 604 w 674"/>
                      <a:gd name="T9" fmla="*/ 139 h 436"/>
                      <a:gd name="T10" fmla="*/ 615 w 674"/>
                      <a:gd name="T11" fmla="*/ 150 h 436"/>
                      <a:gd name="T12" fmla="*/ 614 w 674"/>
                      <a:gd name="T13" fmla="*/ 164 h 436"/>
                      <a:gd name="T14" fmla="*/ 606 w 674"/>
                      <a:gd name="T15" fmla="*/ 171 h 436"/>
                      <a:gd name="T16" fmla="*/ 612 w 674"/>
                      <a:gd name="T17" fmla="*/ 198 h 436"/>
                      <a:gd name="T18" fmla="*/ 624 w 674"/>
                      <a:gd name="T19" fmla="*/ 198 h 436"/>
                      <a:gd name="T20" fmla="*/ 629 w 674"/>
                      <a:gd name="T21" fmla="*/ 211 h 436"/>
                      <a:gd name="T22" fmla="*/ 674 w 674"/>
                      <a:gd name="T23" fmla="*/ 241 h 436"/>
                      <a:gd name="T24" fmla="*/ 649 w 674"/>
                      <a:gd name="T25" fmla="*/ 273 h 436"/>
                      <a:gd name="T26" fmla="*/ 639 w 674"/>
                      <a:gd name="T27" fmla="*/ 281 h 436"/>
                      <a:gd name="T28" fmla="*/ 639 w 674"/>
                      <a:gd name="T29" fmla="*/ 291 h 436"/>
                      <a:gd name="T30" fmla="*/ 614 w 674"/>
                      <a:gd name="T31" fmla="*/ 306 h 436"/>
                      <a:gd name="T32" fmla="*/ 611 w 674"/>
                      <a:gd name="T33" fmla="*/ 313 h 436"/>
                      <a:gd name="T34" fmla="*/ 591 w 674"/>
                      <a:gd name="T35" fmla="*/ 313 h 436"/>
                      <a:gd name="T36" fmla="*/ 579 w 674"/>
                      <a:gd name="T37" fmla="*/ 324 h 436"/>
                      <a:gd name="T38" fmla="*/ 575 w 674"/>
                      <a:gd name="T39" fmla="*/ 334 h 436"/>
                      <a:gd name="T40" fmla="*/ 512 w 674"/>
                      <a:gd name="T41" fmla="*/ 348 h 436"/>
                      <a:gd name="T42" fmla="*/ 386 w 674"/>
                      <a:gd name="T43" fmla="*/ 374 h 436"/>
                      <a:gd name="T44" fmla="*/ 285 w 674"/>
                      <a:gd name="T45" fmla="*/ 395 h 436"/>
                      <a:gd name="T46" fmla="*/ 171 w 674"/>
                      <a:gd name="T47" fmla="*/ 416 h 436"/>
                      <a:gd name="T48" fmla="*/ 56 w 674"/>
                      <a:gd name="T49" fmla="*/ 436 h 436"/>
                      <a:gd name="T50" fmla="*/ 34 w 674"/>
                      <a:gd name="T51" fmla="*/ 304 h 436"/>
                      <a:gd name="T52" fmla="*/ 0 w 674"/>
                      <a:gd name="T53" fmla="*/ 113 h 436"/>
                      <a:gd name="T54" fmla="*/ 15 w 674"/>
                      <a:gd name="T55" fmla="*/ 104 h 436"/>
                      <a:gd name="T56" fmla="*/ 61 w 674"/>
                      <a:gd name="T57" fmla="*/ 65 h 436"/>
                      <a:gd name="T58" fmla="*/ 74 w 674"/>
                      <a:gd name="T59" fmla="*/ 58 h 436"/>
                      <a:gd name="T60" fmla="*/ 80 w 674"/>
                      <a:gd name="T61" fmla="*/ 96 h 436"/>
                      <a:gd name="T62" fmla="*/ 171 w 674"/>
                      <a:gd name="T63" fmla="*/ 79 h 436"/>
                      <a:gd name="T64" fmla="*/ 257 w 674"/>
                      <a:gd name="T65" fmla="*/ 63 h 436"/>
                      <a:gd name="T66" fmla="*/ 416 w 674"/>
                      <a:gd name="T67" fmla="*/ 29 h 436"/>
                      <a:gd name="T68" fmla="*/ 549 w 674"/>
                      <a:gd name="T69" fmla="*/ 0 h 436"/>
                      <a:gd name="T70" fmla="*/ 582 w 674"/>
                      <a:gd name="T71" fmla="*/ 18 h 436"/>
                      <a:gd name="T72" fmla="*/ 586 w 674"/>
                      <a:gd name="T73" fmla="*/ 24 h 436"/>
                      <a:gd name="T74" fmla="*/ 591 w 674"/>
                      <a:gd name="T75" fmla="*/ 48 h 436"/>
                      <a:gd name="T76" fmla="*/ 601 w 674"/>
                      <a:gd name="T77" fmla="*/ 60 h 436"/>
                      <a:gd name="T78" fmla="*/ 615 w 674"/>
                      <a:gd name="T79" fmla="*/ 66 h 436"/>
                      <a:gd name="T80" fmla="*/ 630 w 674"/>
                      <a:gd name="T81" fmla="*/ 65 h 436"/>
                      <a:gd name="T82" fmla="*/ 637 w 674"/>
                      <a:gd name="T83" fmla="*/ 7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4" h="436">
                        <a:moveTo>
                          <a:pt x="637" y="75"/>
                        </a:moveTo>
                        <a:lnTo>
                          <a:pt x="625" y="90"/>
                        </a:lnTo>
                        <a:lnTo>
                          <a:pt x="624" y="104"/>
                        </a:lnTo>
                        <a:lnTo>
                          <a:pt x="614" y="126"/>
                        </a:lnTo>
                        <a:lnTo>
                          <a:pt x="604" y="139"/>
                        </a:lnTo>
                        <a:lnTo>
                          <a:pt x="615" y="150"/>
                        </a:lnTo>
                        <a:lnTo>
                          <a:pt x="614" y="164"/>
                        </a:lnTo>
                        <a:lnTo>
                          <a:pt x="606" y="171"/>
                        </a:lnTo>
                        <a:lnTo>
                          <a:pt x="612" y="198"/>
                        </a:lnTo>
                        <a:lnTo>
                          <a:pt x="624" y="198"/>
                        </a:lnTo>
                        <a:lnTo>
                          <a:pt x="629" y="211"/>
                        </a:lnTo>
                        <a:lnTo>
                          <a:pt x="674" y="241"/>
                        </a:lnTo>
                        <a:lnTo>
                          <a:pt x="649" y="273"/>
                        </a:lnTo>
                        <a:lnTo>
                          <a:pt x="639" y="281"/>
                        </a:lnTo>
                        <a:lnTo>
                          <a:pt x="639" y="291"/>
                        </a:lnTo>
                        <a:lnTo>
                          <a:pt x="614" y="306"/>
                        </a:lnTo>
                        <a:lnTo>
                          <a:pt x="611" y="313"/>
                        </a:lnTo>
                        <a:lnTo>
                          <a:pt x="591" y="313"/>
                        </a:lnTo>
                        <a:lnTo>
                          <a:pt x="579" y="324"/>
                        </a:lnTo>
                        <a:lnTo>
                          <a:pt x="575" y="334"/>
                        </a:lnTo>
                        <a:lnTo>
                          <a:pt x="512" y="348"/>
                        </a:lnTo>
                        <a:lnTo>
                          <a:pt x="386" y="374"/>
                        </a:lnTo>
                        <a:lnTo>
                          <a:pt x="285" y="395"/>
                        </a:lnTo>
                        <a:lnTo>
                          <a:pt x="171" y="416"/>
                        </a:lnTo>
                        <a:lnTo>
                          <a:pt x="56" y="436"/>
                        </a:lnTo>
                        <a:lnTo>
                          <a:pt x="34" y="304"/>
                        </a:lnTo>
                        <a:lnTo>
                          <a:pt x="0" y="113"/>
                        </a:lnTo>
                        <a:lnTo>
                          <a:pt x="15" y="104"/>
                        </a:lnTo>
                        <a:lnTo>
                          <a:pt x="61" y="65"/>
                        </a:lnTo>
                        <a:lnTo>
                          <a:pt x="74" y="58"/>
                        </a:lnTo>
                        <a:lnTo>
                          <a:pt x="80" y="96"/>
                        </a:lnTo>
                        <a:lnTo>
                          <a:pt x="171" y="79"/>
                        </a:lnTo>
                        <a:lnTo>
                          <a:pt x="257" y="63"/>
                        </a:lnTo>
                        <a:lnTo>
                          <a:pt x="416" y="29"/>
                        </a:lnTo>
                        <a:lnTo>
                          <a:pt x="549" y="0"/>
                        </a:lnTo>
                        <a:lnTo>
                          <a:pt x="582" y="18"/>
                        </a:lnTo>
                        <a:lnTo>
                          <a:pt x="586" y="24"/>
                        </a:lnTo>
                        <a:lnTo>
                          <a:pt x="591" y="48"/>
                        </a:lnTo>
                        <a:lnTo>
                          <a:pt x="601" y="60"/>
                        </a:lnTo>
                        <a:lnTo>
                          <a:pt x="615" y="66"/>
                        </a:lnTo>
                        <a:lnTo>
                          <a:pt x="630" y="65"/>
                        </a:lnTo>
                        <a:lnTo>
                          <a:pt x="637" y="75"/>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1" name="Maine" descr="{&quot;Key&quot;:&quot;maine&quot;,&quot;Name&quot;:&quot;Maine&quot;,&quot;Value&quot;:1.0,&quot;Formula&quot;:&quot;&quot;,&quot;Text&quot;:&quot;&quot;,&quot;OfficeApplication&quot;:1,&quot;HasValue&quot;:true}">
                    <a:extLst>
                      <a:ext uri="{FF2B5EF4-FFF2-40B4-BE49-F238E27FC236}">
                        <a16:creationId xmlns:a16="http://schemas.microsoft.com/office/drawing/2014/main" id="{ED061497-74A3-9FBF-4BAA-6B151EC8E8C8}"/>
                      </a:ext>
                    </a:extLst>
                  </p:cNvPr>
                  <p:cNvSpPr>
                    <a:spLocks noEditPoints="1"/>
                  </p:cNvSpPr>
                  <p:nvPr/>
                </p:nvSpPr>
                <p:spPr bwMode="auto">
                  <a:xfrm>
                    <a:off x="8128595" y="3899958"/>
                    <a:ext cx="222278" cy="351308"/>
                  </a:xfrm>
                  <a:custGeom>
                    <a:avLst/>
                    <a:gdLst>
                      <a:gd name="T0" fmla="*/ 308 w 426"/>
                      <a:gd name="T1" fmla="*/ 439 h 674"/>
                      <a:gd name="T2" fmla="*/ 307 w 426"/>
                      <a:gd name="T3" fmla="*/ 414 h 674"/>
                      <a:gd name="T4" fmla="*/ 327 w 426"/>
                      <a:gd name="T5" fmla="*/ 418 h 674"/>
                      <a:gd name="T6" fmla="*/ 302 w 426"/>
                      <a:gd name="T7" fmla="*/ 210 h 674"/>
                      <a:gd name="T8" fmla="*/ 325 w 426"/>
                      <a:gd name="T9" fmla="*/ 226 h 674"/>
                      <a:gd name="T10" fmla="*/ 350 w 426"/>
                      <a:gd name="T11" fmla="*/ 230 h 674"/>
                      <a:gd name="T12" fmla="*/ 356 w 426"/>
                      <a:gd name="T13" fmla="*/ 250 h 674"/>
                      <a:gd name="T14" fmla="*/ 373 w 426"/>
                      <a:gd name="T15" fmla="*/ 279 h 674"/>
                      <a:gd name="T16" fmla="*/ 391 w 426"/>
                      <a:gd name="T17" fmla="*/ 271 h 674"/>
                      <a:gd name="T18" fmla="*/ 426 w 426"/>
                      <a:gd name="T19" fmla="*/ 315 h 674"/>
                      <a:gd name="T20" fmla="*/ 400 w 426"/>
                      <a:gd name="T21" fmla="*/ 349 h 674"/>
                      <a:gd name="T22" fmla="*/ 378 w 426"/>
                      <a:gd name="T23" fmla="*/ 358 h 674"/>
                      <a:gd name="T24" fmla="*/ 356 w 426"/>
                      <a:gd name="T25" fmla="*/ 375 h 674"/>
                      <a:gd name="T26" fmla="*/ 343 w 426"/>
                      <a:gd name="T27" fmla="*/ 410 h 674"/>
                      <a:gd name="T28" fmla="*/ 330 w 426"/>
                      <a:gd name="T29" fmla="*/ 399 h 674"/>
                      <a:gd name="T30" fmla="*/ 288 w 426"/>
                      <a:gd name="T31" fmla="*/ 424 h 674"/>
                      <a:gd name="T32" fmla="*/ 286 w 426"/>
                      <a:gd name="T33" fmla="*/ 440 h 674"/>
                      <a:gd name="T34" fmla="*/ 258 w 426"/>
                      <a:gd name="T35" fmla="*/ 420 h 674"/>
                      <a:gd name="T36" fmla="*/ 252 w 426"/>
                      <a:gd name="T37" fmla="*/ 443 h 674"/>
                      <a:gd name="T38" fmla="*/ 248 w 426"/>
                      <a:gd name="T39" fmla="*/ 491 h 674"/>
                      <a:gd name="T40" fmla="*/ 238 w 426"/>
                      <a:gd name="T41" fmla="*/ 510 h 674"/>
                      <a:gd name="T42" fmla="*/ 218 w 426"/>
                      <a:gd name="T43" fmla="*/ 506 h 674"/>
                      <a:gd name="T44" fmla="*/ 207 w 426"/>
                      <a:gd name="T45" fmla="*/ 519 h 674"/>
                      <a:gd name="T46" fmla="*/ 193 w 426"/>
                      <a:gd name="T47" fmla="*/ 554 h 674"/>
                      <a:gd name="T48" fmla="*/ 168 w 426"/>
                      <a:gd name="T49" fmla="*/ 541 h 674"/>
                      <a:gd name="T50" fmla="*/ 150 w 426"/>
                      <a:gd name="T51" fmla="*/ 573 h 674"/>
                      <a:gd name="T52" fmla="*/ 145 w 426"/>
                      <a:gd name="T53" fmla="*/ 600 h 674"/>
                      <a:gd name="T54" fmla="*/ 136 w 426"/>
                      <a:gd name="T55" fmla="*/ 631 h 674"/>
                      <a:gd name="T56" fmla="*/ 122 w 426"/>
                      <a:gd name="T57" fmla="*/ 674 h 674"/>
                      <a:gd name="T58" fmla="*/ 108 w 426"/>
                      <a:gd name="T59" fmla="*/ 654 h 674"/>
                      <a:gd name="T60" fmla="*/ 82 w 426"/>
                      <a:gd name="T61" fmla="*/ 613 h 674"/>
                      <a:gd name="T62" fmla="*/ 12 w 426"/>
                      <a:gd name="T63" fmla="*/ 364 h 674"/>
                      <a:gd name="T64" fmla="*/ 21 w 426"/>
                      <a:gd name="T65" fmla="*/ 351 h 674"/>
                      <a:gd name="T66" fmla="*/ 28 w 426"/>
                      <a:gd name="T67" fmla="*/ 323 h 674"/>
                      <a:gd name="T68" fmla="*/ 50 w 426"/>
                      <a:gd name="T69" fmla="*/ 291 h 674"/>
                      <a:gd name="T70" fmla="*/ 56 w 426"/>
                      <a:gd name="T71" fmla="*/ 261 h 674"/>
                      <a:gd name="T72" fmla="*/ 45 w 426"/>
                      <a:gd name="T73" fmla="*/ 241 h 674"/>
                      <a:gd name="T74" fmla="*/ 42 w 426"/>
                      <a:gd name="T75" fmla="*/ 221 h 674"/>
                      <a:gd name="T76" fmla="*/ 53 w 426"/>
                      <a:gd name="T77" fmla="*/ 185 h 674"/>
                      <a:gd name="T78" fmla="*/ 88 w 426"/>
                      <a:gd name="T79" fmla="*/ 19 h 674"/>
                      <a:gd name="T80" fmla="*/ 110 w 426"/>
                      <a:gd name="T81" fmla="*/ 16 h 674"/>
                      <a:gd name="T82" fmla="*/ 133 w 426"/>
                      <a:gd name="T83" fmla="*/ 44 h 674"/>
                      <a:gd name="T84" fmla="*/ 156 w 426"/>
                      <a:gd name="T85" fmla="*/ 28 h 674"/>
                      <a:gd name="T86" fmla="*/ 178 w 426"/>
                      <a:gd name="T87" fmla="*/ 13 h 674"/>
                      <a:gd name="T88" fmla="*/ 195 w 426"/>
                      <a:gd name="T89" fmla="*/ 1 h 674"/>
                      <a:gd name="T90" fmla="*/ 246 w 426"/>
                      <a:gd name="T91" fmla="*/ 33 h 674"/>
                      <a:gd name="T92" fmla="*/ 302 w 426"/>
                      <a:gd name="T93" fmla="*/ 20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6" h="674">
                        <a:moveTo>
                          <a:pt x="328" y="425"/>
                        </a:moveTo>
                        <a:lnTo>
                          <a:pt x="308" y="439"/>
                        </a:lnTo>
                        <a:lnTo>
                          <a:pt x="305" y="434"/>
                        </a:lnTo>
                        <a:lnTo>
                          <a:pt x="307" y="414"/>
                        </a:lnTo>
                        <a:lnTo>
                          <a:pt x="315" y="409"/>
                        </a:lnTo>
                        <a:lnTo>
                          <a:pt x="327" y="418"/>
                        </a:lnTo>
                        <a:lnTo>
                          <a:pt x="328" y="425"/>
                        </a:lnTo>
                        <a:close/>
                        <a:moveTo>
                          <a:pt x="302" y="210"/>
                        </a:moveTo>
                        <a:lnTo>
                          <a:pt x="302" y="219"/>
                        </a:lnTo>
                        <a:lnTo>
                          <a:pt x="325" y="226"/>
                        </a:lnTo>
                        <a:lnTo>
                          <a:pt x="345" y="220"/>
                        </a:lnTo>
                        <a:lnTo>
                          <a:pt x="350" y="230"/>
                        </a:lnTo>
                        <a:lnTo>
                          <a:pt x="345" y="238"/>
                        </a:lnTo>
                        <a:lnTo>
                          <a:pt x="356" y="250"/>
                        </a:lnTo>
                        <a:lnTo>
                          <a:pt x="356" y="266"/>
                        </a:lnTo>
                        <a:lnTo>
                          <a:pt x="373" y="279"/>
                        </a:lnTo>
                        <a:lnTo>
                          <a:pt x="382" y="270"/>
                        </a:lnTo>
                        <a:lnTo>
                          <a:pt x="391" y="271"/>
                        </a:lnTo>
                        <a:lnTo>
                          <a:pt x="412" y="303"/>
                        </a:lnTo>
                        <a:lnTo>
                          <a:pt x="426" y="315"/>
                        </a:lnTo>
                        <a:lnTo>
                          <a:pt x="410" y="348"/>
                        </a:lnTo>
                        <a:lnTo>
                          <a:pt x="400" y="349"/>
                        </a:lnTo>
                        <a:lnTo>
                          <a:pt x="393" y="359"/>
                        </a:lnTo>
                        <a:lnTo>
                          <a:pt x="378" y="358"/>
                        </a:lnTo>
                        <a:lnTo>
                          <a:pt x="380" y="371"/>
                        </a:lnTo>
                        <a:lnTo>
                          <a:pt x="356" y="375"/>
                        </a:lnTo>
                        <a:lnTo>
                          <a:pt x="353" y="400"/>
                        </a:lnTo>
                        <a:lnTo>
                          <a:pt x="343" y="410"/>
                        </a:lnTo>
                        <a:lnTo>
                          <a:pt x="335" y="411"/>
                        </a:lnTo>
                        <a:lnTo>
                          <a:pt x="330" y="399"/>
                        </a:lnTo>
                        <a:lnTo>
                          <a:pt x="313" y="403"/>
                        </a:lnTo>
                        <a:lnTo>
                          <a:pt x="288" y="424"/>
                        </a:lnTo>
                        <a:lnTo>
                          <a:pt x="296" y="438"/>
                        </a:lnTo>
                        <a:lnTo>
                          <a:pt x="286" y="440"/>
                        </a:lnTo>
                        <a:lnTo>
                          <a:pt x="272" y="439"/>
                        </a:lnTo>
                        <a:lnTo>
                          <a:pt x="258" y="420"/>
                        </a:lnTo>
                        <a:lnTo>
                          <a:pt x="245" y="434"/>
                        </a:lnTo>
                        <a:lnTo>
                          <a:pt x="252" y="443"/>
                        </a:lnTo>
                        <a:lnTo>
                          <a:pt x="250" y="451"/>
                        </a:lnTo>
                        <a:lnTo>
                          <a:pt x="248" y="491"/>
                        </a:lnTo>
                        <a:lnTo>
                          <a:pt x="245" y="505"/>
                        </a:lnTo>
                        <a:lnTo>
                          <a:pt x="238" y="510"/>
                        </a:lnTo>
                        <a:lnTo>
                          <a:pt x="223" y="501"/>
                        </a:lnTo>
                        <a:lnTo>
                          <a:pt x="218" y="506"/>
                        </a:lnTo>
                        <a:lnTo>
                          <a:pt x="218" y="524"/>
                        </a:lnTo>
                        <a:lnTo>
                          <a:pt x="207" y="519"/>
                        </a:lnTo>
                        <a:lnTo>
                          <a:pt x="201" y="526"/>
                        </a:lnTo>
                        <a:lnTo>
                          <a:pt x="193" y="554"/>
                        </a:lnTo>
                        <a:lnTo>
                          <a:pt x="186" y="553"/>
                        </a:lnTo>
                        <a:lnTo>
                          <a:pt x="168" y="541"/>
                        </a:lnTo>
                        <a:lnTo>
                          <a:pt x="158" y="554"/>
                        </a:lnTo>
                        <a:lnTo>
                          <a:pt x="150" y="573"/>
                        </a:lnTo>
                        <a:lnTo>
                          <a:pt x="158" y="590"/>
                        </a:lnTo>
                        <a:lnTo>
                          <a:pt x="145" y="600"/>
                        </a:lnTo>
                        <a:lnTo>
                          <a:pt x="147" y="619"/>
                        </a:lnTo>
                        <a:lnTo>
                          <a:pt x="136" y="631"/>
                        </a:lnTo>
                        <a:lnTo>
                          <a:pt x="131" y="669"/>
                        </a:lnTo>
                        <a:lnTo>
                          <a:pt x="122" y="674"/>
                        </a:lnTo>
                        <a:lnTo>
                          <a:pt x="111" y="665"/>
                        </a:lnTo>
                        <a:lnTo>
                          <a:pt x="108" y="654"/>
                        </a:lnTo>
                        <a:lnTo>
                          <a:pt x="87" y="638"/>
                        </a:lnTo>
                        <a:lnTo>
                          <a:pt x="82" y="613"/>
                        </a:lnTo>
                        <a:lnTo>
                          <a:pt x="0" y="371"/>
                        </a:lnTo>
                        <a:lnTo>
                          <a:pt x="12" y="364"/>
                        </a:lnTo>
                        <a:lnTo>
                          <a:pt x="25" y="364"/>
                        </a:lnTo>
                        <a:lnTo>
                          <a:pt x="21" y="351"/>
                        </a:lnTo>
                        <a:lnTo>
                          <a:pt x="30" y="338"/>
                        </a:lnTo>
                        <a:lnTo>
                          <a:pt x="28" y="323"/>
                        </a:lnTo>
                        <a:lnTo>
                          <a:pt x="35" y="309"/>
                        </a:lnTo>
                        <a:lnTo>
                          <a:pt x="50" y="291"/>
                        </a:lnTo>
                        <a:lnTo>
                          <a:pt x="46" y="284"/>
                        </a:lnTo>
                        <a:lnTo>
                          <a:pt x="56" y="261"/>
                        </a:lnTo>
                        <a:lnTo>
                          <a:pt x="47" y="251"/>
                        </a:lnTo>
                        <a:lnTo>
                          <a:pt x="45" y="241"/>
                        </a:lnTo>
                        <a:lnTo>
                          <a:pt x="48" y="230"/>
                        </a:lnTo>
                        <a:lnTo>
                          <a:pt x="42" y="221"/>
                        </a:lnTo>
                        <a:lnTo>
                          <a:pt x="46" y="198"/>
                        </a:lnTo>
                        <a:lnTo>
                          <a:pt x="53" y="185"/>
                        </a:lnTo>
                        <a:lnTo>
                          <a:pt x="48" y="144"/>
                        </a:lnTo>
                        <a:lnTo>
                          <a:pt x="88" y="19"/>
                        </a:lnTo>
                        <a:lnTo>
                          <a:pt x="92" y="15"/>
                        </a:lnTo>
                        <a:lnTo>
                          <a:pt x="110" y="16"/>
                        </a:lnTo>
                        <a:lnTo>
                          <a:pt x="115" y="34"/>
                        </a:lnTo>
                        <a:lnTo>
                          <a:pt x="133" y="44"/>
                        </a:lnTo>
                        <a:lnTo>
                          <a:pt x="146" y="33"/>
                        </a:lnTo>
                        <a:lnTo>
                          <a:pt x="156" y="28"/>
                        </a:lnTo>
                        <a:lnTo>
                          <a:pt x="163" y="18"/>
                        </a:lnTo>
                        <a:lnTo>
                          <a:pt x="178" y="13"/>
                        </a:lnTo>
                        <a:lnTo>
                          <a:pt x="183" y="0"/>
                        </a:lnTo>
                        <a:lnTo>
                          <a:pt x="195" y="1"/>
                        </a:lnTo>
                        <a:lnTo>
                          <a:pt x="223" y="14"/>
                        </a:lnTo>
                        <a:lnTo>
                          <a:pt x="246" y="33"/>
                        </a:lnTo>
                        <a:lnTo>
                          <a:pt x="296" y="181"/>
                        </a:lnTo>
                        <a:lnTo>
                          <a:pt x="302" y="200"/>
                        </a:lnTo>
                        <a:lnTo>
                          <a:pt x="302" y="21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2" name="Michigan" descr="{&quot;Key&quot;:&quot;michigan&quot;,&quot;Name&quot;:&quot;Michigan&quot;,&quot;Value&quot;:1.0,&quot;Formula&quot;:&quot;&quot;,&quot;Text&quot;:&quot;&quot;,&quot;OfficeApplication&quot;:1,&quot;HasValue&quot;:true}">
                    <a:extLst>
                      <a:ext uri="{FF2B5EF4-FFF2-40B4-BE49-F238E27FC236}">
                        <a16:creationId xmlns:a16="http://schemas.microsoft.com/office/drawing/2014/main" id="{B137B828-D3C3-BA93-967B-EB99C89AAEE0}"/>
                      </a:ext>
                    </a:extLst>
                  </p:cNvPr>
                  <p:cNvSpPr>
                    <a:spLocks noEditPoints="1"/>
                  </p:cNvSpPr>
                  <p:nvPr/>
                </p:nvSpPr>
                <p:spPr bwMode="auto">
                  <a:xfrm>
                    <a:off x="7105031" y="4039831"/>
                    <a:ext cx="456484" cy="478169"/>
                  </a:xfrm>
                  <a:custGeom>
                    <a:avLst/>
                    <a:gdLst>
                      <a:gd name="T0" fmla="*/ 510 w 878"/>
                      <a:gd name="T1" fmla="*/ 341 h 918"/>
                      <a:gd name="T2" fmla="*/ 876 w 878"/>
                      <a:gd name="T3" fmla="*/ 732 h 918"/>
                      <a:gd name="T4" fmla="*/ 854 w 878"/>
                      <a:gd name="T5" fmla="*/ 727 h 918"/>
                      <a:gd name="T6" fmla="*/ 826 w 878"/>
                      <a:gd name="T7" fmla="*/ 785 h 918"/>
                      <a:gd name="T8" fmla="*/ 818 w 878"/>
                      <a:gd name="T9" fmla="*/ 801 h 918"/>
                      <a:gd name="T10" fmla="*/ 793 w 878"/>
                      <a:gd name="T11" fmla="*/ 878 h 918"/>
                      <a:gd name="T12" fmla="*/ 490 w 878"/>
                      <a:gd name="T13" fmla="*/ 912 h 918"/>
                      <a:gd name="T14" fmla="*/ 461 w 878"/>
                      <a:gd name="T15" fmla="*/ 861 h 918"/>
                      <a:gd name="T16" fmla="*/ 476 w 878"/>
                      <a:gd name="T17" fmla="*/ 737 h 918"/>
                      <a:gd name="T18" fmla="*/ 434 w 878"/>
                      <a:gd name="T19" fmla="*/ 634 h 918"/>
                      <a:gd name="T20" fmla="*/ 439 w 878"/>
                      <a:gd name="T21" fmla="*/ 565 h 918"/>
                      <a:gd name="T22" fmla="*/ 449 w 878"/>
                      <a:gd name="T23" fmla="*/ 481 h 918"/>
                      <a:gd name="T24" fmla="*/ 484 w 878"/>
                      <a:gd name="T25" fmla="*/ 445 h 918"/>
                      <a:gd name="T26" fmla="*/ 505 w 878"/>
                      <a:gd name="T27" fmla="*/ 456 h 918"/>
                      <a:gd name="T28" fmla="*/ 530 w 878"/>
                      <a:gd name="T29" fmla="*/ 417 h 918"/>
                      <a:gd name="T30" fmla="*/ 559 w 878"/>
                      <a:gd name="T31" fmla="*/ 372 h 918"/>
                      <a:gd name="T32" fmla="*/ 563 w 878"/>
                      <a:gd name="T33" fmla="*/ 320 h 918"/>
                      <a:gd name="T34" fmla="*/ 638 w 878"/>
                      <a:gd name="T35" fmla="*/ 324 h 918"/>
                      <a:gd name="T36" fmla="*/ 699 w 878"/>
                      <a:gd name="T37" fmla="*/ 354 h 918"/>
                      <a:gd name="T38" fmla="*/ 739 w 878"/>
                      <a:gd name="T39" fmla="*/ 381 h 918"/>
                      <a:gd name="T40" fmla="*/ 743 w 878"/>
                      <a:gd name="T41" fmla="*/ 420 h 918"/>
                      <a:gd name="T42" fmla="*/ 753 w 878"/>
                      <a:gd name="T43" fmla="*/ 502 h 918"/>
                      <a:gd name="T44" fmla="*/ 710 w 878"/>
                      <a:gd name="T45" fmla="*/ 556 h 918"/>
                      <a:gd name="T46" fmla="*/ 733 w 878"/>
                      <a:gd name="T47" fmla="*/ 611 h 918"/>
                      <a:gd name="T48" fmla="*/ 769 w 878"/>
                      <a:gd name="T49" fmla="*/ 552 h 918"/>
                      <a:gd name="T50" fmla="*/ 830 w 878"/>
                      <a:gd name="T51" fmla="*/ 551 h 918"/>
                      <a:gd name="T52" fmla="*/ 861 w 878"/>
                      <a:gd name="T53" fmla="*/ 641 h 918"/>
                      <a:gd name="T54" fmla="*/ 706 w 878"/>
                      <a:gd name="T55" fmla="*/ 262 h 918"/>
                      <a:gd name="T56" fmla="*/ 683 w 878"/>
                      <a:gd name="T57" fmla="*/ 249 h 918"/>
                      <a:gd name="T58" fmla="*/ 614 w 878"/>
                      <a:gd name="T59" fmla="*/ 200 h 918"/>
                      <a:gd name="T60" fmla="*/ 637 w 878"/>
                      <a:gd name="T61" fmla="*/ 220 h 918"/>
                      <a:gd name="T62" fmla="*/ 648 w 878"/>
                      <a:gd name="T63" fmla="*/ 247 h 918"/>
                      <a:gd name="T64" fmla="*/ 608 w 878"/>
                      <a:gd name="T65" fmla="*/ 272 h 918"/>
                      <a:gd name="T66" fmla="*/ 573 w 878"/>
                      <a:gd name="T67" fmla="*/ 297 h 918"/>
                      <a:gd name="T68" fmla="*/ 487 w 878"/>
                      <a:gd name="T69" fmla="*/ 292 h 918"/>
                      <a:gd name="T70" fmla="*/ 403 w 878"/>
                      <a:gd name="T71" fmla="*/ 333 h 918"/>
                      <a:gd name="T72" fmla="*/ 379 w 878"/>
                      <a:gd name="T73" fmla="*/ 321 h 918"/>
                      <a:gd name="T74" fmla="*/ 348 w 878"/>
                      <a:gd name="T75" fmla="*/ 331 h 918"/>
                      <a:gd name="T76" fmla="*/ 324 w 878"/>
                      <a:gd name="T77" fmla="*/ 391 h 918"/>
                      <a:gd name="T78" fmla="*/ 288 w 878"/>
                      <a:gd name="T79" fmla="*/ 421 h 918"/>
                      <a:gd name="T80" fmla="*/ 274 w 878"/>
                      <a:gd name="T81" fmla="*/ 357 h 918"/>
                      <a:gd name="T82" fmla="*/ 231 w 878"/>
                      <a:gd name="T83" fmla="*/ 321 h 918"/>
                      <a:gd name="T84" fmla="*/ 134 w 878"/>
                      <a:gd name="T85" fmla="*/ 301 h 918"/>
                      <a:gd name="T86" fmla="*/ 0 w 878"/>
                      <a:gd name="T87" fmla="*/ 246 h 918"/>
                      <a:gd name="T88" fmla="*/ 115 w 878"/>
                      <a:gd name="T89" fmla="*/ 187 h 918"/>
                      <a:gd name="T90" fmla="*/ 165 w 878"/>
                      <a:gd name="T91" fmla="*/ 140 h 918"/>
                      <a:gd name="T92" fmla="*/ 190 w 878"/>
                      <a:gd name="T93" fmla="*/ 194 h 918"/>
                      <a:gd name="T94" fmla="*/ 275 w 878"/>
                      <a:gd name="T95" fmla="*/ 190 h 918"/>
                      <a:gd name="T96" fmla="*/ 335 w 878"/>
                      <a:gd name="T97" fmla="*/ 226 h 918"/>
                      <a:gd name="T98" fmla="*/ 381 w 878"/>
                      <a:gd name="T99" fmla="*/ 236 h 918"/>
                      <a:gd name="T100" fmla="*/ 431 w 878"/>
                      <a:gd name="T101" fmla="*/ 196 h 918"/>
                      <a:gd name="T102" fmla="*/ 535 w 878"/>
                      <a:gd name="T103" fmla="*/ 170 h 918"/>
                      <a:gd name="T104" fmla="*/ 579 w 878"/>
                      <a:gd name="T105" fmla="*/ 205 h 918"/>
                      <a:gd name="T106" fmla="*/ 242 w 878"/>
                      <a:gd name="T107" fmla="*/ 107 h 918"/>
                      <a:gd name="T108" fmla="*/ 173 w 878"/>
                      <a:gd name="T109" fmla="*/ 150 h 918"/>
                      <a:gd name="T110" fmla="*/ 225 w 878"/>
                      <a:gd name="T111" fmla="*/ 97 h 918"/>
                      <a:gd name="T112" fmla="*/ 165 w 878"/>
                      <a:gd name="T113" fmla="*/ 16 h 918"/>
                      <a:gd name="T114" fmla="*/ 114 w 878"/>
                      <a:gd name="T115" fmla="*/ 55 h 918"/>
                      <a:gd name="T116" fmla="*/ 160 w 878"/>
                      <a:gd name="T117" fmla="*/ 5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8" h="918">
                        <a:moveTo>
                          <a:pt x="505" y="346"/>
                        </a:moveTo>
                        <a:lnTo>
                          <a:pt x="496" y="345"/>
                        </a:lnTo>
                        <a:lnTo>
                          <a:pt x="500" y="325"/>
                        </a:lnTo>
                        <a:lnTo>
                          <a:pt x="510" y="341"/>
                        </a:lnTo>
                        <a:lnTo>
                          <a:pt x="505" y="346"/>
                        </a:lnTo>
                        <a:close/>
                        <a:moveTo>
                          <a:pt x="878" y="677"/>
                        </a:moveTo>
                        <a:lnTo>
                          <a:pt x="875" y="707"/>
                        </a:lnTo>
                        <a:lnTo>
                          <a:pt x="876" y="732"/>
                        </a:lnTo>
                        <a:lnTo>
                          <a:pt x="870" y="744"/>
                        </a:lnTo>
                        <a:lnTo>
                          <a:pt x="864" y="747"/>
                        </a:lnTo>
                        <a:lnTo>
                          <a:pt x="863" y="731"/>
                        </a:lnTo>
                        <a:lnTo>
                          <a:pt x="854" y="727"/>
                        </a:lnTo>
                        <a:lnTo>
                          <a:pt x="844" y="739"/>
                        </a:lnTo>
                        <a:lnTo>
                          <a:pt x="840" y="750"/>
                        </a:lnTo>
                        <a:lnTo>
                          <a:pt x="842" y="774"/>
                        </a:lnTo>
                        <a:lnTo>
                          <a:pt x="826" y="785"/>
                        </a:lnTo>
                        <a:lnTo>
                          <a:pt x="824" y="790"/>
                        </a:lnTo>
                        <a:lnTo>
                          <a:pt x="823" y="791"/>
                        </a:lnTo>
                        <a:lnTo>
                          <a:pt x="819" y="796"/>
                        </a:lnTo>
                        <a:lnTo>
                          <a:pt x="818" y="801"/>
                        </a:lnTo>
                        <a:lnTo>
                          <a:pt x="814" y="837"/>
                        </a:lnTo>
                        <a:lnTo>
                          <a:pt x="809" y="840"/>
                        </a:lnTo>
                        <a:lnTo>
                          <a:pt x="796" y="866"/>
                        </a:lnTo>
                        <a:lnTo>
                          <a:pt x="793" y="878"/>
                        </a:lnTo>
                        <a:lnTo>
                          <a:pt x="704" y="895"/>
                        </a:lnTo>
                        <a:lnTo>
                          <a:pt x="649" y="902"/>
                        </a:lnTo>
                        <a:lnTo>
                          <a:pt x="649" y="893"/>
                        </a:lnTo>
                        <a:lnTo>
                          <a:pt x="490" y="912"/>
                        </a:lnTo>
                        <a:lnTo>
                          <a:pt x="429" y="918"/>
                        </a:lnTo>
                        <a:lnTo>
                          <a:pt x="442" y="907"/>
                        </a:lnTo>
                        <a:lnTo>
                          <a:pt x="451" y="890"/>
                        </a:lnTo>
                        <a:lnTo>
                          <a:pt x="461" y="861"/>
                        </a:lnTo>
                        <a:lnTo>
                          <a:pt x="471" y="841"/>
                        </a:lnTo>
                        <a:lnTo>
                          <a:pt x="479" y="808"/>
                        </a:lnTo>
                        <a:lnTo>
                          <a:pt x="481" y="774"/>
                        </a:lnTo>
                        <a:lnTo>
                          <a:pt x="476" y="737"/>
                        </a:lnTo>
                        <a:lnTo>
                          <a:pt x="469" y="717"/>
                        </a:lnTo>
                        <a:lnTo>
                          <a:pt x="438" y="656"/>
                        </a:lnTo>
                        <a:lnTo>
                          <a:pt x="433" y="645"/>
                        </a:lnTo>
                        <a:lnTo>
                          <a:pt x="434" y="634"/>
                        </a:lnTo>
                        <a:lnTo>
                          <a:pt x="442" y="620"/>
                        </a:lnTo>
                        <a:lnTo>
                          <a:pt x="438" y="595"/>
                        </a:lnTo>
                        <a:lnTo>
                          <a:pt x="429" y="577"/>
                        </a:lnTo>
                        <a:lnTo>
                          <a:pt x="439" y="565"/>
                        </a:lnTo>
                        <a:lnTo>
                          <a:pt x="450" y="532"/>
                        </a:lnTo>
                        <a:lnTo>
                          <a:pt x="450" y="502"/>
                        </a:lnTo>
                        <a:lnTo>
                          <a:pt x="445" y="487"/>
                        </a:lnTo>
                        <a:lnTo>
                          <a:pt x="449" y="481"/>
                        </a:lnTo>
                        <a:lnTo>
                          <a:pt x="461" y="477"/>
                        </a:lnTo>
                        <a:lnTo>
                          <a:pt x="463" y="451"/>
                        </a:lnTo>
                        <a:lnTo>
                          <a:pt x="475" y="441"/>
                        </a:lnTo>
                        <a:lnTo>
                          <a:pt x="484" y="445"/>
                        </a:lnTo>
                        <a:lnTo>
                          <a:pt x="492" y="427"/>
                        </a:lnTo>
                        <a:lnTo>
                          <a:pt x="507" y="414"/>
                        </a:lnTo>
                        <a:lnTo>
                          <a:pt x="510" y="425"/>
                        </a:lnTo>
                        <a:lnTo>
                          <a:pt x="505" y="456"/>
                        </a:lnTo>
                        <a:lnTo>
                          <a:pt x="513" y="460"/>
                        </a:lnTo>
                        <a:lnTo>
                          <a:pt x="517" y="433"/>
                        </a:lnTo>
                        <a:lnTo>
                          <a:pt x="528" y="442"/>
                        </a:lnTo>
                        <a:lnTo>
                          <a:pt x="530" y="417"/>
                        </a:lnTo>
                        <a:lnTo>
                          <a:pt x="525" y="399"/>
                        </a:lnTo>
                        <a:lnTo>
                          <a:pt x="530" y="385"/>
                        </a:lnTo>
                        <a:lnTo>
                          <a:pt x="546" y="375"/>
                        </a:lnTo>
                        <a:lnTo>
                          <a:pt x="559" y="372"/>
                        </a:lnTo>
                        <a:lnTo>
                          <a:pt x="560" y="363"/>
                        </a:lnTo>
                        <a:lnTo>
                          <a:pt x="550" y="352"/>
                        </a:lnTo>
                        <a:lnTo>
                          <a:pt x="552" y="336"/>
                        </a:lnTo>
                        <a:lnTo>
                          <a:pt x="563" y="320"/>
                        </a:lnTo>
                        <a:lnTo>
                          <a:pt x="579" y="309"/>
                        </a:lnTo>
                        <a:lnTo>
                          <a:pt x="614" y="322"/>
                        </a:lnTo>
                        <a:lnTo>
                          <a:pt x="628" y="321"/>
                        </a:lnTo>
                        <a:lnTo>
                          <a:pt x="638" y="324"/>
                        </a:lnTo>
                        <a:lnTo>
                          <a:pt x="654" y="342"/>
                        </a:lnTo>
                        <a:lnTo>
                          <a:pt x="669" y="341"/>
                        </a:lnTo>
                        <a:lnTo>
                          <a:pt x="680" y="347"/>
                        </a:lnTo>
                        <a:lnTo>
                          <a:pt x="699" y="354"/>
                        </a:lnTo>
                        <a:lnTo>
                          <a:pt x="716" y="355"/>
                        </a:lnTo>
                        <a:lnTo>
                          <a:pt x="730" y="365"/>
                        </a:lnTo>
                        <a:lnTo>
                          <a:pt x="729" y="371"/>
                        </a:lnTo>
                        <a:lnTo>
                          <a:pt x="739" y="381"/>
                        </a:lnTo>
                        <a:lnTo>
                          <a:pt x="743" y="390"/>
                        </a:lnTo>
                        <a:lnTo>
                          <a:pt x="729" y="396"/>
                        </a:lnTo>
                        <a:lnTo>
                          <a:pt x="728" y="407"/>
                        </a:lnTo>
                        <a:lnTo>
                          <a:pt x="743" y="420"/>
                        </a:lnTo>
                        <a:lnTo>
                          <a:pt x="751" y="447"/>
                        </a:lnTo>
                        <a:lnTo>
                          <a:pt x="750" y="459"/>
                        </a:lnTo>
                        <a:lnTo>
                          <a:pt x="754" y="490"/>
                        </a:lnTo>
                        <a:lnTo>
                          <a:pt x="753" y="502"/>
                        </a:lnTo>
                        <a:lnTo>
                          <a:pt x="735" y="514"/>
                        </a:lnTo>
                        <a:lnTo>
                          <a:pt x="733" y="544"/>
                        </a:lnTo>
                        <a:lnTo>
                          <a:pt x="724" y="553"/>
                        </a:lnTo>
                        <a:lnTo>
                          <a:pt x="710" y="556"/>
                        </a:lnTo>
                        <a:lnTo>
                          <a:pt x="703" y="575"/>
                        </a:lnTo>
                        <a:lnTo>
                          <a:pt x="704" y="597"/>
                        </a:lnTo>
                        <a:lnTo>
                          <a:pt x="708" y="603"/>
                        </a:lnTo>
                        <a:lnTo>
                          <a:pt x="733" y="611"/>
                        </a:lnTo>
                        <a:lnTo>
                          <a:pt x="745" y="592"/>
                        </a:lnTo>
                        <a:lnTo>
                          <a:pt x="751" y="595"/>
                        </a:lnTo>
                        <a:lnTo>
                          <a:pt x="759" y="571"/>
                        </a:lnTo>
                        <a:lnTo>
                          <a:pt x="769" y="552"/>
                        </a:lnTo>
                        <a:lnTo>
                          <a:pt x="786" y="544"/>
                        </a:lnTo>
                        <a:lnTo>
                          <a:pt x="803" y="534"/>
                        </a:lnTo>
                        <a:lnTo>
                          <a:pt x="815" y="537"/>
                        </a:lnTo>
                        <a:lnTo>
                          <a:pt x="830" y="551"/>
                        </a:lnTo>
                        <a:lnTo>
                          <a:pt x="838" y="566"/>
                        </a:lnTo>
                        <a:lnTo>
                          <a:pt x="850" y="606"/>
                        </a:lnTo>
                        <a:lnTo>
                          <a:pt x="855" y="617"/>
                        </a:lnTo>
                        <a:lnTo>
                          <a:pt x="861" y="641"/>
                        </a:lnTo>
                        <a:lnTo>
                          <a:pt x="870" y="666"/>
                        </a:lnTo>
                        <a:lnTo>
                          <a:pt x="878" y="677"/>
                        </a:lnTo>
                        <a:close/>
                        <a:moveTo>
                          <a:pt x="696" y="252"/>
                        </a:moveTo>
                        <a:lnTo>
                          <a:pt x="706" y="262"/>
                        </a:lnTo>
                        <a:lnTo>
                          <a:pt x="699" y="274"/>
                        </a:lnTo>
                        <a:lnTo>
                          <a:pt x="671" y="271"/>
                        </a:lnTo>
                        <a:lnTo>
                          <a:pt x="684" y="258"/>
                        </a:lnTo>
                        <a:lnTo>
                          <a:pt x="683" y="249"/>
                        </a:lnTo>
                        <a:lnTo>
                          <a:pt x="696" y="252"/>
                        </a:lnTo>
                        <a:close/>
                        <a:moveTo>
                          <a:pt x="595" y="209"/>
                        </a:moveTo>
                        <a:lnTo>
                          <a:pt x="601" y="200"/>
                        </a:lnTo>
                        <a:lnTo>
                          <a:pt x="614" y="200"/>
                        </a:lnTo>
                        <a:lnTo>
                          <a:pt x="624" y="192"/>
                        </a:lnTo>
                        <a:lnTo>
                          <a:pt x="633" y="194"/>
                        </a:lnTo>
                        <a:lnTo>
                          <a:pt x="629" y="209"/>
                        </a:lnTo>
                        <a:lnTo>
                          <a:pt x="637" y="220"/>
                        </a:lnTo>
                        <a:lnTo>
                          <a:pt x="624" y="220"/>
                        </a:lnTo>
                        <a:lnTo>
                          <a:pt x="629" y="235"/>
                        </a:lnTo>
                        <a:lnTo>
                          <a:pt x="624" y="241"/>
                        </a:lnTo>
                        <a:lnTo>
                          <a:pt x="648" y="247"/>
                        </a:lnTo>
                        <a:lnTo>
                          <a:pt x="646" y="256"/>
                        </a:lnTo>
                        <a:lnTo>
                          <a:pt x="664" y="270"/>
                        </a:lnTo>
                        <a:lnTo>
                          <a:pt x="653" y="275"/>
                        </a:lnTo>
                        <a:lnTo>
                          <a:pt x="608" y="272"/>
                        </a:lnTo>
                        <a:lnTo>
                          <a:pt x="586" y="270"/>
                        </a:lnTo>
                        <a:lnTo>
                          <a:pt x="581" y="285"/>
                        </a:lnTo>
                        <a:lnTo>
                          <a:pt x="583" y="300"/>
                        </a:lnTo>
                        <a:lnTo>
                          <a:pt x="573" y="297"/>
                        </a:lnTo>
                        <a:lnTo>
                          <a:pt x="550" y="279"/>
                        </a:lnTo>
                        <a:lnTo>
                          <a:pt x="517" y="270"/>
                        </a:lnTo>
                        <a:lnTo>
                          <a:pt x="496" y="274"/>
                        </a:lnTo>
                        <a:lnTo>
                          <a:pt x="487" y="292"/>
                        </a:lnTo>
                        <a:lnTo>
                          <a:pt x="444" y="299"/>
                        </a:lnTo>
                        <a:lnTo>
                          <a:pt x="427" y="302"/>
                        </a:lnTo>
                        <a:lnTo>
                          <a:pt x="417" y="326"/>
                        </a:lnTo>
                        <a:lnTo>
                          <a:pt x="403" y="333"/>
                        </a:lnTo>
                        <a:lnTo>
                          <a:pt x="394" y="351"/>
                        </a:lnTo>
                        <a:lnTo>
                          <a:pt x="385" y="348"/>
                        </a:lnTo>
                        <a:lnTo>
                          <a:pt x="392" y="331"/>
                        </a:lnTo>
                        <a:lnTo>
                          <a:pt x="379" y="321"/>
                        </a:lnTo>
                        <a:lnTo>
                          <a:pt x="369" y="342"/>
                        </a:lnTo>
                        <a:lnTo>
                          <a:pt x="357" y="347"/>
                        </a:lnTo>
                        <a:lnTo>
                          <a:pt x="355" y="335"/>
                        </a:lnTo>
                        <a:lnTo>
                          <a:pt x="348" y="331"/>
                        </a:lnTo>
                        <a:lnTo>
                          <a:pt x="345" y="349"/>
                        </a:lnTo>
                        <a:lnTo>
                          <a:pt x="338" y="353"/>
                        </a:lnTo>
                        <a:lnTo>
                          <a:pt x="329" y="374"/>
                        </a:lnTo>
                        <a:lnTo>
                          <a:pt x="324" y="391"/>
                        </a:lnTo>
                        <a:lnTo>
                          <a:pt x="305" y="427"/>
                        </a:lnTo>
                        <a:lnTo>
                          <a:pt x="301" y="440"/>
                        </a:lnTo>
                        <a:lnTo>
                          <a:pt x="288" y="430"/>
                        </a:lnTo>
                        <a:lnTo>
                          <a:pt x="288" y="421"/>
                        </a:lnTo>
                        <a:lnTo>
                          <a:pt x="293" y="403"/>
                        </a:lnTo>
                        <a:lnTo>
                          <a:pt x="269" y="403"/>
                        </a:lnTo>
                        <a:lnTo>
                          <a:pt x="275" y="387"/>
                        </a:lnTo>
                        <a:lnTo>
                          <a:pt x="274" y="357"/>
                        </a:lnTo>
                        <a:lnTo>
                          <a:pt x="261" y="347"/>
                        </a:lnTo>
                        <a:lnTo>
                          <a:pt x="245" y="345"/>
                        </a:lnTo>
                        <a:lnTo>
                          <a:pt x="239" y="326"/>
                        </a:lnTo>
                        <a:lnTo>
                          <a:pt x="231" y="321"/>
                        </a:lnTo>
                        <a:lnTo>
                          <a:pt x="194" y="315"/>
                        </a:lnTo>
                        <a:lnTo>
                          <a:pt x="184" y="317"/>
                        </a:lnTo>
                        <a:lnTo>
                          <a:pt x="164" y="316"/>
                        </a:lnTo>
                        <a:lnTo>
                          <a:pt x="134" y="301"/>
                        </a:lnTo>
                        <a:lnTo>
                          <a:pt x="31" y="280"/>
                        </a:lnTo>
                        <a:lnTo>
                          <a:pt x="19" y="256"/>
                        </a:lnTo>
                        <a:lnTo>
                          <a:pt x="1" y="251"/>
                        </a:lnTo>
                        <a:lnTo>
                          <a:pt x="0" y="246"/>
                        </a:lnTo>
                        <a:lnTo>
                          <a:pt x="38" y="227"/>
                        </a:lnTo>
                        <a:lnTo>
                          <a:pt x="59" y="206"/>
                        </a:lnTo>
                        <a:lnTo>
                          <a:pt x="99" y="199"/>
                        </a:lnTo>
                        <a:lnTo>
                          <a:pt x="115" y="187"/>
                        </a:lnTo>
                        <a:lnTo>
                          <a:pt x="124" y="176"/>
                        </a:lnTo>
                        <a:lnTo>
                          <a:pt x="140" y="172"/>
                        </a:lnTo>
                        <a:lnTo>
                          <a:pt x="146" y="159"/>
                        </a:lnTo>
                        <a:lnTo>
                          <a:pt x="165" y="140"/>
                        </a:lnTo>
                        <a:lnTo>
                          <a:pt x="171" y="151"/>
                        </a:lnTo>
                        <a:lnTo>
                          <a:pt x="181" y="154"/>
                        </a:lnTo>
                        <a:lnTo>
                          <a:pt x="193" y="174"/>
                        </a:lnTo>
                        <a:lnTo>
                          <a:pt x="190" y="194"/>
                        </a:lnTo>
                        <a:lnTo>
                          <a:pt x="200" y="192"/>
                        </a:lnTo>
                        <a:lnTo>
                          <a:pt x="214" y="177"/>
                        </a:lnTo>
                        <a:lnTo>
                          <a:pt x="258" y="180"/>
                        </a:lnTo>
                        <a:lnTo>
                          <a:pt x="275" y="190"/>
                        </a:lnTo>
                        <a:lnTo>
                          <a:pt x="280" y="199"/>
                        </a:lnTo>
                        <a:lnTo>
                          <a:pt x="308" y="232"/>
                        </a:lnTo>
                        <a:lnTo>
                          <a:pt x="320" y="234"/>
                        </a:lnTo>
                        <a:lnTo>
                          <a:pt x="335" y="226"/>
                        </a:lnTo>
                        <a:lnTo>
                          <a:pt x="345" y="225"/>
                        </a:lnTo>
                        <a:lnTo>
                          <a:pt x="355" y="236"/>
                        </a:lnTo>
                        <a:lnTo>
                          <a:pt x="368" y="228"/>
                        </a:lnTo>
                        <a:lnTo>
                          <a:pt x="381" y="236"/>
                        </a:lnTo>
                        <a:lnTo>
                          <a:pt x="394" y="219"/>
                        </a:lnTo>
                        <a:lnTo>
                          <a:pt x="414" y="206"/>
                        </a:lnTo>
                        <a:lnTo>
                          <a:pt x="426" y="195"/>
                        </a:lnTo>
                        <a:lnTo>
                          <a:pt x="431" y="196"/>
                        </a:lnTo>
                        <a:lnTo>
                          <a:pt x="454" y="189"/>
                        </a:lnTo>
                        <a:lnTo>
                          <a:pt x="489" y="189"/>
                        </a:lnTo>
                        <a:lnTo>
                          <a:pt x="519" y="171"/>
                        </a:lnTo>
                        <a:lnTo>
                          <a:pt x="535" y="170"/>
                        </a:lnTo>
                        <a:lnTo>
                          <a:pt x="539" y="176"/>
                        </a:lnTo>
                        <a:lnTo>
                          <a:pt x="538" y="205"/>
                        </a:lnTo>
                        <a:lnTo>
                          <a:pt x="561" y="212"/>
                        </a:lnTo>
                        <a:lnTo>
                          <a:pt x="579" y="205"/>
                        </a:lnTo>
                        <a:lnTo>
                          <a:pt x="589" y="215"/>
                        </a:lnTo>
                        <a:lnTo>
                          <a:pt x="595" y="209"/>
                        </a:lnTo>
                        <a:close/>
                        <a:moveTo>
                          <a:pt x="258" y="102"/>
                        </a:moveTo>
                        <a:lnTo>
                          <a:pt x="242" y="107"/>
                        </a:lnTo>
                        <a:lnTo>
                          <a:pt x="210" y="142"/>
                        </a:lnTo>
                        <a:lnTo>
                          <a:pt x="194" y="172"/>
                        </a:lnTo>
                        <a:lnTo>
                          <a:pt x="184" y="152"/>
                        </a:lnTo>
                        <a:lnTo>
                          <a:pt x="173" y="150"/>
                        </a:lnTo>
                        <a:lnTo>
                          <a:pt x="173" y="137"/>
                        </a:lnTo>
                        <a:lnTo>
                          <a:pt x="189" y="116"/>
                        </a:lnTo>
                        <a:lnTo>
                          <a:pt x="210" y="104"/>
                        </a:lnTo>
                        <a:lnTo>
                          <a:pt x="225" y="97"/>
                        </a:lnTo>
                        <a:lnTo>
                          <a:pt x="248" y="95"/>
                        </a:lnTo>
                        <a:lnTo>
                          <a:pt x="258" y="102"/>
                        </a:lnTo>
                        <a:close/>
                        <a:moveTo>
                          <a:pt x="171" y="0"/>
                        </a:moveTo>
                        <a:lnTo>
                          <a:pt x="165" y="16"/>
                        </a:lnTo>
                        <a:lnTo>
                          <a:pt x="156" y="25"/>
                        </a:lnTo>
                        <a:lnTo>
                          <a:pt x="131" y="37"/>
                        </a:lnTo>
                        <a:lnTo>
                          <a:pt x="130" y="45"/>
                        </a:lnTo>
                        <a:lnTo>
                          <a:pt x="114" y="55"/>
                        </a:lnTo>
                        <a:lnTo>
                          <a:pt x="105" y="44"/>
                        </a:lnTo>
                        <a:lnTo>
                          <a:pt x="114" y="35"/>
                        </a:lnTo>
                        <a:lnTo>
                          <a:pt x="142" y="19"/>
                        </a:lnTo>
                        <a:lnTo>
                          <a:pt x="160" y="5"/>
                        </a:lnTo>
                        <a:lnTo>
                          <a:pt x="171" y="0"/>
                        </a:lnTo>
                        <a:close/>
                      </a:path>
                    </a:pathLst>
                  </a:custGeom>
                  <a:solidFill>
                    <a:srgbClr val="3E7994"/>
                  </a:solidFill>
                  <a:ln w="0" cap="rnd">
                    <a:solidFill>
                      <a:srgbClr val="498FB0"/>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3" name="Alaska" descr="{&quot;Key&quot;:&quot;alaska&quot;,&quot;Name&quot;:&quot;Alaska&quot;,&quot;Value&quot;:1.0,&quot;Formula&quot;:&quot;&quot;,&quot;Text&quot;:&quot;&quot;,&quot;OfficeApplication&quot;:1,&quot;HasValue&quot;:true}">
                    <a:extLst>
                      <a:ext uri="{FF2B5EF4-FFF2-40B4-BE49-F238E27FC236}">
                        <a16:creationId xmlns:a16="http://schemas.microsoft.com/office/drawing/2014/main" id="{EE3A4005-BF48-71AD-AB1A-631C31352837}"/>
                      </a:ext>
                    </a:extLst>
                  </p:cNvPr>
                  <p:cNvSpPr>
                    <a:spLocks noEditPoints="1"/>
                  </p:cNvSpPr>
                  <p:nvPr/>
                </p:nvSpPr>
                <p:spPr bwMode="auto">
                  <a:xfrm>
                    <a:off x="3185344" y="1523208"/>
                    <a:ext cx="2256395" cy="1721843"/>
                  </a:xfrm>
                  <a:custGeom>
                    <a:avLst/>
                    <a:gdLst>
                      <a:gd name="T0" fmla="*/ 439 w 4335"/>
                      <a:gd name="T1" fmla="*/ 1198 h 3308"/>
                      <a:gd name="T2" fmla="*/ 162 w 4335"/>
                      <a:gd name="T3" fmla="*/ 790 h 3308"/>
                      <a:gd name="T4" fmla="*/ 616 w 4335"/>
                      <a:gd name="T5" fmla="*/ 1341 h 3308"/>
                      <a:gd name="T6" fmla="*/ 40 w 4335"/>
                      <a:gd name="T7" fmla="*/ 396 h 3308"/>
                      <a:gd name="T8" fmla="*/ 1316 w 4335"/>
                      <a:gd name="T9" fmla="*/ 1728 h 3308"/>
                      <a:gd name="T10" fmla="*/ 1268 w 4335"/>
                      <a:gd name="T11" fmla="*/ 1694 h 3308"/>
                      <a:gd name="T12" fmla="*/ 3855 w 4335"/>
                      <a:gd name="T13" fmla="*/ 3221 h 3308"/>
                      <a:gd name="T14" fmla="*/ 1486 w 4335"/>
                      <a:gd name="T15" fmla="*/ 1723 h 3308"/>
                      <a:gd name="T16" fmla="*/ 3844 w 4335"/>
                      <a:gd name="T17" fmla="*/ 3161 h 3308"/>
                      <a:gd name="T18" fmla="*/ 1836 w 4335"/>
                      <a:gd name="T19" fmla="*/ 1907 h 3308"/>
                      <a:gd name="T20" fmla="*/ 2222 w 4335"/>
                      <a:gd name="T21" fmla="*/ 2113 h 3308"/>
                      <a:gd name="T22" fmla="*/ 3976 w 4335"/>
                      <a:gd name="T23" fmla="*/ 3076 h 3308"/>
                      <a:gd name="T24" fmla="*/ 3931 w 4335"/>
                      <a:gd name="T25" fmla="*/ 3211 h 3308"/>
                      <a:gd name="T26" fmla="*/ 3864 w 4335"/>
                      <a:gd name="T27" fmla="*/ 3010 h 3308"/>
                      <a:gd name="T28" fmla="*/ 1414 w 4335"/>
                      <a:gd name="T29" fmla="*/ 1212 h 3308"/>
                      <a:gd name="T30" fmla="*/ 3821 w 4335"/>
                      <a:gd name="T31" fmla="*/ 2966 h 3308"/>
                      <a:gd name="T32" fmla="*/ 2511 w 4335"/>
                      <a:gd name="T33" fmla="*/ 2063 h 3308"/>
                      <a:gd name="T34" fmla="*/ 3820 w 4335"/>
                      <a:gd name="T35" fmla="*/ 2883 h 3308"/>
                      <a:gd name="T36" fmla="*/ 2601 w 4335"/>
                      <a:gd name="T37" fmla="*/ 1985 h 3308"/>
                      <a:gd name="T38" fmla="*/ 2431 w 4335"/>
                      <a:gd name="T39" fmla="*/ 2045 h 3308"/>
                      <a:gd name="T40" fmla="*/ 2546 w 4335"/>
                      <a:gd name="T41" fmla="*/ 1962 h 3308"/>
                      <a:gd name="T42" fmla="*/ 3852 w 4335"/>
                      <a:gd name="T43" fmla="*/ 2788 h 3308"/>
                      <a:gd name="T44" fmla="*/ 3901 w 4335"/>
                      <a:gd name="T45" fmla="*/ 2662 h 3308"/>
                      <a:gd name="T46" fmla="*/ 3875 w 4335"/>
                      <a:gd name="T47" fmla="*/ 2757 h 3308"/>
                      <a:gd name="T48" fmla="*/ 2691 w 4335"/>
                      <a:gd name="T49" fmla="*/ 1931 h 3308"/>
                      <a:gd name="T50" fmla="*/ 2036 w 4335"/>
                      <a:gd name="T51" fmla="*/ 1026 h 3308"/>
                      <a:gd name="T52" fmla="*/ 3220 w 4335"/>
                      <a:gd name="T53" fmla="*/ 1955 h 3308"/>
                      <a:gd name="T54" fmla="*/ 2593 w 4335"/>
                      <a:gd name="T55" fmla="*/ 823 h 3308"/>
                      <a:gd name="T56" fmla="*/ 2145 w 4335"/>
                      <a:gd name="T57" fmla="*/ 481 h 3308"/>
                      <a:gd name="T58" fmla="*/ 3753 w 4335"/>
                      <a:gd name="T59" fmla="*/ 2487 h 3308"/>
                      <a:gd name="T60" fmla="*/ 4028 w 4335"/>
                      <a:gd name="T61" fmla="*/ 2892 h 3308"/>
                      <a:gd name="T62" fmla="*/ 4001 w 4335"/>
                      <a:gd name="T63" fmla="*/ 3278 h 3308"/>
                      <a:gd name="T64" fmla="*/ 3988 w 4335"/>
                      <a:gd name="T65" fmla="*/ 3021 h 3308"/>
                      <a:gd name="T66" fmla="*/ 3966 w 4335"/>
                      <a:gd name="T67" fmla="*/ 2702 h 3308"/>
                      <a:gd name="T68" fmla="*/ 3846 w 4335"/>
                      <a:gd name="T69" fmla="*/ 2559 h 3308"/>
                      <a:gd name="T70" fmla="*/ 3667 w 4335"/>
                      <a:gd name="T71" fmla="*/ 2393 h 3308"/>
                      <a:gd name="T72" fmla="*/ 3378 w 4335"/>
                      <a:gd name="T73" fmla="*/ 2107 h 3308"/>
                      <a:gd name="T74" fmla="*/ 3291 w 4335"/>
                      <a:gd name="T75" fmla="*/ 1853 h 3308"/>
                      <a:gd name="T76" fmla="*/ 3133 w 4335"/>
                      <a:gd name="T77" fmla="*/ 1882 h 3308"/>
                      <a:gd name="T78" fmla="*/ 2821 w 4335"/>
                      <a:gd name="T79" fmla="*/ 1845 h 3308"/>
                      <a:gd name="T80" fmla="*/ 3098 w 4335"/>
                      <a:gd name="T81" fmla="*/ 1759 h 3308"/>
                      <a:gd name="T82" fmla="*/ 2846 w 4335"/>
                      <a:gd name="T83" fmla="*/ 1706 h 3308"/>
                      <a:gd name="T84" fmla="*/ 2610 w 4335"/>
                      <a:gd name="T85" fmla="*/ 1858 h 3308"/>
                      <a:gd name="T86" fmla="*/ 2207 w 4335"/>
                      <a:gd name="T87" fmla="*/ 1909 h 3308"/>
                      <a:gd name="T88" fmla="*/ 1945 w 4335"/>
                      <a:gd name="T89" fmla="*/ 1896 h 3308"/>
                      <a:gd name="T90" fmla="*/ 1711 w 4335"/>
                      <a:gd name="T91" fmla="*/ 1783 h 3308"/>
                      <a:gd name="T92" fmla="*/ 1902 w 4335"/>
                      <a:gd name="T93" fmla="*/ 1836 h 3308"/>
                      <a:gd name="T94" fmla="*/ 2350 w 4335"/>
                      <a:gd name="T95" fmla="*/ 1690 h 3308"/>
                      <a:gd name="T96" fmla="*/ 2233 w 4335"/>
                      <a:gd name="T97" fmla="*/ 1470 h 3308"/>
                      <a:gd name="T98" fmla="*/ 2211 w 4335"/>
                      <a:gd name="T99" fmla="*/ 1241 h 3308"/>
                      <a:gd name="T100" fmla="*/ 2201 w 4335"/>
                      <a:gd name="T101" fmla="*/ 1081 h 3308"/>
                      <a:gd name="T102" fmla="*/ 2172 w 4335"/>
                      <a:gd name="T103" fmla="*/ 907 h 3308"/>
                      <a:gd name="T104" fmla="*/ 2495 w 4335"/>
                      <a:gd name="T105" fmla="*/ 857 h 3308"/>
                      <a:gd name="T106" fmla="*/ 2708 w 4335"/>
                      <a:gd name="T107" fmla="*/ 708 h 3308"/>
                      <a:gd name="T108" fmla="*/ 2530 w 4335"/>
                      <a:gd name="T109" fmla="*/ 440 h 3308"/>
                      <a:gd name="T110" fmla="*/ 2848 w 4335"/>
                      <a:gd name="T111" fmla="*/ 397 h 3308"/>
                      <a:gd name="T112" fmla="*/ 2941 w 4335"/>
                      <a:gd name="T113" fmla="*/ 447 h 3308"/>
                      <a:gd name="T114" fmla="*/ 3005 w 4335"/>
                      <a:gd name="T115" fmla="*/ 443 h 3308"/>
                      <a:gd name="T116" fmla="*/ 3097 w 4335"/>
                      <a:gd name="T117" fmla="*/ 78 h 3308"/>
                      <a:gd name="T118" fmla="*/ 3570 w 4335"/>
                      <a:gd name="T119" fmla="*/ 57 h 3308"/>
                      <a:gd name="T120" fmla="*/ 3766 w 4335"/>
                      <a:gd name="T121" fmla="*/ 205 h 3308"/>
                      <a:gd name="T122" fmla="*/ 4007 w 4335"/>
                      <a:gd name="T123" fmla="*/ 462 h 3308"/>
                      <a:gd name="T124" fmla="*/ 4335 w 4335"/>
                      <a:gd name="T125" fmla="*/ 816 h 3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35" h="3308">
                        <a:moveTo>
                          <a:pt x="187" y="915"/>
                        </a:moveTo>
                        <a:lnTo>
                          <a:pt x="191" y="937"/>
                        </a:lnTo>
                        <a:lnTo>
                          <a:pt x="187" y="956"/>
                        </a:lnTo>
                        <a:lnTo>
                          <a:pt x="181" y="955"/>
                        </a:lnTo>
                        <a:lnTo>
                          <a:pt x="186" y="936"/>
                        </a:lnTo>
                        <a:lnTo>
                          <a:pt x="179" y="917"/>
                        </a:lnTo>
                        <a:lnTo>
                          <a:pt x="187" y="915"/>
                        </a:lnTo>
                        <a:close/>
                        <a:moveTo>
                          <a:pt x="486" y="1253"/>
                        </a:moveTo>
                        <a:lnTo>
                          <a:pt x="488" y="1261"/>
                        </a:lnTo>
                        <a:lnTo>
                          <a:pt x="478" y="1267"/>
                        </a:lnTo>
                        <a:lnTo>
                          <a:pt x="472" y="1260"/>
                        </a:lnTo>
                        <a:lnTo>
                          <a:pt x="486" y="1253"/>
                        </a:lnTo>
                        <a:close/>
                        <a:moveTo>
                          <a:pt x="402" y="1145"/>
                        </a:moveTo>
                        <a:lnTo>
                          <a:pt x="400" y="1155"/>
                        </a:lnTo>
                        <a:lnTo>
                          <a:pt x="386" y="1161"/>
                        </a:lnTo>
                        <a:lnTo>
                          <a:pt x="370" y="1156"/>
                        </a:lnTo>
                        <a:lnTo>
                          <a:pt x="381" y="1148"/>
                        </a:lnTo>
                        <a:lnTo>
                          <a:pt x="384" y="1116"/>
                        </a:lnTo>
                        <a:lnTo>
                          <a:pt x="392" y="1117"/>
                        </a:lnTo>
                        <a:lnTo>
                          <a:pt x="405" y="1130"/>
                        </a:lnTo>
                        <a:lnTo>
                          <a:pt x="402" y="1145"/>
                        </a:lnTo>
                        <a:close/>
                        <a:moveTo>
                          <a:pt x="429" y="1207"/>
                        </a:moveTo>
                        <a:lnTo>
                          <a:pt x="415" y="1202"/>
                        </a:lnTo>
                        <a:lnTo>
                          <a:pt x="414" y="1190"/>
                        </a:lnTo>
                        <a:lnTo>
                          <a:pt x="434" y="1193"/>
                        </a:lnTo>
                        <a:lnTo>
                          <a:pt x="450" y="1185"/>
                        </a:lnTo>
                        <a:lnTo>
                          <a:pt x="454" y="1196"/>
                        </a:lnTo>
                        <a:lnTo>
                          <a:pt x="439" y="1198"/>
                        </a:lnTo>
                        <a:lnTo>
                          <a:pt x="429" y="1207"/>
                        </a:lnTo>
                        <a:close/>
                        <a:moveTo>
                          <a:pt x="489" y="1227"/>
                        </a:moveTo>
                        <a:lnTo>
                          <a:pt x="472" y="1231"/>
                        </a:lnTo>
                        <a:lnTo>
                          <a:pt x="476" y="1243"/>
                        </a:lnTo>
                        <a:lnTo>
                          <a:pt x="466" y="1250"/>
                        </a:lnTo>
                        <a:lnTo>
                          <a:pt x="455" y="1251"/>
                        </a:lnTo>
                        <a:lnTo>
                          <a:pt x="431" y="1225"/>
                        </a:lnTo>
                        <a:lnTo>
                          <a:pt x="442" y="1226"/>
                        </a:lnTo>
                        <a:lnTo>
                          <a:pt x="448" y="1217"/>
                        </a:lnTo>
                        <a:lnTo>
                          <a:pt x="461" y="1223"/>
                        </a:lnTo>
                        <a:lnTo>
                          <a:pt x="473" y="1213"/>
                        </a:lnTo>
                        <a:lnTo>
                          <a:pt x="489" y="1227"/>
                        </a:lnTo>
                        <a:close/>
                        <a:moveTo>
                          <a:pt x="265" y="961"/>
                        </a:moveTo>
                        <a:lnTo>
                          <a:pt x="260" y="945"/>
                        </a:lnTo>
                        <a:lnTo>
                          <a:pt x="266" y="938"/>
                        </a:lnTo>
                        <a:lnTo>
                          <a:pt x="282" y="945"/>
                        </a:lnTo>
                        <a:lnTo>
                          <a:pt x="282" y="961"/>
                        </a:lnTo>
                        <a:lnTo>
                          <a:pt x="265" y="961"/>
                        </a:lnTo>
                        <a:close/>
                        <a:moveTo>
                          <a:pt x="530" y="1260"/>
                        </a:moveTo>
                        <a:lnTo>
                          <a:pt x="518" y="1263"/>
                        </a:lnTo>
                        <a:lnTo>
                          <a:pt x="516" y="1251"/>
                        </a:lnTo>
                        <a:lnTo>
                          <a:pt x="527" y="1242"/>
                        </a:lnTo>
                        <a:lnTo>
                          <a:pt x="535" y="1248"/>
                        </a:lnTo>
                        <a:lnTo>
                          <a:pt x="530" y="1260"/>
                        </a:lnTo>
                        <a:close/>
                        <a:moveTo>
                          <a:pt x="165" y="796"/>
                        </a:moveTo>
                        <a:lnTo>
                          <a:pt x="143" y="786"/>
                        </a:lnTo>
                        <a:lnTo>
                          <a:pt x="152" y="781"/>
                        </a:lnTo>
                        <a:lnTo>
                          <a:pt x="162" y="790"/>
                        </a:lnTo>
                        <a:lnTo>
                          <a:pt x="182" y="784"/>
                        </a:lnTo>
                        <a:lnTo>
                          <a:pt x="185" y="793"/>
                        </a:lnTo>
                        <a:lnTo>
                          <a:pt x="165" y="796"/>
                        </a:lnTo>
                        <a:close/>
                        <a:moveTo>
                          <a:pt x="686" y="1417"/>
                        </a:moveTo>
                        <a:lnTo>
                          <a:pt x="687" y="1427"/>
                        </a:lnTo>
                        <a:lnTo>
                          <a:pt x="699" y="1448"/>
                        </a:lnTo>
                        <a:lnTo>
                          <a:pt x="677" y="1436"/>
                        </a:lnTo>
                        <a:lnTo>
                          <a:pt x="676" y="1428"/>
                        </a:lnTo>
                        <a:lnTo>
                          <a:pt x="660" y="1411"/>
                        </a:lnTo>
                        <a:lnTo>
                          <a:pt x="667" y="1403"/>
                        </a:lnTo>
                        <a:lnTo>
                          <a:pt x="686" y="1417"/>
                        </a:lnTo>
                        <a:close/>
                        <a:moveTo>
                          <a:pt x="776" y="1486"/>
                        </a:moveTo>
                        <a:lnTo>
                          <a:pt x="762" y="1480"/>
                        </a:lnTo>
                        <a:lnTo>
                          <a:pt x="756" y="1472"/>
                        </a:lnTo>
                        <a:lnTo>
                          <a:pt x="771" y="1468"/>
                        </a:lnTo>
                        <a:lnTo>
                          <a:pt x="783" y="1471"/>
                        </a:lnTo>
                        <a:lnTo>
                          <a:pt x="786" y="1486"/>
                        </a:lnTo>
                        <a:lnTo>
                          <a:pt x="776" y="1486"/>
                        </a:lnTo>
                        <a:close/>
                        <a:moveTo>
                          <a:pt x="682" y="1356"/>
                        </a:moveTo>
                        <a:lnTo>
                          <a:pt x="680" y="1373"/>
                        </a:lnTo>
                        <a:lnTo>
                          <a:pt x="665" y="1375"/>
                        </a:lnTo>
                        <a:lnTo>
                          <a:pt x="655" y="1382"/>
                        </a:lnTo>
                        <a:lnTo>
                          <a:pt x="641" y="1378"/>
                        </a:lnTo>
                        <a:lnTo>
                          <a:pt x="635" y="1366"/>
                        </a:lnTo>
                        <a:lnTo>
                          <a:pt x="623" y="1363"/>
                        </a:lnTo>
                        <a:lnTo>
                          <a:pt x="604" y="1352"/>
                        </a:lnTo>
                        <a:lnTo>
                          <a:pt x="593" y="1329"/>
                        </a:lnTo>
                        <a:lnTo>
                          <a:pt x="616" y="1341"/>
                        </a:lnTo>
                        <a:lnTo>
                          <a:pt x="620" y="1351"/>
                        </a:lnTo>
                        <a:lnTo>
                          <a:pt x="631" y="1347"/>
                        </a:lnTo>
                        <a:lnTo>
                          <a:pt x="647" y="1361"/>
                        </a:lnTo>
                        <a:lnTo>
                          <a:pt x="661" y="1361"/>
                        </a:lnTo>
                        <a:lnTo>
                          <a:pt x="665" y="1343"/>
                        </a:lnTo>
                        <a:lnTo>
                          <a:pt x="681" y="1349"/>
                        </a:lnTo>
                        <a:lnTo>
                          <a:pt x="682" y="1356"/>
                        </a:lnTo>
                        <a:close/>
                        <a:moveTo>
                          <a:pt x="32" y="466"/>
                        </a:moveTo>
                        <a:lnTo>
                          <a:pt x="10" y="459"/>
                        </a:lnTo>
                        <a:lnTo>
                          <a:pt x="0" y="444"/>
                        </a:lnTo>
                        <a:lnTo>
                          <a:pt x="23" y="453"/>
                        </a:lnTo>
                        <a:lnTo>
                          <a:pt x="32" y="466"/>
                        </a:lnTo>
                        <a:close/>
                        <a:moveTo>
                          <a:pt x="920" y="1574"/>
                        </a:moveTo>
                        <a:lnTo>
                          <a:pt x="907" y="1558"/>
                        </a:lnTo>
                        <a:lnTo>
                          <a:pt x="926" y="1559"/>
                        </a:lnTo>
                        <a:lnTo>
                          <a:pt x="930" y="1569"/>
                        </a:lnTo>
                        <a:lnTo>
                          <a:pt x="920" y="1574"/>
                        </a:lnTo>
                        <a:close/>
                        <a:moveTo>
                          <a:pt x="1002" y="1599"/>
                        </a:moveTo>
                        <a:lnTo>
                          <a:pt x="1005" y="1609"/>
                        </a:lnTo>
                        <a:lnTo>
                          <a:pt x="992" y="1613"/>
                        </a:lnTo>
                        <a:lnTo>
                          <a:pt x="988" y="1601"/>
                        </a:lnTo>
                        <a:lnTo>
                          <a:pt x="1002" y="1599"/>
                        </a:lnTo>
                        <a:close/>
                        <a:moveTo>
                          <a:pt x="52" y="357"/>
                        </a:moveTo>
                        <a:lnTo>
                          <a:pt x="51" y="364"/>
                        </a:lnTo>
                        <a:lnTo>
                          <a:pt x="62" y="374"/>
                        </a:lnTo>
                        <a:lnTo>
                          <a:pt x="62" y="393"/>
                        </a:lnTo>
                        <a:lnTo>
                          <a:pt x="53" y="399"/>
                        </a:lnTo>
                        <a:lnTo>
                          <a:pt x="40" y="396"/>
                        </a:lnTo>
                        <a:lnTo>
                          <a:pt x="40" y="386"/>
                        </a:lnTo>
                        <a:lnTo>
                          <a:pt x="22" y="381"/>
                        </a:lnTo>
                        <a:lnTo>
                          <a:pt x="26" y="373"/>
                        </a:lnTo>
                        <a:lnTo>
                          <a:pt x="18" y="363"/>
                        </a:lnTo>
                        <a:lnTo>
                          <a:pt x="33" y="359"/>
                        </a:lnTo>
                        <a:lnTo>
                          <a:pt x="22" y="348"/>
                        </a:lnTo>
                        <a:lnTo>
                          <a:pt x="41" y="338"/>
                        </a:lnTo>
                        <a:lnTo>
                          <a:pt x="52" y="357"/>
                        </a:lnTo>
                        <a:close/>
                        <a:moveTo>
                          <a:pt x="1186" y="1643"/>
                        </a:moveTo>
                        <a:lnTo>
                          <a:pt x="1192" y="1663"/>
                        </a:lnTo>
                        <a:lnTo>
                          <a:pt x="1176" y="1672"/>
                        </a:lnTo>
                        <a:lnTo>
                          <a:pt x="1146" y="1666"/>
                        </a:lnTo>
                        <a:lnTo>
                          <a:pt x="1133" y="1659"/>
                        </a:lnTo>
                        <a:lnTo>
                          <a:pt x="1098" y="1668"/>
                        </a:lnTo>
                        <a:lnTo>
                          <a:pt x="1092" y="1663"/>
                        </a:lnTo>
                        <a:lnTo>
                          <a:pt x="1073" y="1659"/>
                        </a:lnTo>
                        <a:lnTo>
                          <a:pt x="1072" y="1647"/>
                        </a:lnTo>
                        <a:lnTo>
                          <a:pt x="1086" y="1646"/>
                        </a:lnTo>
                        <a:lnTo>
                          <a:pt x="1097" y="1634"/>
                        </a:lnTo>
                        <a:lnTo>
                          <a:pt x="1117" y="1636"/>
                        </a:lnTo>
                        <a:lnTo>
                          <a:pt x="1131" y="1652"/>
                        </a:lnTo>
                        <a:lnTo>
                          <a:pt x="1143" y="1634"/>
                        </a:lnTo>
                        <a:lnTo>
                          <a:pt x="1151" y="1631"/>
                        </a:lnTo>
                        <a:lnTo>
                          <a:pt x="1171" y="1633"/>
                        </a:lnTo>
                        <a:lnTo>
                          <a:pt x="1186" y="1643"/>
                        </a:lnTo>
                        <a:close/>
                        <a:moveTo>
                          <a:pt x="1336" y="1734"/>
                        </a:moveTo>
                        <a:lnTo>
                          <a:pt x="1315" y="1738"/>
                        </a:lnTo>
                        <a:lnTo>
                          <a:pt x="1316" y="1728"/>
                        </a:lnTo>
                        <a:lnTo>
                          <a:pt x="1331" y="1729"/>
                        </a:lnTo>
                        <a:lnTo>
                          <a:pt x="1336" y="1734"/>
                        </a:lnTo>
                        <a:close/>
                        <a:moveTo>
                          <a:pt x="1309" y="1679"/>
                        </a:moveTo>
                        <a:lnTo>
                          <a:pt x="1319" y="1687"/>
                        </a:lnTo>
                        <a:lnTo>
                          <a:pt x="1305" y="1697"/>
                        </a:lnTo>
                        <a:lnTo>
                          <a:pt x="1319" y="1706"/>
                        </a:lnTo>
                        <a:lnTo>
                          <a:pt x="1339" y="1708"/>
                        </a:lnTo>
                        <a:lnTo>
                          <a:pt x="1334" y="1719"/>
                        </a:lnTo>
                        <a:lnTo>
                          <a:pt x="1324" y="1714"/>
                        </a:lnTo>
                        <a:lnTo>
                          <a:pt x="1311" y="1718"/>
                        </a:lnTo>
                        <a:lnTo>
                          <a:pt x="1304" y="1713"/>
                        </a:lnTo>
                        <a:lnTo>
                          <a:pt x="1309" y="1739"/>
                        </a:lnTo>
                        <a:lnTo>
                          <a:pt x="1284" y="1729"/>
                        </a:lnTo>
                        <a:lnTo>
                          <a:pt x="1264" y="1736"/>
                        </a:lnTo>
                        <a:lnTo>
                          <a:pt x="1251" y="1734"/>
                        </a:lnTo>
                        <a:lnTo>
                          <a:pt x="1247" y="1724"/>
                        </a:lnTo>
                        <a:lnTo>
                          <a:pt x="1201" y="1706"/>
                        </a:lnTo>
                        <a:lnTo>
                          <a:pt x="1186" y="1707"/>
                        </a:lnTo>
                        <a:lnTo>
                          <a:pt x="1172" y="1699"/>
                        </a:lnTo>
                        <a:lnTo>
                          <a:pt x="1169" y="1681"/>
                        </a:lnTo>
                        <a:lnTo>
                          <a:pt x="1184" y="1681"/>
                        </a:lnTo>
                        <a:lnTo>
                          <a:pt x="1191" y="1689"/>
                        </a:lnTo>
                        <a:lnTo>
                          <a:pt x="1205" y="1691"/>
                        </a:lnTo>
                        <a:lnTo>
                          <a:pt x="1212" y="1703"/>
                        </a:lnTo>
                        <a:lnTo>
                          <a:pt x="1221" y="1698"/>
                        </a:lnTo>
                        <a:lnTo>
                          <a:pt x="1230" y="1707"/>
                        </a:lnTo>
                        <a:lnTo>
                          <a:pt x="1245" y="1691"/>
                        </a:lnTo>
                        <a:lnTo>
                          <a:pt x="1268" y="1694"/>
                        </a:lnTo>
                        <a:lnTo>
                          <a:pt x="1268" y="1703"/>
                        </a:lnTo>
                        <a:lnTo>
                          <a:pt x="1280" y="1706"/>
                        </a:lnTo>
                        <a:lnTo>
                          <a:pt x="1273" y="1687"/>
                        </a:lnTo>
                        <a:lnTo>
                          <a:pt x="1267" y="1684"/>
                        </a:lnTo>
                        <a:lnTo>
                          <a:pt x="1270" y="1666"/>
                        </a:lnTo>
                        <a:lnTo>
                          <a:pt x="1290" y="1663"/>
                        </a:lnTo>
                        <a:lnTo>
                          <a:pt x="1309" y="1679"/>
                        </a:lnTo>
                        <a:close/>
                        <a:moveTo>
                          <a:pt x="1385" y="1712"/>
                        </a:moveTo>
                        <a:lnTo>
                          <a:pt x="1392" y="1729"/>
                        </a:lnTo>
                        <a:lnTo>
                          <a:pt x="1360" y="1717"/>
                        </a:lnTo>
                        <a:lnTo>
                          <a:pt x="1364" y="1702"/>
                        </a:lnTo>
                        <a:lnTo>
                          <a:pt x="1374" y="1698"/>
                        </a:lnTo>
                        <a:lnTo>
                          <a:pt x="1384" y="1701"/>
                        </a:lnTo>
                        <a:lnTo>
                          <a:pt x="1385" y="1712"/>
                        </a:lnTo>
                        <a:close/>
                        <a:moveTo>
                          <a:pt x="1417" y="1723"/>
                        </a:moveTo>
                        <a:lnTo>
                          <a:pt x="1415" y="1736"/>
                        </a:lnTo>
                        <a:lnTo>
                          <a:pt x="1396" y="1736"/>
                        </a:lnTo>
                        <a:lnTo>
                          <a:pt x="1404" y="1717"/>
                        </a:lnTo>
                        <a:lnTo>
                          <a:pt x="1417" y="1723"/>
                        </a:lnTo>
                        <a:close/>
                        <a:moveTo>
                          <a:pt x="1624" y="1877"/>
                        </a:moveTo>
                        <a:lnTo>
                          <a:pt x="1610" y="1877"/>
                        </a:lnTo>
                        <a:lnTo>
                          <a:pt x="1615" y="1859"/>
                        </a:lnTo>
                        <a:lnTo>
                          <a:pt x="1624" y="1877"/>
                        </a:lnTo>
                        <a:close/>
                        <a:moveTo>
                          <a:pt x="3855" y="3221"/>
                        </a:moveTo>
                        <a:lnTo>
                          <a:pt x="3862" y="3229"/>
                        </a:lnTo>
                        <a:lnTo>
                          <a:pt x="3851" y="3242"/>
                        </a:lnTo>
                        <a:lnTo>
                          <a:pt x="3849" y="3221"/>
                        </a:lnTo>
                        <a:lnTo>
                          <a:pt x="3855" y="3221"/>
                        </a:lnTo>
                        <a:close/>
                        <a:moveTo>
                          <a:pt x="1686" y="1852"/>
                        </a:moveTo>
                        <a:lnTo>
                          <a:pt x="1680" y="1846"/>
                        </a:lnTo>
                        <a:lnTo>
                          <a:pt x="1685" y="1833"/>
                        </a:lnTo>
                        <a:lnTo>
                          <a:pt x="1697" y="1836"/>
                        </a:lnTo>
                        <a:lnTo>
                          <a:pt x="1696" y="1847"/>
                        </a:lnTo>
                        <a:lnTo>
                          <a:pt x="1686" y="1852"/>
                        </a:lnTo>
                        <a:close/>
                        <a:moveTo>
                          <a:pt x="3977" y="3263"/>
                        </a:moveTo>
                        <a:lnTo>
                          <a:pt x="3976" y="3274"/>
                        </a:lnTo>
                        <a:lnTo>
                          <a:pt x="3964" y="3276"/>
                        </a:lnTo>
                        <a:lnTo>
                          <a:pt x="3960" y="3259"/>
                        </a:lnTo>
                        <a:lnTo>
                          <a:pt x="3977" y="3263"/>
                        </a:lnTo>
                        <a:close/>
                        <a:moveTo>
                          <a:pt x="1611" y="1742"/>
                        </a:moveTo>
                        <a:lnTo>
                          <a:pt x="1624" y="1753"/>
                        </a:lnTo>
                        <a:lnTo>
                          <a:pt x="1617" y="1778"/>
                        </a:lnTo>
                        <a:lnTo>
                          <a:pt x="1609" y="1794"/>
                        </a:lnTo>
                        <a:lnTo>
                          <a:pt x="1610" y="1802"/>
                        </a:lnTo>
                        <a:lnTo>
                          <a:pt x="1621" y="1811"/>
                        </a:lnTo>
                        <a:lnTo>
                          <a:pt x="1606" y="1814"/>
                        </a:lnTo>
                        <a:lnTo>
                          <a:pt x="1606" y="1797"/>
                        </a:lnTo>
                        <a:lnTo>
                          <a:pt x="1594" y="1803"/>
                        </a:lnTo>
                        <a:lnTo>
                          <a:pt x="1574" y="1799"/>
                        </a:lnTo>
                        <a:lnTo>
                          <a:pt x="1566" y="1787"/>
                        </a:lnTo>
                        <a:lnTo>
                          <a:pt x="1542" y="1768"/>
                        </a:lnTo>
                        <a:lnTo>
                          <a:pt x="1521" y="1766"/>
                        </a:lnTo>
                        <a:lnTo>
                          <a:pt x="1506" y="1772"/>
                        </a:lnTo>
                        <a:lnTo>
                          <a:pt x="1485" y="1762"/>
                        </a:lnTo>
                        <a:lnTo>
                          <a:pt x="1476" y="1747"/>
                        </a:lnTo>
                        <a:lnTo>
                          <a:pt x="1486" y="1723"/>
                        </a:lnTo>
                        <a:lnTo>
                          <a:pt x="1512" y="1728"/>
                        </a:lnTo>
                        <a:lnTo>
                          <a:pt x="1542" y="1715"/>
                        </a:lnTo>
                        <a:lnTo>
                          <a:pt x="1557" y="1718"/>
                        </a:lnTo>
                        <a:lnTo>
                          <a:pt x="1559" y="1727"/>
                        </a:lnTo>
                        <a:lnTo>
                          <a:pt x="1576" y="1729"/>
                        </a:lnTo>
                        <a:lnTo>
                          <a:pt x="1584" y="1734"/>
                        </a:lnTo>
                        <a:lnTo>
                          <a:pt x="1599" y="1734"/>
                        </a:lnTo>
                        <a:lnTo>
                          <a:pt x="1611" y="1742"/>
                        </a:lnTo>
                        <a:close/>
                        <a:moveTo>
                          <a:pt x="1752" y="1848"/>
                        </a:moveTo>
                        <a:lnTo>
                          <a:pt x="1752" y="1859"/>
                        </a:lnTo>
                        <a:lnTo>
                          <a:pt x="1741" y="1858"/>
                        </a:lnTo>
                        <a:lnTo>
                          <a:pt x="1739" y="1841"/>
                        </a:lnTo>
                        <a:lnTo>
                          <a:pt x="1752" y="1848"/>
                        </a:lnTo>
                        <a:close/>
                        <a:moveTo>
                          <a:pt x="3865" y="3183"/>
                        </a:moveTo>
                        <a:lnTo>
                          <a:pt x="3867" y="3204"/>
                        </a:lnTo>
                        <a:lnTo>
                          <a:pt x="3854" y="3204"/>
                        </a:lnTo>
                        <a:lnTo>
                          <a:pt x="3858" y="3182"/>
                        </a:lnTo>
                        <a:lnTo>
                          <a:pt x="3865" y="3183"/>
                        </a:lnTo>
                        <a:close/>
                        <a:moveTo>
                          <a:pt x="3845" y="3172"/>
                        </a:moveTo>
                        <a:lnTo>
                          <a:pt x="3846" y="3183"/>
                        </a:lnTo>
                        <a:lnTo>
                          <a:pt x="3840" y="3210"/>
                        </a:lnTo>
                        <a:lnTo>
                          <a:pt x="3846" y="3233"/>
                        </a:lnTo>
                        <a:lnTo>
                          <a:pt x="3846" y="3251"/>
                        </a:lnTo>
                        <a:lnTo>
                          <a:pt x="3839" y="3254"/>
                        </a:lnTo>
                        <a:lnTo>
                          <a:pt x="3827" y="3216"/>
                        </a:lnTo>
                        <a:lnTo>
                          <a:pt x="3830" y="3206"/>
                        </a:lnTo>
                        <a:lnTo>
                          <a:pt x="3827" y="3179"/>
                        </a:lnTo>
                        <a:lnTo>
                          <a:pt x="3844" y="3161"/>
                        </a:lnTo>
                        <a:lnTo>
                          <a:pt x="3845" y="3172"/>
                        </a:lnTo>
                        <a:close/>
                        <a:moveTo>
                          <a:pt x="3977" y="3238"/>
                        </a:moveTo>
                        <a:lnTo>
                          <a:pt x="3974" y="3248"/>
                        </a:lnTo>
                        <a:lnTo>
                          <a:pt x="3950" y="3245"/>
                        </a:lnTo>
                        <a:lnTo>
                          <a:pt x="3965" y="3228"/>
                        </a:lnTo>
                        <a:lnTo>
                          <a:pt x="3964" y="3217"/>
                        </a:lnTo>
                        <a:lnTo>
                          <a:pt x="3972" y="3212"/>
                        </a:lnTo>
                        <a:lnTo>
                          <a:pt x="3980" y="3225"/>
                        </a:lnTo>
                        <a:lnTo>
                          <a:pt x="3977" y="3238"/>
                        </a:lnTo>
                        <a:close/>
                        <a:moveTo>
                          <a:pt x="1877" y="1945"/>
                        </a:moveTo>
                        <a:lnTo>
                          <a:pt x="1880" y="1955"/>
                        </a:lnTo>
                        <a:lnTo>
                          <a:pt x="1859" y="1959"/>
                        </a:lnTo>
                        <a:lnTo>
                          <a:pt x="1861" y="1951"/>
                        </a:lnTo>
                        <a:lnTo>
                          <a:pt x="1877" y="1945"/>
                        </a:lnTo>
                        <a:close/>
                        <a:moveTo>
                          <a:pt x="3835" y="3146"/>
                        </a:moveTo>
                        <a:lnTo>
                          <a:pt x="3837" y="3156"/>
                        </a:lnTo>
                        <a:lnTo>
                          <a:pt x="3826" y="3162"/>
                        </a:lnTo>
                        <a:lnTo>
                          <a:pt x="3816" y="3153"/>
                        </a:lnTo>
                        <a:lnTo>
                          <a:pt x="3822" y="3142"/>
                        </a:lnTo>
                        <a:lnTo>
                          <a:pt x="3835" y="3146"/>
                        </a:lnTo>
                        <a:close/>
                        <a:moveTo>
                          <a:pt x="1862" y="1906"/>
                        </a:moveTo>
                        <a:lnTo>
                          <a:pt x="1856" y="1914"/>
                        </a:lnTo>
                        <a:lnTo>
                          <a:pt x="1847" y="1902"/>
                        </a:lnTo>
                        <a:lnTo>
                          <a:pt x="1852" y="1897"/>
                        </a:lnTo>
                        <a:lnTo>
                          <a:pt x="1862" y="1906"/>
                        </a:lnTo>
                        <a:close/>
                        <a:moveTo>
                          <a:pt x="1835" y="1891"/>
                        </a:moveTo>
                        <a:lnTo>
                          <a:pt x="1845" y="1896"/>
                        </a:lnTo>
                        <a:lnTo>
                          <a:pt x="1836" y="1907"/>
                        </a:lnTo>
                        <a:lnTo>
                          <a:pt x="1822" y="1906"/>
                        </a:lnTo>
                        <a:lnTo>
                          <a:pt x="1815" y="1893"/>
                        </a:lnTo>
                        <a:lnTo>
                          <a:pt x="1826" y="1878"/>
                        </a:lnTo>
                        <a:lnTo>
                          <a:pt x="1837" y="1876"/>
                        </a:lnTo>
                        <a:lnTo>
                          <a:pt x="1842" y="1886"/>
                        </a:lnTo>
                        <a:lnTo>
                          <a:pt x="1835" y="1891"/>
                        </a:lnTo>
                        <a:close/>
                        <a:moveTo>
                          <a:pt x="3957" y="3182"/>
                        </a:moveTo>
                        <a:lnTo>
                          <a:pt x="3965" y="3205"/>
                        </a:lnTo>
                        <a:lnTo>
                          <a:pt x="3947" y="3223"/>
                        </a:lnTo>
                        <a:lnTo>
                          <a:pt x="3945" y="3213"/>
                        </a:lnTo>
                        <a:lnTo>
                          <a:pt x="3947" y="3197"/>
                        </a:lnTo>
                        <a:lnTo>
                          <a:pt x="3957" y="3182"/>
                        </a:lnTo>
                        <a:close/>
                        <a:moveTo>
                          <a:pt x="3819" y="3122"/>
                        </a:moveTo>
                        <a:lnTo>
                          <a:pt x="3826" y="3126"/>
                        </a:lnTo>
                        <a:lnTo>
                          <a:pt x="3802" y="3143"/>
                        </a:lnTo>
                        <a:lnTo>
                          <a:pt x="3809" y="3126"/>
                        </a:lnTo>
                        <a:lnTo>
                          <a:pt x="3819" y="3122"/>
                        </a:lnTo>
                        <a:close/>
                        <a:moveTo>
                          <a:pt x="3841" y="3067"/>
                        </a:moveTo>
                        <a:lnTo>
                          <a:pt x="3861" y="3081"/>
                        </a:lnTo>
                        <a:lnTo>
                          <a:pt x="3837" y="3085"/>
                        </a:lnTo>
                        <a:lnTo>
                          <a:pt x="3832" y="3067"/>
                        </a:lnTo>
                        <a:lnTo>
                          <a:pt x="3841" y="3067"/>
                        </a:lnTo>
                        <a:close/>
                        <a:moveTo>
                          <a:pt x="2222" y="2113"/>
                        </a:moveTo>
                        <a:lnTo>
                          <a:pt x="2211" y="2107"/>
                        </a:lnTo>
                        <a:lnTo>
                          <a:pt x="2215" y="2098"/>
                        </a:lnTo>
                        <a:lnTo>
                          <a:pt x="2230" y="2095"/>
                        </a:lnTo>
                        <a:lnTo>
                          <a:pt x="2236" y="2098"/>
                        </a:lnTo>
                        <a:lnTo>
                          <a:pt x="2222" y="2113"/>
                        </a:lnTo>
                        <a:close/>
                        <a:moveTo>
                          <a:pt x="4036" y="3127"/>
                        </a:moveTo>
                        <a:lnTo>
                          <a:pt x="4041" y="3169"/>
                        </a:lnTo>
                        <a:lnTo>
                          <a:pt x="4026" y="3209"/>
                        </a:lnTo>
                        <a:lnTo>
                          <a:pt x="4009" y="3228"/>
                        </a:lnTo>
                        <a:lnTo>
                          <a:pt x="3994" y="3236"/>
                        </a:lnTo>
                        <a:lnTo>
                          <a:pt x="3976" y="3207"/>
                        </a:lnTo>
                        <a:lnTo>
                          <a:pt x="3965" y="3197"/>
                        </a:lnTo>
                        <a:lnTo>
                          <a:pt x="3961" y="3174"/>
                        </a:lnTo>
                        <a:lnTo>
                          <a:pt x="3979" y="3168"/>
                        </a:lnTo>
                        <a:lnTo>
                          <a:pt x="3979" y="3156"/>
                        </a:lnTo>
                        <a:lnTo>
                          <a:pt x="3985" y="3141"/>
                        </a:lnTo>
                        <a:lnTo>
                          <a:pt x="3992" y="3139"/>
                        </a:lnTo>
                        <a:lnTo>
                          <a:pt x="3994" y="3127"/>
                        </a:lnTo>
                        <a:lnTo>
                          <a:pt x="4005" y="3121"/>
                        </a:lnTo>
                        <a:lnTo>
                          <a:pt x="4031" y="3122"/>
                        </a:lnTo>
                        <a:lnTo>
                          <a:pt x="4036" y="3127"/>
                        </a:lnTo>
                        <a:close/>
                        <a:moveTo>
                          <a:pt x="3877" y="3025"/>
                        </a:moveTo>
                        <a:lnTo>
                          <a:pt x="3881" y="3036"/>
                        </a:lnTo>
                        <a:lnTo>
                          <a:pt x="3876" y="3048"/>
                        </a:lnTo>
                        <a:lnTo>
                          <a:pt x="3862" y="3042"/>
                        </a:lnTo>
                        <a:lnTo>
                          <a:pt x="3844" y="3051"/>
                        </a:lnTo>
                        <a:lnTo>
                          <a:pt x="3832" y="3042"/>
                        </a:lnTo>
                        <a:lnTo>
                          <a:pt x="3850" y="3028"/>
                        </a:lnTo>
                        <a:lnTo>
                          <a:pt x="3877" y="3025"/>
                        </a:lnTo>
                        <a:close/>
                        <a:moveTo>
                          <a:pt x="3951" y="3051"/>
                        </a:moveTo>
                        <a:lnTo>
                          <a:pt x="3961" y="3052"/>
                        </a:lnTo>
                        <a:lnTo>
                          <a:pt x="3972" y="3063"/>
                        </a:lnTo>
                        <a:lnTo>
                          <a:pt x="3976" y="3076"/>
                        </a:lnTo>
                        <a:lnTo>
                          <a:pt x="3967" y="3081"/>
                        </a:lnTo>
                        <a:lnTo>
                          <a:pt x="3964" y="3098"/>
                        </a:lnTo>
                        <a:lnTo>
                          <a:pt x="3949" y="3096"/>
                        </a:lnTo>
                        <a:lnTo>
                          <a:pt x="3941" y="3085"/>
                        </a:lnTo>
                        <a:lnTo>
                          <a:pt x="3946" y="3070"/>
                        </a:lnTo>
                        <a:lnTo>
                          <a:pt x="3930" y="3065"/>
                        </a:lnTo>
                        <a:lnTo>
                          <a:pt x="3929" y="3055"/>
                        </a:lnTo>
                        <a:lnTo>
                          <a:pt x="3937" y="3040"/>
                        </a:lnTo>
                        <a:lnTo>
                          <a:pt x="3943" y="3041"/>
                        </a:lnTo>
                        <a:lnTo>
                          <a:pt x="3956" y="3028"/>
                        </a:lnTo>
                        <a:lnTo>
                          <a:pt x="3966" y="3035"/>
                        </a:lnTo>
                        <a:lnTo>
                          <a:pt x="3960" y="3048"/>
                        </a:lnTo>
                        <a:lnTo>
                          <a:pt x="3951" y="3051"/>
                        </a:lnTo>
                        <a:close/>
                        <a:moveTo>
                          <a:pt x="3874" y="2991"/>
                        </a:moveTo>
                        <a:lnTo>
                          <a:pt x="3895" y="3007"/>
                        </a:lnTo>
                        <a:lnTo>
                          <a:pt x="3905" y="3008"/>
                        </a:lnTo>
                        <a:lnTo>
                          <a:pt x="3909" y="3026"/>
                        </a:lnTo>
                        <a:lnTo>
                          <a:pt x="3896" y="3051"/>
                        </a:lnTo>
                        <a:lnTo>
                          <a:pt x="3909" y="3055"/>
                        </a:lnTo>
                        <a:lnTo>
                          <a:pt x="3919" y="3070"/>
                        </a:lnTo>
                        <a:lnTo>
                          <a:pt x="3927" y="3110"/>
                        </a:lnTo>
                        <a:lnTo>
                          <a:pt x="3921" y="3126"/>
                        </a:lnTo>
                        <a:lnTo>
                          <a:pt x="3929" y="3133"/>
                        </a:lnTo>
                        <a:lnTo>
                          <a:pt x="3927" y="3150"/>
                        </a:lnTo>
                        <a:lnTo>
                          <a:pt x="3916" y="3143"/>
                        </a:lnTo>
                        <a:lnTo>
                          <a:pt x="3927" y="3192"/>
                        </a:lnTo>
                        <a:lnTo>
                          <a:pt x="3935" y="3197"/>
                        </a:lnTo>
                        <a:lnTo>
                          <a:pt x="3931" y="3211"/>
                        </a:lnTo>
                        <a:lnTo>
                          <a:pt x="3921" y="3230"/>
                        </a:lnTo>
                        <a:lnTo>
                          <a:pt x="3910" y="3266"/>
                        </a:lnTo>
                        <a:lnTo>
                          <a:pt x="3900" y="3277"/>
                        </a:lnTo>
                        <a:lnTo>
                          <a:pt x="3889" y="3272"/>
                        </a:lnTo>
                        <a:lnTo>
                          <a:pt x="3880" y="3260"/>
                        </a:lnTo>
                        <a:lnTo>
                          <a:pt x="3887" y="3247"/>
                        </a:lnTo>
                        <a:lnTo>
                          <a:pt x="3880" y="3230"/>
                        </a:lnTo>
                        <a:lnTo>
                          <a:pt x="3869" y="3221"/>
                        </a:lnTo>
                        <a:lnTo>
                          <a:pt x="3884" y="3202"/>
                        </a:lnTo>
                        <a:lnTo>
                          <a:pt x="3876" y="3197"/>
                        </a:lnTo>
                        <a:lnTo>
                          <a:pt x="3866" y="3182"/>
                        </a:lnTo>
                        <a:lnTo>
                          <a:pt x="3867" y="3176"/>
                        </a:lnTo>
                        <a:lnTo>
                          <a:pt x="3859" y="3163"/>
                        </a:lnTo>
                        <a:lnTo>
                          <a:pt x="3839" y="3155"/>
                        </a:lnTo>
                        <a:lnTo>
                          <a:pt x="3837" y="3145"/>
                        </a:lnTo>
                        <a:lnTo>
                          <a:pt x="3847" y="3141"/>
                        </a:lnTo>
                        <a:lnTo>
                          <a:pt x="3857" y="3151"/>
                        </a:lnTo>
                        <a:lnTo>
                          <a:pt x="3861" y="3138"/>
                        </a:lnTo>
                        <a:lnTo>
                          <a:pt x="3859" y="3126"/>
                        </a:lnTo>
                        <a:lnTo>
                          <a:pt x="3871" y="3111"/>
                        </a:lnTo>
                        <a:lnTo>
                          <a:pt x="3854" y="3111"/>
                        </a:lnTo>
                        <a:lnTo>
                          <a:pt x="3847" y="3102"/>
                        </a:lnTo>
                        <a:lnTo>
                          <a:pt x="3851" y="3088"/>
                        </a:lnTo>
                        <a:lnTo>
                          <a:pt x="3876" y="3081"/>
                        </a:lnTo>
                        <a:lnTo>
                          <a:pt x="3874" y="3067"/>
                        </a:lnTo>
                        <a:lnTo>
                          <a:pt x="3886" y="3027"/>
                        </a:lnTo>
                        <a:lnTo>
                          <a:pt x="3875" y="3023"/>
                        </a:lnTo>
                        <a:lnTo>
                          <a:pt x="3864" y="3010"/>
                        </a:lnTo>
                        <a:lnTo>
                          <a:pt x="3874" y="2991"/>
                        </a:lnTo>
                        <a:close/>
                        <a:moveTo>
                          <a:pt x="3954" y="3011"/>
                        </a:moveTo>
                        <a:lnTo>
                          <a:pt x="3944" y="3033"/>
                        </a:lnTo>
                        <a:lnTo>
                          <a:pt x="3924" y="3031"/>
                        </a:lnTo>
                        <a:lnTo>
                          <a:pt x="3916" y="3008"/>
                        </a:lnTo>
                        <a:lnTo>
                          <a:pt x="3931" y="3000"/>
                        </a:lnTo>
                        <a:lnTo>
                          <a:pt x="3954" y="3011"/>
                        </a:lnTo>
                        <a:close/>
                        <a:moveTo>
                          <a:pt x="3986" y="3040"/>
                        </a:moveTo>
                        <a:lnTo>
                          <a:pt x="3996" y="3046"/>
                        </a:lnTo>
                        <a:lnTo>
                          <a:pt x="3994" y="3070"/>
                        </a:lnTo>
                        <a:lnTo>
                          <a:pt x="3979" y="3075"/>
                        </a:lnTo>
                        <a:lnTo>
                          <a:pt x="3966" y="3043"/>
                        </a:lnTo>
                        <a:lnTo>
                          <a:pt x="3971" y="3037"/>
                        </a:lnTo>
                        <a:lnTo>
                          <a:pt x="3979" y="3014"/>
                        </a:lnTo>
                        <a:lnTo>
                          <a:pt x="3985" y="3023"/>
                        </a:lnTo>
                        <a:lnTo>
                          <a:pt x="3986" y="3040"/>
                        </a:lnTo>
                        <a:close/>
                        <a:moveTo>
                          <a:pt x="2374" y="2071"/>
                        </a:moveTo>
                        <a:lnTo>
                          <a:pt x="2336" y="2082"/>
                        </a:lnTo>
                        <a:lnTo>
                          <a:pt x="2335" y="2074"/>
                        </a:lnTo>
                        <a:lnTo>
                          <a:pt x="2350" y="2067"/>
                        </a:lnTo>
                        <a:lnTo>
                          <a:pt x="2374" y="2071"/>
                        </a:lnTo>
                        <a:close/>
                        <a:moveTo>
                          <a:pt x="2399" y="2090"/>
                        </a:moveTo>
                        <a:lnTo>
                          <a:pt x="2394" y="2096"/>
                        </a:lnTo>
                        <a:lnTo>
                          <a:pt x="2381" y="2096"/>
                        </a:lnTo>
                        <a:lnTo>
                          <a:pt x="2377" y="2082"/>
                        </a:lnTo>
                        <a:lnTo>
                          <a:pt x="2390" y="2082"/>
                        </a:lnTo>
                        <a:lnTo>
                          <a:pt x="2399" y="2090"/>
                        </a:lnTo>
                        <a:close/>
                        <a:moveTo>
                          <a:pt x="1414" y="1212"/>
                        </a:moveTo>
                        <a:lnTo>
                          <a:pt x="1426" y="1232"/>
                        </a:lnTo>
                        <a:lnTo>
                          <a:pt x="1412" y="1227"/>
                        </a:lnTo>
                        <a:lnTo>
                          <a:pt x="1414" y="1212"/>
                        </a:lnTo>
                        <a:close/>
                        <a:moveTo>
                          <a:pt x="3956" y="2952"/>
                        </a:moveTo>
                        <a:lnTo>
                          <a:pt x="3971" y="2992"/>
                        </a:lnTo>
                        <a:lnTo>
                          <a:pt x="3965" y="2996"/>
                        </a:lnTo>
                        <a:lnTo>
                          <a:pt x="3945" y="2998"/>
                        </a:lnTo>
                        <a:lnTo>
                          <a:pt x="3935" y="2990"/>
                        </a:lnTo>
                        <a:lnTo>
                          <a:pt x="3937" y="2980"/>
                        </a:lnTo>
                        <a:lnTo>
                          <a:pt x="3945" y="2976"/>
                        </a:lnTo>
                        <a:lnTo>
                          <a:pt x="3950" y="2957"/>
                        </a:lnTo>
                        <a:lnTo>
                          <a:pt x="3956" y="2952"/>
                        </a:lnTo>
                        <a:close/>
                        <a:moveTo>
                          <a:pt x="3875" y="2906"/>
                        </a:moveTo>
                        <a:lnTo>
                          <a:pt x="3876" y="2915"/>
                        </a:lnTo>
                        <a:lnTo>
                          <a:pt x="3884" y="2925"/>
                        </a:lnTo>
                        <a:lnTo>
                          <a:pt x="3880" y="2952"/>
                        </a:lnTo>
                        <a:lnTo>
                          <a:pt x="3867" y="2950"/>
                        </a:lnTo>
                        <a:lnTo>
                          <a:pt x="3859" y="2971"/>
                        </a:lnTo>
                        <a:lnTo>
                          <a:pt x="3846" y="2978"/>
                        </a:lnTo>
                        <a:lnTo>
                          <a:pt x="3840" y="2987"/>
                        </a:lnTo>
                        <a:lnTo>
                          <a:pt x="3842" y="3000"/>
                        </a:lnTo>
                        <a:lnTo>
                          <a:pt x="3830" y="3016"/>
                        </a:lnTo>
                        <a:lnTo>
                          <a:pt x="3825" y="3008"/>
                        </a:lnTo>
                        <a:lnTo>
                          <a:pt x="3807" y="3011"/>
                        </a:lnTo>
                        <a:lnTo>
                          <a:pt x="3814" y="2998"/>
                        </a:lnTo>
                        <a:lnTo>
                          <a:pt x="3815" y="2983"/>
                        </a:lnTo>
                        <a:lnTo>
                          <a:pt x="3821" y="2978"/>
                        </a:lnTo>
                        <a:lnTo>
                          <a:pt x="3821" y="2966"/>
                        </a:lnTo>
                        <a:lnTo>
                          <a:pt x="3836" y="2967"/>
                        </a:lnTo>
                        <a:lnTo>
                          <a:pt x="3845" y="2957"/>
                        </a:lnTo>
                        <a:lnTo>
                          <a:pt x="3836" y="2940"/>
                        </a:lnTo>
                        <a:lnTo>
                          <a:pt x="3840" y="2933"/>
                        </a:lnTo>
                        <a:lnTo>
                          <a:pt x="3835" y="2920"/>
                        </a:lnTo>
                        <a:lnTo>
                          <a:pt x="3841" y="2895"/>
                        </a:lnTo>
                        <a:lnTo>
                          <a:pt x="3864" y="2892"/>
                        </a:lnTo>
                        <a:lnTo>
                          <a:pt x="3875" y="2906"/>
                        </a:lnTo>
                        <a:close/>
                        <a:moveTo>
                          <a:pt x="3905" y="2883"/>
                        </a:moveTo>
                        <a:lnTo>
                          <a:pt x="3929" y="2907"/>
                        </a:lnTo>
                        <a:lnTo>
                          <a:pt x="3951" y="2917"/>
                        </a:lnTo>
                        <a:lnTo>
                          <a:pt x="3956" y="2930"/>
                        </a:lnTo>
                        <a:lnTo>
                          <a:pt x="3956" y="2941"/>
                        </a:lnTo>
                        <a:lnTo>
                          <a:pt x="3949" y="2947"/>
                        </a:lnTo>
                        <a:lnTo>
                          <a:pt x="3942" y="2973"/>
                        </a:lnTo>
                        <a:lnTo>
                          <a:pt x="3915" y="2991"/>
                        </a:lnTo>
                        <a:lnTo>
                          <a:pt x="3900" y="2982"/>
                        </a:lnTo>
                        <a:lnTo>
                          <a:pt x="3884" y="2981"/>
                        </a:lnTo>
                        <a:lnTo>
                          <a:pt x="3875" y="2973"/>
                        </a:lnTo>
                        <a:lnTo>
                          <a:pt x="3885" y="2956"/>
                        </a:lnTo>
                        <a:lnTo>
                          <a:pt x="3885" y="2945"/>
                        </a:lnTo>
                        <a:lnTo>
                          <a:pt x="3895" y="2921"/>
                        </a:lnTo>
                        <a:lnTo>
                          <a:pt x="3887" y="2913"/>
                        </a:lnTo>
                        <a:lnTo>
                          <a:pt x="3890" y="2903"/>
                        </a:lnTo>
                        <a:lnTo>
                          <a:pt x="3882" y="2883"/>
                        </a:lnTo>
                        <a:lnTo>
                          <a:pt x="3896" y="2878"/>
                        </a:lnTo>
                        <a:lnTo>
                          <a:pt x="3905" y="2883"/>
                        </a:lnTo>
                        <a:close/>
                        <a:moveTo>
                          <a:pt x="2511" y="2063"/>
                        </a:moveTo>
                        <a:lnTo>
                          <a:pt x="2527" y="2075"/>
                        </a:lnTo>
                        <a:lnTo>
                          <a:pt x="2509" y="2078"/>
                        </a:lnTo>
                        <a:lnTo>
                          <a:pt x="2489" y="2076"/>
                        </a:lnTo>
                        <a:lnTo>
                          <a:pt x="2487" y="2065"/>
                        </a:lnTo>
                        <a:lnTo>
                          <a:pt x="2509" y="2056"/>
                        </a:lnTo>
                        <a:lnTo>
                          <a:pt x="2511" y="2063"/>
                        </a:lnTo>
                        <a:close/>
                        <a:moveTo>
                          <a:pt x="1459" y="1125"/>
                        </a:moveTo>
                        <a:lnTo>
                          <a:pt x="1442" y="1127"/>
                        </a:lnTo>
                        <a:lnTo>
                          <a:pt x="1441" y="1112"/>
                        </a:lnTo>
                        <a:lnTo>
                          <a:pt x="1459" y="1125"/>
                        </a:lnTo>
                        <a:close/>
                        <a:moveTo>
                          <a:pt x="3779" y="2798"/>
                        </a:moveTo>
                        <a:lnTo>
                          <a:pt x="3774" y="2813"/>
                        </a:lnTo>
                        <a:lnTo>
                          <a:pt x="3759" y="2828"/>
                        </a:lnTo>
                        <a:lnTo>
                          <a:pt x="3741" y="2825"/>
                        </a:lnTo>
                        <a:lnTo>
                          <a:pt x="3749" y="2812"/>
                        </a:lnTo>
                        <a:lnTo>
                          <a:pt x="3756" y="2810"/>
                        </a:lnTo>
                        <a:lnTo>
                          <a:pt x="3759" y="2788"/>
                        </a:lnTo>
                        <a:lnTo>
                          <a:pt x="3765" y="2777"/>
                        </a:lnTo>
                        <a:lnTo>
                          <a:pt x="3772" y="2781"/>
                        </a:lnTo>
                        <a:lnTo>
                          <a:pt x="3779" y="2798"/>
                        </a:lnTo>
                        <a:close/>
                        <a:moveTo>
                          <a:pt x="3804" y="2775"/>
                        </a:moveTo>
                        <a:lnTo>
                          <a:pt x="3815" y="2775"/>
                        </a:lnTo>
                        <a:lnTo>
                          <a:pt x="3826" y="2782"/>
                        </a:lnTo>
                        <a:lnTo>
                          <a:pt x="3835" y="2808"/>
                        </a:lnTo>
                        <a:lnTo>
                          <a:pt x="3829" y="2810"/>
                        </a:lnTo>
                        <a:lnTo>
                          <a:pt x="3832" y="2833"/>
                        </a:lnTo>
                        <a:lnTo>
                          <a:pt x="3827" y="2862"/>
                        </a:lnTo>
                        <a:lnTo>
                          <a:pt x="3820" y="2883"/>
                        </a:lnTo>
                        <a:lnTo>
                          <a:pt x="3818" y="2903"/>
                        </a:lnTo>
                        <a:lnTo>
                          <a:pt x="3807" y="2927"/>
                        </a:lnTo>
                        <a:lnTo>
                          <a:pt x="3791" y="2957"/>
                        </a:lnTo>
                        <a:lnTo>
                          <a:pt x="3787" y="2968"/>
                        </a:lnTo>
                        <a:lnTo>
                          <a:pt x="3776" y="2970"/>
                        </a:lnTo>
                        <a:lnTo>
                          <a:pt x="3772" y="2950"/>
                        </a:lnTo>
                        <a:lnTo>
                          <a:pt x="3772" y="2915"/>
                        </a:lnTo>
                        <a:lnTo>
                          <a:pt x="3779" y="2882"/>
                        </a:lnTo>
                        <a:lnTo>
                          <a:pt x="3767" y="2863"/>
                        </a:lnTo>
                        <a:lnTo>
                          <a:pt x="3777" y="2857"/>
                        </a:lnTo>
                        <a:lnTo>
                          <a:pt x="3777" y="2845"/>
                        </a:lnTo>
                        <a:lnTo>
                          <a:pt x="3786" y="2835"/>
                        </a:lnTo>
                        <a:lnTo>
                          <a:pt x="3785" y="2816"/>
                        </a:lnTo>
                        <a:lnTo>
                          <a:pt x="3797" y="2806"/>
                        </a:lnTo>
                        <a:lnTo>
                          <a:pt x="3781" y="2801"/>
                        </a:lnTo>
                        <a:lnTo>
                          <a:pt x="3777" y="2780"/>
                        </a:lnTo>
                        <a:lnTo>
                          <a:pt x="3798" y="2770"/>
                        </a:lnTo>
                        <a:lnTo>
                          <a:pt x="3800" y="2763"/>
                        </a:lnTo>
                        <a:lnTo>
                          <a:pt x="3814" y="2762"/>
                        </a:lnTo>
                        <a:lnTo>
                          <a:pt x="3817" y="2771"/>
                        </a:lnTo>
                        <a:lnTo>
                          <a:pt x="3804" y="2775"/>
                        </a:lnTo>
                        <a:close/>
                        <a:moveTo>
                          <a:pt x="2571" y="1971"/>
                        </a:moveTo>
                        <a:lnTo>
                          <a:pt x="2563" y="1978"/>
                        </a:lnTo>
                        <a:lnTo>
                          <a:pt x="2556" y="1951"/>
                        </a:lnTo>
                        <a:lnTo>
                          <a:pt x="2565" y="1950"/>
                        </a:lnTo>
                        <a:lnTo>
                          <a:pt x="2571" y="1971"/>
                        </a:lnTo>
                        <a:close/>
                        <a:moveTo>
                          <a:pt x="2591" y="1978"/>
                        </a:moveTo>
                        <a:lnTo>
                          <a:pt x="2601" y="1985"/>
                        </a:lnTo>
                        <a:lnTo>
                          <a:pt x="2597" y="1996"/>
                        </a:lnTo>
                        <a:lnTo>
                          <a:pt x="2601" y="2003"/>
                        </a:lnTo>
                        <a:lnTo>
                          <a:pt x="2615" y="1997"/>
                        </a:lnTo>
                        <a:lnTo>
                          <a:pt x="2625" y="2006"/>
                        </a:lnTo>
                        <a:lnTo>
                          <a:pt x="2627" y="2023"/>
                        </a:lnTo>
                        <a:lnTo>
                          <a:pt x="2614" y="2025"/>
                        </a:lnTo>
                        <a:lnTo>
                          <a:pt x="2604" y="2038"/>
                        </a:lnTo>
                        <a:lnTo>
                          <a:pt x="2621" y="2057"/>
                        </a:lnTo>
                        <a:lnTo>
                          <a:pt x="2600" y="2065"/>
                        </a:lnTo>
                        <a:lnTo>
                          <a:pt x="2594" y="2071"/>
                        </a:lnTo>
                        <a:lnTo>
                          <a:pt x="2576" y="2058"/>
                        </a:lnTo>
                        <a:lnTo>
                          <a:pt x="2569" y="2067"/>
                        </a:lnTo>
                        <a:lnTo>
                          <a:pt x="2555" y="2075"/>
                        </a:lnTo>
                        <a:lnTo>
                          <a:pt x="2534" y="2065"/>
                        </a:lnTo>
                        <a:lnTo>
                          <a:pt x="2521" y="2062"/>
                        </a:lnTo>
                        <a:lnTo>
                          <a:pt x="2512" y="2052"/>
                        </a:lnTo>
                        <a:lnTo>
                          <a:pt x="2487" y="2057"/>
                        </a:lnTo>
                        <a:lnTo>
                          <a:pt x="2484" y="2052"/>
                        </a:lnTo>
                        <a:lnTo>
                          <a:pt x="2469" y="2061"/>
                        </a:lnTo>
                        <a:lnTo>
                          <a:pt x="2469" y="2068"/>
                        </a:lnTo>
                        <a:lnTo>
                          <a:pt x="2452" y="2070"/>
                        </a:lnTo>
                        <a:lnTo>
                          <a:pt x="2447" y="2077"/>
                        </a:lnTo>
                        <a:lnTo>
                          <a:pt x="2437" y="2072"/>
                        </a:lnTo>
                        <a:lnTo>
                          <a:pt x="2420" y="2078"/>
                        </a:lnTo>
                        <a:lnTo>
                          <a:pt x="2412" y="2065"/>
                        </a:lnTo>
                        <a:lnTo>
                          <a:pt x="2446" y="2053"/>
                        </a:lnTo>
                        <a:lnTo>
                          <a:pt x="2442" y="2047"/>
                        </a:lnTo>
                        <a:lnTo>
                          <a:pt x="2431" y="2045"/>
                        </a:lnTo>
                        <a:lnTo>
                          <a:pt x="2441" y="2032"/>
                        </a:lnTo>
                        <a:lnTo>
                          <a:pt x="2446" y="2021"/>
                        </a:lnTo>
                        <a:lnTo>
                          <a:pt x="2430" y="2008"/>
                        </a:lnTo>
                        <a:lnTo>
                          <a:pt x="2417" y="2006"/>
                        </a:lnTo>
                        <a:lnTo>
                          <a:pt x="2420" y="2020"/>
                        </a:lnTo>
                        <a:lnTo>
                          <a:pt x="2434" y="2017"/>
                        </a:lnTo>
                        <a:lnTo>
                          <a:pt x="2444" y="2023"/>
                        </a:lnTo>
                        <a:lnTo>
                          <a:pt x="2427" y="2041"/>
                        </a:lnTo>
                        <a:lnTo>
                          <a:pt x="2415" y="2046"/>
                        </a:lnTo>
                        <a:lnTo>
                          <a:pt x="2411" y="2030"/>
                        </a:lnTo>
                        <a:lnTo>
                          <a:pt x="2405" y="2020"/>
                        </a:lnTo>
                        <a:lnTo>
                          <a:pt x="2421" y="1997"/>
                        </a:lnTo>
                        <a:lnTo>
                          <a:pt x="2424" y="1983"/>
                        </a:lnTo>
                        <a:lnTo>
                          <a:pt x="2419" y="1962"/>
                        </a:lnTo>
                        <a:lnTo>
                          <a:pt x="2449" y="1950"/>
                        </a:lnTo>
                        <a:lnTo>
                          <a:pt x="2463" y="1951"/>
                        </a:lnTo>
                        <a:lnTo>
                          <a:pt x="2486" y="1950"/>
                        </a:lnTo>
                        <a:lnTo>
                          <a:pt x="2497" y="1961"/>
                        </a:lnTo>
                        <a:lnTo>
                          <a:pt x="2493" y="1982"/>
                        </a:lnTo>
                        <a:lnTo>
                          <a:pt x="2485" y="2000"/>
                        </a:lnTo>
                        <a:lnTo>
                          <a:pt x="2491" y="2003"/>
                        </a:lnTo>
                        <a:lnTo>
                          <a:pt x="2501" y="1991"/>
                        </a:lnTo>
                        <a:lnTo>
                          <a:pt x="2509" y="1987"/>
                        </a:lnTo>
                        <a:lnTo>
                          <a:pt x="2513" y="1972"/>
                        </a:lnTo>
                        <a:lnTo>
                          <a:pt x="2512" y="1958"/>
                        </a:lnTo>
                        <a:lnTo>
                          <a:pt x="2520" y="1948"/>
                        </a:lnTo>
                        <a:lnTo>
                          <a:pt x="2541" y="1947"/>
                        </a:lnTo>
                        <a:lnTo>
                          <a:pt x="2546" y="1962"/>
                        </a:lnTo>
                        <a:lnTo>
                          <a:pt x="2537" y="1975"/>
                        </a:lnTo>
                        <a:lnTo>
                          <a:pt x="2558" y="1976"/>
                        </a:lnTo>
                        <a:lnTo>
                          <a:pt x="2568" y="1985"/>
                        </a:lnTo>
                        <a:lnTo>
                          <a:pt x="2580" y="1967"/>
                        </a:lnTo>
                        <a:lnTo>
                          <a:pt x="2591" y="1978"/>
                        </a:lnTo>
                        <a:close/>
                        <a:moveTo>
                          <a:pt x="3772" y="2663"/>
                        </a:moveTo>
                        <a:lnTo>
                          <a:pt x="3756" y="2671"/>
                        </a:lnTo>
                        <a:lnTo>
                          <a:pt x="3756" y="2656"/>
                        </a:lnTo>
                        <a:lnTo>
                          <a:pt x="3767" y="2647"/>
                        </a:lnTo>
                        <a:lnTo>
                          <a:pt x="3772" y="2663"/>
                        </a:lnTo>
                        <a:close/>
                        <a:moveTo>
                          <a:pt x="2594" y="1947"/>
                        </a:moveTo>
                        <a:lnTo>
                          <a:pt x="2600" y="1952"/>
                        </a:lnTo>
                        <a:lnTo>
                          <a:pt x="2596" y="1970"/>
                        </a:lnTo>
                        <a:lnTo>
                          <a:pt x="2586" y="1951"/>
                        </a:lnTo>
                        <a:lnTo>
                          <a:pt x="2577" y="1941"/>
                        </a:lnTo>
                        <a:lnTo>
                          <a:pt x="2592" y="1937"/>
                        </a:lnTo>
                        <a:lnTo>
                          <a:pt x="2594" y="1947"/>
                        </a:lnTo>
                        <a:close/>
                        <a:moveTo>
                          <a:pt x="3832" y="2655"/>
                        </a:moveTo>
                        <a:lnTo>
                          <a:pt x="3839" y="2658"/>
                        </a:lnTo>
                        <a:lnTo>
                          <a:pt x="3851" y="2678"/>
                        </a:lnTo>
                        <a:lnTo>
                          <a:pt x="3877" y="2711"/>
                        </a:lnTo>
                        <a:lnTo>
                          <a:pt x="3862" y="2741"/>
                        </a:lnTo>
                        <a:lnTo>
                          <a:pt x="3856" y="2742"/>
                        </a:lnTo>
                        <a:lnTo>
                          <a:pt x="3830" y="2727"/>
                        </a:lnTo>
                        <a:lnTo>
                          <a:pt x="3829" y="2738"/>
                        </a:lnTo>
                        <a:lnTo>
                          <a:pt x="3837" y="2746"/>
                        </a:lnTo>
                        <a:lnTo>
                          <a:pt x="3861" y="2750"/>
                        </a:lnTo>
                        <a:lnTo>
                          <a:pt x="3852" y="2788"/>
                        </a:lnTo>
                        <a:lnTo>
                          <a:pt x="3842" y="2791"/>
                        </a:lnTo>
                        <a:lnTo>
                          <a:pt x="3832" y="2785"/>
                        </a:lnTo>
                        <a:lnTo>
                          <a:pt x="3805" y="2732"/>
                        </a:lnTo>
                        <a:lnTo>
                          <a:pt x="3795" y="2768"/>
                        </a:lnTo>
                        <a:lnTo>
                          <a:pt x="3776" y="2776"/>
                        </a:lnTo>
                        <a:lnTo>
                          <a:pt x="3768" y="2770"/>
                        </a:lnTo>
                        <a:lnTo>
                          <a:pt x="3765" y="2755"/>
                        </a:lnTo>
                        <a:lnTo>
                          <a:pt x="3768" y="2747"/>
                        </a:lnTo>
                        <a:lnTo>
                          <a:pt x="3762" y="2722"/>
                        </a:lnTo>
                        <a:lnTo>
                          <a:pt x="3768" y="2718"/>
                        </a:lnTo>
                        <a:lnTo>
                          <a:pt x="3761" y="2700"/>
                        </a:lnTo>
                        <a:lnTo>
                          <a:pt x="3758" y="2680"/>
                        </a:lnTo>
                        <a:lnTo>
                          <a:pt x="3767" y="2668"/>
                        </a:lnTo>
                        <a:lnTo>
                          <a:pt x="3775" y="2666"/>
                        </a:lnTo>
                        <a:lnTo>
                          <a:pt x="3771" y="2652"/>
                        </a:lnTo>
                        <a:lnTo>
                          <a:pt x="3775" y="2645"/>
                        </a:lnTo>
                        <a:lnTo>
                          <a:pt x="3788" y="2648"/>
                        </a:lnTo>
                        <a:lnTo>
                          <a:pt x="3803" y="2643"/>
                        </a:lnTo>
                        <a:lnTo>
                          <a:pt x="3808" y="2655"/>
                        </a:lnTo>
                        <a:lnTo>
                          <a:pt x="3827" y="2646"/>
                        </a:lnTo>
                        <a:lnTo>
                          <a:pt x="3832" y="2655"/>
                        </a:lnTo>
                        <a:close/>
                        <a:moveTo>
                          <a:pt x="3934" y="2695"/>
                        </a:moveTo>
                        <a:lnTo>
                          <a:pt x="3939" y="2710"/>
                        </a:lnTo>
                        <a:lnTo>
                          <a:pt x="3915" y="2692"/>
                        </a:lnTo>
                        <a:lnTo>
                          <a:pt x="3914" y="2680"/>
                        </a:lnTo>
                        <a:lnTo>
                          <a:pt x="3925" y="2678"/>
                        </a:lnTo>
                        <a:lnTo>
                          <a:pt x="3934" y="2695"/>
                        </a:lnTo>
                        <a:close/>
                        <a:moveTo>
                          <a:pt x="3901" y="2662"/>
                        </a:moveTo>
                        <a:lnTo>
                          <a:pt x="3906" y="2672"/>
                        </a:lnTo>
                        <a:lnTo>
                          <a:pt x="3904" y="2698"/>
                        </a:lnTo>
                        <a:lnTo>
                          <a:pt x="3924" y="2706"/>
                        </a:lnTo>
                        <a:lnTo>
                          <a:pt x="3930" y="2713"/>
                        </a:lnTo>
                        <a:lnTo>
                          <a:pt x="3941" y="2716"/>
                        </a:lnTo>
                        <a:lnTo>
                          <a:pt x="3937" y="2730"/>
                        </a:lnTo>
                        <a:lnTo>
                          <a:pt x="3941" y="2755"/>
                        </a:lnTo>
                        <a:lnTo>
                          <a:pt x="3941" y="2778"/>
                        </a:lnTo>
                        <a:lnTo>
                          <a:pt x="3933" y="2798"/>
                        </a:lnTo>
                        <a:lnTo>
                          <a:pt x="3929" y="2791"/>
                        </a:lnTo>
                        <a:lnTo>
                          <a:pt x="3932" y="2772"/>
                        </a:lnTo>
                        <a:lnTo>
                          <a:pt x="3929" y="2758"/>
                        </a:lnTo>
                        <a:lnTo>
                          <a:pt x="3931" y="2747"/>
                        </a:lnTo>
                        <a:lnTo>
                          <a:pt x="3920" y="2738"/>
                        </a:lnTo>
                        <a:lnTo>
                          <a:pt x="3920" y="2761"/>
                        </a:lnTo>
                        <a:lnTo>
                          <a:pt x="3922" y="2795"/>
                        </a:lnTo>
                        <a:lnTo>
                          <a:pt x="3926" y="2802"/>
                        </a:lnTo>
                        <a:lnTo>
                          <a:pt x="3915" y="2841"/>
                        </a:lnTo>
                        <a:lnTo>
                          <a:pt x="3904" y="2843"/>
                        </a:lnTo>
                        <a:lnTo>
                          <a:pt x="3894" y="2832"/>
                        </a:lnTo>
                        <a:lnTo>
                          <a:pt x="3890" y="2845"/>
                        </a:lnTo>
                        <a:lnTo>
                          <a:pt x="3846" y="2866"/>
                        </a:lnTo>
                        <a:lnTo>
                          <a:pt x="3842" y="2850"/>
                        </a:lnTo>
                        <a:lnTo>
                          <a:pt x="3847" y="2845"/>
                        </a:lnTo>
                        <a:lnTo>
                          <a:pt x="3850" y="2833"/>
                        </a:lnTo>
                        <a:lnTo>
                          <a:pt x="3872" y="2816"/>
                        </a:lnTo>
                        <a:lnTo>
                          <a:pt x="3871" y="2781"/>
                        </a:lnTo>
                        <a:lnTo>
                          <a:pt x="3875" y="2757"/>
                        </a:lnTo>
                        <a:lnTo>
                          <a:pt x="3885" y="2736"/>
                        </a:lnTo>
                        <a:lnTo>
                          <a:pt x="3887" y="2713"/>
                        </a:lnTo>
                        <a:lnTo>
                          <a:pt x="3892" y="2703"/>
                        </a:lnTo>
                        <a:lnTo>
                          <a:pt x="3890" y="2686"/>
                        </a:lnTo>
                        <a:lnTo>
                          <a:pt x="3896" y="2662"/>
                        </a:lnTo>
                        <a:lnTo>
                          <a:pt x="3901" y="2662"/>
                        </a:lnTo>
                        <a:close/>
                        <a:moveTo>
                          <a:pt x="2667" y="1930"/>
                        </a:moveTo>
                        <a:lnTo>
                          <a:pt x="2674" y="1935"/>
                        </a:lnTo>
                        <a:lnTo>
                          <a:pt x="2666" y="1950"/>
                        </a:lnTo>
                        <a:lnTo>
                          <a:pt x="2691" y="1966"/>
                        </a:lnTo>
                        <a:lnTo>
                          <a:pt x="2697" y="1977"/>
                        </a:lnTo>
                        <a:lnTo>
                          <a:pt x="2688" y="1988"/>
                        </a:lnTo>
                        <a:lnTo>
                          <a:pt x="2671" y="1990"/>
                        </a:lnTo>
                        <a:lnTo>
                          <a:pt x="2667" y="1971"/>
                        </a:lnTo>
                        <a:lnTo>
                          <a:pt x="2657" y="1981"/>
                        </a:lnTo>
                        <a:lnTo>
                          <a:pt x="2622" y="1977"/>
                        </a:lnTo>
                        <a:lnTo>
                          <a:pt x="2611" y="1980"/>
                        </a:lnTo>
                        <a:lnTo>
                          <a:pt x="2601" y="1963"/>
                        </a:lnTo>
                        <a:lnTo>
                          <a:pt x="2603" y="1952"/>
                        </a:lnTo>
                        <a:lnTo>
                          <a:pt x="2599" y="1937"/>
                        </a:lnTo>
                        <a:lnTo>
                          <a:pt x="2624" y="1930"/>
                        </a:lnTo>
                        <a:lnTo>
                          <a:pt x="2638" y="1943"/>
                        </a:lnTo>
                        <a:lnTo>
                          <a:pt x="2656" y="1925"/>
                        </a:lnTo>
                        <a:lnTo>
                          <a:pt x="2667" y="1930"/>
                        </a:lnTo>
                        <a:close/>
                        <a:moveTo>
                          <a:pt x="2676" y="1933"/>
                        </a:moveTo>
                        <a:lnTo>
                          <a:pt x="2671" y="1920"/>
                        </a:lnTo>
                        <a:lnTo>
                          <a:pt x="2691" y="1917"/>
                        </a:lnTo>
                        <a:lnTo>
                          <a:pt x="2691" y="1931"/>
                        </a:lnTo>
                        <a:lnTo>
                          <a:pt x="2676" y="1933"/>
                        </a:lnTo>
                        <a:close/>
                        <a:moveTo>
                          <a:pt x="2162" y="1495"/>
                        </a:moveTo>
                        <a:lnTo>
                          <a:pt x="2150" y="1501"/>
                        </a:lnTo>
                        <a:lnTo>
                          <a:pt x="2136" y="1493"/>
                        </a:lnTo>
                        <a:lnTo>
                          <a:pt x="2152" y="1477"/>
                        </a:lnTo>
                        <a:lnTo>
                          <a:pt x="2170" y="1482"/>
                        </a:lnTo>
                        <a:lnTo>
                          <a:pt x="2162" y="1495"/>
                        </a:lnTo>
                        <a:close/>
                        <a:moveTo>
                          <a:pt x="3111" y="1917"/>
                        </a:moveTo>
                        <a:lnTo>
                          <a:pt x="3097" y="1927"/>
                        </a:lnTo>
                        <a:lnTo>
                          <a:pt x="3096" y="1913"/>
                        </a:lnTo>
                        <a:lnTo>
                          <a:pt x="3111" y="1917"/>
                        </a:lnTo>
                        <a:close/>
                        <a:moveTo>
                          <a:pt x="3193" y="1928"/>
                        </a:moveTo>
                        <a:lnTo>
                          <a:pt x="3202" y="1942"/>
                        </a:lnTo>
                        <a:lnTo>
                          <a:pt x="3190" y="1950"/>
                        </a:lnTo>
                        <a:lnTo>
                          <a:pt x="3167" y="1953"/>
                        </a:lnTo>
                        <a:lnTo>
                          <a:pt x="3133" y="1968"/>
                        </a:lnTo>
                        <a:lnTo>
                          <a:pt x="3130" y="1977"/>
                        </a:lnTo>
                        <a:lnTo>
                          <a:pt x="3117" y="1972"/>
                        </a:lnTo>
                        <a:lnTo>
                          <a:pt x="3097" y="1973"/>
                        </a:lnTo>
                        <a:lnTo>
                          <a:pt x="3101" y="1962"/>
                        </a:lnTo>
                        <a:lnTo>
                          <a:pt x="3125" y="1952"/>
                        </a:lnTo>
                        <a:lnTo>
                          <a:pt x="3158" y="1946"/>
                        </a:lnTo>
                        <a:lnTo>
                          <a:pt x="3171" y="1937"/>
                        </a:lnTo>
                        <a:lnTo>
                          <a:pt x="3178" y="1941"/>
                        </a:lnTo>
                        <a:lnTo>
                          <a:pt x="3190" y="1925"/>
                        </a:lnTo>
                        <a:lnTo>
                          <a:pt x="3193" y="1928"/>
                        </a:lnTo>
                        <a:close/>
                        <a:moveTo>
                          <a:pt x="2037" y="1011"/>
                        </a:moveTo>
                        <a:lnTo>
                          <a:pt x="2036" y="1026"/>
                        </a:lnTo>
                        <a:lnTo>
                          <a:pt x="2050" y="1033"/>
                        </a:lnTo>
                        <a:lnTo>
                          <a:pt x="2051" y="1045"/>
                        </a:lnTo>
                        <a:lnTo>
                          <a:pt x="2035" y="1056"/>
                        </a:lnTo>
                        <a:lnTo>
                          <a:pt x="2032" y="1065"/>
                        </a:lnTo>
                        <a:lnTo>
                          <a:pt x="2021" y="1080"/>
                        </a:lnTo>
                        <a:lnTo>
                          <a:pt x="2019" y="1092"/>
                        </a:lnTo>
                        <a:lnTo>
                          <a:pt x="1989" y="1076"/>
                        </a:lnTo>
                        <a:lnTo>
                          <a:pt x="1966" y="1070"/>
                        </a:lnTo>
                        <a:lnTo>
                          <a:pt x="1962" y="1055"/>
                        </a:lnTo>
                        <a:lnTo>
                          <a:pt x="1950" y="1043"/>
                        </a:lnTo>
                        <a:lnTo>
                          <a:pt x="1942" y="1003"/>
                        </a:lnTo>
                        <a:lnTo>
                          <a:pt x="1937" y="992"/>
                        </a:lnTo>
                        <a:lnTo>
                          <a:pt x="1942" y="960"/>
                        </a:lnTo>
                        <a:lnTo>
                          <a:pt x="1955" y="963"/>
                        </a:lnTo>
                        <a:lnTo>
                          <a:pt x="1975" y="990"/>
                        </a:lnTo>
                        <a:lnTo>
                          <a:pt x="1989" y="985"/>
                        </a:lnTo>
                        <a:lnTo>
                          <a:pt x="2017" y="992"/>
                        </a:lnTo>
                        <a:lnTo>
                          <a:pt x="2017" y="1001"/>
                        </a:lnTo>
                        <a:lnTo>
                          <a:pt x="2034" y="1006"/>
                        </a:lnTo>
                        <a:lnTo>
                          <a:pt x="2037" y="1011"/>
                        </a:lnTo>
                        <a:close/>
                        <a:moveTo>
                          <a:pt x="3241" y="1937"/>
                        </a:moveTo>
                        <a:lnTo>
                          <a:pt x="3254" y="1945"/>
                        </a:lnTo>
                        <a:lnTo>
                          <a:pt x="3247" y="1952"/>
                        </a:lnTo>
                        <a:lnTo>
                          <a:pt x="3265" y="1957"/>
                        </a:lnTo>
                        <a:lnTo>
                          <a:pt x="3263" y="1965"/>
                        </a:lnTo>
                        <a:lnTo>
                          <a:pt x="3245" y="1962"/>
                        </a:lnTo>
                        <a:lnTo>
                          <a:pt x="3218" y="1965"/>
                        </a:lnTo>
                        <a:lnTo>
                          <a:pt x="3220" y="1955"/>
                        </a:lnTo>
                        <a:lnTo>
                          <a:pt x="3236" y="1953"/>
                        </a:lnTo>
                        <a:lnTo>
                          <a:pt x="3222" y="1941"/>
                        </a:lnTo>
                        <a:lnTo>
                          <a:pt x="3241" y="1937"/>
                        </a:lnTo>
                        <a:close/>
                        <a:moveTo>
                          <a:pt x="3168" y="1885"/>
                        </a:moveTo>
                        <a:lnTo>
                          <a:pt x="3167" y="1897"/>
                        </a:lnTo>
                        <a:lnTo>
                          <a:pt x="3161" y="1905"/>
                        </a:lnTo>
                        <a:lnTo>
                          <a:pt x="3145" y="1916"/>
                        </a:lnTo>
                        <a:lnTo>
                          <a:pt x="3136" y="1926"/>
                        </a:lnTo>
                        <a:lnTo>
                          <a:pt x="3131" y="1911"/>
                        </a:lnTo>
                        <a:lnTo>
                          <a:pt x="3158" y="1885"/>
                        </a:lnTo>
                        <a:lnTo>
                          <a:pt x="3168" y="1885"/>
                        </a:lnTo>
                        <a:close/>
                        <a:moveTo>
                          <a:pt x="1691" y="650"/>
                        </a:moveTo>
                        <a:lnTo>
                          <a:pt x="1682" y="655"/>
                        </a:lnTo>
                        <a:lnTo>
                          <a:pt x="1678" y="608"/>
                        </a:lnTo>
                        <a:lnTo>
                          <a:pt x="1688" y="613"/>
                        </a:lnTo>
                        <a:lnTo>
                          <a:pt x="1687" y="625"/>
                        </a:lnTo>
                        <a:lnTo>
                          <a:pt x="1691" y="650"/>
                        </a:lnTo>
                        <a:close/>
                        <a:moveTo>
                          <a:pt x="3271" y="1955"/>
                        </a:moveTo>
                        <a:lnTo>
                          <a:pt x="3256" y="1950"/>
                        </a:lnTo>
                        <a:lnTo>
                          <a:pt x="3262" y="1941"/>
                        </a:lnTo>
                        <a:lnTo>
                          <a:pt x="3289" y="1948"/>
                        </a:lnTo>
                        <a:lnTo>
                          <a:pt x="3271" y="1955"/>
                        </a:lnTo>
                        <a:close/>
                        <a:moveTo>
                          <a:pt x="3182" y="1815"/>
                        </a:moveTo>
                        <a:lnTo>
                          <a:pt x="3182" y="1831"/>
                        </a:lnTo>
                        <a:lnTo>
                          <a:pt x="3171" y="1833"/>
                        </a:lnTo>
                        <a:lnTo>
                          <a:pt x="3170" y="1820"/>
                        </a:lnTo>
                        <a:lnTo>
                          <a:pt x="3182" y="1815"/>
                        </a:lnTo>
                        <a:close/>
                        <a:moveTo>
                          <a:pt x="2593" y="823"/>
                        </a:moveTo>
                        <a:lnTo>
                          <a:pt x="2587" y="831"/>
                        </a:lnTo>
                        <a:lnTo>
                          <a:pt x="2573" y="822"/>
                        </a:lnTo>
                        <a:lnTo>
                          <a:pt x="2577" y="811"/>
                        </a:lnTo>
                        <a:lnTo>
                          <a:pt x="2593" y="823"/>
                        </a:lnTo>
                        <a:close/>
                        <a:moveTo>
                          <a:pt x="2140" y="332"/>
                        </a:moveTo>
                        <a:lnTo>
                          <a:pt x="2131" y="343"/>
                        </a:lnTo>
                        <a:lnTo>
                          <a:pt x="2130" y="357"/>
                        </a:lnTo>
                        <a:lnTo>
                          <a:pt x="2148" y="396"/>
                        </a:lnTo>
                        <a:lnTo>
                          <a:pt x="2173" y="400"/>
                        </a:lnTo>
                        <a:lnTo>
                          <a:pt x="2185" y="406"/>
                        </a:lnTo>
                        <a:lnTo>
                          <a:pt x="2195" y="416"/>
                        </a:lnTo>
                        <a:lnTo>
                          <a:pt x="2196" y="437"/>
                        </a:lnTo>
                        <a:lnTo>
                          <a:pt x="2187" y="448"/>
                        </a:lnTo>
                        <a:lnTo>
                          <a:pt x="2188" y="472"/>
                        </a:lnTo>
                        <a:lnTo>
                          <a:pt x="2197" y="483"/>
                        </a:lnTo>
                        <a:lnTo>
                          <a:pt x="2192" y="493"/>
                        </a:lnTo>
                        <a:lnTo>
                          <a:pt x="2203" y="505"/>
                        </a:lnTo>
                        <a:lnTo>
                          <a:pt x="2206" y="522"/>
                        </a:lnTo>
                        <a:lnTo>
                          <a:pt x="2217" y="523"/>
                        </a:lnTo>
                        <a:lnTo>
                          <a:pt x="2228" y="542"/>
                        </a:lnTo>
                        <a:lnTo>
                          <a:pt x="2218" y="551"/>
                        </a:lnTo>
                        <a:lnTo>
                          <a:pt x="2207" y="553"/>
                        </a:lnTo>
                        <a:lnTo>
                          <a:pt x="2186" y="526"/>
                        </a:lnTo>
                        <a:lnTo>
                          <a:pt x="2161" y="525"/>
                        </a:lnTo>
                        <a:lnTo>
                          <a:pt x="2146" y="532"/>
                        </a:lnTo>
                        <a:lnTo>
                          <a:pt x="2145" y="522"/>
                        </a:lnTo>
                        <a:lnTo>
                          <a:pt x="2151" y="505"/>
                        </a:lnTo>
                        <a:lnTo>
                          <a:pt x="2145" y="481"/>
                        </a:lnTo>
                        <a:lnTo>
                          <a:pt x="2138" y="475"/>
                        </a:lnTo>
                        <a:lnTo>
                          <a:pt x="2148" y="466"/>
                        </a:lnTo>
                        <a:lnTo>
                          <a:pt x="2147" y="446"/>
                        </a:lnTo>
                        <a:lnTo>
                          <a:pt x="2138" y="413"/>
                        </a:lnTo>
                        <a:lnTo>
                          <a:pt x="2126" y="402"/>
                        </a:lnTo>
                        <a:lnTo>
                          <a:pt x="2093" y="397"/>
                        </a:lnTo>
                        <a:lnTo>
                          <a:pt x="2086" y="375"/>
                        </a:lnTo>
                        <a:lnTo>
                          <a:pt x="2097" y="353"/>
                        </a:lnTo>
                        <a:lnTo>
                          <a:pt x="2113" y="343"/>
                        </a:lnTo>
                        <a:lnTo>
                          <a:pt x="2120" y="343"/>
                        </a:lnTo>
                        <a:lnTo>
                          <a:pt x="2140" y="332"/>
                        </a:lnTo>
                        <a:close/>
                        <a:moveTo>
                          <a:pt x="4335" y="816"/>
                        </a:moveTo>
                        <a:lnTo>
                          <a:pt x="3602" y="2173"/>
                        </a:lnTo>
                        <a:lnTo>
                          <a:pt x="3602" y="2178"/>
                        </a:lnTo>
                        <a:lnTo>
                          <a:pt x="3627" y="2206"/>
                        </a:lnTo>
                        <a:lnTo>
                          <a:pt x="3640" y="2199"/>
                        </a:lnTo>
                        <a:lnTo>
                          <a:pt x="3660" y="2228"/>
                        </a:lnTo>
                        <a:lnTo>
                          <a:pt x="3668" y="2230"/>
                        </a:lnTo>
                        <a:lnTo>
                          <a:pt x="3688" y="2222"/>
                        </a:lnTo>
                        <a:lnTo>
                          <a:pt x="3697" y="2222"/>
                        </a:lnTo>
                        <a:lnTo>
                          <a:pt x="3735" y="2239"/>
                        </a:lnTo>
                        <a:lnTo>
                          <a:pt x="3733" y="2247"/>
                        </a:lnTo>
                        <a:lnTo>
                          <a:pt x="3712" y="2271"/>
                        </a:lnTo>
                        <a:lnTo>
                          <a:pt x="3713" y="2289"/>
                        </a:lnTo>
                        <a:lnTo>
                          <a:pt x="3731" y="2318"/>
                        </a:lnTo>
                        <a:lnTo>
                          <a:pt x="3727" y="2341"/>
                        </a:lnTo>
                        <a:lnTo>
                          <a:pt x="3762" y="2447"/>
                        </a:lnTo>
                        <a:lnTo>
                          <a:pt x="3753" y="2487"/>
                        </a:lnTo>
                        <a:lnTo>
                          <a:pt x="3752" y="2501"/>
                        </a:lnTo>
                        <a:lnTo>
                          <a:pt x="3768" y="2495"/>
                        </a:lnTo>
                        <a:lnTo>
                          <a:pt x="3811" y="2487"/>
                        </a:lnTo>
                        <a:lnTo>
                          <a:pt x="3828" y="2495"/>
                        </a:lnTo>
                        <a:lnTo>
                          <a:pt x="3847" y="2481"/>
                        </a:lnTo>
                        <a:lnTo>
                          <a:pt x="3860" y="2456"/>
                        </a:lnTo>
                        <a:lnTo>
                          <a:pt x="3875" y="2458"/>
                        </a:lnTo>
                        <a:lnTo>
                          <a:pt x="3885" y="2441"/>
                        </a:lnTo>
                        <a:lnTo>
                          <a:pt x="3912" y="2446"/>
                        </a:lnTo>
                        <a:lnTo>
                          <a:pt x="3952" y="2442"/>
                        </a:lnTo>
                        <a:lnTo>
                          <a:pt x="3961" y="2463"/>
                        </a:lnTo>
                        <a:lnTo>
                          <a:pt x="3968" y="2493"/>
                        </a:lnTo>
                        <a:lnTo>
                          <a:pt x="3955" y="2508"/>
                        </a:lnTo>
                        <a:lnTo>
                          <a:pt x="3957" y="2534"/>
                        </a:lnTo>
                        <a:lnTo>
                          <a:pt x="3972" y="2547"/>
                        </a:lnTo>
                        <a:lnTo>
                          <a:pt x="3975" y="2568"/>
                        </a:lnTo>
                        <a:lnTo>
                          <a:pt x="3982" y="2583"/>
                        </a:lnTo>
                        <a:lnTo>
                          <a:pt x="3977" y="2594"/>
                        </a:lnTo>
                        <a:lnTo>
                          <a:pt x="3982" y="2618"/>
                        </a:lnTo>
                        <a:lnTo>
                          <a:pt x="4001" y="2646"/>
                        </a:lnTo>
                        <a:lnTo>
                          <a:pt x="4007" y="2681"/>
                        </a:lnTo>
                        <a:lnTo>
                          <a:pt x="4013" y="2698"/>
                        </a:lnTo>
                        <a:lnTo>
                          <a:pt x="4010" y="2724"/>
                        </a:lnTo>
                        <a:lnTo>
                          <a:pt x="4016" y="2752"/>
                        </a:lnTo>
                        <a:lnTo>
                          <a:pt x="4015" y="2774"/>
                        </a:lnTo>
                        <a:lnTo>
                          <a:pt x="4018" y="2798"/>
                        </a:lnTo>
                        <a:lnTo>
                          <a:pt x="4023" y="2864"/>
                        </a:lnTo>
                        <a:lnTo>
                          <a:pt x="4028" y="2892"/>
                        </a:lnTo>
                        <a:lnTo>
                          <a:pt x="4030" y="2917"/>
                        </a:lnTo>
                        <a:lnTo>
                          <a:pt x="4015" y="2931"/>
                        </a:lnTo>
                        <a:lnTo>
                          <a:pt x="4035" y="2948"/>
                        </a:lnTo>
                        <a:lnTo>
                          <a:pt x="4020" y="2969"/>
                        </a:lnTo>
                        <a:lnTo>
                          <a:pt x="4033" y="2986"/>
                        </a:lnTo>
                        <a:lnTo>
                          <a:pt x="4030" y="2992"/>
                        </a:lnTo>
                        <a:lnTo>
                          <a:pt x="4027" y="3017"/>
                        </a:lnTo>
                        <a:lnTo>
                          <a:pt x="4045" y="3023"/>
                        </a:lnTo>
                        <a:lnTo>
                          <a:pt x="4071" y="3066"/>
                        </a:lnTo>
                        <a:lnTo>
                          <a:pt x="4090" y="3079"/>
                        </a:lnTo>
                        <a:lnTo>
                          <a:pt x="4098" y="3101"/>
                        </a:lnTo>
                        <a:lnTo>
                          <a:pt x="4108" y="3109"/>
                        </a:lnTo>
                        <a:lnTo>
                          <a:pt x="4110" y="3128"/>
                        </a:lnTo>
                        <a:lnTo>
                          <a:pt x="4133" y="3144"/>
                        </a:lnTo>
                        <a:lnTo>
                          <a:pt x="4133" y="3157"/>
                        </a:lnTo>
                        <a:lnTo>
                          <a:pt x="4128" y="3171"/>
                        </a:lnTo>
                        <a:lnTo>
                          <a:pt x="4107" y="3188"/>
                        </a:lnTo>
                        <a:lnTo>
                          <a:pt x="4106" y="3203"/>
                        </a:lnTo>
                        <a:lnTo>
                          <a:pt x="4098" y="3218"/>
                        </a:lnTo>
                        <a:lnTo>
                          <a:pt x="4096" y="3259"/>
                        </a:lnTo>
                        <a:lnTo>
                          <a:pt x="4086" y="3264"/>
                        </a:lnTo>
                        <a:lnTo>
                          <a:pt x="4063" y="3286"/>
                        </a:lnTo>
                        <a:lnTo>
                          <a:pt x="4045" y="3301"/>
                        </a:lnTo>
                        <a:lnTo>
                          <a:pt x="4021" y="3308"/>
                        </a:lnTo>
                        <a:lnTo>
                          <a:pt x="4007" y="3298"/>
                        </a:lnTo>
                        <a:lnTo>
                          <a:pt x="3996" y="3303"/>
                        </a:lnTo>
                        <a:lnTo>
                          <a:pt x="3993" y="3294"/>
                        </a:lnTo>
                        <a:lnTo>
                          <a:pt x="4001" y="3278"/>
                        </a:lnTo>
                        <a:lnTo>
                          <a:pt x="3998" y="3267"/>
                        </a:lnTo>
                        <a:lnTo>
                          <a:pt x="4007" y="3258"/>
                        </a:lnTo>
                        <a:lnTo>
                          <a:pt x="4001" y="3246"/>
                        </a:lnTo>
                        <a:lnTo>
                          <a:pt x="4005" y="3238"/>
                        </a:lnTo>
                        <a:lnTo>
                          <a:pt x="4028" y="3223"/>
                        </a:lnTo>
                        <a:lnTo>
                          <a:pt x="4041" y="3194"/>
                        </a:lnTo>
                        <a:lnTo>
                          <a:pt x="4048" y="3171"/>
                        </a:lnTo>
                        <a:lnTo>
                          <a:pt x="4043" y="3142"/>
                        </a:lnTo>
                        <a:lnTo>
                          <a:pt x="4040" y="3129"/>
                        </a:lnTo>
                        <a:lnTo>
                          <a:pt x="4041" y="3118"/>
                        </a:lnTo>
                        <a:lnTo>
                          <a:pt x="4026" y="3121"/>
                        </a:lnTo>
                        <a:lnTo>
                          <a:pt x="4023" y="3112"/>
                        </a:lnTo>
                        <a:lnTo>
                          <a:pt x="3991" y="3118"/>
                        </a:lnTo>
                        <a:lnTo>
                          <a:pt x="3977" y="3118"/>
                        </a:lnTo>
                        <a:lnTo>
                          <a:pt x="3983" y="3131"/>
                        </a:lnTo>
                        <a:lnTo>
                          <a:pt x="3971" y="3147"/>
                        </a:lnTo>
                        <a:lnTo>
                          <a:pt x="3958" y="3153"/>
                        </a:lnTo>
                        <a:lnTo>
                          <a:pt x="3951" y="3166"/>
                        </a:lnTo>
                        <a:lnTo>
                          <a:pt x="3938" y="3146"/>
                        </a:lnTo>
                        <a:lnTo>
                          <a:pt x="3941" y="3122"/>
                        </a:lnTo>
                        <a:lnTo>
                          <a:pt x="3961" y="3113"/>
                        </a:lnTo>
                        <a:lnTo>
                          <a:pt x="3982" y="3094"/>
                        </a:lnTo>
                        <a:lnTo>
                          <a:pt x="3988" y="3073"/>
                        </a:lnTo>
                        <a:lnTo>
                          <a:pt x="4003" y="3072"/>
                        </a:lnTo>
                        <a:lnTo>
                          <a:pt x="3997" y="3053"/>
                        </a:lnTo>
                        <a:lnTo>
                          <a:pt x="4000" y="3044"/>
                        </a:lnTo>
                        <a:lnTo>
                          <a:pt x="3987" y="3036"/>
                        </a:lnTo>
                        <a:lnTo>
                          <a:pt x="3988" y="3021"/>
                        </a:lnTo>
                        <a:lnTo>
                          <a:pt x="3981" y="3007"/>
                        </a:lnTo>
                        <a:lnTo>
                          <a:pt x="3991" y="2993"/>
                        </a:lnTo>
                        <a:lnTo>
                          <a:pt x="3976" y="2993"/>
                        </a:lnTo>
                        <a:lnTo>
                          <a:pt x="3983" y="2973"/>
                        </a:lnTo>
                        <a:lnTo>
                          <a:pt x="3972" y="2958"/>
                        </a:lnTo>
                        <a:lnTo>
                          <a:pt x="3965" y="2936"/>
                        </a:lnTo>
                        <a:lnTo>
                          <a:pt x="3975" y="2932"/>
                        </a:lnTo>
                        <a:lnTo>
                          <a:pt x="3957" y="2904"/>
                        </a:lnTo>
                        <a:lnTo>
                          <a:pt x="3958" y="2896"/>
                        </a:lnTo>
                        <a:lnTo>
                          <a:pt x="3946" y="2896"/>
                        </a:lnTo>
                        <a:lnTo>
                          <a:pt x="3927" y="2876"/>
                        </a:lnTo>
                        <a:lnTo>
                          <a:pt x="3938" y="2864"/>
                        </a:lnTo>
                        <a:lnTo>
                          <a:pt x="3950" y="2859"/>
                        </a:lnTo>
                        <a:lnTo>
                          <a:pt x="3950" y="2836"/>
                        </a:lnTo>
                        <a:lnTo>
                          <a:pt x="3953" y="2828"/>
                        </a:lnTo>
                        <a:lnTo>
                          <a:pt x="3947" y="2811"/>
                        </a:lnTo>
                        <a:lnTo>
                          <a:pt x="3952" y="2799"/>
                        </a:lnTo>
                        <a:lnTo>
                          <a:pt x="3960" y="2799"/>
                        </a:lnTo>
                        <a:lnTo>
                          <a:pt x="3978" y="2829"/>
                        </a:lnTo>
                        <a:lnTo>
                          <a:pt x="3983" y="2826"/>
                        </a:lnTo>
                        <a:lnTo>
                          <a:pt x="3965" y="2797"/>
                        </a:lnTo>
                        <a:lnTo>
                          <a:pt x="3973" y="2771"/>
                        </a:lnTo>
                        <a:lnTo>
                          <a:pt x="3955" y="2786"/>
                        </a:lnTo>
                        <a:lnTo>
                          <a:pt x="3952" y="2756"/>
                        </a:lnTo>
                        <a:lnTo>
                          <a:pt x="3945" y="2733"/>
                        </a:lnTo>
                        <a:lnTo>
                          <a:pt x="3950" y="2716"/>
                        </a:lnTo>
                        <a:lnTo>
                          <a:pt x="3957" y="2704"/>
                        </a:lnTo>
                        <a:lnTo>
                          <a:pt x="3966" y="2702"/>
                        </a:lnTo>
                        <a:lnTo>
                          <a:pt x="3970" y="2687"/>
                        </a:lnTo>
                        <a:lnTo>
                          <a:pt x="3940" y="2707"/>
                        </a:lnTo>
                        <a:lnTo>
                          <a:pt x="3930" y="2679"/>
                        </a:lnTo>
                        <a:lnTo>
                          <a:pt x="3913" y="2663"/>
                        </a:lnTo>
                        <a:lnTo>
                          <a:pt x="3916" y="2646"/>
                        </a:lnTo>
                        <a:lnTo>
                          <a:pt x="3915" y="2619"/>
                        </a:lnTo>
                        <a:lnTo>
                          <a:pt x="3920" y="2619"/>
                        </a:lnTo>
                        <a:lnTo>
                          <a:pt x="3926" y="2601"/>
                        </a:lnTo>
                        <a:lnTo>
                          <a:pt x="3915" y="2604"/>
                        </a:lnTo>
                        <a:lnTo>
                          <a:pt x="3913" y="2589"/>
                        </a:lnTo>
                        <a:lnTo>
                          <a:pt x="3918" y="2581"/>
                        </a:lnTo>
                        <a:lnTo>
                          <a:pt x="3926" y="2546"/>
                        </a:lnTo>
                        <a:lnTo>
                          <a:pt x="3916" y="2542"/>
                        </a:lnTo>
                        <a:lnTo>
                          <a:pt x="3903" y="2564"/>
                        </a:lnTo>
                        <a:lnTo>
                          <a:pt x="3903" y="2596"/>
                        </a:lnTo>
                        <a:lnTo>
                          <a:pt x="3900" y="2616"/>
                        </a:lnTo>
                        <a:lnTo>
                          <a:pt x="3893" y="2618"/>
                        </a:lnTo>
                        <a:lnTo>
                          <a:pt x="3891" y="2646"/>
                        </a:lnTo>
                        <a:lnTo>
                          <a:pt x="3886" y="2667"/>
                        </a:lnTo>
                        <a:lnTo>
                          <a:pt x="3873" y="2677"/>
                        </a:lnTo>
                        <a:lnTo>
                          <a:pt x="3863" y="2666"/>
                        </a:lnTo>
                        <a:lnTo>
                          <a:pt x="3865" y="2642"/>
                        </a:lnTo>
                        <a:lnTo>
                          <a:pt x="3857" y="2641"/>
                        </a:lnTo>
                        <a:lnTo>
                          <a:pt x="3851" y="2631"/>
                        </a:lnTo>
                        <a:lnTo>
                          <a:pt x="3830" y="2628"/>
                        </a:lnTo>
                        <a:lnTo>
                          <a:pt x="3835" y="2613"/>
                        </a:lnTo>
                        <a:lnTo>
                          <a:pt x="3842" y="2608"/>
                        </a:lnTo>
                        <a:lnTo>
                          <a:pt x="3846" y="2559"/>
                        </a:lnTo>
                        <a:lnTo>
                          <a:pt x="3835" y="2564"/>
                        </a:lnTo>
                        <a:lnTo>
                          <a:pt x="3827" y="2561"/>
                        </a:lnTo>
                        <a:lnTo>
                          <a:pt x="3816" y="2543"/>
                        </a:lnTo>
                        <a:lnTo>
                          <a:pt x="3821" y="2527"/>
                        </a:lnTo>
                        <a:lnTo>
                          <a:pt x="3808" y="2531"/>
                        </a:lnTo>
                        <a:lnTo>
                          <a:pt x="3793" y="2512"/>
                        </a:lnTo>
                        <a:lnTo>
                          <a:pt x="3790" y="2521"/>
                        </a:lnTo>
                        <a:lnTo>
                          <a:pt x="3813" y="2548"/>
                        </a:lnTo>
                        <a:lnTo>
                          <a:pt x="3807" y="2556"/>
                        </a:lnTo>
                        <a:lnTo>
                          <a:pt x="3816" y="2562"/>
                        </a:lnTo>
                        <a:lnTo>
                          <a:pt x="3825" y="2593"/>
                        </a:lnTo>
                        <a:lnTo>
                          <a:pt x="3821" y="2599"/>
                        </a:lnTo>
                        <a:lnTo>
                          <a:pt x="3820" y="2622"/>
                        </a:lnTo>
                        <a:lnTo>
                          <a:pt x="3813" y="2626"/>
                        </a:lnTo>
                        <a:lnTo>
                          <a:pt x="3788" y="2622"/>
                        </a:lnTo>
                        <a:lnTo>
                          <a:pt x="3780" y="2616"/>
                        </a:lnTo>
                        <a:lnTo>
                          <a:pt x="3766" y="2626"/>
                        </a:lnTo>
                        <a:lnTo>
                          <a:pt x="3756" y="2603"/>
                        </a:lnTo>
                        <a:lnTo>
                          <a:pt x="3758" y="2596"/>
                        </a:lnTo>
                        <a:lnTo>
                          <a:pt x="3751" y="2586"/>
                        </a:lnTo>
                        <a:lnTo>
                          <a:pt x="3740" y="2582"/>
                        </a:lnTo>
                        <a:lnTo>
                          <a:pt x="3722" y="2544"/>
                        </a:lnTo>
                        <a:lnTo>
                          <a:pt x="3723" y="2536"/>
                        </a:lnTo>
                        <a:lnTo>
                          <a:pt x="3708" y="2497"/>
                        </a:lnTo>
                        <a:lnTo>
                          <a:pt x="3713" y="2478"/>
                        </a:lnTo>
                        <a:lnTo>
                          <a:pt x="3706" y="2457"/>
                        </a:lnTo>
                        <a:lnTo>
                          <a:pt x="3682" y="2421"/>
                        </a:lnTo>
                        <a:lnTo>
                          <a:pt x="3667" y="2393"/>
                        </a:lnTo>
                        <a:lnTo>
                          <a:pt x="3653" y="2378"/>
                        </a:lnTo>
                        <a:lnTo>
                          <a:pt x="3625" y="2323"/>
                        </a:lnTo>
                        <a:lnTo>
                          <a:pt x="3641" y="2327"/>
                        </a:lnTo>
                        <a:lnTo>
                          <a:pt x="3663" y="2313"/>
                        </a:lnTo>
                        <a:lnTo>
                          <a:pt x="3661" y="2303"/>
                        </a:lnTo>
                        <a:lnTo>
                          <a:pt x="3666" y="2284"/>
                        </a:lnTo>
                        <a:lnTo>
                          <a:pt x="3683" y="2276"/>
                        </a:lnTo>
                        <a:lnTo>
                          <a:pt x="3686" y="2299"/>
                        </a:lnTo>
                        <a:lnTo>
                          <a:pt x="3692" y="2302"/>
                        </a:lnTo>
                        <a:lnTo>
                          <a:pt x="3685" y="2267"/>
                        </a:lnTo>
                        <a:lnTo>
                          <a:pt x="3673" y="2277"/>
                        </a:lnTo>
                        <a:lnTo>
                          <a:pt x="3662" y="2277"/>
                        </a:lnTo>
                        <a:lnTo>
                          <a:pt x="3645" y="2286"/>
                        </a:lnTo>
                        <a:lnTo>
                          <a:pt x="3603" y="2284"/>
                        </a:lnTo>
                        <a:lnTo>
                          <a:pt x="3583" y="2273"/>
                        </a:lnTo>
                        <a:lnTo>
                          <a:pt x="3568" y="2258"/>
                        </a:lnTo>
                        <a:lnTo>
                          <a:pt x="3548" y="2228"/>
                        </a:lnTo>
                        <a:lnTo>
                          <a:pt x="3542" y="2217"/>
                        </a:lnTo>
                        <a:lnTo>
                          <a:pt x="3555" y="2216"/>
                        </a:lnTo>
                        <a:lnTo>
                          <a:pt x="3561" y="2207"/>
                        </a:lnTo>
                        <a:lnTo>
                          <a:pt x="3555" y="2199"/>
                        </a:lnTo>
                        <a:lnTo>
                          <a:pt x="3533" y="2199"/>
                        </a:lnTo>
                        <a:lnTo>
                          <a:pt x="3525" y="2196"/>
                        </a:lnTo>
                        <a:lnTo>
                          <a:pt x="3513" y="2178"/>
                        </a:lnTo>
                        <a:lnTo>
                          <a:pt x="3463" y="2134"/>
                        </a:lnTo>
                        <a:lnTo>
                          <a:pt x="3432" y="2126"/>
                        </a:lnTo>
                        <a:lnTo>
                          <a:pt x="3403" y="2112"/>
                        </a:lnTo>
                        <a:lnTo>
                          <a:pt x="3378" y="2107"/>
                        </a:lnTo>
                        <a:lnTo>
                          <a:pt x="3376" y="2090"/>
                        </a:lnTo>
                        <a:lnTo>
                          <a:pt x="3366" y="2062"/>
                        </a:lnTo>
                        <a:lnTo>
                          <a:pt x="3350" y="2055"/>
                        </a:lnTo>
                        <a:lnTo>
                          <a:pt x="3345" y="2031"/>
                        </a:lnTo>
                        <a:lnTo>
                          <a:pt x="3333" y="2025"/>
                        </a:lnTo>
                        <a:lnTo>
                          <a:pt x="3342" y="2015"/>
                        </a:lnTo>
                        <a:lnTo>
                          <a:pt x="3357" y="2008"/>
                        </a:lnTo>
                        <a:lnTo>
                          <a:pt x="3358" y="1998"/>
                        </a:lnTo>
                        <a:lnTo>
                          <a:pt x="3346" y="1991"/>
                        </a:lnTo>
                        <a:lnTo>
                          <a:pt x="3332" y="2001"/>
                        </a:lnTo>
                        <a:lnTo>
                          <a:pt x="3320" y="2003"/>
                        </a:lnTo>
                        <a:lnTo>
                          <a:pt x="3308" y="1998"/>
                        </a:lnTo>
                        <a:lnTo>
                          <a:pt x="3303" y="1980"/>
                        </a:lnTo>
                        <a:lnTo>
                          <a:pt x="3280" y="1963"/>
                        </a:lnTo>
                        <a:lnTo>
                          <a:pt x="3310" y="1953"/>
                        </a:lnTo>
                        <a:lnTo>
                          <a:pt x="3312" y="1947"/>
                        </a:lnTo>
                        <a:lnTo>
                          <a:pt x="3302" y="1931"/>
                        </a:lnTo>
                        <a:lnTo>
                          <a:pt x="3277" y="1928"/>
                        </a:lnTo>
                        <a:lnTo>
                          <a:pt x="3290" y="1921"/>
                        </a:lnTo>
                        <a:lnTo>
                          <a:pt x="3286" y="1912"/>
                        </a:lnTo>
                        <a:lnTo>
                          <a:pt x="3263" y="1911"/>
                        </a:lnTo>
                        <a:lnTo>
                          <a:pt x="3263" y="1898"/>
                        </a:lnTo>
                        <a:lnTo>
                          <a:pt x="3287" y="1903"/>
                        </a:lnTo>
                        <a:lnTo>
                          <a:pt x="3282" y="1893"/>
                        </a:lnTo>
                        <a:lnTo>
                          <a:pt x="3272" y="1892"/>
                        </a:lnTo>
                        <a:lnTo>
                          <a:pt x="3266" y="1876"/>
                        </a:lnTo>
                        <a:lnTo>
                          <a:pt x="3267" y="1863"/>
                        </a:lnTo>
                        <a:lnTo>
                          <a:pt x="3291" y="1853"/>
                        </a:lnTo>
                        <a:lnTo>
                          <a:pt x="3308" y="1866"/>
                        </a:lnTo>
                        <a:lnTo>
                          <a:pt x="3311" y="1856"/>
                        </a:lnTo>
                        <a:lnTo>
                          <a:pt x="3293" y="1846"/>
                        </a:lnTo>
                        <a:lnTo>
                          <a:pt x="3270" y="1851"/>
                        </a:lnTo>
                        <a:lnTo>
                          <a:pt x="3257" y="1848"/>
                        </a:lnTo>
                        <a:lnTo>
                          <a:pt x="3250" y="1841"/>
                        </a:lnTo>
                        <a:lnTo>
                          <a:pt x="3222" y="1847"/>
                        </a:lnTo>
                        <a:lnTo>
                          <a:pt x="3213" y="1828"/>
                        </a:lnTo>
                        <a:lnTo>
                          <a:pt x="3207" y="1838"/>
                        </a:lnTo>
                        <a:lnTo>
                          <a:pt x="3200" y="1837"/>
                        </a:lnTo>
                        <a:lnTo>
                          <a:pt x="3197" y="1826"/>
                        </a:lnTo>
                        <a:lnTo>
                          <a:pt x="3187" y="1821"/>
                        </a:lnTo>
                        <a:lnTo>
                          <a:pt x="3183" y="1811"/>
                        </a:lnTo>
                        <a:lnTo>
                          <a:pt x="3192" y="1801"/>
                        </a:lnTo>
                        <a:lnTo>
                          <a:pt x="3181" y="1796"/>
                        </a:lnTo>
                        <a:lnTo>
                          <a:pt x="3162" y="1807"/>
                        </a:lnTo>
                        <a:lnTo>
                          <a:pt x="3138" y="1804"/>
                        </a:lnTo>
                        <a:lnTo>
                          <a:pt x="3131" y="1817"/>
                        </a:lnTo>
                        <a:lnTo>
                          <a:pt x="3143" y="1817"/>
                        </a:lnTo>
                        <a:lnTo>
                          <a:pt x="3136" y="1834"/>
                        </a:lnTo>
                        <a:lnTo>
                          <a:pt x="3153" y="1827"/>
                        </a:lnTo>
                        <a:lnTo>
                          <a:pt x="3145" y="1848"/>
                        </a:lnTo>
                        <a:lnTo>
                          <a:pt x="3131" y="1853"/>
                        </a:lnTo>
                        <a:lnTo>
                          <a:pt x="3130" y="1862"/>
                        </a:lnTo>
                        <a:lnTo>
                          <a:pt x="3151" y="1854"/>
                        </a:lnTo>
                        <a:lnTo>
                          <a:pt x="3151" y="1874"/>
                        </a:lnTo>
                        <a:lnTo>
                          <a:pt x="3147" y="1882"/>
                        </a:lnTo>
                        <a:lnTo>
                          <a:pt x="3133" y="1882"/>
                        </a:lnTo>
                        <a:lnTo>
                          <a:pt x="3111" y="1889"/>
                        </a:lnTo>
                        <a:lnTo>
                          <a:pt x="3116" y="1902"/>
                        </a:lnTo>
                        <a:lnTo>
                          <a:pt x="3107" y="1912"/>
                        </a:lnTo>
                        <a:lnTo>
                          <a:pt x="3097" y="1909"/>
                        </a:lnTo>
                        <a:lnTo>
                          <a:pt x="3078" y="1923"/>
                        </a:lnTo>
                        <a:lnTo>
                          <a:pt x="3065" y="1921"/>
                        </a:lnTo>
                        <a:lnTo>
                          <a:pt x="3042" y="1903"/>
                        </a:lnTo>
                        <a:lnTo>
                          <a:pt x="3018" y="1878"/>
                        </a:lnTo>
                        <a:lnTo>
                          <a:pt x="2992" y="1884"/>
                        </a:lnTo>
                        <a:lnTo>
                          <a:pt x="2982" y="1878"/>
                        </a:lnTo>
                        <a:lnTo>
                          <a:pt x="2962" y="1897"/>
                        </a:lnTo>
                        <a:lnTo>
                          <a:pt x="2955" y="1892"/>
                        </a:lnTo>
                        <a:lnTo>
                          <a:pt x="2930" y="1902"/>
                        </a:lnTo>
                        <a:lnTo>
                          <a:pt x="2923" y="1899"/>
                        </a:lnTo>
                        <a:lnTo>
                          <a:pt x="2907" y="1906"/>
                        </a:lnTo>
                        <a:lnTo>
                          <a:pt x="2897" y="1888"/>
                        </a:lnTo>
                        <a:lnTo>
                          <a:pt x="2881" y="1898"/>
                        </a:lnTo>
                        <a:lnTo>
                          <a:pt x="2855" y="1898"/>
                        </a:lnTo>
                        <a:lnTo>
                          <a:pt x="2850" y="1908"/>
                        </a:lnTo>
                        <a:lnTo>
                          <a:pt x="2840" y="1896"/>
                        </a:lnTo>
                        <a:lnTo>
                          <a:pt x="2832" y="1903"/>
                        </a:lnTo>
                        <a:lnTo>
                          <a:pt x="2821" y="1895"/>
                        </a:lnTo>
                        <a:lnTo>
                          <a:pt x="2817" y="1886"/>
                        </a:lnTo>
                        <a:lnTo>
                          <a:pt x="2798" y="1888"/>
                        </a:lnTo>
                        <a:lnTo>
                          <a:pt x="2786" y="1881"/>
                        </a:lnTo>
                        <a:lnTo>
                          <a:pt x="2781" y="1856"/>
                        </a:lnTo>
                        <a:lnTo>
                          <a:pt x="2798" y="1843"/>
                        </a:lnTo>
                        <a:lnTo>
                          <a:pt x="2821" y="1845"/>
                        </a:lnTo>
                        <a:lnTo>
                          <a:pt x="2836" y="1853"/>
                        </a:lnTo>
                        <a:lnTo>
                          <a:pt x="2838" y="1848"/>
                        </a:lnTo>
                        <a:lnTo>
                          <a:pt x="2852" y="1852"/>
                        </a:lnTo>
                        <a:lnTo>
                          <a:pt x="2867" y="1845"/>
                        </a:lnTo>
                        <a:lnTo>
                          <a:pt x="2890" y="1837"/>
                        </a:lnTo>
                        <a:lnTo>
                          <a:pt x="2883" y="1831"/>
                        </a:lnTo>
                        <a:lnTo>
                          <a:pt x="2846" y="1833"/>
                        </a:lnTo>
                        <a:lnTo>
                          <a:pt x="2832" y="1814"/>
                        </a:lnTo>
                        <a:lnTo>
                          <a:pt x="2833" y="1796"/>
                        </a:lnTo>
                        <a:lnTo>
                          <a:pt x="2867" y="1771"/>
                        </a:lnTo>
                        <a:lnTo>
                          <a:pt x="2896" y="1763"/>
                        </a:lnTo>
                        <a:lnTo>
                          <a:pt x="2906" y="1757"/>
                        </a:lnTo>
                        <a:lnTo>
                          <a:pt x="2916" y="1744"/>
                        </a:lnTo>
                        <a:lnTo>
                          <a:pt x="2925" y="1744"/>
                        </a:lnTo>
                        <a:lnTo>
                          <a:pt x="2940" y="1726"/>
                        </a:lnTo>
                        <a:lnTo>
                          <a:pt x="2947" y="1696"/>
                        </a:lnTo>
                        <a:lnTo>
                          <a:pt x="2962" y="1696"/>
                        </a:lnTo>
                        <a:lnTo>
                          <a:pt x="2975" y="1703"/>
                        </a:lnTo>
                        <a:lnTo>
                          <a:pt x="3007" y="1698"/>
                        </a:lnTo>
                        <a:lnTo>
                          <a:pt x="3037" y="1697"/>
                        </a:lnTo>
                        <a:lnTo>
                          <a:pt x="3043" y="1703"/>
                        </a:lnTo>
                        <a:lnTo>
                          <a:pt x="3042" y="1719"/>
                        </a:lnTo>
                        <a:lnTo>
                          <a:pt x="3052" y="1731"/>
                        </a:lnTo>
                        <a:lnTo>
                          <a:pt x="3072" y="1732"/>
                        </a:lnTo>
                        <a:lnTo>
                          <a:pt x="3081" y="1746"/>
                        </a:lnTo>
                        <a:lnTo>
                          <a:pt x="3108" y="1774"/>
                        </a:lnTo>
                        <a:lnTo>
                          <a:pt x="3107" y="1761"/>
                        </a:lnTo>
                        <a:lnTo>
                          <a:pt x="3098" y="1759"/>
                        </a:lnTo>
                        <a:lnTo>
                          <a:pt x="3093" y="1746"/>
                        </a:lnTo>
                        <a:lnTo>
                          <a:pt x="3086" y="1738"/>
                        </a:lnTo>
                        <a:lnTo>
                          <a:pt x="3072" y="1698"/>
                        </a:lnTo>
                        <a:lnTo>
                          <a:pt x="3090" y="1696"/>
                        </a:lnTo>
                        <a:lnTo>
                          <a:pt x="3106" y="1686"/>
                        </a:lnTo>
                        <a:lnTo>
                          <a:pt x="3121" y="1682"/>
                        </a:lnTo>
                        <a:lnTo>
                          <a:pt x="3148" y="1687"/>
                        </a:lnTo>
                        <a:lnTo>
                          <a:pt x="3143" y="1678"/>
                        </a:lnTo>
                        <a:lnTo>
                          <a:pt x="3128" y="1672"/>
                        </a:lnTo>
                        <a:lnTo>
                          <a:pt x="3118" y="1672"/>
                        </a:lnTo>
                        <a:lnTo>
                          <a:pt x="3100" y="1678"/>
                        </a:lnTo>
                        <a:lnTo>
                          <a:pt x="3085" y="1690"/>
                        </a:lnTo>
                        <a:lnTo>
                          <a:pt x="3056" y="1670"/>
                        </a:lnTo>
                        <a:lnTo>
                          <a:pt x="3048" y="1655"/>
                        </a:lnTo>
                        <a:lnTo>
                          <a:pt x="3038" y="1657"/>
                        </a:lnTo>
                        <a:lnTo>
                          <a:pt x="3021" y="1653"/>
                        </a:lnTo>
                        <a:lnTo>
                          <a:pt x="3010" y="1655"/>
                        </a:lnTo>
                        <a:lnTo>
                          <a:pt x="2995" y="1663"/>
                        </a:lnTo>
                        <a:lnTo>
                          <a:pt x="2977" y="1661"/>
                        </a:lnTo>
                        <a:lnTo>
                          <a:pt x="2962" y="1655"/>
                        </a:lnTo>
                        <a:lnTo>
                          <a:pt x="2945" y="1656"/>
                        </a:lnTo>
                        <a:lnTo>
                          <a:pt x="2923" y="1673"/>
                        </a:lnTo>
                        <a:lnTo>
                          <a:pt x="2903" y="1675"/>
                        </a:lnTo>
                        <a:lnTo>
                          <a:pt x="2895" y="1680"/>
                        </a:lnTo>
                        <a:lnTo>
                          <a:pt x="2881" y="1681"/>
                        </a:lnTo>
                        <a:lnTo>
                          <a:pt x="2867" y="1686"/>
                        </a:lnTo>
                        <a:lnTo>
                          <a:pt x="2863" y="1695"/>
                        </a:lnTo>
                        <a:lnTo>
                          <a:pt x="2846" y="1706"/>
                        </a:lnTo>
                        <a:lnTo>
                          <a:pt x="2826" y="1706"/>
                        </a:lnTo>
                        <a:lnTo>
                          <a:pt x="2816" y="1710"/>
                        </a:lnTo>
                        <a:lnTo>
                          <a:pt x="2816" y="1725"/>
                        </a:lnTo>
                        <a:lnTo>
                          <a:pt x="2807" y="1732"/>
                        </a:lnTo>
                        <a:lnTo>
                          <a:pt x="2790" y="1741"/>
                        </a:lnTo>
                        <a:lnTo>
                          <a:pt x="2780" y="1738"/>
                        </a:lnTo>
                        <a:lnTo>
                          <a:pt x="2770" y="1731"/>
                        </a:lnTo>
                        <a:lnTo>
                          <a:pt x="2755" y="1723"/>
                        </a:lnTo>
                        <a:lnTo>
                          <a:pt x="2755" y="1733"/>
                        </a:lnTo>
                        <a:lnTo>
                          <a:pt x="2762" y="1742"/>
                        </a:lnTo>
                        <a:lnTo>
                          <a:pt x="2751" y="1751"/>
                        </a:lnTo>
                        <a:lnTo>
                          <a:pt x="2727" y="1748"/>
                        </a:lnTo>
                        <a:lnTo>
                          <a:pt x="2720" y="1738"/>
                        </a:lnTo>
                        <a:lnTo>
                          <a:pt x="2712" y="1736"/>
                        </a:lnTo>
                        <a:lnTo>
                          <a:pt x="2703" y="1745"/>
                        </a:lnTo>
                        <a:lnTo>
                          <a:pt x="2688" y="1738"/>
                        </a:lnTo>
                        <a:lnTo>
                          <a:pt x="2686" y="1751"/>
                        </a:lnTo>
                        <a:lnTo>
                          <a:pt x="2655" y="1745"/>
                        </a:lnTo>
                        <a:lnTo>
                          <a:pt x="2655" y="1752"/>
                        </a:lnTo>
                        <a:lnTo>
                          <a:pt x="2642" y="1754"/>
                        </a:lnTo>
                        <a:lnTo>
                          <a:pt x="2620" y="1777"/>
                        </a:lnTo>
                        <a:lnTo>
                          <a:pt x="2650" y="1801"/>
                        </a:lnTo>
                        <a:lnTo>
                          <a:pt x="2650" y="1813"/>
                        </a:lnTo>
                        <a:lnTo>
                          <a:pt x="2657" y="1820"/>
                        </a:lnTo>
                        <a:lnTo>
                          <a:pt x="2662" y="1837"/>
                        </a:lnTo>
                        <a:lnTo>
                          <a:pt x="2655" y="1846"/>
                        </a:lnTo>
                        <a:lnTo>
                          <a:pt x="2636" y="1857"/>
                        </a:lnTo>
                        <a:lnTo>
                          <a:pt x="2610" y="1858"/>
                        </a:lnTo>
                        <a:lnTo>
                          <a:pt x="2596" y="1849"/>
                        </a:lnTo>
                        <a:lnTo>
                          <a:pt x="2580" y="1862"/>
                        </a:lnTo>
                        <a:lnTo>
                          <a:pt x="2572" y="1856"/>
                        </a:lnTo>
                        <a:lnTo>
                          <a:pt x="2567" y="1873"/>
                        </a:lnTo>
                        <a:lnTo>
                          <a:pt x="2542" y="1867"/>
                        </a:lnTo>
                        <a:lnTo>
                          <a:pt x="2541" y="1886"/>
                        </a:lnTo>
                        <a:lnTo>
                          <a:pt x="2526" y="1891"/>
                        </a:lnTo>
                        <a:lnTo>
                          <a:pt x="2516" y="1881"/>
                        </a:lnTo>
                        <a:lnTo>
                          <a:pt x="2496" y="1889"/>
                        </a:lnTo>
                        <a:lnTo>
                          <a:pt x="2493" y="1878"/>
                        </a:lnTo>
                        <a:lnTo>
                          <a:pt x="2481" y="1882"/>
                        </a:lnTo>
                        <a:lnTo>
                          <a:pt x="2467" y="1867"/>
                        </a:lnTo>
                        <a:lnTo>
                          <a:pt x="2452" y="1881"/>
                        </a:lnTo>
                        <a:lnTo>
                          <a:pt x="2428" y="1877"/>
                        </a:lnTo>
                        <a:lnTo>
                          <a:pt x="2422" y="1888"/>
                        </a:lnTo>
                        <a:lnTo>
                          <a:pt x="2415" y="1886"/>
                        </a:lnTo>
                        <a:lnTo>
                          <a:pt x="2407" y="1867"/>
                        </a:lnTo>
                        <a:lnTo>
                          <a:pt x="2396" y="1882"/>
                        </a:lnTo>
                        <a:lnTo>
                          <a:pt x="2373" y="1883"/>
                        </a:lnTo>
                        <a:lnTo>
                          <a:pt x="2352" y="1878"/>
                        </a:lnTo>
                        <a:lnTo>
                          <a:pt x="2325" y="1876"/>
                        </a:lnTo>
                        <a:lnTo>
                          <a:pt x="2311" y="1886"/>
                        </a:lnTo>
                        <a:lnTo>
                          <a:pt x="2301" y="1905"/>
                        </a:lnTo>
                        <a:lnTo>
                          <a:pt x="2286" y="1905"/>
                        </a:lnTo>
                        <a:lnTo>
                          <a:pt x="2267" y="1916"/>
                        </a:lnTo>
                        <a:lnTo>
                          <a:pt x="2257" y="1902"/>
                        </a:lnTo>
                        <a:lnTo>
                          <a:pt x="2226" y="1904"/>
                        </a:lnTo>
                        <a:lnTo>
                          <a:pt x="2207" y="1909"/>
                        </a:lnTo>
                        <a:lnTo>
                          <a:pt x="2201" y="1886"/>
                        </a:lnTo>
                        <a:lnTo>
                          <a:pt x="2193" y="1898"/>
                        </a:lnTo>
                        <a:lnTo>
                          <a:pt x="2177" y="1896"/>
                        </a:lnTo>
                        <a:lnTo>
                          <a:pt x="2173" y="1912"/>
                        </a:lnTo>
                        <a:lnTo>
                          <a:pt x="2161" y="1903"/>
                        </a:lnTo>
                        <a:lnTo>
                          <a:pt x="2161" y="1892"/>
                        </a:lnTo>
                        <a:lnTo>
                          <a:pt x="2148" y="1886"/>
                        </a:lnTo>
                        <a:lnTo>
                          <a:pt x="2137" y="1893"/>
                        </a:lnTo>
                        <a:lnTo>
                          <a:pt x="2143" y="1898"/>
                        </a:lnTo>
                        <a:lnTo>
                          <a:pt x="2133" y="1908"/>
                        </a:lnTo>
                        <a:lnTo>
                          <a:pt x="2125" y="1895"/>
                        </a:lnTo>
                        <a:lnTo>
                          <a:pt x="2113" y="1895"/>
                        </a:lnTo>
                        <a:lnTo>
                          <a:pt x="2102" y="1883"/>
                        </a:lnTo>
                        <a:lnTo>
                          <a:pt x="2067" y="1890"/>
                        </a:lnTo>
                        <a:lnTo>
                          <a:pt x="2088" y="1901"/>
                        </a:lnTo>
                        <a:lnTo>
                          <a:pt x="2093" y="1913"/>
                        </a:lnTo>
                        <a:lnTo>
                          <a:pt x="2078" y="1912"/>
                        </a:lnTo>
                        <a:lnTo>
                          <a:pt x="2076" y="1921"/>
                        </a:lnTo>
                        <a:lnTo>
                          <a:pt x="2063" y="1918"/>
                        </a:lnTo>
                        <a:lnTo>
                          <a:pt x="2051" y="1928"/>
                        </a:lnTo>
                        <a:lnTo>
                          <a:pt x="2043" y="1921"/>
                        </a:lnTo>
                        <a:lnTo>
                          <a:pt x="2025" y="1911"/>
                        </a:lnTo>
                        <a:lnTo>
                          <a:pt x="2011" y="1917"/>
                        </a:lnTo>
                        <a:lnTo>
                          <a:pt x="2000" y="1907"/>
                        </a:lnTo>
                        <a:lnTo>
                          <a:pt x="1978" y="1898"/>
                        </a:lnTo>
                        <a:lnTo>
                          <a:pt x="1966" y="1898"/>
                        </a:lnTo>
                        <a:lnTo>
                          <a:pt x="1947" y="1908"/>
                        </a:lnTo>
                        <a:lnTo>
                          <a:pt x="1945" y="1896"/>
                        </a:lnTo>
                        <a:lnTo>
                          <a:pt x="1955" y="1892"/>
                        </a:lnTo>
                        <a:lnTo>
                          <a:pt x="1945" y="1876"/>
                        </a:lnTo>
                        <a:lnTo>
                          <a:pt x="1937" y="1882"/>
                        </a:lnTo>
                        <a:lnTo>
                          <a:pt x="1928" y="1877"/>
                        </a:lnTo>
                        <a:lnTo>
                          <a:pt x="1903" y="1879"/>
                        </a:lnTo>
                        <a:lnTo>
                          <a:pt x="1897" y="1876"/>
                        </a:lnTo>
                        <a:lnTo>
                          <a:pt x="1878" y="1874"/>
                        </a:lnTo>
                        <a:lnTo>
                          <a:pt x="1867" y="1881"/>
                        </a:lnTo>
                        <a:lnTo>
                          <a:pt x="1842" y="1869"/>
                        </a:lnTo>
                        <a:lnTo>
                          <a:pt x="1841" y="1853"/>
                        </a:lnTo>
                        <a:lnTo>
                          <a:pt x="1825" y="1858"/>
                        </a:lnTo>
                        <a:lnTo>
                          <a:pt x="1801" y="1852"/>
                        </a:lnTo>
                        <a:lnTo>
                          <a:pt x="1798" y="1843"/>
                        </a:lnTo>
                        <a:lnTo>
                          <a:pt x="1788" y="1834"/>
                        </a:lnTo>
                        <a:lnTo>
                          <a:pt x="1801" y="1826"/>
                        </a:lnTo>
                        <a:lnTo>
                          <a:pt x="1816" y="1821"/>
                        </a:lnTo>
                        <a:lnTo>
                          <a:pt x="1820" y="1811"/>
                        </a:lnTo>
                        <a:lnTo>
                          <a:pt x="1805" y="1803"/>
                        </a:lnTo>
                        <a:lnTo>
                          <a:pt x="1791" y="1808"/>
                        </a:lnTo>
                        <a:lnTo>
                          <a:pt x="1777" y="1823"/>
                        </a:lnTo>
                        <a:lnTo>
                          <a:pt x="1750" y="1829"/>
                        </a:lnTo>
                        <a:lnTo>
                          <a:pt x="1742" y="1823"/>
                        </a:lnTo>
                        <a:lnTo>
                          <a:pt x="1733" y="1829"/>
                        </a:lnTo>
                        <a:lnTo>
                          <a:pt x="1735" y="1839"/>
                        </a:lnTo>
                        <a:lnTo>
                          <a:pt x="1702" y="1833"/>
                        </a:lnTo>
                        <a:lnTo>
                          <a:pt x="1695" y="1822"/>
                        </a:lnTo>
                        <a:lnTo>
                          <a:pt x="1701" y="1816"/>
                        </a:lnTo>
                        <a:lnTo>
                          <a:pt x="1711" y="1783"/>
                        </a:lnTo>
                        <a:lnTo>
                          <a:pt x="1705" y="1779"/>
                        </a:lnTo>
                        <a:lnTo>
                          <a:pt x="1695" y="1784"/>
                        </a:lnTo>
                        <a:lnTo>
                          <a:pt x="1696" y="1797"/>
                        </a:lnTo>
                        <a:lnTo>
                          <a:pt x="1677" y="1813"/>
                        </a:lnTo>
                        <a:lnTo>
                          <a:pt x="1661" y="1813"/>
                        </a:lnTo>
                        <a:lnTo>
                          <a:pt x="1656" y="1807"/>
                        </a:lnTo>
                        <a:lnTo>
                          <a:pt x="1661" y="1779"/>
                        </a:lnTo>
                        <a:lnTo>
                          <a:pt x="1656" y="1767"/>
                        </a:lnTo>
                        <a:lnTo>
                          <a:pt x="1645" y="1774"/>
                        </a:lnTo>
                        <a:lnTo>
                          <a:pt x="1647" y="1792"/>
                        </a:lnTo>
                        <a:lnTo>
                          <a:pt x="1642" y="1797"/>
                        </a:lnTo>
                        <a:lnTo>
                          <a:pt x="1615" y="1794"/>
                        </a:lnTo>
                        <a:lnTo>
                          <a:pt x="1615" y="1786"/>
                        </a:lnTo>
                        <a:lnTo>
                          <a:pt x="1630" y="1783"/>
                        </a:lnTo>
                        <a:lnTo>
                          <a:pt x="1645" y="1759"/>
                        </a:lnTo>
                        <a:lnTo>
                          <a:pt x="1672" y="1766"/>
                        </a:lnTo>
                        <a:lnTo>
                          <a:pt x="1673" y="1776"/>
                        </a:lnTo>
                        <a:lnTo>
                          <a:pt x="1688" y="1777"/>
                        </a:lnTo>
                        <a:lnTo>
                          <a:pt x="1713" y="1772"/>
                        </a:lnTo>
                        <a:lnTo>
                          <a:pt x="1725" y="1779"/>
                        </a:lnTo>
                        <a:lnTo>
                          <a:pt x="1730" y="1767"/>
                        </a:lnTo>
                        <a:lnTo>
                          <a:pt x="1775" y="1758"/>
                        </a:lnTo>
                        <a:lnTo>
                          <a:pt x="1818" y="1761"/>
                        </a:lnTo>
                        <a:lnTo>
                          <a:pt x="1850" y="1773"/>
                        </a:lnTo>
                        <a:lnTo>
                          <a:pt x="1872" y="1791"/>
                        </a:lnTo>
                        <a:lnTo>
                          <a:pt x="1870" y="1833"/>
                        </a:lnTo>
                        <a:lnTo>
                          <a:pt x="1890" y="1827"/>
                        </a:lnTo>
                        <a:lnTo>
                          <a:pt x="1902" y="1836"/>
                        </a:lnTo>
                        <a:lnTo>
                          <a:pt x="1898" y="1846"/>
                        </a:lnTo>
                        <a:lnTo>
                          <a:pt x="1911" y="1852"/>
                        </a:lnTo>
                        <a:lnTo>
                          <a:pt x="1915" y="1847"/>
                        </a:lnTo>
                        <a:lnTo>
                          <a:pt x="1908" y="1828"/>
                        </a:lnTo>
                        <a:lnTo>
                          <a:pt x="1912" y="1817"/>
                        </a:lnTo>
                        <a:lnTo>
                          <a:pt x="1930" y="1811"/>
                        </a:lnTo>
                        <a:lnTo>
                          <a:pt x="1952" y="1797"/>
                        </a:lnTo>
                        <a:lnTo>
                          <a:pt x="1975" y="1793"/>
                        </a:lnTo>
                        <a:lnTo>
                          <a:pt x="1991" y="1797"/>
                        </a:lnTo>
                        <a:lnTo>
                          <a:pt x="2022" y="1796"/>
                        </a:lnTo>
                        <a:lnTo>
                          <a:pt x="2046" y="1806"/>
                        </a:lnTo>
                        <a:lnTo>
                          <a:pt x="2058" y="1807"/>
                        </a:lnTo>
                        <a:lnTo>
                          <a:pt x="2077" y="1805"/>
                        </a:lnTo>
                        <a:lnTo>
                          <a:pt x="2100" y="1808"/>
                        </a:lnTo>
                        <a:lnTo>
                          <a:pt x="2103" y="1825"/>
                        </a:lnTo>
                        <a:lnTo>
                          <a:pt x="2111" y="1828"/>
                        </a:lnTo>
                        <a:lnTo>
                          <a:pt x="2135" y="1801"/>
                        </a:lnTo>
                        <a:lnTo>
                          <a:pt x="2147" y="1796"/>
                        </a:lnTo>
                        <a:lnTo>
                          <a:pt x="2187" y="1786"/>
                        </a:lnTo>
                        <a:lnTo>
                          <a:pt x="2210" y="1788"/>
                        </a:lnTo>
                        <a:lnTo>
                          <a:pt x="2228" y="1783"/>
                        </a:lnTo>
                        <a:lnTo>
                          <a:pt x="2250" y="1787"/>
                        </a:lnTo>
                        <a:lnTo>
                          <a:pt x="2266" y="1767"/>
                        </a:lnTo>
                        <a:lnTo>
                          <a:pt x="2287" y="1750"/>
                        </a:lnTo>
                        <a:lnTo>
                          <a:pt x="2308" y="1727"/>
                        </a:lnTo>
                        <a:lnTo>
                          <a:pt x="2328" y="1713"/>
                        </a:lnTo>
                        <a:lnTo>
                          <a:pt x="2332" y="1703"/>
                        </a:lnTo>
                        <a:lnTo>
                          <a:pt x="2350" y="1690"/>
                        </a:lnTo>
                        <a:lnTo>
                          <a:pt x="2380" y="1682"/>
                        </a:lnTo>
                        <a:lnTo>
                          <a:pt x="2403" y="1680"/>
                        </a:lnTo>
                        <a:lnTo>
                          <a:pt x="2432" y="1656"/>
                        </a:lnTo>
                        <a:lnTo>
                          <a:pt x="2417" y="1660"/>
                        </a:lnTo>
                        <a:lnTo>
                          <a:pt x="2385" y="1651"/>
                        </a:lnTo>
                        <a:lnTo>
                          <a:pt x="2373" y="1652"/>
                        </a:lnTo>
                        <a:lnTo>
                          <a:pt x="2323" y="1638"/>
                        </a:lnTo>
                        <a:lnTo>
                          <a:pt x="2317" y="1626"/>
                        </a:lnTo>
                        <a:lnTo>
                          <a:pt x="2323" y="1606"/>
                        </a:lnTo>
                        <a:lnTo>
                          <a:pt x="2318" y="1592"/>
                        </a:lnTo>
                        <a:lnTo>
                          <a:pt x="2333" y="1583"/>
                        </a:lnTo>
                        <a:lnTo>
                          <a:pt x="2341" y="1575"/>
                        </a:lnTo>
                        <a:lnTo>
                          <a:pt x="2313" y="1577"/>
                        </a:lnTo>
                        <a:lnTo>
                          <a:pt x="2300" y="1587"/>
                        </a:lnTo>
                        <a:lnTo>
                          <a:pt x="2287" y="1590"/>
                        </a:lnTo>
                        <a:lnTo>
                          <a:pt x="2276" y="1618"/>
                        </a:lnTo>
                        <a:lnTo>
                          <a:pt x="2277" y="1625"/>
                        </a:lnTo>
                        <a:lnTo>
                          <a:pt x="2261" y="1628"/>
                        </a:lnTo>
                        <a:lnTo>
                          <a:pt x="2248" y="1615"/>
                        </a:lnTo>
                        <a:lnTo>
                          <a:pt x="2261" y="1558"/>
                        </a:lnTo>
                        <a:lnTo>
                          <a:pt x="2260" y="1538"/>
                        </a:lnTo>
                        <a:lnTo>
                          <a:pt x="2263" y="1530"/>
                        </a:lnTo>
                        <a:lnTo>
                          <a:pt x="2256" y="1522"/>
                        </a:lnTo>
                        <a:lnTo>
                          <a:pt x="2231" y="1528"/>
                        </a:lnTo>
                        <a:lnTo>
                          <a:pt x="2233" y="1508"/>
                        </a:lnTo>
                        <a:lnTo>
                          <a:pt x="2223" y="1493"/>
                        </a:lnTo>
                        <a:lnTo>
                          <a:pt x="2231" y="1485"/>
                        </a:lnTo>
                        <a:lnTo>
                          <a:pt x="2233" y="1470"/>
                        </a:lnTo>
                        <a:lnTo>
                          <a:pt x="2202" y="1468"/>
                        </a:lnTo>
                        <a:lnTo>
                          <a:pt x="2182" y="1471"/>
                        </a:lnTo>
                        <a:lnTo>
                          <a:pt x="2182" y="1465"/>
                        </a:lnTo>
                        <a:lnTo>
                          <a:pt x="2137" y="1458"/>
                        </a:lnTo>
                        <a:lnTo>
                          <a:pt x="2130" y="1465"/>
                        </a:lnTo>
                        <a:lnTo>
                          <a:pt x="2112" y="1461"/>
                        </a:lnTo>
                        <a:lnTo>
                          <a:pt x="2093" y="1440"/>
                        </a:lnTo>
                        <a:lnTo>
                          <a:pt x="2106" y="1432"/>
                        </a:lnTo>
                        <a:lnTo>
                          <a:pt x="2118" y="1436"/>
                        </a:lnTo>
                        <a:lnTo>
                          <a:pt x="2137" y="1405"/>
                        </a:lnTo>
                        <a:lnTo>
                          <a:pt x="2158" y="1402"/>
                        </a:lnTo>
                        <a:lnTo>
                          <a:pt x="2155" y="1393"/>
                        </a:lnTo>
                        <a:lnTo>
                          <a:pt x="2142" y="1377"/>
                        </a:lnTo>
                        <a:lnTo>
                          <a:pt x="2148" y="1363"/>
                        </a:lnTo>
                        <a:lnTo>
                          <a:pt x="2157" y="1361"/>
                        </a:lnTo>
                        <a:lnTo>
                          <a:pt x="2170" y="1350"/>
                        </a:lnTo>
                        <a:lnTo>
                          <a:pt x="2196" y="1348"/>
                        </a:lnTo>
                        <a:lnTo>
                          <a:pt x="2200" y="1326"/>
                        </a:lnTo>
                        <a:lnTo>
                          <a:pt x="2206" y="1316"/>
                        </a:lnTo>
                        <a:lnTo>
                          <a:pt x="2213" y="1285"/>
                        </a:lnTo>
                        <a:lnTo>
                          <a:pt x="2221" y="1273"/>
                        </a:lnTo>
                        <a:lnTo>
                          <a:pt x="2226" y="1252"/>
                        </a:lnTo>
                        <a:lnTo>
                          <a:pt x="2227" y="1235"/>
                        </a:lnTo>
                        <a:lnTo>
                          <a:pt x="2233" y="1231"/>
                        </a:lnTo>
                        <a:lnTo>
                          <a:pt x="2235" y="1216"/>
                        </a:lnTo>
                        <a:lnTo>
                          <a:pt x="2222" y="1217"/>
                        </a:lnTo>
                        <a:lnTo>
                          <a:pt x="2225" y="1226"/>
                        </a:lnTo>
                        <a:lnTo>
                          <a:pt x="2211" y="1241"/>
                        </a:lnTo>
                        <a:lnTo>
                          <a:pt x="2200" y="1247"/>
                        </a:lnTo>
                        <a:lnTo>
                          <a:pt x="2187" y="1235"/>
                        </a:lnTo>
                        <a:lnTo>
                          <a:pt x="2177" y="1238"/>
                        </a:lnTo>
                        <a:lnTo>
                          <a:pt x="2152" y="1233"/>
                        </a:lnTo>
                        <a:lnTo>
                          <a:pt x="2115" y="1212"/>
                        </a:lnTo>
                        <a:lnTo>
                          <a:pt x="2100" y="1198"/>
                        </a:lnTo>
                        <a:lnTo>
                          <a:pt x="2091" y="1183"/>
                        </a:lnTo>
                        <a:lnTo>
                          <a:pt x="2097" y="1163"/>
                        </a:lnTo>
                        <a:lnTo>
                          <a:pt x="2106" y="1155"/>
                        </a:lnTo>
                        <a:lnTo>
                          <a:pt x="2101" y="1136"/>
                        </a:lnTo>
                        <a:lnTo>
                          <a:pt x="2106" y="1122"/>
                        </a:lnTo>
                        <a:lnTo>
                          <a:pt x="2102" y="1096"/>
                        </a:lnTo>
                        <a:lnTo>
                          <a:pt x="2095" y="1077"/>
                        </a:lnTo>
                        <a:lnTo>
                          <a:pt x="2098" y="1057"/>
                        </a:lnTo>
                        <a:lnTo>
                          <a:pt x="2106" y="1061"/>
                        </a:lnTo>
                        <a:lnTo>
                          <a:pt x="2116" y="1051"/>
                        </a:lnTo>
                        <a:lnTo>
                          <a:pt x="2098" y="1046"/>
                        </a:lnTo>
                        <a:lnTo>
                          <a:pt x="2092" y="1037"/>
                        </a:lnTo>
                        <a:lnTo>
                          <a:pt x="2102" y="1032"/>
                        </a:lnTo>
                        <a:lnTo>
                          <a:pt x="2135" y="1033"/>
                        </a:lnTo>
                        <a:lnTo>
                          <a:pt x="2141" y="1023"/>
                        </a:lnTo>
                        <a:lnTo>
                          <a:pt x="2160" y="1023"/>
                        </a:lnTo>
                        <a:lnTo>
                          <a:pt x="2176" y="1027"/>
                        </a:lnTo>
                        <a:lnTo>
                          <a:pt x="2165" y="1038"/>
                        </a:lnTo>
                        <a:lnTo>
                          <a:pt x="2176" y="1050"/>
                        </a:lnTo>
                        <a:lnTo>
                          <a:pt x="2183" y="1063"/>
                        </a:lnTo>
                        <a:lnTo>
                          <a:pt x="2176" y="1078"/>
                        </a:lnTo>
                        <a:lnTo>
                          <a:pt x="2201" y="1081"/>
                        </a:lnTo>
                        <a:lnTo>
                          <a:pt x="2203" y="1095"/>
                        </a:lnTo>
                        <a:lnTo>
                          <a:pt x="2192" y="1103"/>
                        </a:lnTo>
                        <a:lnTo>
                          <a:pt x="2188" y="1112"/>
                        </a:lnTo>
                        <a:lnTo>
                          <a:pt x="2198" y="1118"/>
                        </a:lnTo>
                        <a:lnTo>
                          <a:pt x="2217" y="1120"/>
                        </a:lnTo>
                        <a:lnTo>
                          <a:pt x="2228" y="1111"/>
                        </a:lnTo>
                        <a:lnTo>
                          <a:pt x="2227" y="1100"/>
                        </a:lnTo>
                        <a:lnTo>
                          <a:pt x="2213" y="1077"/>
                        </a:lnTo>
                        <a:lnTo>
                          <a:pt x="2223" y="1078"/>
                        </a:lnTo>
                        <a:lnTo>
                          <a:pt x="2238" y="1068"/>
                        </a:lnTo>
                        <a:lnTo>
                          <a:pt x="2206" y="1070"/>
                        </a:lnTo>
                        <a:lnTo>
                          <a:pt x="2187" y="1050"/>
                        </a:lnTo>
                        <a:lnTo>
                          <a:pt x="2175" y="1041"/>
                        </a:lnTo>
                        <a:lnTo>
                          <a:pt x="2178" y="1028"/>
                        </a:lnTo>
                        <a:lnTo>
                          <a:pt x="2166" y="1021"/>
                        </a:lnTo>
                        <a:lnTo>
                          <a:pt x="2168" y="1015"/>
                        </a:lnTo>
                        <a:lnTo>
                          <a:pt x="2150" y="1003"/>
                        </a:lnTo>
                        <a:lnTo>
                          <a:pt x="2152" y="993"/>
                        </a:lnTo>
                        <a:lnTo>
                          <a:pt x="2170" y="991"/>
                        </a:lnTo>
                        <a:lnTo>
                          <a:pt x="2170" y="972"/>
                        </a:lnTo>
                        <a:lnTo>
                          <a:pt x="2163" y="965"/>
                        </a:lnTo>
                        <a:lnTo>
                          <a:pt x="2152" y="973"/>
                        </a:lnTo>
                        <a:lnTo>
                          <a:pt x="2147" y="963"/>
                        </a:lnTo>
                        <a:lnTo>
                          <a:pt x="2147" y="951"/>
                        </a:lnTo>
                        <a:lnTo>
                          <a:pt x="2162" y="936"/>
                        </a:lnTo>
                        <a:lnTo>
                          <a:pt x="2155" y="921"/>
                        </a:lnTo>
                        <a:lnTo>
                          <a:pt x="2158" y="906"/>
                        </a:lnTo>
                        <a:lnTo>
                          <a:pt x="2172" y="907"/>
                        </a:lnTo>
                        <a:lnTo>
                          <a:pt x="2180" y="901"/>
                        </a:lnTo>
                        <a:lnTo>
                          <a:pt x="2176" y="887"/>
                        </a:lnTo>
                        <a:lnTo>
                          <a:pt x="2160" y="882"/>
                        </a:lnTo>
                        <a:lnTo>
                          <a:pt x="2165" y="870"/>
                        </a:lnTo>
                        <a:lnTo>
                          <a:pt x="2193" y="872"/>
                        </a:lnTo>
                        <a:lnTo>
                          <a:pt x="2196" y="848"/>
                        </a:lnTo>
                        <a:lnTo>
                          <a:pt x="2213" y="865"/>
                        </a:lnTo>
                        <a:lnTo>
                          <a:pt x="2226" y="871"/>
                        </a:lnTo>
                        <a:lnTo>
                          <a:pt x="2231" y="851"/>
                        </a:lnTo>
                        <a:lnTo>
                          <a:pt x="2237" y="843"/>
                        </a:lnTo>
                        <a:lnTo>
                          <a:pt x="2250" y="836"/>
                        </a:lnTo>
                        <a:lnTo>
                          <a:pt x="2262" y="833"/>
                        </a:lnTo>
                        <a:lnTo>
                          <a:pt x="2308" y="821"/>
                        </a:lnTo>
                        <a:lnTo>
                          <a:pt x="2325" y="818"/>
                        </a:lnTo>
                        <a:lnTo>
                          <a:pt x="2341" y="830"/>
                        </a:lnTo>
                        <a:lnTo>
                          <a:pt x="2353" y="823"/>
                        </a:lnTo>
                        <a:lnTo>
                          <a:pt x="2363" y="806"/>
                        </a:lnTo>
                        <a:lnTo>
                          <a:pt x="2375" y="793"/>
                        </a:lnTo>
                        <a:lnTo>
                          <a:pt x="2402" y="781"/>
                        </a:lnTo>
                        <a:lnTo>
                          <a:pt x="2418" y="793"/>
                        </a:lnTo>
                        <a:lnTo>
                          <a:pt x="2423" y="773"/>
                        </a:lnTo>
                        <a:lnTo>
                          <a:pt x="2445" y="773"/>
                        </a:lnTo>
                        <a:lnTo>
                          <a:pt x="2460" y="781"/>
                        </a:lnTo>
                        <a:lnTo>
                          <a:pt x="2476" y="803"/>
                        </a:lnTo>
                        <a:lnTo>
                          <a:pt x="2472" y="826"/>
                        </a:lnTo>
                        <a:lnTo>
                          <a:pt x="2480" y="836"/>
                        </a:lnTo>
                        <a:lnTo>
                          <a:pt x="2477" y="847"/>
                        </a:lnTo>
                        <a:lnTo>
                          <a:pt x="2495" y="857"/>
                        </a:lnTo>
                        <a:lnTo>
                          <a:pt x="2515" y="857"/>
                        </a:lnTo>
                        <a:lnTo>
                          <a:pt x="2527" y="852"/>
                        </a:lnTo>
                        <a:lnTo>
                          <a:pt x="2545" y="855"/>
                        </a:lnTo>
                        <a:lnTo>
                          <a:pt x="2593" y="840"/>
                        </a:lnTo>
                        <a:lnTo>
                          <a:pt x="2598" y="851"/>
                        </a:lnTo>
                        <a:lnTo>
                          <a:pt x="2591" y="858"/>
                        </a:lnTo>
                        <a:lnTo>
                          <a:pt x="2616" y="877"/>
                        </a:lnTo>
                        <a:lnTo>
                          <a:pt x="2620" y="883"/>
                        </a:lnTo>
                        <a:lnTo>
                          <a:pt x="2646" y="896"/>
                        </a:lnTo>
                        <a:lnTo>
                          <a:pt x="2673" y="891"/>
                        </a:lnTo>
                        <a:lnTo>
                          <a:pt x="2693" y="885"/>
                        </a:lnTo>
                        <a:lnTo>
                          <a:pt x="2702" y="876"/>
                        </a:lnTo>
                        <a:lnTo>
                          <a:pt x="2718" y="841"/>
                        </a:lnTo>
                        <a:lnTo>
                          <a:pt x="2737" y="813"/>
                        </a:lnTo>
                        <a:lnTo>
                          <a:pt x="2737" y="790"/>
                        </a:lnTo>
                        <a:lnTo>
                          <a:pt x="2741" y="782"/>
                        </a:lnTo>
                        <a:lnTo>
                          <a:pt x="2732" y="765"/>
                        </a:lnTo>
                        <a:lnTo>
                          <a:pt x="2741" y="758"/>
                        </a:lnTo>
                        <a:lnTo>
                          <a:pt x="2761" y="780"/>
                        </a:lnTo>
                        <a:lnTo>
                          <a:pt x="2788" y="773"/>
                        </a:lnTo>
                        <a:lnTo>
                          <a:pt x="2797" y="765"/>
                        </a:lnTo>
                        <a:lnTo>
                          <a:pt x="2802" y="748"/>
                        </a:lnTo>
                        <a:lnTo>
                          <a:pt x="2800" y="735"/>
                        </a:lnTo>
                        <a:lnTo>
                          <a:pt x="2800" y="718"/>
                        </a:lnTo>
                        <a:lnTo>
                          <a:pt x="2770" y="728"/>
                        </a:lnTo>
                        <a:lnTo>
                          <a:pt x="2756" y="712"/>
                        </a:lnTo>
                        <a:lnTo>
                          <a:pt x="2730" y="705"/>
                        </a:lnTo>
                        <a:lnTo>
                          <a:pt x="2708" y="708"/>
                        </a:lnTo>
                        <a:lnTo>
                          <a:pt x="2688" y="703"/>
                        </a:lnTo>
                        <a:lnTo>
                          <a:pt x="2678" y="706"/>
                        </a:lnTo>
                        <a:lnTo>
                          <a:pt x="2665" y="717"/>
                        </a:lnTo>
                        <a:lnTo>
                          <a:pt x="2651" y="717"/>
                        </a:lnTo>
                        <a:lnTo>
                          <a:pt x="2660" y="698"/>
                        </a:lnTo>
                        <a:lnTo>
                          <a:pt x="2666" y="696"/>
                        </a:lnTo>
                        <a:lnTo>
                          <a:pt x="2663" y="666"/>
                        </a:lnTo>
                        <a:lnTo>
                          <a:pt x="2661" y="658"/>
                        </a:lnTo>
                        <a:lnTo>
                          <a:pt x="2647" y="657"/>
                        </a:lnTo>
                        <a:lnTo>
                          <a:pt x="2651" y="677"/>
                        </a:lnTo>
                        <a:lnTo>
                          <a:pt x="2655" y="685"/>
                        </a:lnTo>
                        <a:lnTo>
                          <a:pt x="2640" y="692"/>
                        </a:lnTo>
                        <a:lnTo>
                          <a:pt x="2641" y="676"/>
                        </a:lnTo>
                        <a:lnTo>
                          <a:pt x="2636" y="655"/>
                        </a:lnTo>
                        <a:lnTo>
                          <a:pt x="2625" y="638"/>
                        </a:lnTo>
                        <a:lnTo>
                          <a:pt x="2615" y="633"/>
                        </a:lnTo>
                        <a:lnTo>
                          <a:pt x="2597" y="613"/>
                        </a:lnTo>
                        <a:lnTo>
                          <a:pt x="2572" y="608"/>
                        </a:lnTo>
                        <a:lnTo>
                          <a:pt x="2573" y="603"/>
                        </a:lnTo>
                        <a:lnTo>
                          <a:pt x="2546" y="596"/>
                        </a:lnTo>
                        <a:lnTo>
                          <a:pt x="2532" y="568"/>
                        </a:lnTo>
                        <a:lnTo>
                          <a:pt x="2502" y="523"/>
                        </a:lnTo>
                        <a:lnTo>
                          <a:pt x="2500" y="508"/>
                        </a:lnTo>
                        <a:lnTo>
                          <a:pt x="2505" y="492"/>
                        </a:lnTo>
                        <a:lnTo>
                          <a:pt x="2520" y="486"/>
                        </a:lnTo>
                        <a:lnTo>
                          <a:pt x="2528" y="477"/>
                        </a:lnTo>
                        <a:lnTo>
                          <a:pt x="2523" y="452"/>
                        </a:lnTo>
                        <a:lnTo>
                          <a:pt x="2530" y="440"/>
                        </a:lnTo>
                        <a:lnTo>
                          <a:pt x="2558" y="438"/>
                        </a:lnTo>
                        <a:lnTo>
                          <a:pt x="2562" y="432"/>
                        </a:lnTo>
                        <a:lnTo>
                          <a:pt x="2577" y="441"/>
                        </a:lnTo>
                        <a:lnTo>
                          <a:pt x="2581" y="432"/>
                        </a:lnTo>
                        <a:lnTo>
                          <a:pt x="2558" y="393"/>
                        </a:lnTo>
                        <a:lnTo>
                          <a:pt x="2537" y="368"/>
                        </a:lnTo>
                        <a:lnTo>
                          <a:pt x="2533" y="341"/>
                        </a:lnTo>
                        <a:lnTo>
                          <a:pt x="2527" y="313"/>
                        </a:lnTo>
                        <a:lnTo>
                          <a:pt x="2555" y="311"/>
                        </a:lnTo>
                        <a:lnTo>
                          <a:pt x="2566" y="322"/>
                        </a:lnTo>
                        <a:lnTo>
                          <a:pt x="2577" y="313"/>
                        </a:lnTo>
                        <a:lnTo>
                          <a:pt x="2598" y="312"/>
                        </a:lnTo>
                        <a:lnTo>
                          <a:pt x="2601" y="323"/>
                        </a:lnTo>
                        <a:lnTo>
                          <a:pt x="2610" y="328"/>
                        </a:lnTo>
                        <a:lnTo>
                          <a:pt x="2627" y="330"/>
                        </a:lnTo>
                        <a:lnTo>
                          <a:pt x="2647" y="323"/>
                        </a:lnTo>
                        <a:lnTo>
                          <a:pt x="2682" y="330"/>
                        </a:lnTo>
                        <a:lnTo>
                          <a:pt x="2686" y="346"/>
                        </a:lnTo>
                        <a:lnTo>
                          <a:pt x="2700" y="363"/>
                        </a:lnTo>
                        <a:lnTo>
                          <a:pt x="2717" y="370"/>
                        </a:lnTo>
                        <a:lnTo>
                          <a:pt x="2708" y="341"/>
                        </a:lnTo>
                        <a:lnTo>
                          <a:pt x="2725" y="337"/>
                        </a:lnTo>
                        <a:lnTo>
                          <a:pt x="2760" y="345"/>
                        </a:lnTo>
                        <a:lnTo>
                          <a:pt x="2780" y="358"/>
                        </a:lnTo>
                        <a:lnTo>
                          <a:pt x="2802" y="357"/>
                        </a:lnTo>
                        <a:lnTo>
                          <a:pt x="2828" y="372"/>
                        </a:lnTo>
                        <a:lnTo>
                          <a:pt x="2845" y="383"/>
                        </a:lnTo>
                        <a:lnTo>
                          <a:pt x="2848" y="397"/>
                        </a:lnTo>
                        <a:lnTo>
                          <a:pt x="2843" y="407"/>
                        </a:lnTo>
                        <a:lnTo>
                          <a:pt x="2825" y="415"/>
                        </a:lnTo>
                        <a:lnTo>
                          <a:pt x="2813" y="430"/>
                        </a:lnTo>
                        <a:lnTo>
                          <a:pt x="2806" y="432"/>
                        </a:lnTo>
                        <a:lnTo>
                          <a:pt x="2798" y="443"/>
                        </a:lnTo>
                        <a:lnTo>
                          <a:pt x="2798" y="463"/>
                        </a:lnTo>
                        <a:lnTo>
                          <a:pt x="2817" y="476"/>
                        </a:lnTo>
                        <a:lnTo>
                          <a:pt x="2826" y="490"/>
                        </a:lnTo>
                        <a:lnTo>
                          <a:pt x="2838" y="493"/>
                        </a:lnTo>
                        <a:lnTo>
                          <a:pt x="2847" y="502"/>
                        </a:lnTo>
                        <a:lnTo>
                          <a:pt x="2846" y="515"/>
                        </a:lnTo>
                        <a:lnTo>
                          <a:pt x="2856" y="520"/>
                        </a:lnTo>
                        <a:lnTo>
                          <a:pt x="2858" y="527"/>
                        </a:lnTo>
                        <a:lnTo>
                          <a:pt x="2873" y="532"/>
                        </a:lnTo>
                        <a:lnTo>
                          <a:pt x="2883" y="548"/>
                        </a:lnTo>
                        <a:lnTo>
                          <a:pt x="2906" y="546"/>
                        </a:lnTo>
                        <a:lnTo>
                          <a:pt x="2925" y="536"/>
                        </a:lnTo>
                        <a:lnTo>
                          <a:pt x="2937" y="543"/>
                        </a:lnTo>
                        <a:lnTo>
                          <a:pt x="2935" y="551"/>
                        </a:lnTo>
                        <a:lnTo>
                          <a:pt x="2942" y="563"/>
                        </a:lnTo>
                        <a:lnTo>
                          <a:pt x="2952" y="565"/>
                        </a:lnTo>
                        <a:lnTo>
                          <a:pt x="2956" y="545"/>
                        </a:lnTo>
                        <a:lnTo>
                          <a:pt x="2943" y="521"/>
                        </a:lnTo>
                        <a:lnTo>
                          <a:pt x="2932" y="510"/>
                        </a:lnTo>
                        <a:lnTo>
                          <a:pt x="2917" y="506"/>
                        </a:lnTo>
                        <a:lnTo>
                          <a:pt x="2935" y="495"/>
                        </a:lnTo>
                        <a:lnTo>
                          <a:pt x="2940" y="483"/>
                        </a:lnTo>
                        <a:lnTo>
                          <a:pt x="2941" y="447"/>
                        </a:lnTo>
                        <a:lnTo>
                          <a:pt x="2933" y="438"/>
                        </a:lnTo>
                        <a:lnTo>
                          <a:pt x="2940" y="413"/>
                        </a:lnTo>
                        <a:lnTo>
                          <a:pt x="2943" y="408"/>
                        </a:lnTo>
                        <a:lnTo>
                          <a:pt x="2956" y="416"/>
                        </a:lnTo>
                        <a:lnTo>
                          <a:pt x="2965" y="415"/>
                        </a:lnTo>
                        <a:lnTo>
                          <a:pt x="2958" y="443"/>
                        </a:lnTo>
                        <a:lnTo>
                          <a:pt x="2960" y="452"/>
                        </a:lnTo>
                        <a:lnTo>
                          <a:pt x="2945" y="462"/>
                        </a:lnTo>
                        <a:lnTo>
                          <a:pt x="2940" y="488"/>
                        </a:lnTo>
                        <a:lnTo>
                          <a:pt x="2945" y="510"/>
                        </a:lnTo>
                        <a:lnTo>
                          <a:pt x="2962" y="517"/>
                        </a:lnTo>
                        <a:lnTo>
                          <a:pt x="2970" y="516"/>
                        </a:lnTo>
                        <a:lnTo>
                          <a:pt x="2976" y="531"/>
                        </a:lnTo>
                        <a:lnTo>
                          <a:pt x="2977" y="557"/>
                        </a:lnTo>
                        <a:lnTo>
                          <a:pt x="2986" y="565"/>
                        </a:lnTo>
                        <a:lnTo>
                          <a:pt x="3007" y="576"/>
                        </a:lnTo>
                        <a:lnTo>
                          <a:pt x="3023" y="561"/>
                        </a:lnTo>
                        <a:lnTo>
                          <a:pt x="3026" y="547"/>
                        </a:lnTo>
                        <a:lnTo>
                          <a:pt x="3021" y="537"/>
                        </a:lnTo>
                        <a:lnTo>
                          <a:pt x="3012" y="540"/>
                        </a:lnTo>
                        <a:lnTo>
                          <a:pt x="3005" y="515"/>
                        </a:lnTo>
                        <a:lnTo>
                          <a:pt x="2990" y="506"/>
                        </a:lnTo>
                        <a:lnTo>
                          <a:pt x="2968" y="513"/>
                        </a:lnTo>
                        <a:lnTo>
                          <a:pt x="2958" y="498"/>
                        </a:lnTo>
                        <a:lnTo>
                          <a:pt x="2960" y="467"/>
                        </a:lnTo>
                        <a:lnTo>
                          <a:pt x="2971" y="452"/>
                        </a:lnTo>
                        <a:lnTo>
                          <a:pt x="2993" y="442"/>
                        </a:lnTo>
                        <a:lnTo>
                          <a:pt x="3005" y="443"/>
                        </a:lnTo>
                        <a:lnTo>
                          <a:pt x="3000" y="425"/>
                        </a:lnTo>
                        <a:lnTo>
                          <a:pt x="2992" y="418"/>
                        </a:lnTo>
                        <a:lnTo>
                          <a:pt x="2963" y="406"/>
                        </a:lnTo>
                        <a:lnTo>
                          <a:pt x="2955" y="386"/>
                        </a:lnTo>
                        <a:lnTo>
                          <a:pt x="2943" y="380"/>
                        </a:lnTo>
                        <a:lnTo>
                          <a:pt x="2936" y="366"/>
                        </a:lnTo>
                        <a:lnTo>
                          <a:pt x="2915" y="336"/>
                        </a:lnTo>
                        <a:lnTo>
                          <a:pt x="2916" y="328"/>
                        </a:lnTo>
                        <a:lnTo>
                          <a:pt x="2936" y="302"/>
                        </a:lnTo>
                        <a:lnTo>
                          <a:pt x="2947" y="275"/>
                        </a:lnTo>
                        <a:lnTo>
                          <a:pt x="2952" y="252"/>
                        </a:lnTo>
                        <a:lnTo>
                          <a:pt x="2948" y="227"/>
                        </a:lnTo>
                        <a:lnTo>
                          <a:pt x="2951" y="202"/>
                        </a:lnTo>
                        <a:lnTo>
                          <a:pt x="2946" y="192"/>
                        </a:lnTo>
                        <a:lnTo>
                          <a:pt x="2946" y="172"/>
                        </a:lnTo>
                        <a:lnTo>
                          <a:pt x="2943" y="140"/>
                        </a:lnTo>
                        <a:lnTo>
                          <a:pt x="2930" y="108"/>
                        </a:lnTo>
                        <a:lnTo>
                          <a:pt x="2935" y="88"/>
                        </a:lnTo>
                        <a:lnTo>
                          <a:pt x="2928" y="53"/>
                        </a:lnTo>
                        <a:lnTo>
                          <a:pt x="2946" y="52"/>
                        </a:lnTo>
                        <a:lnTo>
                          <a:pt x="2967" y="42"/>
                        </a:lnTo>
                        <a:lnTo>
                          <a:pt x="2996" y="17"/>
                        </a:lnTo>
                        <a:lnTo>
                          <a:pt x="3005" y="3"/>
                        </a:lnTo>
                        <a:lnTo>
                          <a:pt x="3025" y="22"/>
                        </a:lnTo>
                        <a:lnTo>
                          <a:pt x="3028" y="31"/>
                        </a:lnTo>
                        <a:lnTo>
                          <a:pt x="3060" y="55"/>
                        </a:lnTo>
                        <a:lnTo>
                          <a:pt x="3075" y="61"/>
                        </a:lnTo>
                        <a:lnTo>
                          <a:pt x="3097" y="78"/>
                        </a:lnTo>
                        <a:lnTo>
                          <a:pt x="3123" y="86"/>
                        </a:lnTo>
                        <a:lnTo>
                          <a:pt x="3152" y="85"/>
                        </a:lnTo>
                        <a:lnTo>
                          <a:pt x="3190" y="75"/>
                        </a:lnTo>
                        <a:lnTo>
                          <a:pt x="3202" y="73"/>
                        </a:lnTo>
                        <a:lnTo>
                          <a:pt x="3238" y="45"/>
                        </a:lnTo>
                        <a:lnTo>
                          <a:pt x="3245" y="36"/>
                        </a:lnTo>
                        <a:lnTo>
                          <a:pt x="3262" y="26"/>
                        </a:lnTo>
                        <a:lnTo>
                          <a:pt x="3300" y="21"/>
                        </a:lnTo>
                        <a:lnTo>
                          <a:pt x="3316" y="11"/>
                        </a:lnTo>
                        <a:lnTo>
                          <a:pt x="3340" y="7"/>
                        </a:lnTo>
                        <a:lnTo>
                          <a:pt x="3361" y="0"/>
                        </a:lnTo>
                        <a:lnTo>
                          <a:pt x="3370" y="5"/>
                        </a:lnTo>
                        <a:lnTo>
                          <a:pt x="3360" y="17"/>
                        </a:lnTo>
                        <a:lnTo>
                          <a:pt x="3376" y="17"/>
                        </a:lnTo>
                        <a:lnTo>
                          <a:pt x="3390" y="28"/>
                        </a:lnTo>
                        <a:lnTo>
                          <a:pt x="3421" y="36"/>
                        </a:lnTo>
                        <a:lnTo>
                          <a:pt x="3477" y="30"/>
                        </a:lnTo>
                        <a:lnTo>
                          <a:pt x="3491" y="37"/>
                        </a:lnTo>
                        <a:lnTo>
                          <a:pt x="3486" y="46"/>
                        </a:lnTo>
                        <a:lnTo>
                          <a:pt x="3461" y="63"/>
                        </a:lnTo>
                        <a:lnTo>
                          <a:pt x="3471" y="67"/>
                        </a:lnTo>
                        <a:lnTo>
                          <a:pt x="3487" y="56"/>
                        </a:lnTo>
                        <a:lnTo>
                          <a:pt x="3495" y="41"/>
                        </a:lnTo>
                        <a:lnTo>
                          <a:pt x="3496" y="32"/>
                        </a:lnTo>
                        <a:lnTo>
                          <a:pt x="3527" y="20"/>
                        </a:lnTo>
                        <a:lnTo>
                          <a:pt x="3548" y="23"/>
                        </a:lnTo>
                        <a:lnTo>
                          <a:pt x="3536" y="37"/>
                        </a:lnTo>
                        <a:lnTo>
                          <a:pt x="3570" y="57"/>
                        </a:lnTo>
                        <a:lnTo>
                          <a:pt x="3605" y="76"/>
                        </a:lnTo>
                        <a:lnTo>
                          <a:pt x="3616" y="78"/>
                        </a:lnTo>
                        <a:lnTo>
                          <a:pt x="3640" y="78"/>
                        </a:lnTo>
                        <a:lnTo>
                          <a:pt x="3668" y="73"/>
                        </a:lnTo>
                        <a:lnTo>
                          <a:pt x="3692" y="62"/>
                        </a:lnTo>
                        <a:lnTo>
                          <a:pt x="3713" y="55"/>
                        </a:lnTo>
                        <a:lnTo>
                          <a:pt x="3728" y="56"/>
                        </a:lnTo>
                        <a:lnTo>
                          <a:pt x="3726" y="75"/>
                        </a:lnTo>
                        <a:lnTo>
                          <a:pt x="3736" y="81"/>
                        </a:lnTo>
                        <a:lnTo>
                          <a:pt x="3738" y="101"/>
                        </a:lnTo>
                        <a:lnTo>
                          <a:pt x="3748" y="106"/>
                        </a:lnTo>
                        <a:lnTo>
                          <a:pt x="3753" y="115"/>
                        </a:lnTo>
                        <a:lnTo>
                          <a:pt x="3751" y="126"/>
                        </a:lnTo>
                        <a:lnTo>
                          <a:pt x="3743" y="132"/>
                        </a:lnTo>
                        <a:lnTo>
                          <a:pt x="3722" y="136"/>
                        </a:lnTo>
                        <a:lnTo>
                          <a:pt x="3711" y="128"/>
                        </a:lnTo>
                        <a:lnTo>
                          <a:pt x="3705" y="135"/>
                        </a:lnTo>
                        <a:lnTo>
                          <a:pt x="3701" y="156"/>
                        </a:lnTo>
                        <a:lnTo>
                          <a:pt x="3715" y="163"/>
                        </a:lnTo>
                        <a:lnTo>
                          <a:pt x="3723" y="163"/>
                        </a:lnTo>
                        <a:lnTo>
                          <a:pt x="3733" y="152"/>
                        </a:lnTo>
                        <a:lnTo>
                          <a:pt x="3758" y="151"/>
                        </a:lnTo>
                        <a:lnTo>
                          <a:pt x="3758" y="141"/>
                        </a:lnTo>
                        <a:lnTo>
                          <a:pt x="3775" y="138"/>
                        </a:lnTo>
                        <a:lnTo>
                          <a:pt x="3782" y="160"/>
                        </a:lnTo>
                        <a:lnTo>
                          <a:pt x="3782" y="177"/>
                        </a:lnTo>
                        <a:lnTo>
                          <a:pt x="3766" y="187"/>
                        </a:lnTo>
                        <a:lnTo>
                          <a:pt x="3766" y="205"/>
                        </a:lnTo>
                        <a:lnTo>
                          <a:pt x="3777" y="212"/>
                        </a:lnTo>
                        <a:lnTo>
                          <a:pt x="3781" y="223"/>
                        </a:lnTo>
                        <a:lnTo>
                          <a:pt x="3803" y="217"/>
                        </a:lnTo>
                        <a:lnTo>
                          <a:pt x="3821" y="232"/>
                        </a:lnTo>
                        <a:lnTo>
                          <a:pt x="3835" y="233"/>
                        </a:lnTo>
                        <a:lnTo>
                          <a:pt x="3853" y="256"/>
                        </a:lnTo>
                        <a:lnTo>
                          <a:pt x="3866" y="265"/>
                        </a:lnTo>
                        <a:lnTo>
                          <a:pt x="3875" y="286"/>
                        </a:lnTo>
                        <a:lnTo>
                          <a:pt x="3847" y="295"/>
                        </a:lnTo>
                        <a:lnTo>
                          <a:pt x="3836" y="316"/>
                        </a:lnTo>
                        <a:lnTo>
                          <a:pt x="3861" y="331"/>
                        </a:lnTo>
                        <a:lnTo>
                          <a:pt x="3871" y="338"/>
                        </a:lnTo>
                        <a:lnTo>
                          <a:pt x="3862" y="347"/>
                        </a:lnTo>
                        <a:lnTo>
                          <a:pt x="3848" y="348"/>
                        </a:lnTo>
                        <a:lnTo>
                          <a:pt x="3872" y="367"/>
                        </a:lnTo>
                        <a:lnTo>
                          <a:pt x="3877" y="383"/>
                        </a:lnTo>
                        <a:lnTo>
                          <a:pt x="3887" y="376"/>
                        </a:lnTo>
                        <a:lnTo>
                          <a:pt x="3905" y="383"/>
                        </a:lnTo>
                        <a:lnTo>
                          <a:pt x="3911" y="381"/>
                        </a:lnTo>
                        <a:lnTo>
                          <a:pt x="3925" y="390"/>
                        </a:lnTo>
                        <a:lnTo>
                          <a:pt x="3930" y="398"/>
                        </a:lnTo>
                        <a:lnTo>
                          <a:pt x="3922" y="405"/>
                        </a:lnTo>
                        <a:lnTo>
                          <a:pt x="3938" y="412"/>
                        </a:lnTo>
                        <a:lnTo>
                          <a:pt x="3957" y="410"/>
                        </a:lnTo>
                        <a:lnTo>
                          <a:pt x="3983" y="427"/>
                        </a:lnTo>
                        <a:lnTo>
                          <a:pt x="3993" y="443"/>
                        </a:lnTo>
                        <a:lnTo>
                          <a:pt x="4001" y="460"/>
                        </a:lnTo>
                        <a:lnTo>
                          <a:pt x="4007" y="462"/>
                        </a:lnTo>
                        <a:lnTo>
                          <a:pt x="4012" y="488"/>
                        </a:lnTo>
                        <a:lnTo>
                          <a:pt x="4022" y="486"/>
                        </a:lnTo>
                        <a:lnTo>
                          <a:pt x="4038" y="511"/>
                        </a:lnTo>
                        <a:lnTo>
                          <a:pt x="4033" y="518"/>
                        </a:lnTo>
                        <a:lnTo>
                          <a:pt x="4061" y="551"/>
                        </a:lnTo>
                        <a:lnTo>
                          <a:pt x="4078" y="556"/>
                        </a:lnTo>
                        <a:lnTo>
                          <a:pt x="4108" y="576"/>
                        </a:lnTo>
                        <a:lnTo>
                          <a:pt x="4113" y="586"/>
                        </a:lnTo>
                        <a:lnTo>
                          <a:pt x="4126" y="588"/>
                        </a:lnTo>
                        <a:lnTo>
                          <a:pt x="4131" y="612"/>
                        </a:lnTo>
                        <a:lnTo>
                          <a:pt x="4140" y="627"/>
                        </a:lnTo>
                        <a:lnTo>
                          <a:pt x="4156" y="648"/>
                        </a:lnTo>
                        <a:lnTo>
                          <a:pt x="4161" y="647"/>
                        </a:lnTo>
                        <a:lnTo>
                          <a:pt x="4175" y="658"/>
                        </a:lnTo>
                        <a:lnTo>
                          <a:pt x="4191" y="655"/>
                        </a:lnTo>
                        <a:lnTo>
                          <a:pt x="4201" y="661"/>
                        </a:lnTo>
                        <a:lnTo>
                          <a:pt x="4213" y="658"/>
                        </a:lnTo>
                        <a:lnTo>
                          <a:pt x="4217" y="665"/>
                        </a:lnTo>
                        <a:lnTo>
                          <a:pt x="4257" y="678"/>
                        </a:lnTo>
                        <a:lnTo>
                          <a:pt x="4266" y="695"/>
                        </a:lnTo>
                        <a:lnTo>
                          <a:pt x="4272" y="696"/>
                        </a:lnTo>
                        <a:lnTo>
                          <a:pt x="4281" y="713"/>
                        </a:lnTo>
                        <a:lnTo>
                          <a:pt x="4285" y="747"/>
                        </a:lnTo>
                        <a:lnTo>
                          <a:pt x="4293" y="753"/>
                        </a:lnTo>
                        <a:lnTo>
                          <a:pt x="4310" y="780"/>
                        </a:lnTo>
                        <a:lnTo>
                          <a:pt x="4313" y="805"/>
                        </a:lnTo>
                        <a:lnTo>
                          <a:pt x="4326" y="806"/>
                        </a:lnTo>
                        <a:lnTo>
                          <a:pt x="4335" y="816"/>
                        </a:lnTo>
                        <a:close/>
                      </a:path>
                    </a:pathLst>
                  </a:custGeom>
                  <a:solidFill>
                    <a:srgbClr val="3E7994"/>
                  </a:solidFill>
                  <a:ln w="0" cap="rnd">
                    <a:solidFill>
                      <a:srgbClr val="D9D9D9"/>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4" name="Mexico" descr="{&quot;Key&quot;:&quot;mexico&quot;,&quot;Name&quot;:&quot;Mexico&quot;,&quot;Value&quot;:1.0,&quot;Formula&quot;:&quot;&quot;,&quot;Text&quot;:&quot;&quot;,&quot;OfficeApplication&quot;:1,&quot;HasValue&quot;:true}">
                    <a:extLst>
                      <a:ext uri="{FF2B5EF4-FFF2-40B4-BE49-F238E27FC236}">
                        <a16:creationId xmlns:a16="http://schemas.microsoft.com/office/drawing/2014/main" id="{03734614-A5DE-0EB9-356F-36422CCC37B0}"/>
                      </a:ext>
                    </a:extLst>
                  </p:cNvPr>
                  <p:cNvSpPr>
                    <a:spLocks noEditPoints="1"/>
                  </p:cNvSpPr>
                  <p:nvPr/>
                </p:nvSpPr>
                <p:spPr bwMode="auto">
                  <a:xfrm>
                    <a:off x="5326805" y="5087249"/>
                    <a:ext cx="2171821" cy="1565706"/>
                  </a:xfrm>
                  <a:custGeom>
                    <a:avLst/>
                    <a:gdLst>
                      <a:gd name="T0" fmla="*/ 975 w 4173"/>
                      <a:gd name="T1" fmla="*/ 320 h 3008"/>
                      <a:gd name="T2" fmla="*/ 1653 w 4173"/>
                      <a:gd name="T3" fmla="*/ 463 h 3008"/>
                      <a:gd name="T4" fmla="*/ 1819 w 4173"/>
                      <a:gd name="T5" fmla="*/ 724 h 3008"/>
                      <a:gd name="T6" fmla="*/ 1999 w 4173"/>
                      <a:gd name="T7" fmla="*/ 679 h 3008"/>
                      <a:gd name="T8" fmla="*/ 2206 w 4173"/>
                      <a:gd name="T9" fmla="*/ 734 h 3008"/>
                      <a:gd name="T10" fmla="*/ 2354 w 4173"/>
                      <a:gd name="T11" fmla="*/ 991 h 3008"/>
                      <a:gd name="T12" fmla="*/ 2441 w 4173"/>
                      <a:gd name="T13" fmla="*/ 1198 h 3008"/>
                      <a:gd name="T14" fmla="*/ 2700 w 4173"/>
                      <a:gd name="T15" fmla="*/ 1269 h 3008"/>
                      <a:gd name="T16" fmla="*/ 2604 w 4173"/>
                      <a:gd name="T17" fmla="*/ 1823 h 3008"/>
                      <a:gd name="T18" fmla="*/ 2630 w 4173"/>
                      <a:gd name="T19" fmla="*/ 1940 h 3008"/>
                      <a:gd name="T20" fmla="*/ 2846 w 4173"/>
                      <a:gd name="T21" fmla="*/ 2314 h 3008"/>
                      <a:gd name="T22" fmla="*/ 3166 w 4173"/>
                      <a:gd name="T23" fmla="*/ 2428 h 3008"/>
                      <a:gd name="T24" fmla="*/ 3439 w 4173"/>
                      <a:gd name="T25" fmla="*/ 2370 h 3008"/>
                      <a:gd name="T26" fmla="*/ 3567 w 4173"/>
                      <a:gd name="T27" fmla="*/ 2291 h 3008"/>
                      <a:gd name="T28" fmla="*/ 3654 w 4173"/>
                      <a:gd name="T29" fmla="*/ 1993 h 3008"/>
                      <a:gd name="T30" fmla="*/ 4035 w 4173"/>
                      <a:gd name="T31" fmla="*/ 1884 h 3008"/>
                      <a:gd name="T32" fmla="*/ 4079 w 4173"/>
                      <a:gd name="T33" fmla="*/ 2084 h 3008"/>
                      <a:gd name="T34" fmla="*/ 4058 w 4173"/>
                      <a:gd name="T35" fmla="*/ 2231 h 3008"/>
                      <a:gd name="T36" fmla="*/ 4018 w 4173"/>
                      <a:gd name="T37" fmla="*/ 2306 h 3008"/>
                      <a:gd name="T38" fmla="*/ 3596 w 4173"/>
                      <a:gd name="T39" fmla="*/ 2486 h 3008"/>
                      <a:gd name="T40" fmla="*/ 3692 w 4173"/>
                      <a:gd name="T41" fmla="*/ 2710 h 3008"/>
                      <a:gd name="T42" fmla="*/ 3427 w 4173"/>
                      <a:gd name="T43" fmla="*/ 3008 h 3008"/>
                      <a:gd name="T44" fmla="*/ 3099 w 4173"/>
                      <a:gd name="T45" fmla="*/ 2743 h 3008"/>
                      <a:gd name="T46" fmla="*/ 3025 w 4173"/>
                      <a:gd name="T47" fmla="*/ 2723 h 3008"/>
                      <a:gd name="T48" fmla="*/ 2817 w 4173"/>
                      <a:gd name="T49" fmla="*/ 2840 h 3008"/>
                      <a:gd name="T50" fmla="*/ 2469 w 4173"/>
                      <a:gd name="T51" fmla="*/ 2735 h 3008"/>
                      <a:gd name="T52" fmla="*/ 2015 w 4173"/>
                      <a:gd name="T53" fmla="*/ 2493 h 3008"/>
                      <a:gd name="T54" fmla="*/ 1691 w 4173"/>
                      <a:gd name="T55" fmla="*/ 2293 h 3008"/>
                      <a:gd name="T56" fmla="*/ 1484 w 4173"/>
                      <a:gd name="T57" fmla="*/ 2068 h 3008"/>
                      <a:gd name="T58" fmla="*/ 1546 w 4173"/>
                      <a:gd name="T59" fmla="*/ 1899 h 3008"/>
                      <a:gd name="T60" fmla="*/ 1391 w 4173"/>
                      <a:gd name="T61" fmla="*/ 1559 h 3008"/>
                      <a:gd name="T62" fmla="*/ 1207 w 4173"/>
                      <a:gd name="T63" fmla="*/ 1321 h 3008"/>
                      <a:gd name="T64" fmla="*/ 1102 w 4173"/>
                      <a:gd name="T65" fmla="*/ 1219 h 3008"/>
                      <a:gd name="T66" fmla="*/ 1075 w 4173"/>
                      <a:gd name="T67" fmla="*/ 1026 h 3008"/>
                      <a:gd name="T68" fmla="*/ 951 w 4173"/>
                      <a:gd name="T69" fmla="*/ 839 h 3008"/>
                      <a:gd name="T70" fmla="*/ 779 w 4173"/>
                      <a:gd name="T71" fmla="*/ 640 h 3008"/>
                      <a:gd name="T72" fmla="*/ 727 w 4173"/>
                      <a:gd name="T73" fmla="*/ 411 h 3008"/>
                      <a:gd name="T74" fmla="*/ 562 w 4173"/>
                      <a:gd name="T75" fmla="*/ 192 h 3008"/>
                      <a:gd name="T76" fmla="*/ 501 w 4173"/>
                      <a:gd name="T77" fmla="*/ 280 h 3008"/>
                      <a:gd name="T78" fmla="*/ 579 w 4173"/>
                      <a:gd name="T79" fmla="*/ 531 h 3008"/>
                      <a:gd name="T80" fmla="*/ 676 w 4173"/>
                      <a:gd name="T81" fmla="*/ 737 h 3008"/>
                      <a:gd name="T82" fmla="*/ 752 w 4173"/>
                      <a:gd name="T83" fmla="*/ 971 h 3008"/>
                      <a:gd name="T84" fmla="*/ 807 w 4173"/>
                      <a:gd name="T85" fmla="*/ 1125 h 3008"/>
                      <a:gd name="T86" fmla="*/ 889 w 4173"/>
                      <a:gd name="T87" fmla="*/ 1381 h 3008"/>
                      <a:gd name="T88" fmla="*/ 1002 w 4173"/>
                      <a:gd name="T89" fmla="*/ 1532 h 3008"/>
                      <a:gd name="T90" fmla="*/ 801 w 4173"/>
                      <a:gd name="T91" fmla="*/ 1377 h 3008"/>
                      <a:gd name="T92" fmla="*/ 704 w 4173"/>
                      <a:gd name="T93" fmla="*/ 1130 h 3008"/>
                      <a:gd name="T94" fmla="*/ 595 w 4173"/>
                      <a:gd name="T95" fmla="*/ 924 h 3008"/>
                      <a:gd name="T96" fmla="*/ 454 w 4173"/>
                      <a:gd name="T97" fmla="*/ 851 h 3008"/>
                      <a:gd name="T98" fmla="*/ 492 w 4173"/>
                      <a:gd name="T99" fmla="*/ 788 h 3008"/>
                      <a:gd name="T100" fmla="*/ 507 w 4173"/>
                      <a:gd name="T101" fmla="*/ 695 h 3008"/>
                      <a:gd name="T102" fmla="*/ 357 w 4173"/>
                      <a:gd name="T103" fmla="*/ 410 h 3008"/>
                      <a:gd name="T104" fmla="*/ 307 w 4173"/>
                      <a:gd name="T105" fmla="*/ 173 h 3008"/>
                      <a:gd name="T106" fmla="*/ 2620 w 4173"/>
                      <a:gd name="T107" fmla="*/ 1372 h 3008"/>
                      <a:gd name="T108" fmla="*/ 2644 w 4173"/>
                      <a:gd name="T109" fmla="*/ 1404 h 3008"/>
                      <a:gd name="T110" fmla="*/ 0 w 4173"/>
                      <a:gd name="T111" fmla="*/ 458 h 3008"/>
                      <a:gd name="T112" fmla="*/ 618 w 4173"/>
                      <a:gd name="T113" fmla="*/ 525 h 3008"/>
                      <a:gd name="T114" fmla="*/ 874 w 4173"/>
                      <a:gd name="T115" fmla="*/ 1262 h 3008"/>
                      <a:gd name="T116" fmla="*/ 759 w 4173"/>
                      <a:gd name="T117" fmla="*/ 666 h 3008"/>
                      <a:gd name="T118" fmla="*/ 1366 w 4173"/>
                      <a:gd name="T119" fmla="*/ 1846 h 3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73" h="3008">
                        <a:moveTo>
                          <a:pt x="3733" y="1750"/>
                        </a:moveTo>
                        <a:lnTo>
                          <a:pt x="3745" y="1765"/>
                        </a:lnTo>
                        <a:lnTo>
                          <a:pt x="3743" y="1778"/>
                        </a:lnTo>
                        <a:lnTo>
                          <a:pt x="3734" y="1773"/>
                        </a:lnTo>
                        <a:lnTo>
                          <a:pt x="3739" y="1764"/>
                        </a:lnTo>
                        <a:lnTo>
                          <a:pt x="3733" y="1750"/>
                        </a:lnTo>
                        <a:close/>
                        <a:moveTo>
                          <a:pt x="271" y="0"/>
                        </a:moveTo>
                        <a:lnTo>
                          <a:pt x="435" y="21"/>
                        </a:lnTo>
                        <a:lnTo>
                          <a:pt x="566" y="38"/>
                        </a:lnTo>
                        <a:lnTo>
                          <a:pt x="553" y="53"/>
                        </a:lnTo>
                        <a:lnTo>
                          <a:pt x="548" y="66"/>
                        </a:lnTo>
                        <a:lnTo>
                          <a:pt x="644" y="125"/>
                        </a:lnTo>
                        <a:lnTo>
                          <a:pt x="736" y="181"/>
                        </a:lnTo>
                        <a:lnTo>
                          <a:pt x="830" y="236"/>
                        </a:lnTo>
                        <a:lnTo>
                          <a:pt x="975" y="320"/>
                        </a:lnTo>
                        <a:lnTo>
                          <a:pt x="981" y="323"/>
                        </a:lnTo>
                        <a:lnTo>
                          <a:pt x="1110" y="344"/>
                        </a:lnTo>
                        <a:lnTo>
                          <a:pt x="1224" y="360"/>
                        </a:lnTo>
                        <a:lnTo>
                          <a:pt x="1234" y="361"/>
                        </a:lnTo>
                        <a:lnTo>
                          <a:pt x="1327" y="375"/>
                        </a:lnTo>
                        <a:lnTo>
                          <a:pt x="1336" y="309"/>
                        </a:lnTo>
                        <a:lnTo>
                          <a:pt x="1548" y="338"/>
                        </a:lnTo>
                        <a:lnTo>
                          <a:pt x="1565" y="346"/>
                        </a:lnTo>
                        <a:lnTo>
                          <a:pt x="1571" y="368"/>
                        </a:lnTo>
                        <a:lnTo>
                          <a:pt x="1584" y="389"/>
                        </a:lnTo>
                        <a:lnTo>
                          <a:pt x="1604" y="399"/>
                        </a:lnTo>
                        <a:lnTo>
                          <a:pt x="1619" y="416"/>
                        </a:lnTo>
                        <a:lnTo>
                          <a:pt x="1629" y="434"/>
                        </a:lnTo>
                        <a:lnTo>
                          <a:pt x="1650" y="451"/>
                        </a:lnTo>
                        <a:lnTo>
                          <a:pt x="1653" y="463"/>
                        </a:lnTo>
                        <a:lnTo>
                          <a:pt x="1675" y="486"/>
                        </a:lnTo>
                        <a:lnTo>
                          <a:pt x="1691" y="494"/>
                        </a:lnTo>
                        <a:lnTo>
                          <a:pt x="1707" y="511"/>
                        </a:lnTo>
                        <a:lnTo>
                          <a:pt x="1716" y="516"/>
                        </a:lnTo>
                        <a:lnTo>
                          <a:pt x="1730" y="536"/>
                        </a:lnTo>
                        <a:lnTo>
                          <a:pt x="1733" y="554"/>
                        </a:lnTo>
                        <a:lnTo>
                          <a:pt x="1744" y="580"/>
                        </a:lnTo>
                        <a:lnTo>
                          <a:pt x="1751" y="591"/>
                        </a:lnTo>
                        <a:lnTo>
                          <a:pt x="1746" y="615"/>
                        </a:lnTo>
                        <a:lnTo>
                          <a:pt x="1748" y="629"/>
                        </a:lnTo>
                        <a:lnTo>
                          <a:pt x="1760" y="653"/>
                        </a:lnTo>
                        <a:lnTo>
                          <a:pt x="1763" y="670"/>
                        </a:lnTo>
                        <a:lnTo>
                          <a:pt x="1785" y="691"/>
                        </a:lnTo>
                        <a:lnTo>
                          <a:pt x="1795" y="694"/>
                        </a:lnTo>
                        <a:lnTo>
                          <a:pt x="1819" y="724"/>
                        </a:lnTo>
                        <a:lnTo>
                          <a:pt x="1835" y="733"/>
                        </a:lnTo>
                        <a:lnTo>
                          <a:pt x="1852" y="736"/>
                        </a:lnTo>
                        <a:lnTo>
                          <a:pt x="1854" y="743"/>
                        </a:lnTo>
                        <a:lnTo>
                          <a:pt x="1866" y="753"/>
                        </a:lnTo>
                        <a:lnTo>
                          <a:pt x="1882" y="758"/>
                        </a:lnTo>
                        <a:lnTo>
                          <a:pt x="1890" y="768"/>
                        </a:lnTo>
                        <a:lnTo>
                          <a:pt x="1902" y="778"/>
                        </a:lnTo>
                        <a:lnTo>
                          <a:pt x="1911" y="778"/>
                        </a:lnTo>
                        <a:lnTo>
                          <a:pt x="1931" y="786"/>
                        </a:lnTo>
                        <a:lnTo>
                          <a:pt x="1938" y="775"/>
                        </a:lnTo>
                        <a:lnTo>
                          <a:pt x="1954" y="759"/>
                        </a:lnTo>
                        <a:lnTo>
                          <a:pt x="1966" y="754"/>
                        </a:lnTo>
                        <a:lnTo>
                          <a:pt x="1970" y="736"/>
                        </a:lnTo>
                        <a:lnTo>
                          <a:pt x="1985" y="700"/>
                        </a:lnTo>
                        <a:lnTo>
                          <a:pt x="1999" y="679"/>
                        </a:lnTo>
                        <a:lnTo>
                          <a:pt x="2021" y="674"/>
                        </a:lnTo>
                        <a:lnTo>
                          <a:pt x="2035" y="676"/>
                        </a:lnTo>
                        <a:lnTo>
                          <a:pt x="2040" y="666"/>
                        </a:lnTo>
                        <a:lnTo>
                          <a:pt x="2050" y="661"/>
                        </a:lnTo>
                        <a:lnTo>
                          <a:pt x="2072" y="675"/>
                        </a:lnTo>
                        <a:lnTo>
                          <a:pt x="2091" y="674"/>
                        </a:lnTo>
                        <a:lnTo>
                          <a:pt x="2134" y="684"/>
                        </a:lnTo>
                        <a:lnTo>
                          <a:pt x="2144" y="681"/>
                        </a:lnTo>
                        <a:lnTo>
                          <a:pt x="2162" y="686"/>
                        </a:lnTo>
                        <a:lnTo>
                          <a:pt x="2167" y="700"/>
                        </a:lnTo>
                        <a:lnTo>
                          <a:pt x="2174" y="708"/>
                        </a:lnTo>
                        <a:lnTo>
                          <a:pt x="2184" y="713"/>
                        </a:lnTo>
                        <a:lnTo>
                          <a:pt x="2179" y="721"/>
                        </a:lnTo>
                        <a:lnTo>
                          <a:pt x="2199" y="735"/>
                        </a:lnTo>
                        <a:lnTo>
                          <a:pt x="2206" y="734"/>
                        </a:lnTo>
                        <a:lnTo>
                          <a:pt x="2209" y="745"/>
                        </a:lnTo>
                        <a:lnTo>
                          <a:pt x="2234" y="764"/>
                        </a:lnTo>
                        <a:lnTo>
                          <a:pt x="2240" y="779"/>
                        </a:lnTo>
                        <a:lnTo>
                          <a:pt x="2251" y="788"/>
                        </a:lnTo>
                        <a:lnTo>
                          <a:pt x="2256" y="816"/>
                        </a:lnTo>
                        <a:lnTo>
                          <a:pt x="2269" y="834"/>
                        </a:lnTo>
                        <a:lnTo>
                          <a:pt x="2271" y="849"/>
                        </a:lnTo>
                        <a:lnTo>
                          <a:pt x="2282" y="866"/>
                        </a:lnTo>
                        <a:lnTo>
                          <a:pt x="2295" y="911"/>
                        </a:lnTo>
                        <a:lnTo>
                          <a:pt x="2306" y="924"/>
                        </a:lnTo>
                        <a:lnTo>
                          <a:pt x="2321" y="933"/>
                        </a:lnTo>
                        <a:lnTo>
                          <a:pt x="2330" y="954"/>
                        </a:lnTo>
                        <a:lnTo>
                          <a:pt x="2345" y="971"/>
                        </a:lnTo>
                        <a:lnTo>
                          <a:pt x="2348" y="986"/>
                        </a:lnTo>
                        <a:lnTo>
                          <a:pt x="2354" y="991"/>
                        </a:lnTo>
                        <a:lnTo>
                          <a:pt x="2366" y="1006"/>
                        </a:lnTo>
                        <a:lnTo>
                          <a:pt x="2380" y="1011"/>
                        </a:lnTo>
                        <a:lnTo>
                          <a:pt x="2393" y="1023"/>
                        </a:lnTo>
                        <a:lnTo>
                          <a:pt x="2396" y="1044"/>
                        </a:lnTo>
                        <a:lnTo>
                          <a:pt x="2393" y="1056"/>
                        </a:lnTo>
                        <a:lnTo>
                          <a:pt x="2400" y="1076"/>
                        </a:lnTo>
                        <a:lnTo>
                          <a:pt x="2395" y="1099"/>
                        </a:lnTo>
                        <a:lnTo>
                          <a:pt x="2401" y="1113"/>
                        </a:lnTo>
                        <a:lnTo>
                          <a:pt x="2408" y="1118"/>
                        </a:lnTo>
                        <a:lnTo>
                          <a:pt x="2409" y="1131"/>
                        </a:lnTo>
                        <a:lnTo>
                          <a:pt x="2421" y="1138"/>
                        </a:lnTo>
                        <a:lnTo>
                          <a:pt x="2421" y="1171"/>
                        </a:lnTo>
                        <a:lnTo>
                          <a:pt x="2431" y="1173"/>
                        </a:lnTo>
                        <a:lnTo>
                          <a:pt x="2439" y="1179"/>
                        </a:lnTo>
                        <a:lnTo>
                          <a:pt x="2441" y="1198"/>
                        </a:lnTo>
                        <a:lnTo>
                          <a:pt x="2458" y="1199"/>
                        </a:lnTo>
                        <a:lnTo>
                          <a:pt x="2468" y="1204"/>
                        </a:lnTo>
                        <a:lnTo>
                          <a:pt x="2480" y="1204"/>
                        </a:lnTo>
                        <a:lnTo>
                          <a:pt x="2488" y="1214"/>
                        </a:lnTo>
                        <a:lnTo>
                          <a:pt x="2500" y="1224"/>
                        </a:lnTo>
                        <a:lnTo>
                          <a:pt x="2509" y="1221"/>
                        </a:lnTo>
                        <a:lnTo>
                          <a:pt x="2536" y="1231"/>
                        </a:lnTo>
                        <a:lnTo>
                          <a:pt x="2545" y="1244"/>
                        </a:lnTo>
                        <a:lnTo>
                          <a:pt x="2555" y="1250"/>
                        </a:lnTo>
                        <a:lnTo>
                          <a:pt x="2593" y="1254"/>
                        </a:lnTo>
                        <a:lnTo>
                          <a:pt x="2611" y="1253"/>
                        </a:lnTo>
                        <a:lnTo>
                          <a:pt x="2628" y="1258"/>
                        </a:lnTo>
                        <a:lnTo>
                          <a:pt x="2661" y="1285"/>
                        </a:lnTo>
                        <a:lnTo>
                          <a:pt x="2685" y="1269"/>
                        </a:lnTo>
                        <a:lnTo>
                          <a:pt x="2700" y="1269"/>
                        </a:lnTo>
                        <a:lnTo>
                          <a:pt x="2696" y="1289"/>
                        </a:lnTo>
                        <a:lnTo>
                          <a:pt x="2696" y="1305"/>
                        </a:lnTo>
                        <a:lnTo>
                          <a:pt x="2675" y="1355"/>
                        </a:lnTo>
                        <a:lnTo>
                          <a:pt x="2655" y="1385"/>
                        </a:lnTo>
                        <a:lnTo>
                          <a:pt x="2628" y="1485"/>
                        </a:lnTo>
                        <a:lnTo>
                          <a:pt x="2618" y="1560"/>
                        </a:lnTo>
                        <a:lnTo>
                          <a:pt x="2616" y="1601"/>
                        </a:lnTo>
                        <a:lnTo>
                          <a:pt x="2610" y="1646"/>
                        </a:lnTo>
                        <a:lnTo>
                          <a:pt x="2608" y="1673"/>
                        </a:lnTo>
                        <a:lnTo>
                          <a:pt x="2611" y="1716"/>
                        </a:lnTo>
                        <a:lnTo>
                          <a:pt x="2602" y="1741"/>
                        </a:lnTo>
                        <a:lnTo>
                          <a:pt x="2598" y="1748"/>
                        </a:lnTo>
                        <a:lnTo>
                          <a:pt x="2589" y="1769"/>
                        </a:lnTo>
                        <a:lnTo>
                          <a:pt x="2599" y="1798"/>
                        </a:lnTo>
                        <a:lnTo>
                          <a:pt x="2604" y="1823"/>
                        </a:lnTo>
                        <a:lnTo>
                          <a:pt x="2605" y="1849"/>
                        </a:lnTo>
                        <a:lnTo>
                          <a:pt x="2626" y="1889"/>
                        </a:lnTo>
                        <a:lnTo>
                          <a:pt x="2640" y="1906"/>
                        </a:lnTo>
                        <a:lnTo>
                          <a:pt x="2664" y="1925"/>
                        </a:lnTo>
                        <a:lnTo>
                          <a:pt x="2666" y="1931"/>
                        </a:lnTo>
                        <a:lnTo>
                          <a:pt x="2663" y="1953"/>
                        </a:lnTo>
                        <a:lnTo>
                          <a:pt x="2650" y="1964"/>
                        </a:lnTo>
                        <a:lnTo>
                          <a:pt x="2645" y="1950"/>
                        </a:lnTo>
                        <a:lnTo>
                          <a:pt x="2659" y="1940"/>
                        </a:lnTo>
                        <a:lnTo>
                          <a:pt x="2658" y="1933"/>
                        </a:lnTo>
                        <a:lnTo>
                          <a:pt x="2643" y="1919"/>
                        </a:lnTo>
                        <a:lnTo>
                          <a:pt x="2624" y="1895"/>
                        </a:lnTo>
                        <a:lnTo>
                          <a:pt x="2613" y="1890"/>
                        </a:lnTo>
                        <a:lnTo>
                          <a:pt x="2619" y="1919"/>
                        </a:lnTo>
                        <a:lnTo>
                          <a:pt x="2630" y="1940"/>
                        </a:lnTo>
                        <a:lnTo>
                          <a:pt x="2643" y="1943"/>
                        </a:lnTo>
                        <a:lnTo>
                          <a:pt x="2641" y="1955"/>
                        </a:lnTo>
                        <a:lnTo>
                          <a:pt x="2655" y="1985"/>
                        </a:lnTo>
                        <a:lnTo>
                          <a:pt x="2663" y="2008"/>
                        </a:lnTo>
                        <a:lnTo>
                          <a:pt x="2683" y="2045"/>
                        </a:lnTo>
                        <a:lnTo>
                          <a:pt x="2681" y="2056"/>
                        </a:lnTo>
                        <a:lnTo>
                          <a:pt x="2689" y="2070"/>
                        </a:lnTo>
                        <a:lnTo>
                          <a:pt x="2705" y="2091"/>
                        </a:lnTo>
                        <a:lnTo>
                          <a:pt x="2756" y="2146"/>
                        </a:lnTo>
                        <a:lnTo>
                          <a:pt x="2788" y="2190"/>
                        </a:lnTo>
                        <a:lnTo>
                          <a:pt x="2794" y="2210"/>
                        </a:lnTo>
                        <a:lnTo>
                          <a:pt x="2801" y="2241"/>
                        </a:lnTo>
                        <a:lnTo>
                          <a:pt x="2813" y="2276"/>
                        </a:lnTo>
                        <a:lnTo>
                          <a:pt x="2830" y="2290"/>
                        </a:lnTo>
                        <a:lnTo>
                          <a:pt x="2846" y="2314"/>
                        </a:lnTo>
                        <a:lnTo>
                          <a:pt x="2856" y="2315"/>
                        </a:lnTo>
                        <a:lnTo>
                          <a:pt x="2866" y="2343"/>
                        </a:lnTo>
                        <a:lnTo>
                          <a:pt x="2874" y="2368"/>
                        </a:lnTo>
                        <a:lnTo>
                          <a:pt x="2892" y="2361"/>
                        </a:lnTo>
                        <a:lnTo>
                          <a:pt x="2926" y="2369"/>
                        </a:lnTo>
                        <a:lnTo>
                          <a:pt x="2969" y="2369"/>
                        </a:lnTo>
                        <a:lnTo>
                          <a:pt x="2991" y="2384"/>
                        </a:lnTo>
                        <a:lnTo>
                          <a:pt x="2999" y="2393"/>
                        </a:lnTo>
                        <a:lnTo>
                          <a:pt x="3027" y="2396"/>
                        </a:lnTo>
                        <a:lnTo>
                          <a:pt x="3041" y="2419"/>
                        </a:lnTo>
                        <a:lnTo>
                          <a:pt x="3054" y="2433"/>
                        </a:lnTo>
                        <a:lnTo>
                          <a:pt x="3061" y="2448"/>
                        </a:lnTo>
                        <a:lnTo>
                          <a:pt x="3077" y="2454"/>
                        </a:lnTo>
                        <a:lnTo>
                          <a:pt x="3126" y="2444"/>
                        </a:lnTo>
                        <a:lnTo>
                          <a:pt x="3166" y="2428"/>
                        </a:lnTo>
                        <a:lnTo>
                          <a:pt x="3192" y="2419"/>
                        </a:lnTo>
                        <a:lnTo>
                          <a:pt x="3206" y="2420"/>
                        </a:lnTo>
                        <a:lnTo>
                          <a:pt x="3208" y="2410"/>
                        </a:lnTo>
                        <a:lnTo>
                          <a:pt x="3228" y="2405"/>
                        </a:lnTo>
                        <a:lnTo>
                          <a:pt x="3301" y="2403"/>
                        </a:lnTo>
                        <a:lnTo>
                          <a:pt x="3314" y="2399"/>
                        </a:lnTo>
                        <a:lnTo>
                          <a:pt x="3326" y="2388"/>
                        </a:lnTo>
                        <a:lnTo>
                          <a:pt x="3337" y="2374"/>
                        </a:lnTo>
                        <a:lnTo>
                          <a:pt x="3367" y="2368"/>
                        </a:lnTo>
                        <a:lnTo>
                          <a:pt x="3377" y="2365"/>
                        </a:lnTo>
                        <a:lnTo>
                          <a:pt x="3427" y="2358"/>
                        </a:lnTo>
                        <a:lnTo>
                          <a:pt x="3445" y="2359"/>
                        </a:lnTo>
                        <a:lnTo>
                          <a:pt x="3456" y="2368"/>
                        </a:lnTo>
                        <a:lnTo>
                          <a:pt x="3451" y="2374"/>
                        </a:lnTo>
                        <a:lnTo>
                          <a:pt x="3439" y="2370"/>
                        </a:lnTo>
                        <a:lnTo>
                          <a:pt x="3439" y="2383"/>
                        </a:lnTo>
                        <a:lnTo>
                          <a:pt x="3456" y="2381"/>
                        </a:lnTo>
                        <a:lnTo>
                          <a:pt x="3464" y="2391"/>
                        </a:lnTo>
                        <a:lnTo>
                          <a:pt x="3485" y="2394"/>
                        </a:lnTo>
                        <a:lnTo>
                          <a:pt x="3505" y="2393"/>
                        </a:lnTo>
                        <a:lnTo>
                          <a:pt x="3510" y="2384"/>
                        </a:lnTo>
                        <a:lnTo>
                          <a:pt x="3535" y="2373"/>
                        </a:lnTo>
                        <a:lnTo>
                          <a:pt x="3541" y="2363"/>
                        </a:lnTo>
                        <a:lnTo>
                          <a:pt x="3544" y="2348"/>
                        </a:lnTo>
                        <a:lnTo>
                          <a:pt x="3537" y="2340"/>
                        </a:lnTo>
                        <a:lnTo>
                          <a:pt x="3529" y="2343"/>
                        </a:lnTo>
                        <a:lnTo>
                          <a:pt x="3519" y="2326"/>
                        </a:lnTo>
                        <a:lnTo>
                          <a:pt x="3540" y="2311"/>
                        </a:lnTo>
                        <a:lnTo>
                          <a:pt x="3556" y="2303"/>
                        </a:lnTo>
                        <a:lnTo>
                          <a:pt x="3567" y="2291"/>
                        </a:lnTo>
                        <a:lnTo>
                          <a:pt x="3587" y="2279"/>
                        </a:lnTo>
                        <a:lnTo>
                          <a:pt x="3599" y="2264"/>
                        </a:lnTo>
                        <a:lnTo>
                          <a:pt x="3606" y="2259"/>
                        </a:lnTo>
                        <a:lnTo>
                          <a:pt x="3616" y="2244"/>
                        </a:lnTo>
                        <a:lnTo>
                          <a:pt x="3616" y="2196"/>
                        </a:lnTo>
                        <a:lnTo>
                          <a:pt x="3621" y="2181"/>
                        </a:lnTo>
                        <a:lnTo>
                          <a:pt x="3647" y="2159"/>
                        </a:lnTo>
                        <a:lnTo>
                          <a:pt x="3647" y="2144"/>
                        </a:lnTo>
                        <a:lnTo>
                          <a:pt x="3644" y="2136"/>
                        </a:lnTo>
                        <a:lnTo>
                          <a:pt x="3644" y="2084"/>
                        </a:lnTo>
                        <a:lnTo>
                          <a:pt x="3640" y="2065"/>
                        </a:lnTo>
                        <a:lnTo>
                          <a:pt x="3644" y="2033"/>
                        </a:lnTo>
                        <a:lnTo>
                          <a:pt x="3653" y="2020"/>
                        </a:lnTo>
                        <a:lnTo>
                          <a:pt x="3648" y="2021"/>
                        </a:lnTo>
                        <a:lnTo>
                          <a:pt x="3654" y="1993"/>
                        </a:lnTo>
                        <a:lnTo>
                          <a:pt x="3658" y="1988"/>
                        </a:lnTo>
                        <a:lnTo>
                          <a:pt x="3690" y="1965"/>
                        </a:lnTo>
                        <a:lnTo>
                          <a:pt x="3706" y="1959"/>
                        </a:lnTo>
                        <a:lnTo>
                          <a:pt x="3714" y="1953"/>
                        </a:lnTo>
                        <a:lnTo>
                          <a:pt x="3733" y="1944"/>
                        </a:lnTo>
                        <a:lnTo>
                          <a:pt x="3825" y="1926"/>
                        </a:lnTo>
                        <a:lnTo>
                          <a:pt x="3884" y="1906"/>
                        </a:lnTo>
                        <a:lnTo>
                          <a:pt x="3896" y="1894"/>
                        </a:lnTo>
                        <a:lnTo>
                          <a:pt x="3918" y="1886"/>
                        </a:lnTo>
                        <a:lnTo>
                          <a:pt x="3941" y="1886"/>
                        </a:lnTo>
                        <a:lnTo>
                          <a:pt x="3963" y="1876"/>
                        </a:lnTo>
                        <a:lnTo>
                          <a:pt x="3986" y="1876"/>
                        </a:lnTo>
                        <a:lnTo>
                          <a:pt x="4014" y="1881"/>
                        </a:lnTo>
                        <a:lnTo>
                          <a:pt x="4014" y="1888"/>
                        </a:lnTo>
                        <a:lnTo>
                          <a:pt x="4035" y="1884"/>
                        </a:lnTo>
                        <a:lnTo>
                          <a:pt x="4048" y="1886"/>
                        </a:lnTo>
                        <a:lnTo>
                          <a:pt x="4056" y="1890"/>
                        </a:lnTo>
                        <a:lnTo>
                          <a:pt x="4090" y="1891"/>
                        </a:lnTo>
                        <a:lnTo>
                          <a:pt x="4104" y="1878"/>
                        </a:lnTo>
                        <a:lnTo>
                          <a:pt x="4103" y="1863"/>
                        </a:lnTo>
                        <a:lnTo>
                          <a:pt x="4123" y="1869"/>
                        </a:lnTo>
                        <a:lnTo>
                          <a:pt x="4134" y="1886"/>
                        </a:lnTo>
                        <a:lnTo>
                          <a:pt x="4148" y="1886"/>
                        </a:lnTo>
                        <a:lnTo>
                          <a:pt x="4154" y="1921"/>
                        </a:lnTo>
                        <a:lnTo>
                          <a:pt x="4164" y="1926"/>
                        </a:lnTo>
                        <a:lnTo>
                          <a:pt x="4155" y="1949"/>
                        </a:lnTo>
                        <a:lnTo>
                          <a:pt x="4150" y="1975"/>
                        </a:lnTo>
                        <a:lnTo>
                          <a:pt x="4126" y="2014"/>
                        </a:lnTo>
                        <a:lnTo>
                          <a:pt x="4105" y="2035"/>
                        </a:lnTo>
                        <a:lnTo>
                          <a:pt x="4079" y="2084"/>
                        </a:lnTo>
                        <a:lnTo>
                          <a:pt x="4078" y="2103"/>
                        </a:lnTo>
                        <a:lnTo>
                          <a:pt x="4080" y="2130"/>
                        </a:lnTo>
                        <a:lnTo>
                          <a:pt x="4076" y="2139"/>
                        </a:lnTo>
                        <a:lnTo>
                          <a:pt x="4063" y="2150"/>
                        </a:lnTo>
                        <a:lnTo>
                          <a:pt x="4060" y="2160"/>
                        </a:lnTo>
                        <a:lnTo>
                          <a:pt x="4045" y="2165"/>
                        </a:lnTo>
                        <a:lnTo>
                          <a:pt x="4046" y="2178"/>
                        </a:lnTo>
                        <a:lnTo>
                          <a:pt x="4056" y="2184"/>
                        </a:lnTo>
                        <a:lnTo>
                          <a:pt x="4071" y="2180"/>
                        </a:lnTo>
                        <a:lnTo>
                          <a:pt x="4091" y="2180"/>
                        </a:lnTo>
                        <a:lnTo>
                          <a:pt x="4091" y="2190"/>
                        </a:lnTo>
                        <a:lnTo>
                          <a:pt x="4079" y="2205"/>
                        </a:lnTo>
                        <a:lnTo>
                          <a:pt x="4071" y="2201"/>
                        </a:lnTo>
                        <a:lnTo>
                          <a:pt x="4060" y="2211"/>
                        </a:lnTo>
                        <a:lnTo>
                          <a:pt x="4058" y="2231"/>
                        </a:lnTo>
                        <a:lnTo>
                          <a:pt x="4065" y="2234"/>
                        </a:lnTo>
                        <a:lnTo>
                          <a:pt x="4074" y="2219"/>
                        </a:lnTo>
                        <a:lnTo>
                          <a:pt x="4084" y="2216"/>
                        </a:lnTo>
                        <a:lnTo>
                          <a:pt x="4079" y="2246"/>
                        </a:lnTo>
                        <a:lnTo>
                          <a:pt x="4073" y="2265"/>
                        </a:lnTo>
                        <a:lnTo>
                          <a:pt x="4068" y="2304"/>
                        </a:lnTo>
                        <a:lnTo>
                          <a:pt x="4060" y="2319"/>
                        </a:lnTo>
                        <a:lnTo>
                          <a:pt x="4060" y="2341"/>
                        </a:lnTo>
                        <a:lnTo>
                          <a:pt x="4058" y="2361"/>
                        </a:lnTo>
                        <a:lnTo>
                          <a:pt x="4049" y="2384"/>
                        </a:lnTo>
                        <a:lnTo>
                          <a:pt x="4033" y="2358"/>
                        </a:lnTo>
                        <a:lnTo>
                          <a:pt x="4011" y="2351"/>
                        </a:lnTo>
                        <a:lnTo>
                          <a:pt x="4011" y="2345"/>
                        </a:lnTo>
                        <a:lnTo>
                          <a:pt x="4020" y="2320"/>
                        </a:lnTo>
                        <a:lnTo>
                          <a:pt x="4018" y="2306"/>
                        </a:lnTo>
                        <a:lnTo>
                          <a:pt x="4013" y="2293"/>
                        </a:lnTo>
                        <a:lnTo>
                          <a:pt x="4004" y="2305"/>
                        </a:lnTo>
                        <a:lnTo>
                          <a:pt x="3981" y="2355"/>
                        </a:lnTo>
                        <a:lnTo>
                          <a:pt x="3951" y="2359"/>
                        </a:lnTo>
                        <a:lnTo>
                          <a:pt x="3945" y="2365"/>
                        </a:lnTo>
                        <a:lnTo>
                          <a:pt x="3944" y="2380"/>
                        </a:lnTo>
                        <a:lnTo>
                          <a:pt x="3936" y="2398"/>
                        </a:lnTo>
                        <a:lnTo>
                          <a:pt x="3925" y="2408"/>
                        </a:lnTo>
                        <a:lnTo>
                          <a:pt x="3920" y="2428"/>
                        </a:lnTo>
                        <a:lnTo>
                          <a:pt x="3901" y="2455"/>
                        </a:lnTo>
                        <a:lnTo>
                          <a:pt x="3875" y="2440"/>
                        </a:lnTo>
                        <a:lnTo>
                          <a:pt x="3861" y="2448"/>
                        </a:lnTo>
                        <a:lnTo>
                          <a:pt x="3861" y="2470"/>
                        </a:lnTo>
                        <a:lnTo>
                          <a:pt x="3699" y="2480"/>
                        </a:lnTo>
                        <a:lnTo>
                          <a:pt x="3596" y="2486"/>
                        </a:lnTo>
                        <a:lnTo>
                          <a:pt x="3591" y="2489"/>
                        </a:lnTo>
                        <a:lnTo>
                          <a:pt x="3596" y="2574"/>
                        </a:lnTo>
                        <a:lnTo>
                          <a:pt x="3531" y="2578"/>
                        </a:lnTo>
                        <a:lnTo>
                          <a:pt x="3541" y="2586"/>
                        </a:lnTo>
                        <a:lnTo>
                          <a:pt x="3552" y="2586"/>
                        </a:lnTo>
                        <a:lnTo>
                          <a:pt x="3571" y="2610"/>
                        </a:lnTo>
                        <a:lnTo>
                          <a:pt x="3579" y="2611"/>
                        </a:lnTo>
                        <a:lnTo>
                          <a:pt x="3587" y="2626"/>
                        </a:lnTo>
                        <a:lnTo>
                          <a:pt x="3639" y="2651"/>
                        </a:lnTo>
                        <a:lnTo>
                          <a:pt x="3655" y="2674"/>
                        </a:lnTo>
                        <a:lnTo>
                          <a:pt x="3654" y="2684"/>
                        </a:lnTo>
                        <a:lnTo>
                          <a:pt x="3670" y="2689"/>
                        </a:lnTo>
                        <a:lnTo>
                          <a:pt x="3680" y="2698"/>
                        </a:lnTo>
                        <a:lnTo>
                          <a:pt x="3692" y="2699"/>
                        </a:lnTo>
                        <a:lnTo>
                          <a:pt x="3692" y="2710"/>
                        </a:lnTo>
                        <a:lnTo>
                          <a:pt x="3685" y="2724"/>
                        </a:lnTo>
                        <a:lnTo>
                          <a:pt x="3690" y="2738"/>
                        </a:lnTo>
                        <a:lnTo>
                          <a:pt x="3682" y="2754"/>
                        </a:lnTo>
                        <a:lnTo>
                          <a:pt x="3606" y="2759"/>
                        </a:lnTo>
                        <a:lnTo>
                          <a:pt x="3496" y="2764"/>
                        </a:lnTo>
                        <a:lnTo>
                          <a:pt x="3492" y="2768"/>
                        </a:lnTo>
                        <a:lnTo>
                          <a:pt x="3429" y="2890"/>
                        </a:lnTo>
                        <a:lnTo>
                          <a:pt x="3430" y="2899"/>
                        </a:lnTo>
                        <a:lnTo>
                          <a:pt x="3450" y="2923"/>
                        </a:lnTo>
                        <a:lnTo>
                          <a:pt x="3439" y="2936"/>
                        </a:lnTo>
                        <a:lnTo>
                          <a:pt x="3439" y="2951"/>
                        </a:lnTo>
                        <a:lnTo>
                          <a:pt x="3434" y="2965"/>
                        </a:lnTo>
                        <a:lnTo>
                          <a:pt x="3440" y="2983"/>
                        </a:lnTo>
                        <a:lnTo>
                          <a:pt x="3434" y="3004"/>
                        </a:lnTo>
                        <a:lnTo>
                          <a:pt x="3427" y="3008"/>
                        </a:lnTo>
                        <a:lnTo>
                          <a:pt x="3417" y="2998"/>
                        </a:lnTo>
                        <a:lnTo>
                          <a:pt x="3355" y="2939"/>
                        </a:lnTo>
                        <a:lnTo>
                          <a:pt x="3336" y="2918"/>
                        </a:lnTo>
                        <a:lnTo>
                          <a:pt x="3336" y="2913"/>
                        </a:lnTo>
                        <a:lnTo>
                          <a:pt x="3311" y="2899"/>
                        </a:lnTo>
                        <a:lnTo>
                          <a:pt x="3272" y="2863"/>
                        </a:lnTo>
                        <a:lnTo>
                          <a:pt x="3235" y="2833"/>
                        </a:lnTo>
                        <a:lnTo>
                          <a:pt x="3206" y="2811"/>
                        </a:lnTo>
                        <a:lnTo>
                          <a:pt x="3162" y="2785"/>
                        </a:lnTo>
                        <a:lnTo>
                          <a:pt x="3176" y="2783"/>
                        </a:lnTo>
                        <a:lnTo>
                          <a:pt x="3169" y="2773"/>
                        </a:lnTo>
                        <a:lnTo>
                          <a:pt x="3141" y="2764"/>
                        </a:lnTo>
                        <a:lnTo>
                          <a:pt x="3134" y="2753"/>
                        </a:lnTo>
                        <a:lnTo>
                          <a:pt x="3120" y="2756"/>
                        </a:lnTo>
                        <a:lnTo>
                          <a:pt x="3099" y="2743"/>
                        </a:lnTo>
                        <a:lnTo>
                          <a:pt x="3091" y="2751"/>
                        </a:lnTo>
                        <a:lnTo>
                          <a:pt x="3110" y="2766"/>
                        </a:lnTo>
                        <a:lnTo>
                          <a:pt x="3119" y="2763"/>
                        </a:lnTo>
                        <a:lnTo>
                          <a:pt x="3126" y="2769"/>
                        </a:lnTo>
                        <a:lnTo>
                          <a:pt x="3140" y="2771"/>
                        </a:lnTo>
                        <a:lnTo>
                          <a:pt x="3136" y="2779"/>
                        </a:lnTo>
                        <a:lnTo>
                          <a:pt x="3087" y="2759"/>
                        </a:lnTo>
                        <a:lnTo>
                          <a:pt x="3047" y="2759"/>
                        </a:lnTo>
                        <a:lnTo>
                          <a:pt x="3046" y="2753"/>
                        </a:lnTo>
                        <a:lnTo>
                          <a:pt x="3065" y="2745"/>
                        </a:lnTo>
                        <a:lnTo>
                          <a:pt x="3066" y="2738"/>
                        </a:lnTo>
                        <a:lnTo>
                          <a:pt x="3055" y="2731"/>
                        </a:lnTo>
                        <a:lnTo>
                          <a:pt x="3039" y="2743"/>
                        </a:lnTo>
                        <a:lnTo>
                          <a:pt x="3031" y="2728"/>
                        </a:lnTo>
                        <a:lnTo>
                          <a:pt x="3025" y="2723"/>
                        </a:lnTo>
                        <a:lnTo>
                          <a:pt x="3015" y="2728"/>
                        </a:lnTo>
                        <a:lnTo>
                          <a:pt x="3006" y="2739"/>
                        </a:lnTo>
                        <a:lnTo>
                          <a:pt x="2997" y="2739"/>
                        </a:lnTo>
                        <a:lnTo>
                          <a:pt x="2994" y="2748"/>
                        </a:lnTo>
                        <a:lnTo>
                          <a:pt x="3017" y="2751"/>
                        </a:lnTo>
                        <a:lnTo>
                          <a:pt x="3019" y="2756"/>
                        </a:lnTo>
                        <a:lnTo>
                          <a:pt x="2994" y="2761"/>
                        </a:lnTo>
                        <a:lnTo>
                          <a:pt x="2980" y="2760"/>
                        </a:lnTo>
                        <a:lnTo>
                          <a:pt x="2967" y="2765"/>
                        </a:lnTo>
                        <a:lnTo>
                          <a:pt x="2937" y="2794"/>
                        </a:lnTo>
                        <a:lnTo>
                          <a:pt x="2917" y="2796"/>
                        </a:lnTo>
                        <a:lnTo>
                          <a:pt x="2904" y="2804"/>
                        </a:lnTo>
                        <a:lnTo>
                          <a:pt x="2859" y="2818"/>
                        </a:lnTo>
                        <a:lnTo>
                          <a:pt x="2834" y="2829"/>
                        </a:lnTo>
                        <a:lnTo>
                          <a:pt x="2817" y="2840"/>
                        </a:lnTo>
                        <a:lnTo>
                          <a:pt x="2787" y="2838"/>
                        </a:lnTo>
                        <a:lnTo>
                          <a:pt x="2769" y="2844"/>
                        </a:lnTo>
                        <a:lnTo>
                          <a:pt x="2750" y="2835"/>
                        </a:lnTo>
                        <a:lnTo>
                          <a:pt x="2725" y="2831"/>
                        </a:lnTo>
                        <a:lnTo>
                          <a:pt x="2712" y="2824"/>
                        </a:lnTo>
                        <a:lnTo>
                          <a:pt x="2699" y="2820"/>
                        </a:lnTo>
                        <a:lnTo>
                          <a:pt x="2677" y="2804"/>
                        </a:lnTo>
                        <a:lnTo>
                          <a:pt x="2661" y="2799"/>
                        </a:lnTo>
                        <a:lnTo>
                          <a:pt x="2632" y="2798"/>
                        </a:lnTo>
                        <a:lnTo>
                          <a:pt x="2623" y="2794"/>
                        </a:lnTo>
                        <a:lnTo>
                          <a:pt x="2585" y="2791"/>
                        </a:lnTo>
                        <a:lnTo>
                          <a:pt x="2539" y="2761"/>
                        </a:lnTo>
                        <a:lnTo>
                          <a:pt x="2534" y="2754"/>
                        </a:lnTo>
                        <a:lnTo>
                          <a:pt x="2485" y="2741"/>
                        </a:lnTo>
                        <a:lnTo>
                          <a:pt x="2469" y="2735"/>
                        </a:lnTo>
                        <a:lnTo>
                          <a:pt x="2438" y="2698"/>
                        </a:lnTo>
                        <a:lnTo>
                          <a:pt x="2425" y="2701"/>
                        </a:lnTo>
                        <a:lnTo>
                          <a:pt x="2383" y="2686"/>
                        </a:lnTo>
                        <a:lnTo>
                          <a:pt x="2349" y="2676"/>
                        </a:lnTo>
                        <a:lnTo>
                          <a:pt x="2314" y="2673"/>
                        </a:lnTo>
                        <a:lnTo>
                          <a:pt x="2294" y="2665"/>
                        </a:lnTo>
                        <a:lnTo>
                          <a:pt x="2258" y="2635"/>
                        </a:lnTo>
                        <a:lnTo>
                          <a:pt x="2153" y="2593"/>
                        </a:lnTo>
                        <a:lnTo>
                          <a:pt x="2109" y="2574"/>
                        </a:lnTo>
                        <a:lnTo>
                          <a:pt x="2085" y="2548"/>
                        </a:lnTo>
                        <a:lnTo>
                          <a:pt x="2074" y="2540"/>
                        </a:lnTo>
                        <a:lnTo>
                          <a:pt x="2045" y="2528"/>
                        </a:lnTo>
                        <a:lnTo>
                          <a:pt x="2040" y="2514"/>
                        </a:lnTo>
                        <a:lnTo>
                          <a:pt x="2019" y="2504"/>
                        </a:lnTo>
                        <a:lnTo>
                          <a:pt x="2015" y="2493"/>
                        </a:lnTo>
                        <a:lnTo>
                          <a:pt x="2005" y="2484"/>
                        </a:lnTo>
                        <a:lnTo>
                          <a:pt x="1996" y="2469"/>
                        </a:lnTo>
                        <a:lnTo>
                          <a:pt x="1964" y="2450"/>
                        </a:lnTo>
                        <a:lnTo>
                          <a:pt x="1955" y="2451"/>
                        </a:lnTo>
                        <a:lnTo>
                          <a:pt x="1944" y="2460"/>
                        </a:lnTo>
                        <a:lnTo>
                          <a:pt x="1883" y="2436"/>
                        </a:lnTo>
                        <a:lnTo>
                          <a:pt x="1861" y="2431"/>
                        </a:lnTo>
                        <a:lnTo>
                          <a:pt x="1821" y="2410"/>
                        </a:lnTo>
                        <a:lnTo>
                          <a:pt x="1809" y="2408"/>
                        </a:lnTo>
                        <a:lnTo>
                          <a:pt x="1774" y="2394"/>
                        </a:lnTo>
                        <a:lnTo>
                          <a:pt x="1754" y="2381"/>
                        </a:lnTo>
                        <a:lnTo>
                          <a:pt x="1745" y="2356"/>
                        </a:lnTo>
                        <a:lnTo>
                          <a:pt x="1726" y="2338"/>
                        </a:lnTo>
                        <a:lnTo>
                          <a:pt x="1724" y="2324"/>
                        </a:lnTo>
                        <a:lnTo>
                          <a:pt x="1691" y="2293"/>
                        </a:lnTo>
                        <a:lnTo>
                          <a:pt x="1664" y="2275"/>
                        </a:lnTo>
                        <a:lnTo>
                          <a:pt x="1642" y="2265"/>
                        </a:lnTo>
                        <a:lnTo>
                          <a:pt x="1640" y="2251"/>
                        </a:lnTo>
                        <a:lnTo>
                          <a:pt x="1626" y="2251"/>
                        </a:lnTo>
                        <a:lnTo>
                          <a:pt x="1606" y="2243"/>
                        </a:lnTo>
                        <a:lnTo>
                          <a:pt x="1586" y="2227"/>
                        </a:lnTo>
                        <a:lnTo>
                          <a:pt x="1576" y="2227"/>
                        </a:lnTo>
                        <a:lnTo>
                          <a:pt x="1547" y="2202"/>
                        </a:lnTo>
                        <a:lnTo>
                          <a:pt x="1541" y="2190"/>
                        </a:lnTo>
                        <a:lnTo>
                          <a:pt x="1541" y="2173"/>
                        </a:lnTo>
                        <a:lnTo>
                          <a:pt x="1532" y="2168"/>
                        </a:lnTo>
                        <a:lnTo>
                          <a:pt x="1519" y="2154"/>
                        </a:lnTo>
                        <a:lnTo>
                          <a:pt x="1497" y="2118"/>
                        </a:lnTo>
                        <a:lnTo>
                          <a:pt x="1485" y="2094"/>
                        </a:lnTo>
                        <a:lnTo>
                          <a:pt x="1484" y="2068"/>
                        </a:lnTo>
                        <a:lnTo>
                          <a:pt x="1471" y="2049"/>
                        </a:lnTo>
                        <a:lnTo>
                          <a:pt x="1466" y="2034"/>
                        </a:lnTo>
                        <a:lnTo>
                          <a:pt x="1485" y="2024"/>
                        </a:lnTo>
                        <a:lnTo>
                          <a:pt x="1521" y="2024"/>
                        </a:lnTo>
                        <a:lnTo>
                          <a:pt x="1534" y="2014"/>
                        </a:lnTo>
                        <a:lnTo>
                          <a:pt x="1536" y="2006"/>
                        </a:lnTo>
                        <a:lnTo>
                          <a:pt x="1529" y="1998"/>
                        </a:lnTo>
                        <a:lnTo>
                          <a:pt x="1520" y="1985"/>
                        </a:lnTo>
                        <a:lnTo>
                          <a:pt x="1512" y="1989"/>
                        </a:lnTo>
                        <a:lnTo>
                          <a:pt x="1499" y="1981"/>
                        </a:lnTo>
                        <a:lnTo>
                          <a:pt x="1517" y="1960"/>
                        </a:lnTo>
                        <a:lnTo>
                          <a:pt x="1531" y="1945"/>
                        </a:lnTo>
                        <a:lnTo>
                          <a:pt x="1542" y="1941"/>
                        </a:lnTo>
                        <a:lnTo>
                          <a:pt x="1547" y="1920"/>
                        </a:lnTo>
                        <a:lnTo>
                          <a:pt x="1546" y="1899"/>
                        </a:lnTo>
                        <a:lnTo>
                          <a:pt x="1556" y="1885"/>
                        </a:lnTo>
                        <a:lnTo>
                          <a:pt x="1546" y="1872"/>
                        </a:lnTo>
                        <a:lnTo>
                          <a:pt x="1526" y="1857"/>
                        </a:lnTo>
                        <a:lnTo>
                          <a:pt x="1501" y="1801"/>
                        </a:lnTo>
                        <a:lnTo>
                          <a:pt x="1499" y="1786"/>
                        </a:lnTo>
                        <a:lnTo>
                          <a:pt x="1502" y="1755"/>
                        </a:lnTo>
                        <a:lnTo>
                          <a:pt x="1497" y="1716"/>
                        </a:lnTo>
                        <a:lnTo>
                          <a:pt x="1489" y="1695"/>
                        </a:lnTo>
                        <a:lnTo>
                          <a:pt x="1471" y="1671"/>
                        </a:lnTo>
                        <a:lnTo>
                          <a:pt x="1460" y="1664"/>
                        </a:lnTo>
                        <a:lnTo>
                          <a:pt x="1437" y="1627"/>
                        </a:lnTo>
                        <a:lnTo>
                          <a:pt x="1430" y="1621"/>
                        </a:lnTo>
                        <a:lnTo>
                          <a:pt x="1411" y="1597"/>
                        </a:lnTo>
                        <a:lnTo>
                          <a:pt x="1402" y="1569"/>
                        </a:lnTo>
                        <a:lnTo>
                          <a:pt x="1391" y="1559"/>
                        </a:lnTo>
                        <a:lnTo>
                          <a:pt x="1375" y="1534"/>
                        </a:lnTo>
                        <a:lnTo>
                          <a:pt x="1369" y="1531"/>
                        </a:lnTo>
                        <a:lnTo>
                          <a:pt x="1357" y="1497"/>
                        </a:lnTo>
                        <a:lnTo>
                          <a:pt x="1342" y="1475"/>
                        </a:lnTo>
                        <a:lnTo>
                          <a:pt x="1300" y="1435"/>
                        </a:lnTo>
                        <a:lnTo>
                          <a:pt x="1297" y="1429"/>
                        </a:lnTo>
                        <a:lnTo>
                          <a:pt x="1280" y="1411"/>
                        </a:lnTo>
                        <a:lnTo>
                          <a:pt x="1290" y="1405"/>
                        </a:lnTo>
                        <a:lnTo>
                          <a:pt x="1286" y="1387"/>
                        </a:lnTo>
                        <a:lnTo>
                          <a:pt x="1271" y="1394"/>
                        </a:lnTo>
                        <a:lnTo>
                          <a:pt x="1256" y="1385"/>
                        </a:lnTo>
                        <a:lnTo>
                          <a:pt x="1247" y="1370"/>
                        </a:lnTo>
                        <a:lnTo>
                          <a:pt x="1225" y="1359"/>
                        </a:lnTo>
                        <a:lnTo>
                          <a:pt x="1221" y="1337"/>
                        </a:lnTo>
                        <a:lnTo>
                          <a:pt x="1207" y="1321"/>
                        </a:lnTo>
                        <a:lnTo>
                          <a:pt x="1205" y="1305"/>
                        </a:lnTo>
                        <a:lnTo>
                          <a:pt x="1217" y="1301"/>
                        </a:lnTo>
                        <a:lnTo>
                          <a:pt x="1219" y="1287"/>
                        </a:lnTo>
                        <a:lnTo>
                          <a:pt x="1210" y="1286"/>
                        </a:lnTo>
                        <a:lnTo>
                          <a:pt x="1205" y="1277"/>
                        </a:lnTo>
                        <a:lnTo>
                          <a:pt x="1189" y="1276"/>
                        </a:lnTo>
                        <a:lnTo>
                          <a:pt x="1176" y="1259"/>
                        </a:lnTo>
                        <a:lnTo>
                          <a:pt x="1162" y="1251"/>
                        </a:lnTo>
                        <a:lnTo>
                          <a:pt x="1151" y="1236"/>
                        </a:lnTo>
                        <a:lnTo>
                          <a:pt x="1141" y="1234"/>
                        </a:lnTo>
                        <a:lnTo>
                          <a:pt x="1135" y="1212"/>
                        </a:lnTo>
                        <a:lnTo>
                          <a:pt x="1124" y="1207"/>
                        </a:lnTo>
                        <a:lnTo>
                          <a:pt x="1122" y="1217"/>
                        </a:lnTo>
                        <a:lnTo>
                          <a:pt x="1107" y="1214"/>
                        </a:lnTo>
                        <a:lnTo>
                          <a:pt x="1102" y="1219"/>
                        </a:lnTo>
                        <a:lnTo>
                          <a:pt x="1092" y="1206"/>
                        </a:lnTo>
                        <a:lnTo>
                          <a:pt x="1087" y="1189"/>
                        </a:lnTo>
                        <a:lnTo>
                          <a:pt x="1055" y="1162"/>
                        </a:lnTo>
                        <a:lnTo>
                          <a:pt x="1060" y="1147"/>
                        </a:lnTo>
                        <a:lnTo>
                          <a:pt x="1061" y="1129"/>
                        </a:lnTo>
                        <a:lnTo>
                          <a:pt x="1075" y="1114"/>
                        </a:lnTo>
                        <a:lnTo>
                          <a:pt x="1084" y="1100"/>
                        </a:lnTo>
                        <a:lnTo>
                          <a:pt x="1085" y="1100"/>
                        </a:lnTo>
                        <a:lnTo>
                          <a:pt x="1092" y="1097"/>
                        </a:lnTo>
                        <a:lnTo>
                          <a:pt x="1104" y="1092"/>
                        </a:lnTo>
                        <a:lnTo>
                          <a:pt x="1106" y="1089"/>
                        </a:lnTo>
                        <a:lnTo>
                          <a:pt x="1092" y="1084"/>
                        </a:lnTo>
                        <a:lnTo>
                          <a:pt x="1095" y="1062"/>
                        </a:lnTo>
                        <a:lnTo>
                          <a:pt x="1076" y="1032"/>
                        </a:lnTo>
                        <a:lnTo>
                          <a:pt x="1075" y="1026"/>
                        </a:lnTo>
                        <a:lnTo>
                          <a:pt x="1061" y="1022"/>
                        </a:lnTo>
                        <a:lnTo>
                          <a:pt x="1041" y="1027"/>
                        </a:lnTo>
                        <a:lnTo>
                          <a:pt x="1032" y="1021"/>
                        </a:lnTo>
                        <a:lnTo>
                          <a:pt x="1022" y="1006"/>
                        </a:lnTo>
                        <a:lnTo>
                          <a:pt x="1019" y="982"/>
                        </a:lnTo>
                        <a:lnTo>
                          <a:pt x="1020" y="966"/>
                        </a:lnTo>
                        <a:lnTo>
                          <a:pt x="1014" y="957"/>
                        </a:lnTo>
                        <a:lnTo>
                          <a:pt x="999" y="956"/>
                        </a:lnTo>
                        <a:lnTo>
                          <a:pt x="974" y="946"/>
                        </a:lnTo>
                        <a:lnTo>
                          <a:pt x="961" y="929"/>
                        </a:lnTo>
                        <a:lnTo>
                          <a:pt x="952" y="905"/>
                        </a:lnTo>
                        <a:lnTo>
                          <a:pt x="945" y="906"/>
                        </a:lnTo>
                        <a:lnTo>
                          <a:pt x="941" y="871"/>
                        </a:lnTo>
                        <a:lnTo>
                          <a:pt x="949" y="855"/>
                        </a:lnTo>
                        <a:lnTo>
                          <a:pt x="951" y="839"/>
                        </a:lnTo>
                        <a:lnTo>
                          <a:pt x="942" y="827"/>
                        </a:lnTo>
                        <a:lnTo>
                          <a:pt x="925" y="821"/>
                        </a:lnTo>
                        <a:lnTo>
                          <a:pt x="916" y="827"/>
                        </a:lnTo>
                        <a:lnTo>
                          <a:pt x="901" y="811"/>
                        </a:lnTo>
                        <a:lnTo>
                          <a:pt x="892" y="814"/>
                        </a:lnTo>
                        <a:lnTo>
                          <a:pt x="871" y="794"/>
                        </a:lnTo>
                        <a:lnTo>
                          <a:pt x="854" y="751"/>
                        </a:lnTo>
                        <a:lnTo>
                          <a:pt x="851" y="740"/>
                        </a:lnTo>
                        <a:lnTo>
                          <a:pt x="822" y="724"/>
                        </a:lnTo>
                        <a:lnTo>
                          <a:pt x="819" y="705"/>
                        </a:lnTo>
                        <a:lnTo>
                          <a:pt x="802" y="681"/>
                        </a:lnTo>
                        <a:lnTo>
                          <a:pt x="807" y="672"/>
                        </a:lnTo>
                        <a:lnTo>
                          <a:pt x="791" y="657"/>
                        </a:lnTo>
                        <a:lnTo>
                          <a:pt x="785" y="642"/>
                        </a:lnTo>
                        <a:lnTo>
                          <a:pt x="779" y="640"/>
                        </a:lnTo>
                        <a:lnTo>
                          <a:pt x="775" y="606"/>
                        </a:lnTo>
                        <a:lnTo>
                          <a:pt x="779" y="597"/>
                        </a:lnTo>
                        <a:lnTo>
                          <a:pt x="775" y="585"/>
                        </a:lnTo>
                        <a:lnTo>
                          <a:pt x="762" y="584"/>
                        </a:lnTo>
                        <a:lnTo>
                          <a:pt x="756" y="575"/>
                        </a:lnTo>
                        <a:lnTo>
                          <a:pt x="764" y="560"/>
                        </a:lnTo>
                        <a:lnTo>
                          <a:pt x="751" y="537"/>
                        </a:lnTo>
                        <a:lnTo>
                          <a:pt x="750" y="526"/>
                        </a:lnTo>
                        <a:lnTo>
                          <a:pt x="736" y="491"/>
                        </a:lnTo>
                        <a:lnTo>
                          <a:pt x="729" y="487"/>
                        </a:lnTo>
                        <a:lnTo>
                          <a:pt x="734" y="475"/>
                        </a:lnTo>
                        <a:lnTo>
                          <a:pt x="731" y="467"/>
                        </a:lnTo>
                        <a:lnTo>
                          <a:pt x="735" y="449"/>
                        </a:lnTo>
                        <a:lnTo>
                          <a:pt x="726" y="432"/>
                        </a:lnTo>
                        <a:lnTo>
                          <a:pt x="727" y="411"/>
                        </a:lnTo>
                        <a:lnTo>
                          <a:pt x="716" y="394"/>
                        </a:lnTo>
                        <a:lnTo>
                          <a:pt x="707" y="371"/>
                        </a:lnTo>
                        <a:lnTo>
                          <a:pt x="706" y="350"/>
                        </a:lnTo>
                        <a:lnTo>
                          <a:pt x="714" y="326"/>
                        </a:lnTo>
                        <a:lnTo>
                          <a:pt x="721" y="320"/>
                        </a:lnTo>
                        <a:lnTo>
                          <a:pt x="725" y="302"/>
                        </a:lnTo>
                        <a:lnTo>
                          <a:pt x="719" y="292"/>
                        </a:lnTo>
                        <a:lnTo>
                          <a:pt x="667" y="270"/>
                        </a:lnTo>
                        <a:lnTo>
                          <a:pt x="661" y="261"/>
                        </a:lnTo>
                        <a:lnTo>
                          <a:pt x="660" y="239"/>
                        </a:lnTo>
                        <a:lnTo>
                          <a:pt x="636" y="219"/>
                        </a:lnTo>
                        <a:lnTo>
                          <a:pt x="624" y="222"/>
                        </a:lnTo>
                        <a:lnTo>
                          <a:pt x="614" y="230"/>
                        </a:lnTo>
                        <a:lnTo>
                          <a:pt x="599" y="227"/>
                        </a:lnTo>
                        <a:lnTo>
                          <a:pt x="562" y="192"/>
                        </a:lnTo>
                        <a:lnTo>
                          <a:pt x="554" y="177"/>
                        </a:lnTo>
                        <a:lnTo>
                          <a:pt x="542" y="175"/>
                        </a:lnTo>
                        <a:lnTo>
                          <a:pt x="535" y="169"/>
                        </a:lnTo>
                        <a:lnTo>
                          <a:pt x="542" y="181"/>
                        </a:lnTo>
                        <a:lnTo>
                          <a:pt x="536" y="184"/>
                        </a:lnTo>
                        <a:lnTo>
                          <a:pt x="527" y="174"/>
                        </a:lnTo>
                        <a:lnTo>
                          <a:pt x="535" y="169"/>
                        </a:lnTo>
                        <a:lnTo>
                          <a:pt x="530" y="165"/>
                        </a:lnTo>
                        <a:lnTo>
                          <a:pt x="516" y="147"/>
                        </a:lnTo>
                        <a:lnTo>
                          <a:pt x="525" y="167"/>
                        </a:lnTo>
                        <a:lnTo>
                          <a:pt x="527" y="187"/>
                        </a:lnTo>
                        <a:lnTo>
                          <a:pt x="515" y="205"/>
                        </a:lnTo>
                        <a:lnTo>
                          <a:pt x="510" y="225"/>
                        </a:lnTo>
                        <a:lnTo>
                          <a:pt x="499" y="256"/>
                        </a:lnTo>
                        <a:lnTo>
                          <a:pt x="501" y="280"/>
                        </a:lnTo>
                        <a:lnTo>
                          <a:pt x="512" y="292"/>
                        </a:lnTo>
                        <a:lnTo>
                          <a:pt x="511" y="321"/>
                        </a:lnTo>
                        <a:lnTo>
                          <a:pt x="506" y="336"/>
                        </a:lnTo>
                        <a:lnTo>
                          <a:pt x="510" y="350"/>
                        </a:lnTo>
                        <a:lnTo>
                          <a:pt x="509" y="369"/>
                        </a:lnTo>
                        <a:lnTo>
                          <a:pt x="497" y="402"/>
                        </a:lnTo>
                        <a:lnTo>
                          <a:pt x="505" y="421"/>
                        </a:lnTo>
                        <a:lnTo>
                          <a:pt x="507" y="437"/>
                        </a:lnTo>
                        <a:lnTo>
                          <a:pt x="519" y="449"/>
                        </a:lnTo>
                        <a:lnTo>
                          <a:pt x="519" y="467"/>
                        </a:lnTo>
                        <a:lnTo>
                          <a:pt x="525" y="474"/>
                        </a:lnTo>
                        <a:lnTo>
                          <a:pt x="534" y="472"/>
                        </a:lnTo>
                        <a:lnTo>
                          <a:pt x="557" y="504"/>
                        </a:lnTo>
                        <a:lnTo>
                          <a:pt x="565" y="509"/>
                        </a:lnTo>
                        <a:lnTo>
                          <a:pt x="579" y="531"/>
                        </a:lnTo>
                        <a:lnTo>
                          <a:pt x="586" y="537"/>
                        </a:lnTo>
                        <a:lnTo>
                          <a:pt x="600" y="564"/>
                        </a:lnTo>
                        <a:lnTo>
                          <a:pt x="595" y="567"/>
                        </a:lnTo>
                        <a:lnTo>
                          <a:pt x="606" y="595"/>
                        </a:lnTo>
                        <a:lnTo>
                          <a:pt x="610" y="611"/>
                        </a:lnTo>
                        <a:lnTo>
                          <a:pt x="621" y="620"/>
                        </a:lnTo>
                        <a:lnTo>
                          <a:pt x="621" y="635"/>
                        </a:lnTo>
                        <a:lnTo>
                          <a:pt x="635" y="632"/>
                        </a:lnTo>
                        <a:lnTo>
                          <a:pt x="640" y="647"/>
                        </a:lnTo>
                        <a:lnTo>
                          <a:pt x="645" y="685"/>
                        </a:lnTo>
                        <a:lnTo>
                          <a:pt x="657" y="694"/>
                        </a:lnTo>
                        <a:lnTo>
                          <a:pt x="670" y="694"/>
                        </a:lnTo>
                        <a:lnTo>
                          <a:pt x="675" y="709"/>
                        </a:lnTo>
                        <a:lnTo>
                          <a:pt x="669" y="722"/>
                        </a:lnTo>
                        <a:lnTo>
                          <a:pt x="676" y="737"/>
                        </a:lnTo>
                        <a:lnTo>
                          <a:pt x="672" y="747"/>
                        </a:lnTo>
                        <a:lnTo>
                          <a:pt x="675" y="766"/>
                        </a:lnTo>
                        <a:lnTo>
                          <a:pt x="670" y="786"/>
                        </a:lnTo>
                        <a:lnTo>
                          <a:pt x="676" y="804"/>
                        </a:lnTo>
                        <a:lnTo>
                          <a:pt x="687" y="820"/>
                        </a:lnTo>
                        <a:lnTo>
                          <a:pt x="714" y="839"/>
                        </a:lnTo>
                        <a:lnTo>
                          <a:pt x="717" y="846"/>
                        </a:lnTo>
                        <a:lnTo>
                          <a:pt x="720" y="870"/>
                        </a:lnTo>
                        <a:lnTo>
                          <a:pt x="729" y="889"/>
                        </a:lnTo>
                        <a:lnTo>
                          <a:pt x="731" y="902"/>
                        </a:lnTo>
                        <a:lnTo>
                          <a:pt x="749" y="912"/>
                        </a:lnTo>
                        <a:lnTo>
                          <a:pt x="752" y="921"/>
                        </a:lnTo>
                        <a:lnTo>
                          <a:pt x="745" y="932"/>
                        </a:lnTo>
                        <a:lnTo>
                          <a:pt x="760" y="959"/>
                        </a:lnTo>
                        <a:lnTo>
                          <a:pt x="752" y="971"/>
                        </a:lnTo>
                        <a:lnTo>
                          <a:pt x="770" y="1004"/>
                        </a:lnTo>
                        <a:lnTo>
                          <a:pt x="779" y="999"/>
                        </a:lnTo>
                        <a:lnTo>
                          <a:pt x="766" y="980"/>
                        </a:lnTo>
                        <a:lnTo>
                          <a:pt x="764" y="951"/>
                        </a:lnTo>
                        <a:lnTo>
                          <a:pt x="769" y="950"/>
                        </a:lnTo>
                        <a:lnTo>
                          <a:pt x="786" y="975"/>
                        </a:lnTo>
                        <a:lnTo>
                          <a:pt x="797" y="985"/>
                        </a:lnTo>
                        <a:lnTo>
                          <a:pt x="792" y="1002"/>
                        </a:lnTo>
                        <a:lnTo>
                          <a:pt x="807" y="1014"/>
                        </a:lnTo>
                        <a:lnTo>
                          <a:pt x="802" y="1030"/>
                        </a:lnTo>
                        <a:lnTo>
                          <a:pt x="810" y="1042"/>
                        </a:lnTo>
                        <a:lnTo>
                          <a:pt x="807" y="1054"/>
                        </a:lnTo>
                        <a:lnTo>
                          <a:pt x="812" y="1081"/>
                        </a:lnTo>
                        <a:lnTo>
                          <a:pt x="805" y="1096"/>
                        </a:lnTo>
                        <a:lnTo>
                          <a:pt x="807" y="1125"/>
                        </a:lnTo>
                        <a:lnTo>
                          <a:pt x="816" y="1135"/>
                        </a:lnTo>
                        <a:lnTo>
                          <a:pt x="819" y="1151"/>
                        </a:lnTo>
                        <a:lnTo>
                          <a:pt x="826" y="1166"/>
                        </a:lnTo>
                        <a:lnTo>
                          <a:pt x="839" y="1170"/>
                        </a:lnTo>
                        <a:lnTo>
                          <a:pt x="836" y="1179"/>
                        </a:lnTo>
                        <a:lnTo>
                          <a:pt x="845" y="1227"/>
                        </a:lnTo>
                        <a:lnTo>
                          <a:pt x="855" y="1246"/>
                        </a:lnTo>
                        <a:lnTo>
                          <a:pt x="861" y="1250"/>
                        </a:lnTo>
                        <a:lnTo>
                          <a:pt x="870" y="1282"/>
                        </a:lnTo>
                        <a:lnTo>
                          <a:pt x="857" y="1300"/>
                        </a:lnTo>
                        <a:lnTo>
                          <a:pt x="852" y="1319"/>
                        </a:lnTo>
                        <a:lnTo>
                          <a:pt x="857" y="1332"/>
                        </a:lnTo>
                        <a:lnTo>
                          <a:pt x="856" y="1347"/>
                        </a:lnTo>
                        <a:lnTo>
                          <a:pt x="869" y="1372"/>
                        </a:lnTo>
                        <a:lnTo>
                          <a:pt x="889" y="1381"/>
                        </a:lnTo>
                        <a:lnTo>
                          <a:pt x="895" y="1391"/>
                        </a:lnTo>
                        <a:lnTo>
                          <a:pt x="904" y="1377"/>
                        </a:lnTo>
                        <a:lnTo>
                          <a:pt x="902" y="1360"/>
                        </a:lnTo>
                        <a:lnTo>
                          <a:pt x="916" y="1360"/>
                        </a:lnTo>
                        <a:lnTo>
                          <a:pt x="922" y="1375"/>
                        </a:lnTo>
                        <a:lnTo>
                          <a:pt x="941" y="1391"/>
                        </a:lnTo>
                        <a:lnTo>
                          <a:pt x="942" y="1410"/>
                        </a:lnTo>
                        <a:lnTo>
                          <a:pt x="950" y="1414"/>
                        </a:lnTo>
                        <a:lnTo>
                          <a:pt x="964" y="1410"/>
                        </a:lnTo>
                        <a:lnTo>
                          <a:pt x="960" y="1426"/>
                        </a:lnTo>
                        <a:lnTo>
                          <a:pt x="976" y="1452"/>
                        </a:lnTo>
                        <a:lnTo>
                          <a:pt x="975" y="1475"/>
                        </a:lnTo>
                        <a:lnTo>
                          <a:pt x="1001" y="1492"/>
                        </a:lnTo>
                        <a:lnTo>
                          <a:pt x="1005" y="1509"/>
                        </a:lnTo>
                        <a:lnTo>
                          <a:pt x="1002" y="1532"/>
                        </a:lnTo>
                        <a:lnTo>
                          <a:pt x="995" y="1547"/>
                        </a:lnTo>
                        <a:lnTo>
                          <a:pt x="984" y="1559"/>
                        </a:lnTo>
                        <a:lnTo>
                          <a:pt x="956" y="1566"/>
                        </a:lnTo>
                        <a:lnTo>
                          <a:pt x="952" y="1572"/>
                        </a:lnTo>
                        <a:lnTo>
                          <a:pt x="927" y="1586"/>
                        </a:lnTo>
                        <a:lnTo>
                          <a:pt x="920" y="1585"/>
                        </a:lnTo>
                        <a:lnTo>
                          <a:pt x="907" y="1571"/>
                        </a:lnTo>
                        <a:lnTo>
                          <a:pt x="904" y="1560"/>
                        </a:lnTo>
                        <a:lnTo>
                          <a:pt x="901" y="1514"/>
                        </a:lnTo>
                        <a:lnTo>
                          <a:pt x="887" y="1477"/>
                        </a:lnTo>
                        <a:lnTo>
                          <a:pt x="875" y="1466"/>
                        </a:lnTo>
                        <a:lnTo>
                          <a:pt x="854" y="1451"/>
                        </a:lnTo>
                        <a:lnTo>
                          <a:pt x="845" y="1441"/>
                        </a:lnTo>
                        <a:lnTo>
                          <a:pt x="826" y="1412"/>
                        </a:lnTo>
                        <a:lnTo>
                          <a:pt x="801" y="1377"/>
                        </a:lnTo>
                        <a:lnTo>
                          <a:pt x="779" y="1357"/>
                        </a:lnTo>
                        <a:lnTo>
                          <a:pt x="752" y="1336"/>
                        </a:lnTo>
                        <a:lnTo>
                          <a:pt x="732" y="1310"/>
                        </a:lnTo>
                        <a:lnTo>
                          <a:pt x="727" y="1292"/>
                        </a:lnTo>
                        <a:lnTo>
                          <a:pt x="707" y="1301"/>
                        </a:lnTo>
                        <a:lnTo>
                          <a:pt x="706" y="1279"/>
                        </a:lnTo>
                        <a:lnTo>
                          <a:pt x="694" y="1257"/>
                        </a:lnTo>
                        <a:lnTo>
                          <a:pt x="686" y="1261"/>
                        </a:lnTo>
                        <a:lnTo>
                          <a:pt x="677" y="1255"/>
                        </a:lnTo>
                        <a:lnTo>
                          <a:pt x="675" y="1239"/>
                        </a:lnTo>
                        <a:lnTo>
                          <a:pt x="680" y="1230"/>
                        </a:lnTo>
                        <a:lnTo>
                          <a:pt x="679" y="1207"/>
                        </a:lnTo>
                        <a:lnTo>
                          <a:pt x="682" y="1195"/>
                        </a:lnTo>
                        <a:lnTo>
                          <a:pt x="691" y="1184"/>
                        </a:lnTo>
                        <a:lnTo>
                          <a:pt x="704" y="1130"/>
                        </a:lnTo>
                        <a:lnTo>
                          <a:pt x="704" y="1116"/>
                        </a:lnTo>
                        <a:lnTo>
                          <a:pt x="699" y="1100"/>
                        </a:lnTo>
                        <a:lnTo>
                          <a:pt x="695" y="1072"/>
                        </a:lnTo>
                        <a:lnTo>
                          <a:pt x="684" y="1062"/>
                        </a:lnTo>
                        <a:lnTo>
                          <a:pt x="681" y="1042"/>
                        </a:lnTo>
                        <a:lnTo>
                          <a:pt x="670" y="1027"/>
                        </a:lnTo>
                        <a:lnTo>
                          <a:pt x="662" y="1030"/>
                        </a:lnTo>
                        <a:lnTo>
                          <a:pt x="649" y="1015"/>
                        </a:lnTo>
                        <a:lnTo>
                          <a:pt x="639" y="1012"/>
                        </a:lnTo>
                        <a:lnTo>
                          <a:pt x="635" y="1005"/>
                        </a:lnTo>
                        <a:lnTo>
                          <a:pt x="599" y="964"/>
                        </a:lnTo>
                        <a:lnTo>
                          <a:pt x="600" y="956"/>
                        </a:lnTo>
                        <a:lnTo>
                          <a:pt x="592" y="937"/>
                        </a:lnTo>
                        <a:lnTo>
                          <a:pt x="584" y="931"/>
                        </a:lnTo>
                        <a:lnTo>
                          <a:pt x="595" y="924"/>
                        </a:lnTo>
                        <a:lnTo>
                          <a:pt x="599" y="912"/>
                        </a:lnTo>
                        <a:lnTo>
                          <a:pt x="591" y="910"/>
                        </a:lnTo>
                        <a:lnTo>
                          <a:pt x="586" y="922"/>
                        </a:lnTo>
                        <a:lnTo>
                          <a:pt x="572" y="935"/>
                        </a:lnTo>
                        <a:lnTo>
                          <a:pt x="564" y="927"/>
                        </a:lnTo>
                        <a:lnTo>
                          <a:pt x="546" y="924"/>
                        </a:lnTo>
                        <a:lnTo>
                          <a:pt x="539" y="934"/>
                        </a:lnTo>
                        <a:lnTo>
                          <a:pt x="526" y="930"/>
                        </a:lnTo>
                        <a:lnTo>
                          <a:pt x="517" y="917"/>
                        </a:lnTo>
                        <a:lnTo>
                          <a:pt x="510" y="892"/>
                        </a:lnTo>
                        <a:lnTo>
                          <a:pt x="492" y="882"/>
                        </a:lnTo>
                        <a:lnTo>
                          <a:pt x="486" y="884"/>
                        </a:lnTo>
                        <a:lnTo>
                          <a:pt x="476" y="862"/>
                        </a:lnTo>
                        <a:lnTo>
                          <a:pt x="461" y="852"/>
                        </a:lnTo>
                        <a:lnTo>
                          <a:pt x="454" y="851"/>
                        </a:lnTo>
                        <a:lnTo>
                          <a:pt x="431" y="834"/>
                        </a:lnTo>
                        <a:lnTo>
                          <a:pt x="434" y="809"/>
                        </a:lnTo>
                        <a:lnTo>
                          <a:pt x="425" y="796"/>
                        </a:lnTo>
                        <a:lnTo>
                          <a:pt x="409" y="785"/>
                        </a:lnTo>
                        <a:lnTo>
                          <a:pt x="405" y="772"/>
                        </a:lnTo>
                        <a:lnTo>
                          <a:pt x="394" y="756"/>
                        </a:lnTo>
                        <a:lnTo>
                          <a:pt x="380" y="750"/>
                        </a:lnTo>
                        <a:lnTo>
                          <a:pt x="376" y="734"/>
                        </a:lnTo>
                        <a:lnTo>
                          <a:pt x="394" y="735"/>
                        </a:lnTo>
                        <a:lnTo>
                          <a:pt x="432" y="752"/>
                        </a:lnTo>
                        <a:lnTo>
                          <a:pt x="446" y="755"/>
                        </a:lnTo>
                        <a:lnTo>
                          <a:pt x="471" y="745"/>
                        </a:lnTo>
                        <a:lnTo>
                          <a:pt x="472" y="766"/>
                        </a:lnTo>
                        <a:lnTo>
                          <a:pt x="487" y="780"/>
                        </a:lnTo>
                        <a:lnTo>
                          <a:pt x="492" y="788"/>
                        </a:lnTo>
                        <a:lnTo>
                          <a:pt x="501" y="781"/>
                        </a:lnTo>
                        <a:lnTo>
                          <a:pt x="512" y="786"/>
                        </a:lnTo>
                        <a:lnTo>
                          <a:pt x="519" y="779"/>
                        </a:lnTo>
                        <a:lnTo>
                          <a:pt x="510" y="773"/>
                        </a:lnTo>
                        <a:lnTo>
                          <a:pt x="495" y="775"/>
                        </a:lnTo>
                        <a:lnTo>
                          <a:pt x="489" y="756"/>
                        </a:lnTo>
                        <a:lnTo>
                          <a:pt x="496" y="750"/>
                        </a:lnTo>
                        <a:lnTo>
                          <a:pt x="490" y="730"/>
                        </a:lnTo>
                        <a:lnTo>
                          <a:pt x="497" y="731"/>
                        </a:lnTo>
                        <a:lnTo>
                          <a:pt x="504" y="733"/>
                        </a:lnTo>
                        <a:lnTo>
                          <a:pt x="507" y="734"/>
                        </a:lnTo>
                        <a:lnTo>
                          <a:pt x="509" y="734"/>
                        </a:lnTo>
                        <a:lnTo>
                          <a:pt x="506" y="715"/>
                        </a:lnTo>
                        <a:lnTo>
                          <a:pt x="515" y="704"/>
                        </a:lnTo>
                        <a:lnTo>
                          <a:pt x="507" y="695"/>
                        </a:lnTo>
                        <a:lnTo>
                          <a:pt x="525" y="668"/>
                        </a:lnTo>
                        <a:lnTo>
                          <a:pt x="514" y="638"/>
                        </a:lnTo>
                        <a:lnTo>
                          <a:pt x="501" y="633"/>
                        </a:lnTo>
                        <a:lnTo>
                          <a:pt x="491" y="600"/>
                        </a:lnTo>
                        <a:lnTo>
                          <a:pt x="484" y="589"/>
                        </a:lnTo>
                        <a:lnTo>
                          <a:pt x="476" y="588"/>
                        </a:lnTo>
                        <a:lnTo>
                          <a:pt x="469" y="560"/>
                        </a:lnTo>
                        <a:lnTo>
                          <a:pt x="457" y="555"/>
                        </a:lnTo>
                        <a:lnTo>
                          <a:pt x="435" y="511"/>
                        </a:lnTo>
                        <a:lnTo>
                          <a:pt x="409" y="498"/>
                        </a:lnTo>
                        <a:lnTo>
                          <a:pt x="400" y="480"/>
                        </a:lnTo>
                        <a:lnTo>
                          <a:pt x="376" y="463"/>
                        </a:lnTo>
                        <a:lnTo>
                          <a:pt x="355" y="436"/>
                        </a:lnTo>
                        <a:lnTo>
                          <a:pt x="359" y="426"/>
                        </a:lnTo>
                        <a:lnTo>
                          <a:pt x="357" y="410"/>
                        </a:lnTo>
                        <a:lnTo>
                          <a:pt x="347" y="403"/>
                        </a:lnTo>
                        <a:lnTo>
                          <a:pt x="355" y="386"/>
                        </a:lnTo>
                        <a:lnTo>
                          <a:pt x="359" y="364"/>
                        </a:lnTo>
                        <a:lnTo>
                          <a:pt x="356" y="348"/>
                        </a:lnTo>
                        <a:lnTo>
                          <a:pt x="346" y="338"/>
                        </a:lnTo>
                        <a:lnTo>
                          <a:pt x="336" y="341"/>
                        </a:lnTo>
                        <a:lnTo>
                          <a:pt x="335" y="323"/>
                        </a:lnTo>
                        <a:lnTo>
                          <a:pt x="341" y="303"/>
                        </a:lnTo>
                        <a:lnTo>
                          <a:pt x="344" y="275"/>
                        </a:lnTo>
                        <a:lnTo>
                          <a:pt x="331" y="265"/>
                        </a:lnTo>
                        <a:lnTo>
                          <a:pt x="325" y="249"/>
                        </a:lnTo>
                        <a:lnTo>
                          <a:pt x="315" y="246"/>
                        </a:lnTo>
                        <a:lnTo>
                          <a:pt x="325" y="220"/>
                        </a:lnTo>
                        <a:lnTo>
                          <a:pt x="322" y="209"/>
                        </a:lnTo>
                        <a:lnTo>
                          <a:pt x="307" y="173"/>
                        </a:lnTo>
                        <a:lnTo>
                          <a:pt x="292" y="151"/>
                        </a:lnTo>
                        <a:lnTo>
                          <a:pt x="307" y="123"/>
                        </a:lnTo>
                        <a:lnTo>
                          <a:pt x="310" y="110"/>
                        </a:lnTo>
                        <a:lnTo>
                          <a:pt x="295" y="99"/>
                        </a:lnTo>
                        <a:lnTo>
                          <a:pt x="295" y="89"/>
                        </a:lnTo>
                        <a:lnTo>
                          <a:pt x="287" y="85"/>
                        </a:lnTo>
                        <a:lnTo>
                          <a:pt x="286" y="64"/>
                        </a:lnTo>
                        <a:lnTo>
                          <a:pt x="282" y="45"/>
                        </a:lnTo>
                        <a:lnTo>
                          <a:pt x="275" y="39"/>
                        </a:lnTo>
                        <a:lnTo>
                          <a:pt x="270" y="11"/>
                        </a:lnTo>
                        <a:lnTo>
                          <a:pt x="271" y="0"/>
                        </a:lnTo>
                        <a:close/>
                        <a:moveTo>
                          <a:pt x="2649" y="1354"/>
                        </a:moveTo>
                        <a:lnTo>
                          <a:pt x="2641" y="1365"/>
                        </a:lnTo>
                        <a:lnTo>
                          <a:pt x="2625" y="1356"/>
                        </a:lnTo>
                        <a:lnTo>
                          <a:pt x="2620" y="1372"/>
                        </a:lnTo>
                        <a:lnTo>
                          <a:pt x="2625" y="1387"/>
                        </a:lnTo>
                        <a:lnTo>
                          <a:pt x="2620" y="1407"/>
                        </a:lnTo>
                        <a:lnTo>
                          <a:pt x="2623" y="1417"/>
                        </a:lnTo>
                        <a:lnTo>
                          <a:pt x="2633" y="1424"/>
                        </a:lnTo>
                        <a:lnTo>
                          <a:pt x="2619" y="1439"/>
                        </a:lnTo>
                        <a:lnTo>
                          <a:pt x="2624" y="1469"/>
                        </a:lnTo>
                        <a:lnTo>
                          <a:pt x="2619" y="1484"/>
                        </a:lnTo>
                        <a:lnTo>
                          <a:pt x="2611" y="1477"/>
                        </a:lnTo>
                        <a:lnTo>
                          <a:pt x="2600" y="1482"/>
                        </a:lnTo>
                        <a:lnTo>
                          <a:pt x="2603" y="1496"/>
                        </a:lnTo>
                        <a:lnTo>
                          <a:pt x="2618" y="1504"/>
                        </a:lnTo>
                        <a:lnTo>
                          <a:pt x="2633" y="1454"/>
                        </a:lnTo>
                        <a:lnTo>
                          <a:pt x="2636" y="1435"/>
                        </a:lnTo>
                        <a:lnTo>
                          <a:pt x="2645" y="1414"/>
                        </a:lnTo>
                        <a:lnTo>
                          <a:pt x="2644" y="1404"/>
                        </a:lnTo>
                        <a:lnTo>
                          <a:pt x="2661" y="1369"/>
                        </a:lnTo>
                        <a:lnTo>
                          <a:pt x="2658" y="1349"/>
                        </a:lnTo>
                        <a:lnTo>
                          <a:pt x="2649" y="1354"/>
                        </a:lnTo>
                        <a:close/>
                        <a:moveTo>
                          <a:pt x="369" y="690"/>
                        </a:moveTo>
                        <a:lnTo>
                          <a:pt x="360" y="699"/>
                        </a:lnTo>
                        <a:lnTo>
                          <a:pt x="350" y="681"/>
                        </a:lnTo>
                        <a:lnTo>
                          <a:pt x="365" y="669"/>
                        </a:lnTo>
                        <a:lnTo>
                          <a:pt x="365" y="659"/>
                        </a:lnTo>
                        <a:lnTo>
                          <a:pt x="373" y="649"/>
                        </a:lnTo>
                        <a:lnTo>
                          <a:pt x="376" y="666"/>
                        </a:lnTo>
                        <a:lnTo>
                          <a:pt x="369" y="690"/>
                        </a:lnTo>
                        <a:close/>
                        <a:moveTo>
                          <a:pt x="11" y="482"/>
                        </a:moveTo>
                        <a:lnTo>
                          <a:pt x="3" y="485"/>
                        </a:lnTo>
                        <a:lnTo>
                          <a:pt x="4" y="469"/>
                        </a:lnTo>
                        <a:lnTo>
                          <a:pt x="0" y="458"/>
                        </a:lnTo>
                        <a:lnTo>
                          <a:pt x="11" y="450"/>
                        </a:lnTo>
                        <a:lnTo>
                          <a:pt x="15" y="461"/>
                        </a:lnTo>
                        <a:lnTo>
                          <a:pt x="11" y="482"/>
                        </a:lnTo>
                        <a:close/>
                        <a:moveTo>
                          <a:pt x="624" y="525"/>
                        </a:moveTo>
                        <a:lnTo>
                          <a:pt x="635" y="539"/>
                        </a:lnTo>
                        <a:lnTo>
                          <a:pt x="639" y="551"/>
                        </a:lnTo>
                        <a:lnTo>
                          <a:pt x="634" y="561"/>
                        </a:lnTo>
                        <a:lnTo>
                          <a:pt x="658" y="569"/>
                        </a:lnTo>
                        <a:lnTo>
                          <a:pt x="654" y="592"/>
                        </a:lnTo>
                        <a:lnTo>
                          <a:pt x="661" y="605"/>
                        </a:lnTo>
                        <a:lnTo>
                          <a:pt x="658" y="615"/>
                        </a:lnTo>
                        <a:lnTo>
                          <a:pt x="645" y="601"/>
                        </a:lnTo>
                        <a:lnTo>
                          <a:pt x="633" y="582"/>
                        </a:lnTo>
                        <a:lnTo>
                          <a:pt x="609" y="541"/>
                        </a:lnTo>
                        <a:lnTo>
                          <a:pt x="618" y="525"/>
                        </a:lnTo>
                        <a:lnTo>
                          <a:pt x="624" y="525"/>
                        </a:lnTo>
                        <a:close/>
                        <a:moveTo>
                          <a:pt x="970" y="1397"/>
                        </a:moveTo>
                        <a:lnTo>
                          <a:pt x="961" y="1397"/>
                        </a:lnTo>
                        <a:lnTo>
                          <a:pt x="958" y="1389"/>
                        </a:lnTo>
                        <a:lnTo>
                          <a:pt x="964" y="1379"/>
                        </a:lnTo>
                        <a:lnTo>
                          <a:pt x="970" y="1397"/>
                        </a:lnTo>
                        <a:close/>
                        <a:moveTo>
                          <a:pt x="686" y="1295"/>
                        </a:moveTo>
                        <a:lnTo>
                          <a:pt x="701" y="1297"/>
                        </a:lnTo>
                        <a:lnTo>
                          <a:pt x="714" y="1311"/>
                        </a:lnTo>
                        <a:lnTo>
                          <a:pt x="720" y="1324"/>
                        </a:lnTo>
                        <a:lnTo>
                          <a:pt x="716" y="1331"/>
                        </a:lnTo>
                        <a:lnTo>
                          <a:pt x="686" y="1295"/>
                        </a:lnTo>
                        <a:close/>
                        <a:moveTo>
                          <a:pt x="884" y="1250"/>
                        </a:moveTo>
                        <a:lnTo>
                          <a:pt x="883" y="1272"/>
                        </a:lnTo>
                        <a:lnTo>
                          <a:pt x="874" y="1262"/>
                        </a:lnTo>
                        <a:lnTo>
                          <a:pt x="874" y="1246"/>
                        </a:lnTo>
                        <a:lnTo>
                          <a:pt x="884" y="1250"/>
                        </a:lnTo>
                        <a:close/>
                        <a:moveTo>
                          <a:pt x="674" y="1221"/>
                        </a:moveTo>
                        <a:lnTo>
                          <a:pt x="660" y="1249"/>
                        </a:lnTo>
                        <a:lnTo>
                          <a:pt x="654" y="1240"/>
                        </a:lnTo>
                        <a:lnTo>
                          <a:pt x="669" y="1216"/>
                        </a:lnTo>
                        <a:lnTo>
                          <a:pt x="674" y="1221"/>
                        </a:lnTo>
                        <a:close/>
                        <a:moveTo>
                          <a:pt x="848" y="1087"/>
                        </a:moveTo>
                        <a:lnTo>
                          <a:pt x="828" y="1110"/>
                        </a:lnTo>
                        <a:lnTo>
                          <a:pt x="831" y="1089"/>
                        </a:lnTo>
                        <a:lnTo>
                          <a:pt x="848" y="1087"/>
                        </a:lnTo>
                        <a:close/>
                        <a:moveTo>
                          <a:pt x="770" y="600"/>
                        </a:moveTo>
                        <a:lnTo>
                          <a:pt x="769" y="612"/>
                        </a:lnTo>
                        <a:lnTo>
                          <a:pt x="775" y="631"/>
                        </a:lnTo>
                        <a:lnTo>
                          <a:pt x="759" y="666"/>
                        </a:lnTo>
                        <a:lnTo>
                          <a:pt x="745" y="662"/>
                        </a:lnTo>
                        <a:lnTo>
                          <a:pt x="721" y="644"/>
                        </a:lnTo>
                        <a:lnTo>
                          <a:pt x="736" y="631"/>
                        </a:lnTo>
                        <a:lnTo>
                          <a:pt x="738" y="616"/>
                        </a:lnTo>
                        <a:lnTo>
                          <a:pt x="749" y="599"/>
                        </a:lnTo>
                        <a:lnTo>
                          <a:pt x="770" y="600"/>
                        </a:lnTo>
                        <a:close/>
                        <a:moveTo>
                          <a:pt x="684" y="2187"/>
                        </a:moveTo>
                        <a:lnTo>
                          <a:pt x="675" y="2187"/>
                        </a:lnTo>
                        <a:lnTo>
                          <a:pt x="664" y="2177"/>
                        </a:lnTo>
                        <a:lnTo>
                          <a:pt x="676" y="2164"/>
                        </a:lnTo>
                        <a:lnTo>
                          <a:pt x="681" y="2169"/>
                        </a:lnTo>
                        <a:lnTo>
                          <a:pt x="684" y="2187"/>
                        </a:lnTo>
                        <a:close/>
                        <a:moveTo>
                          <a:pt x="1355" y="1824"/>
                        </a:moveTo>
                        <a:lnTo>
                          <a:pt x="1370" y="1831"/>
                        </a:lnTo>
                        <a:lnTo>
                          <a:pt x="1366" y="1846"/>
                        </a:lnTo>
                        <a:lnTo>
                          <a:pt x="1355" y="1839"/>
                        </a:lnTo>
                        <a:lnTo>
                          <a:pt x="1355" y="1824"/>
                        </a:lnTo>
                        <a:close/>
                        <a:moveTo>
                          <a:pt x="4173" y="2016"/>
                        </a:moveTo>
                        <a:lnTo>
                          <a:pt x="4151" y="2057"/>
                        </a:lnTo>
                        <a:lnTo>
                          <a:pt x="4143" y="2066"/>
                        </a:lnTo>
                        <a:lnTo>
                          <a:pt x="4138" y="2056"/>
                        </a:lnTo>
                        <a:lnTo>
                          <a:pt x="4138" y="2040"/>
                        </a:lnTo>
                        <a:lnTo>
                          <a:pt x="4146" y="2022"/>
                        </a:lnTo>
                        <a:lnTo>
                          <a:pt x="4173" y="2016"/>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255" name="Hawaii" descr="{&quot;Key&quot;:&quot;hawaii&quot;,&quot;Name&quot;:&quot;Hawaii&quot;,&quot;Value&quot;:1.0,&quot;Formula&quot;:&quot;&quot;,&quot;Text&quot;:&quot;&quot;,&quot;OfficeApplication&quot;:1,&quot;HasValue&quot;:true}">
                    <a:extLst>
                      <a:ext uri="{FF2B5EF4-FFF2-40B4-BE49-F238E27FC236}">
                        <a16:creationId xmlns:a16="http://schemas.microsoft.com/office/drawing/2014/main" id="{F940C479-380E-3152-3E20-44E1AEB03987}"/>
                      </a:ext>
                    </a:extLst>
                  </p:cNvPr>
                  <p:cNvSpPr>
                    <a:spLocks noEditPoints="1"/>
                  </p:cNvSpPr>
                  <p:nvPr/>
                </p:nvSpPr>
                <p:spPr bwMode="auto">
                  <a:xfrm>
                    <a:off x="4157947" y="4726183"/>
                    <a:ext cx="443472" cy="145294"/>
                  </a:xfrm>
                  <a:custGeom>
                    <a:avLst/>
                    <a:gdLst>
                      <a:gd name="T0" fmla="*/ 721 w 853"/>
                      <a:gd name="T1" fmla="*/ 101 h 279"/>
                      <a:gd name="T2" fmla="*/ 778 w 853"/>
                      <a:gd name="T3" fmla="*/ 107 h 279"/>
                      <a:gd name="T4" fmla="*/ 802 w 853"/>
                      <a:gd name="T5" fmla="*/ 133 h 279"/>
                      <a:gd name="T6" fmla="*/ 818 w 853"/>
                      <a:gd name="T7" fmla="*/ 129 h 279"/>
                      <a:gd name="T8" fmla="*/ 844 w 853"/>
                      <a:gd name="T9" fmla="*/ 146 h 279"/>
                      <a:gd name="T10" fmla="*/ 849 w 853"/>
                      <a:gd name="T11" fmla="*/ 166 h 279"/>
                      <a:gd name="T12" fmla="*/ 814 w 853"/>
                      <a:gd name="T13" fmla="*/ 206 h 279"/>
                      <a:gd name="T14" fmla="*/ 796 w 853"/>
                      <a:gd name="T15" fmla="*/ 223 h 279"/>
                      <a:gd name="T16" fmla="*/ 777 w 853"/>
                      <a:gd name="T17" fmla="*/ 272 h 279"/>
                      <a:gd name="T18" fmla="*/ 747 w 853"/>
                      <a:gd name="T19" fmla="*/ 274 h 279"/>
                      <a:gd name="T20" fmla="*/ 726 w 853"/>
                      <a:gd name="T21" fmla="*/ 263 h 279"/>
                      <a:gd name="T22" fmla="*/ 689 w 853"/>
                      <a:gd name="T23" fmla="*/ 199 h 279"/>
                      <a:gd name="T24" fmla="*/ 672 w 853"/>
                      <a:gd name="T25" fmla="*/ 177 h 279"/>
                      <a:gd name="T26" fmla="*/ 687 w 853"/>
                      <a:gd name="T27" fmla="*/ 132 h 279"/>
                      <a:gd name="T28" fmla="*/ 666 w 853"/>
                      <a:gd name="T29" fmla="*/ 108 h 279"/>
                      <a:gd name="T30" fmla="*/ 686 w 853"/>
                      <a:gd name="T31" fmla="*/ 95 h 279"/>
                      <a:gd name="T32" fmla="*/ 710 w 853"/>
                      <a:gd name="T33" fmla="*/ 103 h 279"/>
                      <a:gd name="T34" fmla="*/ 546 w 853"/>
                      <a:gd name="T35" fmla="*/ 109 h 279"/>
                      <a:gd name="T36" fmla="*/ 563 w 853"/>
                      <a:gd name="T37" fmla="*/ 98 h 279"/>
                      <a:gd name="T38" fmla="*/ 491 w 853"/>
                      <a:gd name="T39" fmla="*/ 89 h 279"/>
                      <a:gd name="T40" fmla="*/ 495 w 853"/>
                      <a:gd name="T41" fmla="*/ 63 h 279"/>
                      <a:gd name="T42" fmla="*/ 511 w 853"/>
                      <a:gd name="T43" fmla="*/ 81 h 279"/>
                      <a:gd name="T44" fmla="*/ 528 w 853"/>
                      <a:gd name="T45" fmla="*/ 31 h 279"/>
                      <a:gd name="T46" fmla="*/ 550 w 853"/>
                      <a:gd name="T47" fmla="*/ 42 h 279"/>
                      <a:gd name="T48" fmla="*/ 578 w 853"/>
                      <a:gd name="T49" fmla="*/ 24 h 279"/>
                      <a:gd name="T50" fmla="*/ 618 w 853"/>
                      <a:gd name="T51" fmla="*/ 32 h 279"/>
                      <a:gd name="T52" fmla="*/ 612 w 853"/>
                      <a:gd name="T53" fmla="*/ 63 h 279"/>
                      <a:gd name="T54" fmla="*/ 591 w 853"/>
                      <a:gd name="T55" fmla="*/ 78 h 279"/>
                      <a:gd name="T56" fmla="*/ 568 w 853"/>
                      <a:gd name="T57" fmla="*/ 74 h 279"/>
                      <a:gd name="T58" fmla="*/ 550 w 853"/>
                      <a:gd name="T59" fmla="*/ 63 h 279"/>
                      <a:gd name="T60" fmla="*/ 520 w 853"/>
                      <a:gd name="T61" fmla="*/ 52 h 279"/>
                      <a:gd name="T62" fmla="*/ 528 w 853"/>
                      <a:gd name="T63" fmla="*/ 31 h 279"/>
                      <a:gd name="T64" fmla="*/ 480 w 853"/>
                      <a:gd name="T65" fmla="*/ 27 h 279"/>
                      <a:gd name="T66" fmla="*/ 506 w 853"/>
                      <a:gd name="T67" fmla="*/ 18 h 279"/>
                      <a:gd name="T68" fmla="*/ 490 w 853"/>
                      <a:gd name="T69" fmla="*/ 42 h 279"/>
                      <a:gd name="T70" fmla="*/ 435 w 853"/>
                      <a:gd name="T71" fmla="*/ 58 h 279"/>
                      <a:gd name="T72" fmla="*/ 430 w 853"/>
                      <a:gd name="T73" fmla="*/ 37 h 279"/>
                      <a:gd name="T74" fmla="*/ 336 w 853"/>
                      <a:gd name="T75" fmla="*/ 23 h 279"/>
                      <a:gd name="T76" fmla="*/ 361 w 853"/>
                      <a:gd name="T77" fmla="*/ 39 h 279"/>
                      <a:gd name="T78" fmla="*/ 356 w 853"/>
                      <a:gd name="T79" fmla="*/ 60 h 279"/>
                      <a:gd name="T80" fmla="*/ 315 w 853"/>
                      <a:gd name="T81" fmla="*/ 70 h 279"/>
                      <a:gd name="T82" fmla="*/ 280 w 853"/>
                      <a:gd name="T83" fmla="*/ 35 h 279"/>
                      <a:gd name="T84" fmla="*/ 302 w 853"/>
                      <a:gd name="T85" fmla="*/ 8 h 279"/>
                      <a:gd name="T86" fmla="*/ 325 w 853"/>
                      <a:gd name="T87" fmla="*/ 17 h 279"/>
                      <a:gd name="T88" fmla="*/ 0 w 853"/>
                      <a:gd name="T89" fmla="*/ 92 h 279"/>
                      <a:gd name="T90" fmla="*/ 20 w 853"/>
                      <a:gd name="T91" fmla="*/ 82 h 279"/>
                      <a:gd name="T92" fmla="*/ 10 w 853"/>
                      <a:gd name="T93" fmla="*/ 103 h 279"/>
                      <a:gd name="T94" fmla="*/ 111 w 853"/>
                      <a:gd name="T95" fmla="*/ 8 h 279"/>
                      <a:gd name="T96" fmla="*/ 115 w 853"/>
                      <a:gd name="T97" fmla="*/ 37 h 279"/>
                      <a:gd name="T98" fmla="*/ 82 w 853"/>
                      <a:gd name="T99" fmla="*/ 58 h 279"/>
                      <a:gd name="T100" fmla="*/ 57 w 853"/>
                      <a:gd name="T101" fmla="*/ 54 h 279"/>
                      <a:gd name="T102" fmla="*/ 55 w 853"/>
                      <a:gd name="T103" fmla="*/ 27 h 279"/>
                      <a:gd name="T104" fmla="*/ 93 w 853"/>
                      <a:gd name="T10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3" h="279">
                        <a:moveTo>
                          <a:pt x="710" y="103"/>
                        </a:moveTo>
                        <a:lnTo>
                          <a:pt x="721" y="101"/>
                        </a:lnTo>
                        <a:lnTo>
                          <a:pt x="751" y="102"/>
                        </a:lnTo>
                        <a:lnTo>
                          <a:pt x="778" y="107"/>
                        </a:lnTo>
                        <a:lnTo>
                          <a:pt x="794" y="114"/>
                        </a:lnTo>
                        <a:lnTo>
                          <a:pt x="802" y="133"/>
                        </a:lnTo>
                        <a:lnTo>
                          <a:pt x="811" y="127"/>
                        </a:lnTo>
                        <a:lnTo>
                          <a:pt x="818" y="129"/>
                        </a:lnTo>
                        <a:lnTo>
                          <a:pt x="827" y="142"/>
                        </a:lnTo>
                        <a:lnTo>
                          <a:pt x="844" y="146"/>
                        </a:lnTo>
                        <a:lnTo>
                          <a:pt x="853" y="153"/>
                        </a:lnTo>
                        <a:lnTo>
                          <a:pt x="849" y="166"/>
                        </a:lnTo>
                        <a:lnTo>
                          <a:pt x="839" y="182"/>
                        </a:lnTo>
                        <a:lnTo>
                          <a:pt x="814" y="206"/>
                        </a:lnTo>
                        <a:lnTo>
                          <a:pt x="803" y="210"/>
                        </a:lnTo>
                        <a:lnTo>
                          <a:pt x="796" y="223"/>
                        </a:lnTo>
                        <a:lnTo>
                          <a:pt x="782" y="239"/>
                        </a:lnTo>
                        <a:lnTo>
                          <a:pt x="777" y="272"/>
                        </a:lnTo>
                        <a:lnTo>
                          <a:pt x="769" y="279"/>
                        </a:lnTo>
                        <a:lnTo>
                          <a:pt x="747" y="274"/>
                        </a:lnTo>
                        <a:lnTo>
                          <a:pt x="737" y="276"/>
                        </a:lnTo>
                        <a:lnTo>
                          <a:pt x="726" y="263"/>
                        </a:lnTo>
                        <a:lnTo>
                          <a:pt x="718" y="233"/>
                        </a:lnTo>
                        <a:lnTo>
                          <a:pt x="689" y="199"/>
                        </a:lnTo>
                        <a:lnTo>
                          <a:pt x="672" y="185"/>
                        </a:lnTo>
                        <a:lnTo>
                          <a:pt x="672" y="177"/>
                        </a:lnTo>
                        <a:lnTo>
                          <a:pt x="682" y="159"/>
                        </a:lnTo>
                        <a:lnTo>
                          <a:pt x="687" y="132"/>
                        </a:lnTo>
                        <a:lnTo>
                          <a:pt x="674" y="123"/>
                        </a:lnTo>
                        <a:lnTo>
                          <a:pt x="666" y="108"/>
                        </a:lnTo>
                        <a:lnTo>
                          <a:pt x="667" y="99"/>
                        </a:lnTo>
                        <a:lnTo>
                          <a:pt x="686" y="95"/>
                        </a:lnTo>
                        <a:lnTo>
                          <a:pt x="692" y="100"/>
                        </a:lnTo>
                        <a:lnTo>
                          <a:pt x="710" y="103"/>
                        </a:lnTo>
                        <a:close/>
                        <a:moveTo>
                          <a:pt x="563" y="98"/>
                        </a:moveTo>
                        <a:lnTo>
                          <a:pt x="546" y="109"/>
                        </a:lnTo>
                        <a:lnTo>
                          <a:pt x="550" y="93"/>
                        </a:lnTo>
                        <a:lnTo>
                          <a:pt x="563" y="98"/>
                        </a:lnTo>
                        <a:close/>
                        <a:moveTo>
                          <a:pt x="502" y="89"/>
                        </a:moveTo>
                        <a:lnTo>
                          <a:pt x="491" y="89"/>
                        </a:lnTo>
                        <a:lnTo>
                          <a:pt x="481" y="66"/>
                        </a:lnTo>
                        <a:lnTo>
                          <a:pt x="495" y="63"/>
                        </a:lnTo>
                        <a:lnTo>
                          <a:pt x="508" y="69"/>
                        </a:lnTo>
                        <a:lnTo>
                          <a:pt x="511" y="81"/>
                        </a:lnTo>
                        <a:lnTo>
                          <a:pt x="502" y="89"/>
                        </a:lnTo>
                        <a:close/>
                        <a:moveTo>
                          <a:pt x="528" y="31"/>
                        </a:moveTo>
                        <a:lnTo>
                          <a:pt x="538" y="33"/>
                        </a:lnTo>
                        <a:lnTo>
                          <a:pt x="550" y="42"/>
                        </a:lnTo>
                        <a:lnTo>
                          <a:pt x="571" y="26"/>
                        </a:lnTo>
                        <a:lnTo>
                          <a:pt x="578" y="24"/>
                        </a:lnTo>
                        <a:lnTo>
                          <a:pt x="601" y="33"/>
                        </a:lnTo>
                        <a:lnTo>
                          <a:pt x="618" y="32"/>
                        </a:lnTo>
                        <a:lnTo>
                          <a:pt x="625" y="48"/>
                        </a:lnTo>
                        <a:lnTo>
                          <a:pt x="612" y="63"/>
                        </a:lnTo>
                        <a:lnTo>
                          <a:pt x="602" y="67"/>
                        </a:lnTo>
                        <a:lnTo>
                          <a:pt x="591" y="78"/>
                        </a:lnTo>
                        <a:lnTo>
                          <a:pt x="577" y="83"/>
                        </a:lnTo>
                        <a:lnTo>
                          <a:pt x="568" y="74"/>
                        </a:lnTo>
                        <a:lnTo>
                          <a:pt x="558" y="58"/>
                        </a:lnTo>
                        <a:lnTo>
                          <a:pt x="550" y="63"/>
                        </a:lnTo>
                        <a:lnTo>
                          <a:pt x="536" y="63"/>
                        </a:lnTo>
                        <a:lnTo>
                          <a:pt x="520" y="52"/>
                        </a:lnTo>
                        <a:lnTo>
                          <a:pt x="520" y="38"/>
                        </a:lnTo>
                        <a:lnTo>
                          <a:pt x="528" y="31"/>
                        </a:lnTo>
                        <a:close/>
                        <a:moveTo>
                          <a:pt x="430" y="37"/>
                        </a:moveTo>
                        <a:lnTo>
                          <a:pt x="480" y="27"/>
                        </a:lnTo>
                        <a:lnTo>
                          <a:pt x="492" y="21"/>
                        </a:lnTo>
                        <a:lnTo>
                          <a:pt x="506" y="18"/>
                        </a:lnTo>
                        <a:lnTo>
                          <a:pt x="502" y="29"/>
                        </a:lnTo>
                        <a:lnTo>
                          <a:pt x="490" y="42"/>
                        </a:lnTo>
                        <a:lnTo>
                          <a:pt x="460" y="45"/>
                        </a:lnTo>
                        <a:lnTo>
                          <a:pt x="435" y="58"/>
                        </a:lnTo>
                        <a:lnTo>
                          <a:pt x="428" y="53"/>
                        </a:lnTo>
                        <a:lnTo>
                          <a:pt x="430" y="37"/>
                        </a:lnTo>
                        <a:close/>
                        <a:moveTo>
                          <a:pt x="325" y="17"/>
                        </a:moveTo>
                        <a:lnTo>
                          <a:pt x="336" y="23"/>
                        </a:lnTo>
                        <a:lnTo>
                          <a:pt x="338" y="34"/>
                        </a:lnTo>
                        <a:lnTo>
                          <a:pt x="361" y="39"/>
                        </a:lnTo>
                        <a:lnTo>
                          <a:pt x="372" y="45"/>
                        </a:lnTo>
                        <a:lnTo>
                          <a:pt x="356" y="60"/>
                        </a:lnTo>
                        <a:lnTo>
                          <a:pt x="338" y="59"/>
                        </a:lnTo>
                        <a:lnTo>
                          <a:pt x="315" y="70"/>
                        </a:lnTo>
                        <a:lnTo>
                          <a:pt x="286" y="50"/>
                        </a:lnTo>
                        <a:lnTo>
                          <a:pt x="280" y="35"/>
                        </a:lnTo>
                        <a:lnTo>
                          <a:pt x="295" y="30"/>
                        </a:lnTo>
                        <a:lnTo>
                          <a:pt x="302" y="8"/>
                        </a:lnTo>
                        <a:lnTo>
                          <a:pt x="310" y="5"/>
                        </a:lnTo>
                        <a:lnTo>
                          <a:pt x="325" y="17"/>
                        </a:lnTo>
                        <a:close/>
                        <a:moveTo>
                          <a:pt x="10" y="103"/>
                        </a:moveTo>
                        <a:lnTo>
                          <a:pt x="0" y="92"/>
                        </a:lnTo>
                        <a:lnTo>
                          <a:pt x="11" y="74"/>
                        </a:lnTo>
                        <a:lnTo>
                          <a:pt x="20" y="82"/>
                        </a:lnTo>
                        <a:lnTo>
                          <a:pt x="10" y="93"/>
                        </a:lnTo>
                        <a:lnTo>
                          <a:pt x="10" y="103"/>
                        </a:lnTo>
                        <a:close/>
                        <a:moveTo>
                          <a:pt x="93" y="0"/>
                        </a:moveTo>
                        <a:lnTo>
                          <a:pt x="111" y="8"/>
                        </a:lnTo>
                        <a:lnTo>
                          <a:pt x="111" y="24"/>
                        </a:lnTo>
                        <a:lnTo>
                          <a:pt x="115" y="37"/>
                        </a:lnTo>
                        <a:lnTo>
                          <a:pt x="106" y="54"/>
                        </a:lnTo>
                        <a:lnTo>
                          <a:pt x="82" y="58"/>
                        </a:lnTo>
                        <a:lnTo>
                          <a:pt x="70" y="54"/>
                        </a:lnTo>
                        <a:lnTo>
                          <a:pt x="57" y="54"/>
                        </a:lnTo>
                        <a:lnTo>
                          <a:pt x="51" y="44"/>
                        </a:lnTo>
                        <a:lnTo>
                          <a:pt x="55" y="27"/>
                        </a:lnTo>
                        <a:lnTo>
                          <a:pt x="72" y="8"/>
                        </a:lnTo>
                        <a:lnTo>
                          <a:pt x="93" y="0"/>
                        </a:lnTo>
                        <a:close/>
                      </a:path>
                    </a:pathLst>
                  </a:custGeom>
                  <a:solidFill>
                    <a:srgbClr val="D9D9D9"/>
                  </a:solidFill>
                  <a:ln w="0" cap="rnd">
                    <a:solidFill>
                      <a:schemeClr val="lt1"/>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3" name="Minnesota" descr="{&quot;Key&quot;:&quot;minnesota&quot;,&quot;Name&quot;:&quot;Minnesota&quot;,&quot;Value&quot;:1.0,&quot;Formula&quot;:&quot;&quot;,&quot;Text&quot;:&quot;&quot;,&quot;OfficeApplication&quot;:1,&quot;HasValue&quot;:true}">
                    <a:extLst>
                      <a:ext uri="{FF2B5EF4-FFF2-40B4-BE49-F238E27FC236}">
                        <a16:creationId xmlns:a16="http://schemas.microsoft.com/office/drawing/2014/main" id="{D71F0CED-D800-532C-CBD0-2A528C6EB0CC}"/>
                      </a:ext>
                    </a:extLst>
                  </p:cNvPr>
                  <p:cNvSpPr>
                    <a:spLocks/>
                  </p:cNvSpPr>
                  <p:nvPr/>
                </p:nvSpPr>
                <p:spPr bwMode="auto">
                  <a:xfrm>
                    <a:off x="6739757" y="3964406"/>
                    <a:ext cx="410798" cy="448894"/>
                  </a:xfrm>
                  <a:custGeom>
                    <a:avLst/>
                    <a:gdLst>
                      <a:gd name="T0" fmla="*/ 702 w 750"/>
                      <a:gd name="T1" fmla="*/ 211 h 861"/>
                      <a:gd name="T2" fmla="*/ 635 w 750"/>
                      <a:gd name="T3" fmla="*/ 243 h 861"/>
                      <a:gd name="T4" fmla="*/ 567 w 750"/>
                      <a:gd name="T5" fmla="*/ 320 h 861"/>
                      <a:gd name="T6" fmla="*/ 511 w 750"/>
                      <a:gd name="T7" fmla="*/ 370 h 861"/>
                      <a:gd name="T8" fmla="*/ 500 w 750"/>
                      <a:gd name="T9" fmla="*/ 388 h 861"/>
                      <a:gd name="T10" fmla="*/ 495 w 750"/>
                      <a:gd name="T11" fmla="*/ 476 h 861"/>
                      <a:gd name="T12" fmla="*/ 455 w 750"/>
                      <a:gd name="T13" fmla="*/ 502 h 861"/>
                      <a:gd name="T14" fmla="*/ 437 w 750"/>
                      <a:gd name="T15" fmla="*/ 532 h 861"/>
                      <a:gd name="T16" fmla="*/ 451 w 750"/>
                      <a:gd name="T17" fmla="*/ 555 h 861"/>
                      <a:gd name="T18" fmla="*/ 452 w 750"/>
                      <a:gd name="T19" fmla="*/ 592 h 861"/>
                      <a:gd name="T20" fmla="*/ 453 w 750"/>
                      <a:gd name="T21" fmla="*/ 647 h 861"/>
                      <a:gd name="T22" fmla="*/ 473 w 750"/>
                      <a:gd name="T23" fmla="*/ 692 h 861"/>
                      <a:gd name="T24" fmla="*/ 507 w 750"/>
                      <a:gd name="T25" fmla="*/ 712 h 861"/>
                      <a:gd name="T26" fmla="*/ 541 w 750"/>
                      <a:gd name="T27" fmla="*/ 729 h 861"/>
                      <a:gd name="T28" fmla="*/ 573 w 750"/>
                      <a:gd name="T29" fmla="*/ 766 h 861"/>
                      <a:gd name="T30" fmla="*/ 598 w 750"/>
                      <a:gd name="T31" fmla="*/ 772 h 861"/>
                      <a:gd name="T32" fmla="*/ 618 w 750"/>
                      <a:gd name="T33" fmla="*/ 808 h 861"/>
                      <a:gd name="T34" fmla="*/ 552 w 750"/>
                      <a:gd name="T35" fmla="*/ 851 h 861"/>
                      <a:gd name="T36" fmla="*/ 346 w 750"/>
                      <a:gd name="T37" fmla="*/ 858 h 861"/>
                      <a:gd name="T38" fmla="*/ 140 w 750"/>
                      <a:gd name="T39" fmla="*/ 861 h 861"/>
                      <a:gd name="T40" fmla="*/ 72 w 750"/>
                      <a:gd name="T41" fmla="*/ 598 h 861"/>
                      <a:gd name="T42" fmla="*/ 49 w 750"/>
                      <a:gd name="T43" fmla="*/ 582 h 861"/>
                      <a:gd name="T44" fmla="*/ 32 w 750"/>
                      <a:gd name="T45" fmla="*/ 547 h 861"/>
                      <a:gd name="T46" fmla="*/ 62 w 750"/>
                      <a:gd name="T47" fmla="*/ 503 h 861"/>
                      <a:gd name="T48" fmla="*/ 57 w 750"/>
                      <a:gd name="T49" fmla="*/ 448 h 861"/>
                      <a:gd name="T50" fmla="*/ 42 w 750"/>
                      <a:gd name="T51" fmla="*/ 407 h 861"/>
                      <a:gd name="T52" fmla="*/ 40 w 750"/>
                      <a:gd name="T53" fmla="*/ 367 h 861"/>
                      <a:gd name="T54" fmla="*/ 34 w 750"/>
                      <a:gd name="T55" fmla="*/ 311 h 861"/>
                      <a:gd name="T56" fmla="*/ 30 w 750"/>
                      <a:gd name="T57" fmla="*/ 248 h 861"/>
                      <a:gd name="T58" fmla="*/ 7 w 750"/>
                      <a:gd name="T59" fmla="*/ 176 h 861"/>
                      <a:gd name="T60" fmla="*/ 6 w 750"/>
                      <a:gd name="T61" fmla="*/ 122 h 861"/>
                      <a:gd name="T62" fmla="*/ 0 w 750"/>
                      <a:gd name="T63" fmla="*/ 58 h 861"/>
                      <a:gd name="T64" fmla="*/ 135 w 750"/>
                      <a:gd name="T65" fmla="*/ 56 h 861"/>
                      <a:gd name="T66" fmla="*/ 200 w 750"/>
                      <a:gd name="T67" fmla="*/ 52 h 861"/>
                      <a:gd name="T68" fmla="*/ 217 w 750"/>
                      <a:gd name="T69" fmla="*/ 1 h 861"/>
                      <a:gd name="T70" fmla="*/ 234 w 750"/>
                      <a:gd name="T71" fmla="*/ 28 h 861"/>
                      <a:gd name="T72" fmla="*/ 244 w 750"/>
                      <a:gd name="T73" fmla="*/ 82 h 861"/>
                      <a:gd name="T74" fmla="*/ 267 w 750"/>
                      <a:gd name="T75" fmla="*/ 97 h 861"/>
                      <a:gd name="T76" fmla="*/ 291 w 750"/>
                      <a:gd name="T77" fmla="*/ 103 h 861"/>
                      <a:gd name="T78" fmla="*/ 337 w 750"/>
                      <a:gd name="T79" fmla="*/ 123 h 861"/>
                      <a:gd name="T80" fmla="*/ 367 w 750"/>
                      <a:gd name="T81" fmla="*/ 110 h 861"/>
                      <a:gd name="T82" fmla="*/ 414 w 750"/>
                      <a:gd name="T83" fmla="*/ 106 h 861"/>
                      <a:gd name="T84" fmla="*/ 446 w 750"/>
                      <a:gd name="T85" fmla="*/ 117 h 861"/>
                      <a:gd name="T86" fmla="*/ 459 w 750"/>
                      <a:gd name="T87" fmla="*/ 130 h 861"/>
                      <a:gd name="T88" fmla="*/ 481 w 750"/>
                      <a:gd name="T89" fmla="*/ 148 h 861"/>
                      <a:gd name="T90" fmla="*/ 506 w 750"/>
                      <a:gd name="T91" fmla="*/ 145 h 861"/>
                      <a:gd name="T92" fmla="*/ 535 w 750"/>
                      <a:gd name="T93" fmla="*/ 165 h 861"/>
                      <a:gd name="T94" fmla="*/ 554 w 750"/>
                      <a:gd name="T95" fmla="*/ 185 h 861"/>
                      <a:gd name="T96" fmla="*/ 584 w 750"/>
                      <a:gd name="T97" fmla="*/ 180 h 861"/>
                      <a:gd name="T98" fmla="*/ 616 w 750"/>
                      <a:gd name="T99" fmla="*/ 155 h 861"/>
                      <a:gd name="T100" fmla="*/ 631 w 750"/>
                      <a:gd name="T101" fmla="*/ 172 h 861"/>
                      <a:gd name="T102" fmla="*/ 691 w 750"/>
                      <a:gd name="T103" fmla="*/ 166 h 861"/>
                      <a:gd name="T104" fmla="*/ 711 w 750"/>
                      <a:gd name="T105" fmla="*/ 181 h 861"/>
                      <a:gd name="T106" fmla="*/ 729 w 750"/>
                      <a:gd name="T107" fmla="*/ 178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0" h="861">
                        <a:moveTo>
                          <a:pt x="750" y="180"/>
                        </a:moveTo>
                        <a:lnTo>
                          <a:pt x="702" y="211"/>
                        </a:lnTo>
                        <a:lnTo>
                          <a:pt x="660" y="228"/>
                        </a:lnTo>
                        <a:lnTo>
                          <a:pt x="635" y="243"/>
                        </a:lnTo>
                        <a:lnTo>
                          <a:pt x="614" y="263"/>
                        </a:lnTo>
                        <a:lnTo>
                          <a:pt x="567" y="320"/>
                        </a:lnTo>
                        <a:lnTo>
                          <a:pt x="540" y="346"/>
                        </a:lnTo>
                        <a:lnTo>
                          <a:pt x="511" y="370"/>
                        </a:lnTo>
                        <a:lnTo>
                          <a:pt x="510" y="374"/>
                        </a:lnTo>
                        <a:lnTo>
                          <a:pt x="500" y="388"/>
                        </a:lnTo>
                        <a:lnTo>
                          <a:pt x="492" y="391"/>
                        </a:lnTo>
                        <a:lnTo>
                          <a:pt x="495" y="476"/>
                        </a:lnTo>
                        <a:lnTo>
                          <a:pt x="489" y="485"/>
                        </a:lnTo>
                        <a:lnTo>
                          <a:pt x="455" y="502"/>
                        </a:lnTo>
                        <a:lnTo>
                          <a:pt x="446" y="522"/>
                        </a:lnTo>
                        <a:lnTo>
                          <a:pt x="437" y="532"/>
                        </a:lnTo>
                        <a:lnTo>
                          <a:pt x="437" y="552"/>
                        </a:lnTo>
                        <a:lnTo>
                          <a:pt x="451" y="555"/>
                        </a:lnTo>
                        <a:lnTo>
                          <a:pt x="461" y="571"/>
                        </a:lnTo>
                        <a:lnTo>
                          <a:pt x="452" y="592"/>
                        </a:lnTo>
                        <a:lnTo>
                          <a:pt x="448" y="625"/>
                        </a:lnTo>
                        <a:lnTo>
                          <a:pt x="453" y="647"/>
                        </a:lnTo>
                        <a:lnTo>
                          <a:pt x="448" y="671"/>
                        </a:lnTo>
                        <a:lnTo>
                          <a:pt x="473" y="692"/>
                        </a:lnTo>
                        <a:lnTo>
                          <a:pt x="493" y="696"/>
                        </a:lnTo>
                        <a:lnTo>
                          <a:pt x="507" y="712"/>
                        </a:lnTo>
                        <a:lnTo>
                          <a:pt x="525" y="716"/>
                        </a:lnTo>
                        <a:lnTo>
                          <a:pt x="541" y="729"/>
                        </a:lnTo>
                        <a:lnTo>
                          <a:pt x="555" y="751"/>
                        </a:lnTo>
                        <a:lnTo>
                          <a:pt x="573" y="766"/>
                        </a:lnTo>
                        <a:lnTo>
                          <a:pt x="586" y="767"/>
                        </a:lnTo>
                        <a:lnTo>
                          <a:pt x="598" y="772"/>
                        </a:lnTo>
                        <a:lnTo>
                          <a:pt x="612" y="787"/>
                        </a:lnTo>
                        <a:lnTo>
                          <a:pt x="618" y="808"/>
                        </a:lnTo>
                        <a:lnTo>
                          <a:pt x="621" y="847"/>
                        </a:lnTo>
                        <a:lnTo>
                          <a:pt x="552" y="851"/>
                        </a:lnTo>
                        <a:lnTo>
                          <a:pt x="449" y="855"/>
                        </a:lnTo>
                        <a:lnTo>
                          <a:pt x="346" y="858"/>
                        </a:lnTo>
                        <a:lnTo>
                          <a:pt x="242" y="860"/>
                        </a:lnTo>
                        <a:lnTo>
                          <a:pt x="140" y="861"/>
                        </a:lnTo>
                        <a:lnTo>
                          <a:pt x="71" y="861"/>
                        </a:lnTo>
                        <a:lnTo>
                          <a:pt x="72" y="598"/>
                        </a:lnTo>
                        <a:lnTo>
                          <a:pt x="61" y="585"/>
                        </a:lnTo>
                        <a:lnTo>
                          <a:pt x="49" y="582"/>
                        </a:lnTo>
                        <a:lnTo>
                          <a:pt x="30" y="553"/>
                        </a:lnTo>
                        <a:lnTo>
                          <a:pt x="32" y="547"/>
                        </a:lnTo>
                        <a:lnTo>
                          <a:pt x="54" y="530"/>
                        </a:lnTo>
                        <a:lnTo>
                          <a:pt x="62" y="503"/>
                        </a:lnTo>
                        <a:lnTo>
                          <a:pt x="62" y="480"/>
                        </a:lnTo>
                        <a:lnTo>
                          <a:pt x="57" y="448"/>
                        </a:lnTo>
                        <a:lnTo>
                          <a:pt x="47" y="432"/>
                        </a:lnTo>
                        <a:lnTo>
                          <a:pt x="42" y="407"/>
                        </a:lnTo>
                        <a:lnTo>
                          <a:pt x="39" y="401"/>
                        </a:lnTo>
                        <a:lnTo>
                          <a:pt x="40" y="367"/>
                        </a:lnTo>
                        <a:lnTo>
                          <a:pt x="36" y="348"/>
                        </a:lnTo>
                        <a:lnTo>
                          <a:pt x="34" y="311"/>
                        </a:lnTo>
                        <a:lnTo>
                          <a:pt x="34" y="277"/>
                        </a:lnTo>
                        <a:lnTo>
                          <a:pt x="30" y="248"/>
                        </a:lnTo>
                        <a:lnTo>
                          <a:pt x="21" y="228"/>
                        </a:lnTo>
                        <a:lnTo>
                          <a:pt x="7" y="176"/>
                        </a:lnTo>
                        <a:lnTo>
                          <a:pt x="9" y="138"/>
                        </a:lnTo>
                        <a:lnTo>
                          <a:pt x="6" y="122"/>
                        </a:lnTo>
                        <a:lnTo>
                          <a:pt x="11" y="105"/>
                        </a:lnTo>
                        <a:lnTo>
                          <a:pt x="0" y="58"/>
                        </a:lnTo>
                        <a:lnTo>
                          <a:pt x="0" y="55"/>
                        </a:lnTo>
                        <a:lnTo>
                          <a:pt x="135" y="56"/>
                        </a:lnTo>
                        <a:lnTo>
                          <a:pt x="199" y="55"/>
                        </a:lnTo>
                        <a:lnTo>
                          <a:pt x="200" y="52"/>
                        </a:lnTo>
                        <a:lnTo>
                          <a:pt x="200" y="0"/>
                        </a:lnTo>
                        <a:lnTo>
                          <a:pt x="217" y="1"/>
                        </a:lnTo>
                        <a:lnTo>
                          <a:pt x="232" y="11"/>
                        </a:lnTo>
                        <a:lnTo>
                          <a:pt x="234" y="28"/>
                        </a:lnTo>
                        <a:lnTo>
                          <a:pt x="244" y="66"/>
                        </a:lnTo>
                        <a:lnTo>
                          <a:pt x="244" y="82"/>
                        </a:lnTo>
                        <a:lnTo>
                          <a:pt x="256" y="93"/>
                        </a:lnTo>
                        <a:lnTo>
                          <a:pt x="267" y="97"/>
                        </a:lnTo>
                        <a:lnTo>
                          <a:pt x="284" y="95"/>
                        </a:lnTo>
                        <a:lnTo>
                          <a:pt x="291" y="103"/>
                        </a:lnTo>
                        <a:lnTo>
                          <a:pt x="326" y="106"/>
                        </a:lnTo>
                        <a:lnTo>
                          <a:pt x="337" y="123"/>
                        </a:lnTo>
                        <a:lnTo>
                          <a:pt x="364" y="118"/>
                        </a:lnTo>
                        <a:lnTo>
                          <a:pt x="367" y="110"/>
                        </a:lnTo>
                        <a:lnTo>
                          <a:pt x="386" y="105"/>
                        </a:lnTo>
                        <a:lnTo>
                          <a:pt x="414" y="106"/>
                        </a:lnTo>
                        <a:lnTo>
                          <a:pt x="422" y="111"/>
                        </a:lnTo>
                        <a:lnTo>
                          <a:pt x="446" y="117"/>
                        </a:lnTo>
                        <a:lnTo>
                          <a:pt x="441" y="131"/>
                        </a:lnTo>
                        <a:lnTo>
                          <a:pt x="459" y="130"/>
                        </a:lnTo>
                        <a:lnTo>
                          <a:pt x="474" y="161"/>
                        </a:lnTo>
                        <a:lnTo>
                          <a:pt x="481" y="148"/>
                        </a:lnTo>
                        <a:lnTo>
                          <a:pt x="495" y="142"/>
                        </a:lnTo>
                        <a:lnTo>
                          <a:pt x="506" y="145"/>
                        </a:lnTo>
                        <a:lnTo>
                          <a:pt x="515" y="160"/>
                        </a:lnTo>
                        <a:lnTo>
                          <a:pt x="535" y="165"/>
                        </a:lnTo>
                        <a:lnTo>
                          <a:pt x="542" y="177"/>
                        </a:lnTo>
                        <a:lnTo>
                          <a:pt x="554" y="185"/>
                        </a:lnTo>
                        <a:lnTo>
                          <a:pt x="569" y="185"/>
                        </a:lnTo>
                        <a:lnTo>
                          <a:pt x="584" y="180"/>
                        </a:lnTo>
                        <a:lnTo>
                          <a:pt x="602" y="163"/>
                        </a:lnTo>
                        <a:lnTo>
                          <a:pt x="616" y="155"/>
                        </a:lnTo>
                        <a:lnTo>
                          <a:pt x="625" y="155"/>
                        </a:lnTo>
                        <a:lnTo>
                          <a:pt x="631" y="172"/>
                        </a:lnTo>
                        <a:lnTo>
                          <a:pt x="656" y="173"/>
                        </a:lnTo>
                        <a:lnTo>
                          <a:pt x="691" y="166"/>
                        </a:lnTo>
                        <a:lnTo>
                          <a:pt x="701" y="168"/>
                        </a:lnTo>
                        <a:lnTo>
                          <a:pt x="711" y="181"/>
                        </a:lnTo>
                        <a:lnTo>
                          <a:pt x="719" y="183"/>
                        </a:lnTo>
                        <a:lnTo>
                          <a:pt x="729" y="178"/>
                        </a:lnTo>
                        <a:lnTo>
                          <a:pt x="750" y="18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4" name="Montana" descr="{&quot;Key&quot;:&quot;montana&quot;,&quot;Name&quot;:&quot;Montana&quot;,&quot;Value&quot;:1.0,&quot;Formula&quot;:&quot;&quot;,&quot;Text&quot;:&quot;&quot;,&quot;OfficeApplication&quot;:1,&quot;HasValue&quot;:true}">
                    <a:extLst>
                      <a:ext uri="{FF2B5EF4-FFF2-40B4-BE49-F238E27FC236}">
                        <a16:creationId xmlns:a16="http://schemas.microsoft.com/office/drawing/2014/main" id="{CFC78174-9A7A-2589-A0FF-4D0C3E82840A}"/>
                      </a:ext>
                    </a:extLst>
                  </p:cNvPr>
                  <p:cNvSpPr>
                    <a:spLocks/>
                  </p:cNvSpPr>
                  <p:nvPr/>
                </p:nvSpPr>
                <p:spPr bwMode="auto">
                  <a:xfrm>
                    <a:off x="5765360" y="3874670"/>
                    <a:ext cx="613705" cy="402304"/>
                  </a:xfrm>
                  <a:custGeom>
                    <a:avLst/>
                    <a:gdLst>
                      <a:gd name="T0" fmla="*/ 1141 w 1180"/>
                      <a:gd name="T1" fmla="*/ 625 h 763"/>
                      <a:gd name="T2" fmla="*/ 1127 w 1180"/>
                      <a:gd name="T3" fmla="*/ 763 h 763"/>
                      <a:gd name="T4" fmla="*/ 950 w 1180"/>
                      <a:gd name="T5" fmla="*/ 745 h 763"/>
                      <a:gd name="T6" fmla="*/ 738 w 1180"/>
                      <a:gd name="T7" fmla="*/ 720 h 763"/>
                      <a:gd name="T8" fmla="*/ 493 w 1180"/>
                      <a:gd name="T9" fmla="*/ 685 h 763"/>
                      <a:gd name="T10" fmla="*/ 398 w 1180"/>
                      <a:gd name="T11" fmla="*/ 744 h 763"/>
                      <a:gd name="T12" fmla="*/ 378 w 1180"/>
                      <a:gd name="T13" fmla="*/ 705 h 763"/>
                      <a:gd name="T14" fmla="*/ 353 w 1180"/>
                      <a:gd name="T15" fmla="*/ 729 h 763"/>
                      <a:gd name="T16" fmla="*/ 322 w 1180"/>
                      <a:gd name="T17" fmla="*/ 726 h 763"/>
                      <a:gd name="T18" fmla="*/ 293 w 1180"/>
                      <a:gd name="T19" fmla="*/ 719 h 763"/>
                      <a:gd name="T20" fmla="*/ 270 w 1180"/>
                      <a:gd name="T21" fmla="*/ 715 h 763"/>
                      <a:gd name="T22" fmla="*/ 232 w 1180"/>
                      <a:gd name="T23" fmla="*/ 712 h 763"/>
                      <a:gd name="T24" fmla="*/ 205 w 1180"/>
                      <a:gd name="T25" fmla="*/ 720 h 763"/>
                      <a:gd name="T26" fmla="*/ 198 w 1180"/>
                      <a:gd name="T27" fmla="*/ 685 h 763"/>
                      <a:gd name="T28" fmla="*/ 173 w 1180"/>
                      <a:gd name="T29" fmla="*/ 659 h 763"/>
                      <a:gd name="T30" fmla="*/ 168 w 1180"/>
                      <a:gd name="T31" fmla="*/ 627 h 763"/>
                      <a:gd name="T32" fmla="*/ 148 w 1180"/>
                      <a:gd name="T33" fmla="*/ 577 h 763"/>
                      <a:gd name="T34" fmla="*/ 135 w 1180"/>
                      <a:gd name="T35" fmla="*/ 517 h 763"/>
                      <a:gd name="T36" fmla="*/ 92 w 1180"/>
                      <a:gd name="T37" fmla="*/ 540 h 763"/>
                      <a:gd name="T38" fmla="*/ 73 w 1180"/>
                      <a:gd name="T39" fmla="*/ 523 h 763"/>
                      <a:gd name="T40" fmla="*/ 79 w 1180"/>
                      <a:gd name="T41" fmla="*/ 493 h 763"/>
                      <a:gd name="T42" fmla="*/ 99 w 1180"/>
                      <a:gd name="T43" fmla="*/ 466 h 763"/>
                      <a:gd name="T44" fmla="*/ 102 w 1180"/>
                      <a:gd name="T45" fmla="*/ 436 h 763"/>
                      <a:gd name="T46" fmla="*/ 121 w 1180"/>
                      <a:gd name="T47" fmla="*/ 390 h 763"/>
                      <a:gd name="T48" fmla="*/ 124 w 1180"/>
                      <a:gd name="T49" fmla="*/ 368 h 763"/>
                      <a:gd name="T50" fmla="*/ 100 w 1180"/>
                      <a:gd name="T51" fmla="*/ 356 h 763"/>
                      <a:gd name="T52" fmla="*/ 76 w 1180"/>
                      <a:gd name="T53" fmla="*/ 323 h 763"/>
                      <a:gd name="T54" fmla="*/ 46 w 1180"/>
                      <a:gd name="T55" fmla="*/ 263 h 763"/>
                      <a:gd name="T56" fmla="*/ 26 w 1180"/>
                      <a:gd name="T57" fmla="*/ 240 h 763"/>
                      <a:gd name="T58" fmla="*/ 24 w 1180"/>
                      <a:gd name="T59" fmla="*/ 225 h 763"/>
                      <a:gd name="T60" fmla="*/ 24 w 1180"/>
                      <a:gd name="T61" fmla="*/ 208 h 763"/>
                      <a:gd name="T62" fmla="*/ 15 w 1180"/>
                      <a:gd name="T63" fmla="*/ 179 h 763"/>
                      <a:gd name="T64" fmla="*/ 0 w 1180"/>
                      <a:gd name="T65" fmla="*/ 143 h 763"/>
                      <a:gd name="T66" fmla="*/ 115 w 1180"/>
                      <a:gd name="T67" fmla="*/ 18 h 763"/>
                      <a:gd name="T68" fmla="*/ 323 w 1180"/>
                      <a:gd name="T69" fmla="*/ 60 h 763"/>
                      <a:gd name="T70" fmla="*/ 532 w 1180"/>
                      <a:gd name="T71" fmla="*/ 98 h 763"/>
                      <a:gd name="T72" fmla="*/ 701 w 1180"/>
                      <a:gd name="T73" fmla="*/ 123 h 763"/>
                      <a:gd name="T74" fmla="*/ 870 w 1180"/>
                      <a:gd name="T75" fmla="*/ 146 h 763"/>
                      <a:gd name="T76" fmla="*/ 1061 w 1180"/>
                      <a:gd name="T77" fmla="*/ 16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0" h="763">
                        <a:moveTo>
                          <a:pt x="1180" y="179"/>
                        </a:moveTo>
                        <a:lnTo>
                          <a:pt x="1141" y="625"/>
                        </a:lnTo>
                        <a:lnTo>
                          <a:pt x="1130" y="763"/>
                        </a:lnTo>
                        <a:lnTo>
                          <a:pt x="1127" y="763"/>
                        </a:lnTo>
                        <a:lnTo>
                          <a:pt x="1051" y="756"/>
                        </a:lnTo>
                        <a:lnTo>
                          <a:pt x="950" y="745"/>
                        </a:lnTo>
                        <a:lnTo>
                          <a:pt x="805" y="729"/>
                        </a:lnTo>
                        <a:lnTo>
                          <a:pt x="738" y="720"/>
                        </a:lnTo>
                        <a:lnTo>
                          <a:pt x="593" y="700"/>
                        </a:lnTo>
                        <a:lnTo>
                          <a:pt x="493" y="685"/>
                        </a:lnTo>
                        <a:lnTo>
                          <a:pt x="411" y="671"/>
                        </a:lnTo>
                        <a:lnTo>
                          <a:pt x="398" y="744"/>
                        </a:lnTo>
                        <a:lnTo>
                          <a:pt x="385" y="726"/>
                        </a:lnTo>
                        <a:lnTo>
                          <a:pt x="378" y="705"/>
                        </a:lnTo>
                        <a:lnTo>
                          <a:pt x="363" y="704"/>
                        </a:lnTo>
                        <a:lnTo>
                          <a:pt x="353" y="729"/>
                        </a:lnTo>
                        <a:lnTo>
                          <a:pt x="336" y="722"/>
                        </a:lnTo>
                        <a:lnTo>
                          <a:pt x="322" y="726"/>
                        </a:lnTo>
                        <a:lnTo>
                          <a:pt x="316" y="720"/>
                        </a:lnTo>
                        <a:lnTo>
                          <a:pt x="293" y="719"/>
                        </a:lnTo>
                        <a:lnTo>
                          <a:pt x="278" y="712"/>
                        </a:lnTo>
                        <a:lnTo>
                          <a:pt x="270" y="715"/>
                        </a:lnTo>
                        <a:lnTo>
                          <a:pt x="263" y="724"/>
                        </a:lnTo>
                        <a:lnTo>
                          <a:pt x="232" y="712"/>
                        </a:lnTo>
                        <a:lnTo>
                          <a:pt x="215" y="721"/>
                        </a:lnTo>
                        <a:lnTo>
                          <a:pt x="205" y="720"/>
                        </a:lnTo>
                        <a:lnTo>
                          <a:pt x="198" y="712"/>
                        </a:lnTo>
                        <a:lnTo>
                          <a:pt x="198" y="685"/>
                        </a:lnTo>
                        <a:lnTo>
                          <a:pt x="188" y="660"/>
                        </a:lnTo>
                        <a:lnTo>
                          <a:pt x="173" y="659"/>
                        </a:lnTo>
                        <a:lnTo>
                          <a:pt x="162" y="636"/>
                        </a:lnTo>
                        <a:lnTo>
                          <a:pt x="168" y="627"/>
                        </a:lnTo>
                        <a:lnTo>
                          <a:pt x="163" y="607"/>
                        </a:lnTo>
                        <a:lnTo>
                          <a:pt x="148" y="577"/>
                        </a:lnTo>
                        <a:lnTo>
                          <a:pt x="148" y="536"/>
                        </a:lnTo>
                        <a:lnTo>
                          <a:pt x="135" y="517"/>
                        </a:lnTo>
                        <a:lnTo>
                          <a:pt x="116" y="532"/>
                        </a:lnTo>
                        <a:lnTo>
                          <a:pt x="92" y="540"/>
                        </a:lnTo>
                        <a:lnTo>
                          <a:pt x="82" y="526"/>
                        </a:lnTo>
                        <a:lnTo>
                          <a:pt x="73" y="523"/>
                        </a:lnTo>
                        <a:lnTo>
                          <a:pt x="82" y="505"/>
                        </a:lnTo>
                        <a:lnTo>
                          <a:pt x="79" y="493"/>
                        </a:lnTo>
                        <a:lnTo>
                          <a:pt x="99" y="480"/>
                        </a:lnTo>
                        <a:lnTo>
                          <a:pt x="99" y="466"/>
                        </a:lnTo>
                        <a:lnTo>
                          <a:pt x="94" y="455"/>
                        </a:lnTo>
                        <a:lnTo>
                          <a:pt x="102" y="436"/>
                        </a:lnTo>
                        <a:lnTo>
                          <a:pt x="102" y="425"/>
                        </a:lnTo>
                        <a:lnTo>
                          <a:pt x="121" y="390"/>
                        </a:lnTo>
                        <a:lnTo>
                          <a:pt x="126" y="375"/>
                        </a:lnTo>
                        <a:lnTo>
                          <a:pt x="124" y="368"/>
                        </a:lnTo>
                        <a:lnTo>
                          <a:pt x="102" y="369"/>
                        </a:lnTo>
                        <a:lnTo>
                          <a:pt x="100" y="356"/>
                        </a:lnTo>
                        <a:lnTo>
                          <a:pt x="75" y="334"/>
                        </a:lnTo>
                        <a:lnTo>
                          <a:pt x="76" y="323"/>
                        </a:lnTo>
                        <a:lnTo>
                          <a:pt x="50" y="275"/>
                        </a:lnTo>
                        <a:lnTo>
                          <a:pt x="46" y="263"/>
                        </a:lnTo>
                        <a:lnTo>
                          <a:pt x="31" y="253"/>
                        </a:lnTo>
                        <a:lnTo>
                          <a:pt x="26" y="240"/>
                        </a:lnTo>
                        <a:lnTo>
                          <a:pt x="15" y="231"/>
                        </a:lnTo>
                        <a:lnTo>
                          <a:pt x="24" y="225"/>
                        </a:lnTo>
                        <a:lnTo>
                          <a:pt x="16" y="213"/>
                        </a:lnTo>
                        <a:lnTo>
                          <a:pt x="24" y="208"/>
                        </a:lnTo>
                        <a:lnTo>
                          <a:pt x="22" y="193"/>
                        </a:lnTo>
                        <a:lnTo>
                          <a:pt x="15" y="179"/>
                        </a:lnTo>
                        <a:lnTo>
                          <a:pt x="13" y="169"/>
                        </a:lnTo>
                        <a:lnTo>
                          <a:pt x="0" y="143"/>
                        </a:lnTo>
                        <a:lnTo>
                          <a:pt x="32" y="0"/>
                        </a:lnTo>
                        <a:lnTo>
                          <a:pt x="115" y="18"/>
                        </a:lnTo>
                        <a:lnTo>
                          <a:pt x="220" y="40"/>
                        </a:lnTo>
                        <a:lnTo>
                          <a:pt x="323" y="60"/>
                        </a:lnTo>
                        <a:lnTo>
                          <a:pt x="448" y="83"/>
                        </a:lnTo>
                        <a:lnTo>
                          <a:pt x="532" y="98"/>
                        </a:lnTo>
                        <a:lnTo>
                          <a:pt x="608" y="109"/>
                        </a:lnTo>
                        <a:lnTo>
                          <a:pt x="701" y="123"/>
                        </a:lnTo>
                        <a:lnTo>
                          <a:pt x="786" y="135"/>
                        </a:lnTo>
                        <a:lnTo>
                          <a:pt x="870" y="146"/>
                        </a:lnTo>
                        <a:lnTo>
                          <a:pt x="976" y="159"/>
                        </a:lnTo>
                        <a:lnTo>
                          <a:pt x="1061" y="168"/>
                        </a:lnTo>
                        <a:lnTo>
                          <a:pt x="1180" y="179"/>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5" name="Arizona" descr="{&quot;Key&quot;:&quot;arizona&quot;,&quot;Name&quot;:&quot;Arizona&quot;,&quot;Value&quot;:1.0,&quot;Formula&quot;:&quot;&quot;,&quot;Text&quot;:&quot;&quot;,&quot;OfficeApplication&quot;:1,&quot;HasValue&quot;:true}">
                    <a:extLst>
                      <a:ext uri="{FF2B5EF4-FFF2-40B4-BE49-F238E27FC236}">
                        <a16:creationId xmlns:a16="http://schemas.microsoft.com/office/drawing/2014/main" id="{D8B4A44C-4904-A1F9-356B-B774DD5CA52F}"/>
                      </a:ext>
                    </a:extLst>
                  </p:cNvPr>
                  <p:cNvSpPr>
                    <a:spLocks/>
                  </p:cNvSpPr>
                  <p:nvPr/>
                </p:nvSpPr>
                <p:spPr bwMode="auto">
                  <a:xfrm>
                    <a:off x="5600851" y="4798437"/>
                    <a:ext cx="414197" cy="479253"/>
                  </a:xfrm>
                  <a:custGeom>
                    <a:avLst/>
                    <a:gdLst>
                      <a:gd name="T0" fmla="*/ 795 w 795"/>
                      <a:gd name="T1" fmla="*/ 100 h 919"/>
                      <a:gd name="T2" fmla="*/ 676 w 795"/>
                      <a:gd name="T3" fmla="*/ 919 h 919"/>
                      <a:gd name="T4" fmla="*/ 562 w 795"/>
                      <a:gd name="T5" fmla="*/ 903 h 919"/>
                      <a:gd name="T6" fmla="*/ 433 w 795"/>
                      <a:gd name="T7" fmla="*/ 882 h 919"/>
                      <a:gd name="T8" fmla="*/ 427 w 795"/>
                      <a:gd name="T9" fmla="*/ 879 h 919"/>
                      <a:gd name="T10" fmla="*/ 282 w 795"/>
                      <a:gd name="T11" fmla="*/ 795 h 919"/>
                      <a:gd name="T12" fmla="*/ 188 w 795"/>
                      <a:gd name="T13" fmla="*/ 740 h 919"/>
                      <a:gd name="T14" fmla="*/ 96 w 795"/>
                      <a:gd name="T15" fmla="*/ 684 h 919"/>
                      <a:gd name="T16" fmla="*/ 0 w 795"/>
                      <a:gd name="T17" fmla="*/ 625 h 919"/>
                      <a:gd name="T18" fmla="*/ 5 w 795"/>
                      <a:gd name="T19" fmla="*/ 611 h 919"/>
                      <a:gd name="T20" fmla="*/ 18 w 795"/>
                      <a:gd name="T21" fmla="*/ 596 h 919"/>
                      <a:gd name="T22" fmla="*/ 23 w 795"/>
                      <a:gd name="T23" fmla="*/ 593 h 919"/>
                      <a:gd name="T24" fmla="*/ 41 w 795"/>
                      <a:gd name="T25" fmla="*/ 598 h 919"/>
                      <a:gd name="T26" fmla="*/ 45 w 795"/>
                      <a:gd name="T27" fmla="*/ 589 h 919"/>
                      <a:gd name="T28" fmla="*/ 55 w 795"/>
                      <a:gd name="T29" fmla="*/ 580 h 919"/>
                      <a:gd name="T30" fmla="*/ 56 w 795"/>
                      <a:gd name="T31" fmla="*/ 564 h 919"/>
                      <a:gd name="T32" fmla="*/ 50 w 795"/>
                      <a:gd name="T33" fmla="*/ 555 h 919"/>
                      <a:gd name="T34" fmla="*/ 40 w 795"/>
                      <a:gd name="T35" fmla="*/ 553 h 919"/>
                      <a:gd name="T36" fmla="*/ 32 w 795"/>
                      <a:gd name="T37" fmla="*/ 544 h 919"/>
                      <a:gd name="T38" fmla="*/ 38 w 795"/>
                      <a:gd name="T39" fmla="*/ 528 h 919"/>
                      <a:gd name="T40" fmla="*/ 36 w 795"/>
                      <a:gd name="T41" fmla="*/ 513 h 919"/>
                      <a:gd name="T42" fmla="*/ 40 w 795"/>
                      <a:gd name="T43" fmla="*/ 496 h 919"/>
                      <a:gd name="T44" fmla="*/ 51 w 795"/>
                      <a:gd name="T45" fmla="*/ 495 h 919"/>
                      <a:gd name="T46" fmla="*/ 66 w 795"/>
                      <a:gd name="T47" fmla="*/ 480 h 919"/>
                      <a:gd name="T48" fmla="*/ 75 w 795"/>
                      <a:gd name="T49" fmla="*/ 454 h 919"/>
                      <a:gd name="T50" fmla="*/ 78 w 795"/>
                      <a:gd name="T51" fmla="*/ 426 h 919"/>
                      <a:gd name="T52" fmla="*/ 95 w 795"/>
                      <a:gd name="T53" fmla="*/ 414 h 919"/>
                      <a:gd name="T54" fmla="*/ 101 w 795"/>
                      <a:gd name="T55" fmla="*/ 404 h 919"/>
                      <a:gd name="T56" fmla="*/ 118 w 795"/>
                      <a:gd name="T57" fmla="*/ 396 h 919"/>
                      <a:gd name="T58" fmla="*/ 135 w 795"/>
                      <a:gd name="T59" fmla="*/ 388 h 919"/>
                      <a:gd name="T60" fmla="*/ 137 w 795"/>
                      <a:gd name="T61" fmla="*/ 380 h 919"/>
                      <a:gd name="T62" fmla="*/ 112 w 795"/>
                      <a:gd name="T63" fmla="*/ 355 h 919"/>
                      <a:gd name="T64" fmla="*/ 115 w 795"/>
                      <a:gd name="T65" fmla="*/ 346 h 919"/>
                      <a:gd name="T66" fmla="*/ 106 w 795"/>
                      <a:gd name="T67" fmla="*/ 311 h 919"/>
                      <a:gd name="T68" fmla="*/ 101 w 795"/>
                      <a:gd name="T69" fmla="*/ 308 h 919"/>
                      <a:gd name="T70" fmla="*/ 95 w 795"/>
                      <a:gd name="T71" fmla="*/ 290 h 919"/>
                      <a:gd name="T72" fmla="*/ 97 w 795"/>
                      <a:gd name="T73" fmla="*/ 271 h 919"/>
                      <a:gd name="T74" fmla="*/ 101 w 795"/>
                      <a:gd name="T75" fmla="*/ 253 h 919"/>
                      <a:gd name="T76" fmla="*/ 110 w 795"/>
                      <a:gd name="T77" fmla="*/ 246 h 919"/>
                      <a:gd name="T78" fmla="*/ 112 w 795"/>
                      <a:gd name="T79" fmla="*/ 223 h 919"/>
                      <a:gd name="T80" fmla="*/ 108 w 795"/>
                      <a:gd name="T81" fmla="*/ 198 h 919"/>
                      <a:gd name="T82" fmla="*/ 115 w 795"/>
                      <a:gd name="T83" fmla="*/ 183 h 919"/>
                      <a:gd name="T84" fmla="*/ 112 w 795"/>
                      <a:gd name="T85" fmla="*/ 169 h 919"/>
                      <a:gd name="T86" fmla="*/ 118 w 795"/>
                      <a:gd name="T87" fmla="*/ 146 h 919"/>
                      <a:gd name="T88" fmla="*/ 113 w 795"/>
                      <a:gd name="T89" fmla="*/ 129 h 919"/>
                      <a:gd name="T90" fmla="*/ 118 w 795"/>
                      <a:gd name="T91" fmla="*/ 114 h 919"/>
                      <a:gd name="T92" fmla="*/ 140 w 795"/>
                      <a:gd name="T93" fmla="*/ 109 h 919"/>
                      <a:gd name="T94" fmla="*/ 153 w 795"/>
                      <a:gd name="T95" fmla="*/ 116 h 919"/>
                      <a:gd name="T96" fmla="*/ 163 w 795"/>
                      <a:gd name="T97" fmla="*/ 116 h 919"/>
                      <a:gd name="T98" fmla="*/ 173 w 795"/>
                      <a:gd name="T99" fmla="*/ 135 h 919"/>
                      <a:gd name="T100" fmla="*/ 186 w 795"/>
                      <a:gd name="T101" fmla="*/ 135 h 919"/>
                      <a:gd name="T102" fmla="*/ 201 w 795"/>
                      <a:gd name="T103" fmla="*/ 113 h 919"/>
                      <a:gd name="T104" fmla="*/ 223 w 795"/>
                      <a:gd name="T105" fmla="*/ 0 h 919"/>
                      <a:gd name="T106" fmla="*/ 295 w 795"/>
                      <a:gd name="T107" fmla="*/ 15 h 919"/>
                      <a:gd name="T108" fmla="*/ 401 w 795"/>
                      <a:gd name="T109" fmla="*/ 35 h 919"/>
                      <a:gd name="T110" fmla="*/ 545 w 795"/>
                      <a:gd name="T111" fmla="*/ 60 h 919"/>
                      <a:gd name="T112" fmla="*/ 704 w 795"/>
                      <a:gd name="T113" fmla="*/ 86 h 919"/>
                      <a:gd name="T114" fmla="*/ 795 w 795"/>
                      <a:gd name="T115" fmla="*/ 10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5" h="919">
                        <a:moveTo>
                          <a:pt x="795" y="100"/>
                        </a:moveTo>
                        <a:lnTo>
                          <a:pt x="676" y="919"/>
                        </a:lnTo>
                        <a:lnTo>
                          <a:pt x="562" y="903"/>
                        </a:lnTo>
                        <a:lnTo>
                          <a:pt x="433" y="882"/>
                        </a:lnTo>
                        <a:lnTo>
                          <a:pt x="427" y="879"/>
                        </a:lnTo>
                        <a:lnTo>
                          <a:pt x="282" y="795"/>
                        </a:lnTo>
                        <a:lnTo>
                          <a:pt x="188" y="740"/>
                        </a:lnTo>
                        <a:lnTo>
                          <a:pt x="96" y="684"/>
                        </a:lnTo>
                        <a:lnTo>
                          <a:pt x="0" y="625"/>
                        </a:lnTo>
                        <a:lnTo>
                          <a:pt x="5" y="611"/>
                        </a:lnTo>
                        <a:lnTo>
                          <a:pt x="18" y="596"/>
                        </a:lnTo>
                        <a:lnTo>
                          <a:pt x="23" y="593"/>
                        </a:lnTo>
                        <a:lnTo>
                          <a:pt x="41" y="598"/>
                        </a:lnTo>
                        <a:lnTo>
                          <a:pt x="45" y="589"/>
                        </a:lnTo>
                        <a:lnTo>
                          <a:pt x="55" y="580"/>
                        </a:lnTo>
                        <a:lnTo>
                          <a:pt x="56" y="564"/>
                        </a:lnTo>
                        <a:lnTo>
                          <a:pt x="50" y="555"/>
                        </a:lnTo>
                        <a:lnTo>
                          <a:pt x="40" y="553"/>
                        </a:lnTo>
                        <a:lnTo>
                          <a:pt x="32" y="544"/>
                        </a:lnTo>
                        <a:lnTo>
                          <a:pt x="38" y="528"/>
                        </a:lnTo>
                        <a:lnTo>
                          <a:pt x="36" y="513"/>
                        </a:lnTo>
                        <a:lnTo>
                          <a:pt x="40" y="496"/>
                        </a:lnTo>
                        <a:lnTo>
                          <a:pt x="51" y="495"/>
                        </a:lnTo>
                        <a:lnTo>
                          <a:pt x="66" y="480"/>
                        </a:lnTo>
                        <a:lnTo>
                          <a:pt x="75" y="454"/>
                        </a:lnTo>
                        <a:lnTo>
                          <a:pt x="78" y="426"/>
                        </a:lnTo>
                        <a:lnTo>
                          <a:pt x="95" y="414"/>
                        </a:lnTo>
                        <a:lnTo>
                          <a:pt x="101" y="404"/>
                        </a:lnTo>
                        <a:lnTo>
                          <a:pt x="118" y="396"/>
                        </a:lnTo>
                        <a:lnTo>
                          <a:pt x="135" y="388"/>
                        </a:lnTo>
                        <a:lnTo>
                          <a:pt x="137" y="380"/>
                        </a:lnTo>
                        <a:lnTo>
                          <a:pt x="112" y="355"/>
                        </a:lnTo>
                        <a:lnTo>
                          <a:pt x="115" y="346"/>
                        </a:lnTo>
                        <a:lnTo>
                          <a:pt x="106" y="311"/>
                        </a:lnTo>
                        <a:lnTo>
                          <a:pt x="101" y="308"/>
                        </a:lnTo>
                        <a:lnTo>
                          <a:pt x="95" y="290"/>
                        </a:lnTo>
                        <a:lnTo>
                          <a:pt x="97" y="271"/>
                        </a:lnTo>
                        <a:lnTo>
                          <a:pt x="101" y="253"/>
                        </a:lnTo>
                        <a:lnTo>
                          <a:pt x="110" y="246"/>
                        </a:lnTo>
                        <a:lnTo>
                          <a:pt x="112" y="223"/>
                        </a:lnTo>
                        <a:lnTo>
                          <a:pt x="108" y="198"/>
                        </a:lnTo>
                        <a:lnTo>
                          <a:pt x="115" y="183"/>
                        </a:lnTo>
                        <a:lnTo>
                          <a:pt x="112" y="169"/>
                        </a:lnTo>
                        <a:lnTo>
                          <a:pt x="118" y="146"/>
                        </a:lnTo>
                        <a:lnTo>
                          <a:pt x="113" y="129"/>
                        </a:lnTo>
                        <a:lnTo>
                          <a:pt x="118" y="114"/>
                        </a:lnTo>
                        <a:lnTo>
                          <a:pt x="140" y="109"/>
                        </a:lnTo>
                        <a:lnTo>
                          <a:pt x="153" y="116"/>
                        </a:lnTo>
                        <a:lnTo>
                          <a:pt x="163" y="116"/>
                        </a:lnTo>
                        <a:lnTo>
                          <a:pt x="173" y="135"/>
                        </a:lnTo>
                        <a:lnTo>
                          <a:pt x="186" y="135"/>
                        </a:lnTo>
                        <a:lnTo>
                          <a:pt x="201" y="113"/>
                        </a:lnTo>
                        <a:lnTo>
                          <a:pt x="223" y="0"/>
                        </a:lnTo>
                        <a:lnTo>
                          <a:pt x="295" y="15"/>
                        </a:lnTo>
                        <a:lnTo>
                          <a:pt x="401" y="35"/>
                        </a:lnTo>
                        <a:lnTo>
                          <a:pt x="545" y="60"/>
                        </a:lnTo>
                        <a:lnTo>
                          <a:pt x="704" y="86"/>
                        </a:lnTo>
                        <a:lnTo>
                          <a:pt x="795" y="10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6" name="Nevada" descr="{&quot;Key&quot;:&quot;nevada&quot;,&quot;Name&quot;:&quot;Nevada&quot;,&quot;Value&quot;:1.0,&quot;Formula&quot;:&quot;&quot;,&quot;Text&quot;:&quot;&quot;,&quot;OfficeApplication&quot;:1,&quot;HasValue&quot;:true}">
                    <a:extLst>
                      <a:ext uri="{FF2B5EF4-FFF2-40B4-BE49-F238E27FC236}">
                        <a16:creationId xmlns:a16="http://schemas.microsoft.com/office/drawing/2014/main" id="{9B83813C-3323-8B46-C399-A468514DE99F}"/>
                      </a:ext>
                    </a:extLst>
                  </p:cNvPr>
                  <p:cNvSpPr>
                    <a:spLocks/>
                  </p:cNvSpPr>
                  <p:nvPr/>
                </p:nvSpPr>
                <p:spPr bwMode="auto">
                  <a:xfrm>
                    <a:off x="5406764" y="4351711"/>
                    <a:ext cx="386005" cy="588766"/>
                  </a:xfrm>
                  <a:custGeom>
                    <a:avLst/>
                    <a:gdLst>
                      <a:gd name="T0" fmla="*/ 597 w 741"/>
                      <a:gd name="T1" fmla="*/ 860 h 1132"/>
                      <a:gd name="T2" fmla="*/ 575 w 741"/>
                      <a:gd name="T3" fmla="*/ 973 h 1132"/>
                      <a:gd name="T4" fmla="*/ 560 w 741"/>
                      <a:gd name="T5" fmla="*/ 995 h 1132"/>
                      <a:gd name="T6" fmla="*/ 547 w 741"/>
                      <a:gd name="T7" fmla="*/ 995 h 1132"/>
                      <a:gd name="T8" fmla="*/ 537 w 741"/>
                      <a:gd name="T9" fmla="*/ 977 h 1132"/>
                      <a:gd name="T10" fmla="*/ 527 w 741"/>
                      <a:gd name="T11" fmla="*/ 977 h 1132"/>
                      <a:gd name="T12" fmla="*/ 514 w 741"/>
                      <a:gd name="T13" fmla="*/ 969 h 1132"/>
                      <a:gd name="T14" fmla="*/ 492 w 741"/>
                      <a:gd name="T15" fmla="*/ 974 h 1132"/>
                      <a:gd name="T16" fmla="*/ 487 w 741"/>
                      <a:gd name="T17" fmla="*/ 989 h 1132"/>
                      <a:gd name="T18" fmla="*/ 492 w 741"/>
                      <a:gd name="T19" fmla="*/ 1007 h 1132"/>
                      <a:gd name="T20" fmla="*/ 486 w 741"/>
                      <a:gd name="T21" fmla="*/ 1029 h 1132"/>
                      <a:gd name="T22" fmla="*/ 489 w 741"/>
                      <a:gd name="T23" fmla="*/ 1043 h 1132"/>
                      <a:gd name="T24" fmla="*/ 482 w 741"/>
                      <a:gd name="T25" fmla="*/ 1058 h 1132"/>
                      <a:gd name="T26" fmla="*/ 486 w 741"/>
                      <a:gd name="T27" fmla="*/ 1083 h 1132"/>
                      <a:gd name="T28" fmla="*/ 484 w 741"/>
                      <a:gd name="T29" fmla="*/ 1107 h 1132"/>
                      <a:gd name="T30" fmla="*/ 475 w 741"/>
                      <a:gd name="T31" fmla="*/ 1113 h 1132"/>
                      <a:gd name="T32" fmla="*/ 471 w 741"/>
                      <a:gd name="T33" fmla="*/ 1132 h 1132"/>
                      <a:gd name="T34" fmla="*/ 419 w 741"/>
                      <a:gd name="T35" fmla="*/ 1057 h 1132"/>
                      <a:gd name="T36" fmla="*/ 330 w 741"/>
                      <a:gd name="T37" fmla="*/ 922 h 1132"/>
                      <a:gd name="T38" fmla="*/ 286 w 741"/>
                      <a:gd name="T39" fmla="*/ 855 h 1132"/>
                      <a:gd name="T40" fmla="*/ 222 w 741"/>
                      <a:gd name="T41" fmla="*/ 758 h 1132"/>
                      <a:gd name="T42" fmla="*/ 158 w 741"/>
                      <a:gd name="T43" fmla="*/ 659 h 1132"/>
                      <a:gd name="T44" fmla="*/ 98 w 741"/>
                      <a:gd name="T45" fmla="*/ 570 h 1132"/>
                      <a:gd name="T46" fmla="*/ 58 w 741"/>
                      <a:gd name="T47" fmla="*/ 512 h 1132"/>
                      <a:gd name="T48" fmla="*/ 0 w 741"/>
                      <a:gd name="T49" fmla="*/ 422 h 1132"/>
                      <a:gd name="T50" fmla="*/ 114 w 741"/>
                      <a:gd name="T51" fmla="*/ 0 h 1132"/>
                      <a:gd name="T52" fmla="*/ 250 w 741"/>
                      <a:gd name="T53" fmla="*/ 36 h 1132"/>
                      <a:gd name="T54" fmla="*/ 328 w 741"/>
                      <a:gd name="T55" fmla="*/ 57 h 1132"/>
                      <a:gd name="T56" fmla="*/ 426 w 741"/>
                      <a:gd name="T57" fmla="*/ 79 h 1132"/>
                      <a:gd name="T58" fmla="*/ 564 w 741"/>
                      <a:gd name="T59" fmla="*/ 110 h 1132"/>
                      <a:gd name="T60" fmla="*/ 622 w 741"/>
                      <a:gd name="T61" fmla="*/ 124 h 1132"/>
                      <a:gd name="T62" fmla="*/ 741 w 741"/>
                      <a:gd name="T63" fmla="*/ 148 h 1132"/>
                      <a:gd name="T64" fmla="*/ 597 w 741"/>
                      <a:gd name="T65" fmla="*/ 86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1" h="1132">
                        <a:moveTo>
                          <a:pt x="597" y="860"/>
                        </a:moveTo>
                        <a:lnTo>
                          <a:pt x="575" y="973"/>
                        </a:lnTo>
                        <a:lnTo>
                          <a:pt x="560" y="995"/>
                        </a:lnTo>
                        <a:lnTo>
                          <a:pt x="547" y="995"/>
                        </a:lnTo>
                        <a:lnTo>
                          <a:pt x="537" y="977"/>
                        </a:lnTo>
                        <a:lnTo>
                          <a:pt x="527" y="977"/>
                        </a:lnTo>
                        <a:lnTo>
                          <a:pt x="514" y="969"/>
                        </a:lnTo>
                        <a:lnTo>
                          <a:pt x="492" y="974"/>
                        </a:lnTo>
                        <a:lnTo>
                          <a:pt x="487" y="989"/>
                        </a:lnTo>
                        <a:lnTo>
                          <a:pt x="492" y="1007"/>
                        </a:lnTo>
                        <a:lnTo>
                          <a:pt x="486" y="1029"/>
                        </a:lnTo>
                        <a:lnTo>
                          <a:pt x="489" y="1043"/>
                        </a:lnTo>
                        <a:lnTo>
                          <a:pt x="482" y="1058"/>
                        </a:lnTo>
                        <a:lnTo>
                          <a:pt x="486" y="1083"/>
                        </a:lnTo>
                        <a:lnTo>
                          <a:pt x="484" y="1107"/>
                        </a:lnTo>
                        <a:lnTo>
                          <a:pt x="475" y="1113"/>
                        </a:lnTo>
                        <a:lnTo>
                          <a:pt x="471" y="1132"/>
                        </a:lnTo>
                        <a:lnTo>
                          <a:pt x="419" y="1057"/>
                        </a:lnTo>
                        <a:lnTo>
                          <a:pt x="330" y="922"/>
                        </a:lnTo>
                        <a:lnTo>
                          <a:pt x="286" y="855"/>
                        </a:lnTo>
                        <a:lnTo>
                          <a:pt x="222" y="758"/>
                        </a:lnTo>
                        <a:lnTo>
                          <a:pt x="158" y="659"/>
                        </a:lnTo>
                        <a:lnTo>
                          <a:pt x="98" y="570"/>
                        </a:lnTo>
                        <a:lnTo>
                          <a:pt x="58" y="512"/>
                        </a:lnTo>
                        <a:lnTo>
                          <a:pt x="0" y="422"/>
                        </a:lnTo>
                        <a:lnTo>
                          <a:pt x="114" y="0"/>
                        </a:lnTo>
                        <a:lnTo>
                          <a:pt x="250" y="36"/>
                        </a:lnTo>
                        <a:lnTo>
                          <a:pt x="328" y="57"/>
                        </a:lnTo>
                        <a:lnTo>
                          <a:pt x="426" y="79"/>
                        </a:lnTo>
                        <a:lnTo>
                          <a:pt x="564" y="110"/>
                        </a:lnTo>
                        <a:lnTo>
                          <a:pt x="622" y="124"/>
                        </a:lnTo>
                        <a:lnTo>
                          <a:pt x="741" y="148"/>
                        </a:lnTo>
                        <a:lnTo>
                          <a:pt x="597" y="86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7" name="New Mexico" descr="{&quot;Key&quot;:&quot;new mexico&quot;,&quot;Name&quot;:&quot;New Mexico&quot;,&quot;Value&quot;:1.0,&quot;Formula&quot;:&quot;&quot;,&quot;Text&quot;:&quot;&quot;,&quot;OfficeApplication&quot;:1,&quot;HasValue&quot;:true}">
                    <a:extLst>
                      <a:ext uri="{FF2B5EF4-FFF2-40B4-BE49-F238E27FC236}">
                        <a16:creationId xmlns:a16="http://schemas.microsoft.com/office/drawing/2014/main" id="{F067EBE2-7725-E96F-6A37-8D8531009E9E}"/>
                      </a:ext>
                    </a:extLst>
                  </p:cNvPr>
                  <p:cNvSpPr>
                    <a:spLocks/>
                  </p:cNvSpPr>
                  <p:nvPr/>
                </p:nvSpPr>
                <p:spPr bwMode="auto">
                  <a:xfrm>
                    <a:off x="5953243" y="4850482"/>
                    <a:ext cx="425039" cy="434798"/>
                  </a:xfrm>
                  <a:custGeom>
                    <a:avLst/>
                    <a:gdLst>
                      <a:gd name="T0" fmla="*/ 811 w 816"/>
                      <a:gd name="T1" fmla="*/ 150 h 834"/>
                      <a:gd name="T2" fmla="*/ 806 w 816"/>
                      <a:gd name="T3" fmla="*/ 152 h 834"/>
                      <a:gd name="T4" fmla="*/ 752 w 816"/>
                      <a:gd name="T5" fmla="*/ 804 h 834"/>
                      <a:gd name="T6" fmla="*/ 642 w 816"/>
                      <a:gd name="T7" fmla="*/ 794 h 834"/>
                      <a:gd name="T8" fmla="*/ 532 w 816"/>
                      <a:gd name="T9" fmla="*/ 784 h 834"/>
                      <a:gd name="T10" fmla="*/ 396 w 816"/>
                      <a:gd name="T11" fmla="*/ 770 h 834"/>
                      <a:gd name="T12" fmla="*/ 309 w 816"/>
                      <a:gd name="T13" fmla="*/ 760 h 834"/>
                      <a:gd name="T14" fmla="*/ 314 w 816"/>
                      <a:gd name="T15" fmla="*/ 787 h 834"/>
                      <a:gd name="T16" fmla="*/ 324 w 816"/>
                      <a:gd name="T17" fmla="*/ 797 h 834"/>
                      <a:gd name="T18" fmla="*/ 112 w 816"/>
                      <a:gd name="T19" fmla="*/ 768 h 834"/>
                      <a:gd name="T20" fmla="*/ 104 w 816"/>
                      <a:gd name="T21" fmla="*/ 834 h 834"/>
                      <a:gd name="T22" fmla="*/ 10 w 816"/>
                      <a:gd name="T23" fmla="*/ 820 h 834"/>
                      <a:gd name="T24" fmla="*/ 0 w 816"/>
                      <a:gd name="T25" fmla="*/ 819 h 834"/>
                      <a:gd name="T26" fmla="*/ 119 w 816"/>
                      <a:gd name="T27" fmla="*/ 0 h 834"/>
                      <a:gd name="T28" fmla="*/ 184 w 816"/>
                      <a:gd name="T29" fmla="*/ 9 h 834"/>
                      <a:gd name="T30" fmla="*/ 292 w 816"/>
                      <a:gd name="T31" fmla="*/ 24 h 834"/>
                      <a:gd name="T32" fmla="*/ 445 w 816"/>
                      <a:gd name="T33" fmla="*/ 42 h 834"/>
                      <a:gd name="T34" fmla="*/ 576 w 816"/>
                      <a:gd name="T35" fmla="*/ 55 h 834"/>
                      <a:gd name="T36" fmla="*/ 685 w 816"/>
                      <a:gd name="T37" fmla="*/ 67 h 834"/>
                      <a:gd name="T38" fmla="*/ 816 w 816"/>
                      <a:gd name="T39" fmla="*/ 78 h 834"/>
                      <a:gd name="T40" fmla="*/ 811 w 816"/>
                      <a:gd name="T41" fmla="*/ 15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834">
                        <a:moveTo>
                          <a:pt x="811" y="150"/>
                        </a:moveTo>
                        <a:lnTo>
                          <a:pt x="806" y="152"/>
                        </a:lnTo>
                        <a:lnTo>
                          <a:pt x="752" y="804"/>
                        </a:lnTo>
                        <a:lnTo>
                          <a:pt x="642" y="794"/>
                        </a:lnTo>
                        <a:lnTo>
                          <a:pt x="532" y="784"/>
                        </a:lnTo>
                        <a:lnTo>
                          <a:pt x="396" y="770"/>
                        </a:lnTo>
                        <a:lnTo>
                          <a:pt x="309" y="760"/>
                        </a:lnTo>
                        <a:lnTo>
                          <a:pt x="314" y="787"/>
                        </a:lnTo>
                        <a:lnTo>
                          <a:pt x="324" y="797"/>
                        </a:lnTo>
                        <a:lnTo>
                          <a:pt x="112" y="768"/>
                        </a:lnTo>
                        <a:lnTo>
                          <a:pt x="104" y="834"/>
                        </a:lnTo>
                        <a:lnTo>
                          <a:pt x="10" y="820"/>
                        </a:lnTo>
                        <a:lnTo>
                          <a:pt x="0" y="819"/>
                        </a:lnTo>
                        <a:lnTo>
                          <a:pt x="119" y="0"/>
                        </a:lnTo>
                        <a:lnTo>
                          <a:pt x="184" y="9"/>
                        </a:lnTo>
                        <a:lnTo>
                          <a:pt x="292" y="24"/>
                        </a:lnTo>
                        <a:lnTo>
                          <a:pt x="445" y="42"/>
                        </a:lnTo>
                        <a:lnTo>
                          <a:pt x="576" y="55"/>
                        </a:lnTo>
                        <a:lnTo>
                          <a:pt x="685" y="67"/>
                        </a:lnTo>
                        <a:lnTo>
                          <a:pt x="816" y="78"/>
                        </a:lnTo>
                        <a:lnTo>
                          <a:pt x="811" y="15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8" name="Oregon" descr="{&quot;Key&quot;:&quot;oregon&quot;,&quot;Name&quot;:&quot;Oregon&quot;,&quot;Value&quot;:1.0,&quot;Formula&quot;:&quot;&quot;,&quot;Text&quot;:&quot;&quot;,&quot;OfficeApplication&quot;:1,&quot;HasValue&quot;:true}">
                    <a:extLst>
                      <a:ext uri="{FF2B5EF4-FFF2-40B4-BE49-F238E27FC236}">
                        <a16:creationId xmlns:a16="http://schemas.microsoft.com/office/drawing/2014/main" id="{50FB7555-06F0-939A-2CB8-CC22DDD48893}"/>
                      </a:ext>
                    </a:extLst>
                  </p:cNvPr>
                  <p:cNvSpPr>
                    <a:spLocks/>
                  </p:cNvSpPr>
                  <p:nvPr/>
                </p:nvSpPr>
                <p:spPr bwMode="auto">
                  <a:xfrm>
                    <a:off x="5233278" y="3984140"/>
                    <a:ext cx="487928" cy="407691"/>
                  </a:xfrm>
                  <a:custGeom>
                    <a:avLst/>
                    <a:gdLst>
                      <a:gd name="T0" fmla="*/ 304 w 938"/>
                      <a:gd name="T1" fmla="*/ 29 h 785"/>
                      <a:gd name="T2" fmla="*/ 325 w 938"/>
                      <a:gd name="T3" fmla="*/ 68 h 785"/>
                      <a:gd name="T4" fmla="*/ 323 w 938"/>
                      <a:gd name="T5" fmla="*/ 120 h 785"/>
                      <a:gd name="T6" fmla="*/ 360 w 938"/>
                      <a:gd name="T7" fmla="*/ 141 h 785"/>
                      <a:gd name="T8" fmla="*/ 413 w 938"/>
                      <a:gd name="T9" fmla="*/ 133 h 785"/>
                      <a:gd name="T10" fmla="*/ 464 w 938"/>
                      <a:gd name="T11" fmla="*/ 149 h 785"/>
                      <a:gd name="T12" fmla="*/ 484 w 938"/>
                      <a:gd name="T13" fmla="*/ 164 h 785"/>
                      <a:gd name="T14" fmla="*/ 529 w 938"/>
                      <a:gd name="T15" fmla="*/ 164 h 785"/>
                      <a:gd name="T16" fmla="*/ 568 w 938"/>
                      <a:gd name="T17" fmla="*/ 174 h 785"/>
                      <a:gd name="T18" fmla="*/ 600 w 938"/>
                      <a:gd name="T19" fmla="*/ 167 h 785"/>
                      <a:gd name="T20" fmla="*/ 638 w 938"/>
                      <a:gd name="T21" fmla="*/ 165 h 785"/>
                      <a:gd name="T22" fmla="*/ 688 w 938"/>
                      <a:gd name="T23" fmla="*/ 174 h 785"/>
                      <a:gd name="T24" fmla="*/ 844 w 938"/>
                      <a:gd name="T25" fmla="*/ 205 h 785"/>
                      <a:gd name="T26" fmla="*/ 909 w 938"/>
                      <a:gd name="T27" fmla="*/ 234 h 785"/>
                      <a:gd name="T28" fmla="*/ 934 w 938"/>
                      <a:gd name="T29" fmla="*/ 264 h 785"/>
                      <a:gd name="T30" fmla="*/ 935 w 938"/>
                      <a:gd name="T31" fmla="*/ 290 h 785"/>
                      <a:gd name="T32" fmla="*/ 895 w 938"/>
                      <a:gd name="T33" fmla="*/ 345 h 785"/>
                      <a:gd name="T34" fmla="*/ 876 w 938"/>
                      <a:gd name="T35" fmla="*/ 375 h 785"/>
                      <a:gd name="T36" fmla="*/ 853 w 938"/>
                      <a:gd name="T37" fmla="*/ 395 h 785"/>
                      <a:gd name="T38" fmla="*/ 824 w 938"/>
                      <a:gd name="T39" fmla="*/ 429 h 785"/>
                      <a:gd name="T40" fmla="*/ 839 w 938"/>
                      <a:gd name="T41" fmla="*/ 464 h 785"/>
                      <a:gd name="T42" fmla="*/ 835 w 938"/>
                      <a:gd name="T43" fmla="*/ 491 h 785"/>
                      <a:gd name="T44" fmla="*/ 820 w 938"/>
                      <a:gd name="T45" fmla="*/ 533 h 785"/>
                      <a:gd name="T46" fmla="*/ 663 w 938"/>
                      <a:gd name="T47" fmla="*/ 763 h 785"/>
                      <a:gd name="T48" fmla="*/ 448 w 938"/>
                      <a:gd name="T49" fmla="*/ 706 h 785"/>
                      <a:gd name="T50" fmla="*/ 175 w 938"/>
                      <a:gd name="T51" fmla="*/ 629 h 785"/>
                      <a:gd name="T52" fmla="*/ 10 w 938"/>
                      <a:gd name="T53" fmla="*/ 578 h 785"/>
                      <a:gd name="T54" fmla="*/ 3 w 938"/>
                      <a:gd name="T55" fmla="*/ 524 h 785"/>
                      <a:gd name="T56" fmla="*/ 20 w 938"/>
                      <a:gd name="T57" fmla="*/ 479 h 785"/>
                      <a:gd name="T58" fmla="*/ 14 w 938"/>
                      <a:gd name="T59" fmla="*/ 449 h 785"/>
                      <a:gd name="T60" fmla="*/ 54 w 938"/>
                      <a:gd name="T61" fmla="*/ 386 h 785"/>
                      <a:gd name="T62" fmla="*/ 100 w 938"/>
                      <a:gd name="T63" fmla="*/ 317 h 785"/>
                      <a:gd name="T64" fmla="*/ 151 w 938"/>
                      <a:gd name="T65" fmla="*/ 190 h 785"/>
                      <a:gd name="T66" fmla="*/ 175 w 938"/>
                      <a:gd name="T67" fmla="*/ 146 h 785"/>
                      <a:gd name="T68" fmla="*/ 203 w 938"/>
                      <a:gd name="T69" fmla="*/ 78 h 785"/>
                      <a:gd name="T70" fmla="*/ 208 w 938"/>
                      <a:gd name="T71" fmla="*/ 48 h 785"/>
                      <a:gd name="T72" fmla="*/ 215 w 938"/>
                      <a:gd name="T73" fmla="*/ 33 h 785"/>
                      <a:gd name="T74" fmla="*/ 219 w 938"/>
                      <a:gd name="T75" fmla="*/ 0 h 785"/>
                      <a:gd name="T76" fmla="*/ 255 w 938"/>
                      <a:gd name="T77" fmla="*/ 14 h 785"/>
                      <a:gd name="T78" fmla="*/ 275 w 938"/>
                      <a:gd name="T79" fmla="*/ 26 h 785"/>
                      <a:gd name="T80" fmla="*/ 296 w 938"/>
                      <a:gd name="T81" fmla="*/ 2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8" h="785">
                        <a:moveTo>
                          <a:pt x="296" y="28"/>
                        </a:moveTo>
                        <a:lnTo>
                          <a:pt x="304" y="29"/>
                        </a:lnTo>
                        <a:lnTo>
                          <a:pt x="320" y="46"/>
                        </a:lnTo>
                        <a:lnTo>
                          <a:pt x="325" y="68"/>
                        </a:lnTo>
                        <a:lnTo>
                          <a:pt x="318" y="114"/>
                        </a:lnTo>
                        <a:lnTo>
                          <a:pt x="323" y="120"/>
                        </a:lnTo>
                        <a:lnTo>
                          <a:pt x="335" y="125"/>
                        </a:lnTo>
                        <a:lnTo>
                          <a:pt x="360" y="141"/>
                        </a:lnTo>
                        <a:lnTo>
                          <a:pt x="393" y="139"/>
                        </a:lnTo>
                        <a:lnTo>
                          <a:pt x="413" y="133"/>
                        </a:lnTo>
                        <a:lnTo>
                          <a:pt x="435" y="138"/>
                        </a:lnTo>
                        <a:lnTo>
                          <a:pt x="464" y="149"/>
                        </a:lnTo>
                        <a:lnTo>
                          <a:pt x="474" y="165"/>
                        </a:lnTo>
                        <a:lnTo>
                          <a:pt x="484" y="164"/>
                        </a:lnTo>
                        <a:lnTo>
                          <a:pt x="498" y="169"/>
                        </a:lnTo>
                        <a:lnTo>
                          <a:pt x="529" y="164"/>
                        </a:lnTo>
                        <a:lnTo>
                          <a:pt x="543" y="171"/>
                        </a:lnTo>
                        <a:lnTo>
                          <a:pt x="568" y="174"/>
                        </a:lnTo>
                        <a:lnTo>
                          <a:pt x="579" y="169"/>
                        </a:lnTo>
                        <a:lnTo>
                          <a:pt x="600" y="167"/>
                        </a:lnTo>
                        <a:lnTo>
                          <a:pt x="629" y="170"/>
                        </a:lnTo>
                        <a:lnTo>
                          <a:pt x="638" y="165"/>
                        </a:lnTo>
                        <a:lnTo>
                          <a:pt x="663" y="167"/>
                        </a:lnTo>
                        <a:lnTo>
                          <a:pt x="688" y="174"/>
                        </a:lnTo>
                        <a:lnTo>
                          <a:pt x="698" y="169"/>
                        </a:lnTo>
                        <a:lnTo>
                          <a:pt x="844" y="205"/>
                        </a:lnTo>
                        <a:lnTo>
                          <a:pt x="908" y="220"/>
                        </a:lnTo>
                        <a:lnTo>
                          <a:pt x="909" y="234"/>
                        </a:lnTo>
                        <a:lnTo>
                          <a:pt x="914" y="246"/>
                        </a:lnTo>
                        <a:lnTo>
                          <a:pt x="934" y="264"/>
                        </a:lnTo>
                        <a:lnTo>
                          <a:pt x="938" y="281"/>
                        </a:lnTo>
                        <a:lnTo>
                          <a:pt x="935" y="290"/>
                        </a:lnTo>
                        <a:lnTo>
                          <a:pt x="909" y="319"/>
                        </a:lnTo>
                        <a:lnTo>
                          <a:pt x="895" y="345"/>
                        </a:lnTo>
                        <a:lnTo>
                          <a:pt x="881" y="359"/>
                        </a:lnTo>
                        <a:lnTo>
                          <a:pt x="876" y="375"/>
                        </a:lnTo>
                        <a:lnTo>
                          <a:pt x="864" y="390"/>
                        </a:lnTo>
                        <a:lnTo>
                          <a:pt x="853" y="395"/>
                        </a:lnTo>
                        <a:lnTo>
                          <a:pt x="836" y="417"/>
                        </a:lnTo>
                        <a:lnTo>
                          <a:pt x="824" y="429"/>
                        </a:lnTo>
                        <a:lnTo>
                          <a:pt x="819" y="455"/>
                        </a:lnTo>
                        <a:lnTo>
                          <a:pt x="839" y="464"/>
                        </a:lnTo>
                        <a:lnTo>
                          <a:pt x="845" y="479"/>
                        </a:lnTo>
                        <a:lnTo>
                          <a:pt x="835" y="491"/>
                        </a:lnTo>
                        <a:lnTo>
                          <a:pt x="836" y="500"/>
                        </a:lnTo>
                        <a:lnTo>
                          <a:pt x="820" y="533"/>
                        </a:lnTo>
                        <a:lnTo>
                          <a:pt x="760" y="785"/>
                        </a:lnTo>
                        <a:lnTo>
                          <a:pt x="663" y="763"/>
                        </a:lnTo>
                        <a:lnTo>
                          <a:pt x="584" y="743"/>
                        </a:lnTo>
                        <a:lnTo>
                          <a:pt x="448" y="706"/>
                        </a:lnTo>
                        <a:lnTo>
                          <a:pt x="311" y="669"/>
                        </a:lnTo>
                        <a:lnTo>
                          <a:pt x="175" y="629"/>
                        </a:lnTo>
                        <a:lnTo>
                          <a:pt x="94" y="604"/>
                        </a:lnTo>
                        <a:lnTo>
                          <a:pt x="10" y="578"/>
                        </a:lnTo>
                        <a:lnTo>
                          <a:pt x="0" y="556"/>
                        </a:lnTo>
                        <a:lnTo>
                          <a:pt x="3" y="524"/>
                        </a:lnTo>
                        <a:lnTo>
                          <a:pt x="18" y="493"/>
                        </a:lnTo>
                        <a:lnTo>
                          <a:pt x="20" y="479"/>
                        </a:lnTo>
                        <a:lnTo>
                          <a:pt x="14" y="464"/>
                        </a:lnTo>
                        <a:lnTo>
                          <a:pt x="14" y="449"/>
                        </a:lnTo>
                        <a:lnTo>
                          <a:pt x="33" y="426"/>
                        </a:lnTo>
                        <a:lnTo>
                          <a:pt x="54" y="386"/>
                        </a:lnTo>
                        <a:lnTo>
                          <a:pt x="68" y="377"/>
                        </a:lnTo>
                        <a:lnTo>
                          <a:pt x="100" y="317"/>
                        </a:lnTo>
                        <a:lnTo>
                          <a:pt x="141" y="220"/>
                        </a:lnTo>
                        <a:lnTo>
                          <a:pt x="151" y="190"/>
                        </a:lnTo>
                        <a:lnTo>
                          <a:pt x="156" y="184"/>
                        </a:lnTo>
                        <a:lnTo>
                          <a:pt x="175" y="146"/>
                        </a:lnTo>
                        <a:lnTo>
                          <a:pt x="188" y="105"/>
                        </a:lnTo>
                        <a:lnTo>
                          <a:pt x="203" y="78"/>
                        </a:lnTo>
                        <a:lnTo>
                          <a:pt x="201" y="63"/>
                        </a:lnTo>
                        <a:lnTo>
                          <a:pt x="208" y="48"/>
                        </a:lnTo>
                        <a:lnTo>
                          <a:pt x="208" y="36"/>
                        </a:lnTo>
                        <a:lnTo>
                          <a:pt x="215" y="33"/>
                        </a:lnTo>
                        <a:lnTo>
                          <a:pt x="219" y="19"/>
                        </a:lnTo>
                        <a:lnTo>
                          <a:pt x="219" y="0"/>
                        </a:lnTo>
                        <a:lnTo>
                          <a:pt x="230" y="10"/>
                        </a:lnTo>
                        <a:lnTo>
                          <a:pt x="255" y="14"/>
                        </a:lnTo>
                        <a:lnTo>
                          <a:pt x="266" y="10"/>
                        </a:lnTo>
                        <a:lnTo>
                          <a:pt x="275" y="26"/>
                        </a:lnTo>
                        <a:lnTo>
                          <a:pt x="290" y="33"/>
                        </a:lnTo>
                        <a:lnTo>
                          <a:pt x="296" y="2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9" name="Wyoming" descr="{&quot;Key&quot;:&quot;wyoming&quot;,&quot;Name&quot;:&quot;Wyoming&quot;,&quot;Value&quot;:1.0,&quot;Formula&quot;:&quot;&quot;,&quot;Text&quot;:&quot;&quot;,&quot;OfficeApplication&quot;:1,&quot;HasValue&quot;:true}">
                    <a:extLst>
                      <a:ext uri="{FF2B5EF4-FFF2-40B4-BE49-F238E27FC236}">
                        <a16:creationId xmlns:a16="http://schemas.microsoft.com/office/drawing/2014/main" id="{55D45568-5105-4E58-330D-6519D3B5CAE3}"/>
                      </a:ext>
                    </a:extLst>
                  </p:cNvPr>
                  <p:cNvSpPr>
                    <a:spLocks/>
                  </p:cNvSpPr>
                  <p:nvPr/>
                </p:nvSpPr>
                <p:spPr bwMode="auto">
                  <a:xfrm>
                    <a:off x="5831930" y="4133394"/>
                    <a:ext cx="589724" cy="471663"/>
                  </a:xfrm>
                  <a:custGeom>
                    <a:avLst/>
                    <a:gdLst>
                      <a:gd name="T0" fmla="*/ 787 w 812"/>
                      <a:gd name="T1" fmla="*/ 383 h 673"/>
                      <a:gd name="T2" fmla="*/ 761 w 812"/>
                      <a:gd name="T3" fmla="*/ 673 h 673"/>
                      <a:gd name="T4" fmla="*/ 678 w 812"/>
                      <a:gd name="T5" fmla="*/ 665 h 673"/>
                      <a:gd name="T6" fmla="*/ 576 w 812"/>
                      <a:gd name="T7" fmla="*/ 654 h 673"/>
                      <a:gd name="T8" fmla="*/ 438 w 812"/>
                      <a:gd name="T9" fmla="*/ 639 h 673"/>
                      <a:gd name="T10" fmla="*/ 353 w 812"/>
                      <a:gd name="T11" fmla="*/ 628 h 673"/>
                      <a:gd name="T12" fmla="*/ 217 w 812"/>
                      <a:gd name="T13" fmla="*/ 609 h 673"/>
                      <a:gd name="T14" fmla="*/ 148 w 812"/>
                      <a:gd name="T15" fmla="*/ 599 h 673"/>
                      <a:gd name="T16" fmla="*/ 0 w 812"/>
                      <a:gd name="T17" fmla="*/ 575 h 673"/>
                      <a:gd name="T18" fmla="*/ 23 w 812"/>
                      <a:gd name="T19" fmla="*/ 432 h 673"/>
                      <a:gd name="T20" fmla="*/ 83 w 812"/>
                      <a:gd name="T21" fmla="*/ 73 h 673"/>
                      <a:gd name="T22" fmla="*/ 96 w 812"/>
                      <a:gd name="T23" fmla="*/ 0 h 673"/>
                      <a:gd name="T24" fmla="*/ 178 w 812"/>
                      <a:gd name="T25" fmla="*/ 14 h 673"/>
                      <a:gd name="T26" fmla="*/ 278 w 812"/>
                      <a:gd name="T27" fmla="*/ 29 h 673"/>
                      <a:gd name="T28" fmla="*/ 423 w 812"/>
                      <a:gd name="T29" fmla="*/ 49 h 673"/>
                      <a:gd name="T30" fmla="*/ 490 w 812"/>
                      <a:gd name="T31" fmla="*/ 58 h 673"/>
                      <a:gd name="T32" fmla="*/ 635 w 812"/>
                      <a:gd name="T33" fmla="*/ 74 h 673"/>
                      <a:gd name="T34" fmla="*/ 736 w 812"/>
                      <a:gd name="T35" fmla="*/ 85 h 673"/>
                      <a:gd name="T36" fmla="*/ 812 w 812"/>
                      <a:gd name="T37" fmla="*/ 92 h 673"/>
                      <a:gd name="T38" fmla="*/ 787 w 812"/>
                      <a:gd name="T39" fmla="*/ 38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2" h="673">
                        <a:moveTo>
                          <a:pt x="787" y="383"/>
                        </a:moveTo>
                        <a:lnTo>
                          <a:pt x="761" y="673"/>
                        </a:lnTo>
                        <a:lnTo>
                          <a:pt x="678" y="665"/>
                        </a:lnTo>
                        <a:lnTo>
                          <a:pt x="576" y="654"/>
                        </a:lnTo>
                        <a:lnTo>
                          <a:pt x="438" y="639"/>
                        </a:lnTo>
                        <a:lnTo>
                          <a:pt x="353" y="628"/>
                        </a:lnTo>
                        <a:lnTo>
                          <a:pt x="217" y="609"/>
                        </a:lnTo>
                        <a:lnTo>
                          <a:pt x="148" y="599"/>
                        </a:lnTo>
                        <a:lnTo>
                          <a:pt x="0" y="575"/>
                        </a:lnTo>
                        <a:lnTo>
                          <a:pt x="23" y="432"/>
                        </a:lnTo>
                        <a:lnTo>
                          <a:pt x="83" y="73"/>
                        </a:lnTo>
                        <a:lnTo>
                          <a:pt x="96" y="0"/>
                        </a:lnTo>
                        <a:lnTo>
                          <a:pt x="178" y="14"/>
                        </a:lnTo>
                        <a:lnTo>
                          <a:pt x="278" y="29"/>
                        </a:lnTo>
                        <a:lnTo>
                          <a:pt x="423" y="49"/>
                        </a:lnTo>
                        <a:lnTo>
                          <a:pt x="490" y="58"/>
                        </a:lnTo>
                        <a:lnTo>
                          <a:pt x="635" y="74"/>
                        </a:lnTo>
                        <a:lnTo>
                          <a:pt x="736" y="85"/>
                        </a:lnTo>
                        <a:lnTo>
                          <a:pt x="812" y="92"/>
                        </a:lnTo>
                        <a:lnTo>
                          <a:pt x="787" y="383"/>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0" name="Arkansas" descr="{&quot;Key&quot;:&quot;arkansas&quot;,&quot;Name&quot;:&quot;Arkansas&quot;,&quot;Value&quot;:1.0,&quot;Formula&quot;:&quot;&quot;,&quot;Text&quot;:&quot;&quot;,&quot;OfficeApplication&quot;:1,&quot;HasValue&quot;:true}">
                    <a:extLst>
                      <a:ext uri="{FF2B5EF4-FFF2-40B4-BE49-F238E27FC236}">
                        <a16:creationId xmlns:a16="http://schemas.microsoft.com/office/drawing/2014/main" id="{4CF04EC4-7BD4-F613-910D-E01D896FCABB}"/>
                      </a:ext>
                    </a:extLst>
                  </p:cNvPr>
                  <p:cNvSpPr>
                    <a:spLocks/>
                  </p:cNvSpPr>
                  <p:nvPr/>
                </p:nvSpPr>
                <p:spPr bwMode="auto">
                  <a:xfrm>
                    <a:off x="6884643" y="4933972"/>
                    <a:ext cx="304684" cy="275408"/>
                  </a:xfrm>
                  <a:custGeom>
                    <a:avLst/>
                    <a:gdLst>
                      <a:gd name="T0" fmla="*/ 577 w 585"/>
                      <a:gd name="T1" fmla="*/ 70 h 529"/>
                      <a:gd name="T2" fmla="*/ 585 w 585"/>
                      <a:gd name="T3" fmla="*/ 81 h 529"/>
                      <a:gd name="T4" fmla="*/ 574 w 585"/>
                      <a:gd name="T5" fmla="*/ 83 h 529"/>
                      <a:gd name="T6" fmla="*/ 579 w 585"/>
                      <a:gd name="T7" fmla="*/ 94 h 529"/>
                      <a:gd name="T8" fmla="*/ 555 w 585"/>
                      <a:gd name="T9" fmla="*/ 110 h 529"/>
                      <a:gd name="T10" fmla="*/ 559 w 585"/>
                      <a:gd name="T11" fmla="*/ 121 h 529"/>
                      <a:gd name="T12" fmla="*/ 559 w 585"/>
                      <a:gd name="T13" fmla="*/ 136 h 529"/>
                      <a:gd name="T14" fmla="*/ 547 w 585"/>
                      <a:gd name="T15" fmla="*/ 142 h 529"/>
                      <a:gd name="T16" fmla="*/ 547 w 585"/>
                      <a:gd name="T17" fmla="*/ 151 h 529"/>
                      <a:gd name="T18" fmla="*/ 539 w 585"/>
                      <a:gd name="T19" fmla="*/ 161 h 529"/>
                      <a:gd name="T20" fmla="*/ 539 w 585"/>
                      <a:gd name="T21" fmla="*/ 177 h 529"/>
                      <a:gd name="T22" fmla="*/ 542 w 585"/>
                      <a:gd name="T23" fmla="*/ 190 h 529"/>
                      <a:gd name="T24" fmla="*/ 532 w 585"/>
                      <a:gd name="T25" fmla="*/ 200 h 529"/>
                      <a:gd name="T26" fmla="*/ 527 w 585"/>
                      <a:gd name="T27" fmla="*/ 211 h 529"/>
                      <a:gd name="T28" fmla="*/ 519 w 585"/>
                      <a:gd name="T29" fmla="*/ 219 h 529"/>
                      <a:gd name="T30" fmla="*/ 522 w 585"/>
                      <a:gd name="T31" fmla="*/ 230 h 529"/>
                      <a:gd name="T32" fmla="*/ 513 w 585"/>
                      <a:gd name="T33" fmla="*/ 240 h 529"/>
                      <a:gd name="T34" fmla="*/ 501 w 585"/>
                      <a:gd name="T35" fmla="*/ 245 h 529"/>
                      <a:gd name="T36" fmla="*/ 502 w 585"/>
                      <a:gd name="T37" fmla="*/ 255 h 529"/>
                      <a:gd name="T38" fmla="*/ 491 w 585"/>
                      <a:gd name="T39" fmla="*/ 259 h 529"/>
                      <a:gd name="T40" fmla="*/ 486 w 585"/>
                      <a:gd name="T41" fmla="*/ 274 h 529"/>
                      <a:gd name="T42" fmla="*/ 490 w 585"/>
                      <a:gd name="T43" fmla="*/ 284 h 529"/>
                      <a:gd name="T44" fmla="*/ 488 w 585"/>
                      <a:gd name="T45" fmla="*/ 305 h 529"/>
                      <a:gd name="T46" fmla="*/ 462 w 585"/>
                      <a:gd name="T47" fmla="*/ 327 h 529"/>
                      <a:gd name="T48" fmla="*/ 457 w 585"/>
                      <a:gd name="T49" fmla="*/ 339 h 529"/>
                      <a:gd name="T50" fmla="*/ 447 w 585"/>
                      <a:gd name="T51" fmla="*/ 346 h 529"/>
                      <a:gd name="T52" fmla="*/ 456 w 585"/>
                      <a:gd name="T53" fmla="*/ 355 h 529"/>
                      <a:gd name="T54" fmla="*/ 453 w 585"/>
                      <a:gd name="T55" fmla="*/ 364 h 529"/>
                      <a:gd name="T56" fmla="*/ 433 w 585"/>
                      <a:gd name="T57" fmla="*/ 371 h 529"/>
                      <a:gd name="T58" fmla="*/ 440 w 585"/>
                      <a:gd name="T59" fmla="*/ 380 h 529"/>
                      <a:gd name="T60" fmla="*/ 438 w 585"/>
                      <a:gd name="T61" fmla="*/ 397 h 529"/>
                      <a:gd name="T62" fmla="*/ 422 w 585"/>
                      <a:gd name="T63" fmla="*/ 414 h 529"/>
                      <a:gd name="T64" fmla="*/ 427 w 585"/>
                      <a:gd name="T65" fmla="*/ 424 h 529"/>
                      <a:gd name="T66" fmla="*/ 421 w 585"/>
                      <a:gd name="T67" fmla="*/ 439 h 529"/>
                      <a:gd name="T68" fmla="*/ 432 w 585"/>
                      <a:gd name="T69" fmla="*/ 446 h 529"/>
                      <a:gd name="T70" fmla="*/ 432 w 585"/>
                      <a:gd name="T71" fmla="*/ 461 h 529"/>
                      <a:gd name="T72" fmla="*/ 426 w 585"/>
                      <a:gd name="T73" fmla="*/ 470 h 529"/>
                      <a:gd name="T74" fmla="*/ 436 w 585"/>
                      <a:gd name="T75" fmla="*/ 477 h 529"/>
                      <a:gd name="T76" fmla="*/ 437 w 585"/>
                      <a:gd name="T77" fmla="*/ 495 h 529"/>
                      <a:gd name="T78" fmla="*/ 431 w 585"/>
                      <a:gd name="T79" fmla="*/ 500 h 529"/>
                      <a:gd name="T80" fmla="*/ 431 w 585"/>
                      <a:gd name="T81" fmla="*/ 515 h 529"/>
                      <a:gd name="T82" fmla="*/ 341 w 585"/>
                      <a:gd name="T83" fmla="*/ 519 h 529"/>
                      <a:gd name="T84" fmla="*/ 188 w 585"/>
                      <a:gd name="T85" fmla="*/ 525 h 529"/>
                      <a:gd name="T86" fmla="*/ 78 w 585"/>
                      <a:gd name="T87" fmla="*/ 529 h 529"/>
                      <a:gd name="T88" fmla="*/ 76 w 585"/>
                      <a:gd name="T89" fmla="*/ 449 h 529"/>
                      <a:gd name="T90" fmla="*/ 70 w 585"/>
                      <a:gd name="T91" fmla="*/ 445 h 529"/>
                      <a:gd name="T92" fmla="*/ 46 w 585"/>
                      <a:gd name="T93" fmla="*/ 444 h 529"/>
                      <a:gd name="T94" fmla="*/ 35 w 585"/>
                      <a:gd name="T95" fmla="*/ 449 h 529"/>
                      <a:gd name="T96" fmla="*/ 23 w 585"/>
                      <a:gd name="T97" fmla="*/ 436 h 529"/>
                      <a:gd name="T98" fmla="*/ 23 w 585"/>
                      <a:gd name="T99" fmla="*/ 182 h 529"/>
                      <a:gd name="T100" fmla="*/ 0 w 585"/>
                      <a:gd name="T101" fmla="*/ 21 h 529"/>
                      <a:gd name="T102" fmla="*/ 65 w 585"/>
                      <a:gd name="T103" fmla="*/ 20 h 529"/>
                      <a:gd name="T104" fmla="*/ 192 w 585"/>
                      <a:gd name="T105" fmla="*/ 16 h 529"/>
                      <a:gd name="T106" fmla="*/ 321 w 585"/>
                      <a:gd name="T107" fmla="*/ 11 h 529"/>
                      <a:gd name="T108" fmla="*/ 417 w 585"/>
                      <a:gd name="T109" fmla="*/ 6 h 529"/>
                      <a:gd name="T110" fmla="*/ 521 w 585"/>
                      <a:gd name="T111" fmla="*/ 0 h 529"/>
                      <a:gd name="T112" fmla="*/ 533 w 585"/>
                      <a:gd name="T113" fmla="*/ 19 h 529"/>
                      <a:gd name="T114" fmla="*/ 533 w 585"/>
                      <a:gd name="T115" fmla="*/ 30 h 529"/>
                      <a:gd name="T116" fmla="*/ 517 w 585"/>
                      <a:gd name="T117" fmla="*/ 46 h 529"/>
                      <a:gd name="T118" fmla="*/ 503 w 585"/>
                      <a:gd name="T119" fmla="*/ 65 h 529"/>
                      <a:gd name="T120" fmla="*/ 501 w 585"/>
                      <a:gd name="T121" fmla="*/ 76 h 529"/>
                      <a:gd name="T122" fmla="*/ 577 w 585"/>
                      <a:gd name="T123" fmla="*/ 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5" h="529">
                        <a:moveTo>
                          <a:pt x="577" y="70"/>
                        </a:moveTo>
                        <a:lnTo>
                          <a:pt x="585" y="81"/>
                        </a:lnTo>
                        <a:lnTo>
                          <a:pt x="574" y="83"/>
                        </a:lnTo>
                        <a:lnTo>
                          <a:pt x="579" y="94"/>
                        </a:lnTo>
                        <a:lnTo>
                          <a:pt x="555" y="110"/>
                        </a:lnTo>
                        <a:lnTo>
                          <a:pt x="559" y="121"/>
                        </a:lnTo>
                        <a:lnTo>
                          <a:pt x="559" y="136"/>
                        </a:lnTo>
                        <a:lnTo>
                          <a:pt x="547" y="142"/>
                        </a:lnTo>
                        <a:lnTo>
                          <a:pt x="547" y="151"/>
                        </a:lnTo>
                        <a:lnTo>
                          <a:pt x="539" y="161"/>
                        </a:lnTo>
                        <a:lnTo>
                          <a:pt x="539" y="177"/>
                        </a:lnTo>
                        <a:lnTo>
                          <a:pt x="542" y="190"/>
                        </a:lnTo>
                        <a:lnTo>
                          <a:pt x="532" y="200"/>
                        </a:lnTo>
                        <a:lnTo>
                          <a:pt x="527" y="211"/>
                        </a:lnTo>
                        <a:lnTo>
                          <a:pt x="519" y="219"/>
                        </a:lnTo>
                        <a:lnTo>
                          <a:pt x="522" y="230"/>
                        </a:lnTo>
                        <a:lnTo>
                          <a:pt x="513" y="240"/>
                        </a:lnTo>
                        <a:lnTo>
                          <a:pt x="501" y="245"/>
                        </a:lnTo>
                        <a:lnTo>
                          <a:pt x="502" y="255"/>
                        </a:lnTo>
                        <a:lnTo>
                          <a:pt x="491" y="259"/>
                        </a:lnTo>
                        <a:lnTo>
                          <a:pt x="486" y="274"/>
                        </a:lnTo>
                        <a:lnTo>
                          <a:pt x="490" y="284"/>
                        </a:lnTo>
                        <a:lnTo>
                          <a:pt x="488" y="305"/>
                        </a:lnTo>
                        <a:lnTo>
                          <a:pt x="462" y="327"/>
                        </a:lnTo>
                        <a:lnTo>
                          <a:pt x="457" y="339"/>
                        </a:lnTo>
                        <a:lnTo>
                          <a:pt x="447" y="346"/>
                        </a:lnTo>
                        <a:lnTo>
                          <a:pt x="456" y="355"/>
                        </a:lnTo>
                        <a:lnTo>
                          <a:pt x="453" y="364"/>
                        </a:lnTo>
                        <a:lnTo>
                          <a:pt x="433" y="371"/>
                        </a:lnTo>
                        <a:lnTo>
                          <a:pt x="440" y="380"/>
                        </a:lnTo>
                        <a:lnTo>
                          <a:pt x="438" y="397"/>
                        </a:lnTo>
                        <a:lnTo>
                          <a:pt x="422" y="414"/>
                        </a:lnTo>
                        <a:lnTo>
                          <a:pt x="427" y="424"/>
                        </a:lnTo>
                        <a:lnTo>
                          <a:pt x="421" y="439"/>
                        </a:lnTo>
                        <a:lnTo>
                          <a:pt x="432" y="446"/>
                        </a:lnTo>
                        <a:lnTo>
                          <a:pt x="432" y="461"/>
                        </a:lnTo>
                        <a:lnTo>
                          <a:pt x="426" y="470"/>
                        </a:lnTo>
                        <a:lnTo>
                          <a:pt x="436" y="477"/>
                        </a:lnTo>
                        <a:lnTo>
                          <a:pt x="437" y="495"/>
                        </a:lnTo>
                        <a:lnTo>
                          <a:pt x="431" y="500"/>
                        </a:lnTo>
                        <a:lnTo>
                          <a:pt x="431" y="515"/>
                        </a:lnTo>
                        <a:lnTo>
                          <a:pt x="341" y="519"/>
                        </a:lnTo>
                        <a:lnTo>
                          <a:pt x="188" y="525"/>
                        </a:lnTo>
                        <a:lnTo>
                          <a:pt x="78" y="529"/>
                        </a:lnTo>
                        <a:lnTo>
                          <a:pt x="76" y="449"/>
                        </a:lnTo>
                        <a:lnTo>
                          <a:pt x="70" y="445"/>
                        </a:lnTo>
                        <a:lnTo>
                          <a:pt x="46" y="444"/>
                        </a:lnTo>
                        <a:lnTo>
                          <a:pt x="35" y="449"/>
                        </a:lnTo>
                        <a:lnTo>
                          <a:pt x="23" y="436"/>
                        </a:lnTo>
                        <a:lnTo>
                          <a:pt x="23" y="182"/>
                        </a:lnTo>
                        <a:lnTo>
                          <a:pt x="0" y="21"/>
                        </a:lnTo>
                        <a:lnTo>
                          <a:pt x="65" y="20"/>
                        </a:lnTo>
                        <a:lnTo>
                          <a:pt x="192" y="16"/>
                        </a:lnTo>
                        <a:lnTo>
                          <a:pt x="321" y="11"/>
                        </a:lnTo>
                        <a:lnTo>
                          <a:pt x="417" y="6"/>
                        </a:lnTo>
                        <a:lnTo>
                          <a:pt x="521" y="0"/>
                        </a:lnTo>
                        <a:lnTo>
                          <a:pt x="533" y="19"/>
                        </a:lnTo>
                        <a:lnTo>
                          <a:pt x="533" y="30"/>
                        </a:lnTo>
                        <a:lnTo>
                          <a:pt x="517" y="46"/>
                        </a:lnTo>
                        <a:lnTo>
                          <a:pt x="503" y="65"/>
                        </a:lnTo>
                        <a:lnTo>
                          <a:pt x="501" y="76"/>
                        </a:lnTo>
                        <a:lnTo>
                          <a:pt x="577" y="7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1" name="Iowa" descr="{&quot;Key&quot;:&quot;iowa&quot;,&quot;Name&quot;:&quot;Iowa&quot;,&quot;Value&quot;:1.0,&quot;Formula&quot;:&quot;&quot;,&quot;Text&quot;:&quot;&quot;,&quot;OfficeApplication&quot;:1,&quot;HasValue&quot;:true}">
                    <a:extLst>
                      <a:ext uri="{FF2B5EF4-FFF2-40B4-BE49-F238E27FC236}">
                        <a16:creationId xmlns:a16="http://schemas.microsoft.com/office/drawing/2014/main" id="{CBB21542-6AB6-E98E-047D-CA6E1EF59F8F}"/>
                      </a:ext>
                    </a:extLst>
                  </p:cNvPr>
                  <p:cNvSpPr>
                    <a:spLocks/>
                  </p:cNvSpPr>
                  <p:nvPr/>
                </p:nvSpPr>
                <p:spPr bwMode="auto">
                  <a:xfrm>
                    <a:off x="6765372" y="4408095"/>
                    <a:ext cx="365404" cy="236374"/>
                  </a:xfrm>
                  <a:custGeom>
                    <a:avLst/>
                    <a:gdLst>
                      <a:gd name="T0" fmla="*/ 641 w 701"/>
                      <a:gd name="T1" fmla="*/ 144 h 455"/>
                      <a:gd name="T2" fmla="*/ 670 w 701"/>
                      <a:gd name="T3" fmla="*/ 178 h 455"/>
                      <a:gd name="T4" fmla="*/ 701 w 701"/>
                      <a:gd name="T5" fmla="*/ 208 h 455"/>
                      <a:gd name="T6" fmla="*/ 685 w 701"/>
                      <a:gd name="T7" fmla="*/ 250 h 455"/>
                      <a:gd name="T8" fmla="*/ 673 w 701"/>
                      <a:gd name="T9" fmla="*/ 280 h 455"/>
                      <a:gd name="T10" fmla="*/ 645 w 701"/>
                      <a:gd name="T11" fmla="*/ 295 h 455"/>
                      <a:gd name="T12" fmla="*/ 608 w 701"/>
                      <a:gd name="T13" fmla="*/ 308 h 455"/>
                      <a:gd name="T14" fmla="*/ 605 w 701"/>
                      <a:gd name="T15" fmla="*/ 335 h 455"/>
                      <a:gd name="T16" fmla="*/ 621 w 701"/>
                      <a:gd name="T17" fmla="*/ 351 h 455"/>
                      <a:gd name="T18" fmla="*/ 608 w 701"/>
                      <a:gd name="T19" fmla="*/ 389 h 455"/>
                      <a:gd name="T20" fmla="*/ 599 w 701"/>
                      <a:gd name="T21" fmla="*/ 414 h 455"/>
                      <a:gd name="T22" fmla="*/ 579 w 701"/>
                      <a:gd name="T23" fmla="*/ 452 h 455"/>
                      <a:gd name="T24" fmla="*/ 545 w 701"/>
                      <a:gd name="T25" fmla="*/ 431 h 455"/>
                      <a:gd name="T26" fmla="*/ 515 w 701"/>
                      <a:gd name="T27" fmla="*/ 425 h 455"/>
                      <a:gd name="T28" fmla="*/ 338 w 701"/>
                      <a:gd name="T29" fmla="*/ 435 h 455"/>
                      <a:gd name="T30" fmla="*/ 236 w 701"/>
                      <a:gd name="T31" fmla="*/ 439 h 455"/>
                      <a:gd name="T32" fmla="*/ 93 w 701"/>
                      <a:gd name="T33" fmla="*/ 428 h 455"/>
                      <a:gd name="T34" fmla="*/ 86 w 701"/>
                      <a:gd name="T35" fmla="*/ 408 h 455"/>
                      <a:gd name="T36" fmla="*/ 81 w 701"/>
                      <a:gd name="T37" fmla="*/ 376 h 455"/>
                      <a:gd name="T38" fmla="*/ 76 w 701"/>
                      <a:gd name="T39" fmla="*/ 348 h 455"/>
                      <a:gd name="T40" fmla="*/ 73 w 701"/>
                      <a:gd name="T41" fmla="*/ 329 h 455"/>
                      <a:gd name="T42" fmla="*/ 59 w 701"/>
                      <a:gd name="T43" fmla="*/ 298 h 455"/>
                      <a:gd name="T44" fmla="*/ 61 w 701"/>
                      <a:gd name="T45" fmla="*/ 263 h 455"/>
                      <a:gd name="T46" fmla="*/ 51 w 701"/>
                      <a:gd name="T47" fmla="*/ 234 h 455"/>
                      <a:gd name="T48" fmla="*/ 39 w 701"/>
                      <a:gd name="T49" fmla="*/ 215 h 455"/>
                      <a:gd name="T50" fmla="*/ 31 w 701"/>
                      <a:gd name="T51" fmla="*/ 189 h 455"/>
                      <a:gd name="T52" fmla="*/ 25 w 701"/>
                      <a:gd name="T53" fmla="*/ 160 h 455"/>
                      <a:gd name="T54" fmla="*/ 11 w 701"/>
                      <a:gd name="T55" fmla="*/ 138 h 455"/>
                      <a:gd name="T56" fmla="*/ 7 w 701"/>
                      <a:gd name="T57" fmla="*/ 109 h 455"/>
                      <a:gd name="T58" fmla="*/ 14 w 701"/>
                      <a:gd name="T59" fmla="*/ 80 h 455"/>
                      <a:gd name="T60" fmla="*/ 16 w 701"/>
                      <a:gd name="T61" fmla="*/ 55 h 455"/>
                      <a:gd name="T62" fmla="*/ 11 w 701"/>
                      <a:gd name="T63" fmla="*/ 30 h 455"/>
                      <a:gd name="T64" fmla="*/ 20 w 701"/>
                      <a:gd name="T65" fmla="*/ 14 h 455"/>
                      <a:gd name="T66" fmla="*/ 191 w 701"/>
                      <a:gd name="T67" fmla="*/ 13 h 455"/>
                      <a:gd name="T68" fmla="*/ 397 w 701"/>
                      <a:gd name="T69" fmla="*/ 8 h 455"/>
                      <a:gd name="T70" fmla="*/ 570 w 701"/>
                      <a:gd name="T71" fmla="*/ 0 h 455"/>
                      <a:gd name="T72" fmla="*/ 586 w 701"/>
                      <a:gd name="T73" fmla="*/ 23 h 455"/>
                      <a:gd name="T74" fmla="*/ 581 w 701"/>
                      <a:gd name="T75" fmla="*/ 50 h 455"/>
                      <a:gd name="T76" fmla="*/ 597 w 701"/>
                      <a:gd name="T77" fmla="*/ 110 h 455"/>
                      <a:gd name="T78" fmla="*/ 635 w 701"/>
                      <a:gd name="T79" fmla="*/ 120 h 455"/>
                      <a:gd name="T80" fmla="*/ 643 w 701"/>
                      <a:gd name="T81" fmla="*/ 14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1" h="455">
                        <a:moveTo>
                          <a:pt x="643" y="141"/>
                        </a:moveTo>
                        <a:lnTo>
                          <a:pt x="641" y="144"/>
                        </a:lnTo>
                        <a:lnTo>
                          <a:pt x="663" y="159"/>
                        </a:lnTo>
                        <a:lnTo>
                          <a:pt x="670" y="178"/>
                        </a:lnTo>
                        <a:lnTo>
                          <a:pt x="696" y="195"/>
                        </a:lnTo>
                        <a:lnTo>
                          <a:pt x="701" y="208"/>
                        </a:lnTo>
                        <a:lnTo>
                          <a:pt x="696" y="239"/>
                        </a:lnTo>
                        <a:lnTo>
                          <a:pt x="685" y="250"/>
                        </a:lnTo>
                        <a:lnTo>
                          <a:pt x="683" y="270"/>
                        </a:lnTo>
                        <a:lnTo>
                          <a:pt x="673" y="280"/>
                        </a:lnTo>
                        <a:lnTo>
                          <a:pt x="655" y="286"/>
                        </a:lnTo>
                        <a:lnTo>
                          <a:pt x="645" y="295"/>
                        </a:lnTo>
                        <a:lnTo>
                          <a:pt x="614" y="300"/>
                        </a:lnTo>
                        <a:lnTo>
                          <a:pt x="608" y="308"/>
                        </a:lnTo>
                        <a:lnTo>
                          <a:pt x="604" y="326"/>
                        </a:lnTo>
                        <a:lnTo>
                          <a:pt x="605" y="335"/>
                        </a:lnTo>
                        <a:lnTo>
                          <a:pt x="615" y="341"/>
                        </a:lnTo>
                        <a:lnTo>
                          <a:pt x="621" y="351"/>
                        </a:lnTo>
                        <a:lnTo>
                          <a:pt x="620" y="370"/>
                        </a:lnTo>
                        <a:lnTo>
                          <a:pt x="608" y="389"/>
                        </a:lnTo>
                        <a:lnTo>
                          <a:pt x="605" y="406"/>
                        </a:lnTo>
                        <a:lnTo>
                          <a:pt x="599" y="414"/>
                        </a:lnTo>
                        <a:lnTo>
                          <a:pt x="578" y="424"/>
                        </a:lnTo>
                        <a:lnTo>
                          <a:pt x="579" y="452"/>
                        </a:lnTo>
                        <a:lnTo>
                          <a:pt x="573" y="455"/>
                        </a:lnTo>
                        <a:lnTo>
                          <a:pt x="545" y="431"/>
                        </a:lnTo>
                        <a:lnTo>
                          <a:pt x="539" y="423"/>
                        </a:lnTo>
                        <a:lnTo>
                          <a:pt x="515" y="425"/>
                        </a:lnTo>
                        <a:lnTo>
                          <a:pt x="389" y="434"/>
                        </a:lnTo>
                        <a:lnTo>
                          <a:pt x="338" y="435"/>
                        </a:lnTo>
                        <a:lnTo>
                          <a:pt x="286" y="438"/>
                        </a:lnTo>
                        <a:lnTo>
                          <a:pt x="236" y="439"/>
                        </a:lnTo>
                        <a:lnTo>
                          <a:pt x="94" y="436"/>
                        </a:lnTo>
                        <a:lnTo>
                          <a:pt x="93" y="428"/>
                        </a:lnTo>
                        <a:lnTo>
                          <a:pt x="83" y="418"/>
                        </a:lnTo>
                        <a:lnTo>
                          <a:pt x="86" y="408"/>
                        </a:lnTo>
                        <a:lnTo>
                          <a:pt x="85" y="380"/>
                        </a:lnTo>
                        <a:lnTo>
                          <a:pt x="81" y="376"/>
                        </a:lnTo>
                        <a:lnTo>
                          <a:pt x="81" y="354"/>
                        </a:lnTo>
                        <a:lnTo>
                          <a:pt x="76" y="348"/>
                        </a:lnTo>
                        <a:lnTo>
                          <a:pt x="81" y="331"/>
                        </a:lnTo>
                        <a:lnTo>
                          <a:pt x="73" y="329"/>
                        </a:lnTo>
                        <a:lnTo>
                          <a:pt x="75" y="310"/>
                        </a:lnTo>
                        <a:lnTo>
                          <a:pt x="59" y="298"/>
                        </a:lnTo>
                        <a:lnTo>
                          <a:pt x="56" y="284"/>
                        </a:lnTo>
                        <a:lnTo>
                          <a:pt x="61" y="263"/>
                        </a:lnTo>
                        <a:lnTo>
                          <a:pt x="54" y="251"/>
                        </a:lnTo>
                        <a:lnTo>
                          <a:pt x="51" y="234"/>
                        </a:lnTo>
                        <a:lnTo>
                          <a:pt x="40" y="224"/>
                        </a:lnTo>
                        <a:lnTo>
                          <a:pt x="39" y="215"/>
                        </a:lnTo>
                        <a:lnTo>
                          <a:pt x="30" y="203"/>
                        </a:lnTo>
                        <a:lnTo>
                          <a:pt x="31" y="189"/>
                        </a:lnTo>
                        <a:lnTo>
                          <a:pt x="25" y="179"/>
                        </a:lnTo>
                        <a:lnTo>
                          <a:pt x="25" y="160"/>
                        </a:lnTo>
                        <a:lnTo>
                          <a:pt x="16" y="156"/>
                        </a:lnTo>
                        <a:lnTo>
                          <a:pt x="11" y="138"/>
                        </a:lnTo>
                        <a:lnTo>
                          <a:pt x="0" y="123"/>
                        </a:lnTo>
                        <a:lnTo>
                          <a:pt x="7" y="109"/>
                        </a:lnTo>
                        <a:lnTo>
                          <a:pt x="14" y="91"/>
                        </a:lnTo>
                        <a:lnTo>
                          <a:pt x="14" y="80"/>
                        </a:lnTo>
                        <a:lnTo>
                          <a:pt x="19" y="69"/>
                        </a:lnTo>
                        <a:lnTo>
                          <a:pt x="16" y="55"/>
                        </a:lnTo>
                        <a:lnTo>
                          <a:pt x="7" y="54"/>
                        </a:lnTo>
                        <a:lnTo>
                          <a:pt x="11" y="30"/>
                        </a:lnTo>
                        <a:lnTo>
                          <a:pt x="5" y="14"/>
                        </a:lnTo>
                        <a:lnTo>
                          <a:pt x="20" y="14"/>
                        </a:lnTo>
                        <a:lnTo>
                          <a:pt x="89" y="14"/>
                        </a:lnTo>
                        <a:lnTo>
                          <a:pt x="191" y="13"/>
                        </a:lnTo>
                        <a:lnTo>
                          <a:pt x="295" y="11"/>
                        </a:lnTo>
                        <a:lnTo>
                          <a:pt x="397" y="8"/>
                        </a:lnTo>
                        <a:lnTo>
                          <a:pt x="501" y="4"/>
                        </a:lnTo>
                        <a:lnTo>
                          <a:pt x="570" y="0"/>
                        </a:lnTo>
                        <a:lnTo>
                          <a:pt x="576" y="20"/>
                        </a:lnTo>
                        <a:lnTo>
                          <a:pt x="586" y="23"/>
                        </a:lnTo>
                        <a:lnTo>
                          <a:pt x="589" y="31"/>
                        </a:lnTo>
                        <a:lnTo>
                          <a:pt x="581" y="50"/>
                        </a:lnTo>
                        <a:lnTo>
                          <a:pt x="587" y="85"/>
                        </a:lnTo>
                        <a:lnTo>
                          <a:pt x="597" y="110"/>
                        </a:lnTo>
                        <a:lnTo>
                          <a:pt x="606" y="115"/>
                        </a:lnTo>
                        <a:lnTo>
                          <a:pt x="635" y="120"/>
                        </a:lnTo>
                        <a:lnTo>
                          <a:pt x="644" y="136"/>
                        </a:lnTo>
                        <a:lnTo>
                          <a:pt x="643" y="141"/>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2" name="Oklahoma" descr="{&quot;Key&quot;:&quot;oklahoma&quot;,&quot;Name&quot;:&quot;Oklahoma&quot;,&quot;Value&quot;:1.0,&quot;Formula&quot;:&quot;&quot;,&quot;Text&quot;:&quot;&quot;,&quot;OfficeApplication&quot;:1,&quot;HasValue&quot;:true}">
                    <a:extLst>
                      <a:ext uri="{FF2B5EF4-FFF2-40B4-BE49-F238E27FC236}">
                        <a16:creationId xmlns:a16="http://schemas.microsoft.com/office/drawing/2014/main" id="{C7E47830-1416-8B6C-1F88-D58DD444A47F}"/>
                      </a:ext>
                    </a:extLst>
                  </p:cNvPr>
                  <p:cNvSpPr>
                    <a:spLocks/>
                  </p:cNvSpPr>
                  <p:nvPr/>
                </p:nvSpPr>
                <p:spPr bwMode="auto">
                  <a:xfrm>
                    <a:off x="6375030" y="4891685"/>
                    <a:ext cx="522625" cy="268902"/>
                  </a:xfrm>
                  <a:custGeom>
                    <a:avLst/>
                    <a:gdLst>
                      <a:gd name="T0" fmla="*/ 1003 w 1003"/>
                      <a:gd name="T1" fmla="*/ 264 h 517"/>
                      <a:gd name="T2" fmla="*/ 996 w 1003"/>
                      <a:gd name="T3" fmla="*/ 517 h 517"/>
                      <a:gd name="T4" fmla="*/ 955 w 1003"/>
                      <a:gd name="T5" fmla="*/ 502 h 517"/>
                      <a:gd name="T6" fmla="*/ 913 w 1003"/>
                      <a:gd name="T7" fmla="*/ 472 h 517"/>
                      <a:gd name="T8" fmla="*/ 895 w 1003"/>
                      <a:gd name="T9" fmla="*/ 486 h 517"/>
                      <a:gd name="T10" fmla="*/ 866 w 1003"/>
                      <a:gd name="T11" fmla="*/ 475 h 517"/>
                      <a:gd name="T12" fmla="*/ 835 w 1003"/>
                      <a:gd name="T13" fmla="*/ 488 h 517"/>
                      <a:gd name="T14" fmla="*/ 813 w 1003"/>
                      <a:gd name="T15" fmla="*/ 490 h 517"/>
                      <a:gd name="T16" fmla="*/ 793 w 1003"/>
                      <a:gd name="T17" fmla="*/ 502 h 517"/>
                      <a:gd name="T18" fmla="*/ 778 w 1003"/>
                      <a:gd name="T19" fmla="*/ 511 h 517"/>
                      <a:gd name="T20" fmla="*/ 758 w 1003"/>
                      <a:gd name="T21" fmla="*/ 499 h 517"/>
                      <a:gd name="T22" fmla="*/ 734 w 1003"/>
                      <a:gd name="T23" fmla="*/ 489 h 517"/>
                      <a:gd name="T24" fmla="*/ 708 w 1003"/>
                      <a:gd name="T25" fmla="*/ 474 h 517"/>
                      <a:gd name="T26" fmla="*/ 685 w 1003"/>
                      <a:gd name="T27" fmla="*/ 505 h 517"/>
                      <a:gd name="T28" fmla="*/ 675 w 1003"/>
                      <a:gd name="T29" fmla="*/ 486 h 517"/>
                      <a:gd name="T30" fmla="*/ 651 w 1003"/>
                      <a:gd name="T31" fmla="*/ 491 h 517"/>
                      <a:gd name="T32" fmla="*/ 628 w 1003"/>
                      <a:gd name="T33" fmla="*/ 481 h 517"/>
                      <a:gd name="T34" fmla="*/ 615 w 1003"/>
                      <a:gd name="T35" fmla="*/ 469 h 517"/>
                      <a:gd name="T36" fmla="*/ 590 w 1003"/>
                      <a:gd name="T37" fmla="*/ 485 h 517"/>
                      <a:gd name="T38" fmla="*/ 583 w 1003"/>
                      <a:gd name="T39" fmla="*/ 469 h 517"/>
                      <a:gd name="T40" fmla="*/ 565 w 1003"/>
                      <a:gd name="T41" fmla="*/ 445 h 517"/>
                      <a:gd name="T42" fmla="*/ 526 w 1003"/>
                      <a:gd name="T43" fmla="*/ 452 h 517"/>
                      <a:gd name="T44" fmla="*/ 508 w 1003"/>
                      <a:gd name="T45" fmla="*/ 441 h 517"/>
                      <a:gd name="T46" fmla="*/ 470 w 1003"/>
                      <a:gd name="T47" fmla="*/ 437 h 517"/>
                      <a:gd name="T48" fmla="*/ 453 w 1003"/>
                      <a:gd name="T49" fmla="*/ 431 h 517"/>
                      <a:gd name="T50" fmla="*/ 434 w 1003"/>
                      <a:gd name="T51" fmla="*/ 414 h 517"/>
                      <a:gd name="T52" fmla="*/ 410 w 1003"/>
                      <a:gd name="T53" fmla="*/ 394 h 517"/>
                      <a:gd name="T54" fmla="*/ 391 w 1003"/>
                      <a:gd name="T55" fmla="*/ 399 h 517"/>
                      <a:gd name="T56" fmla="*/ 351 w 1003"/>
                      <a:gd name="T57" fmla="*/ 375 h 517"/>
                      <a:gd name="T58" fmla="*/ 350 w 1003"/>
                      <a:gd name="T59" fmla="*/ 94 h 517"/>
                      <a:gd name="T60" fmla="*/ 139 w 1003"/>
                      <a:gd name="T61" fmla="*/ 81 h 517"/>
                      <a:gd name="T62" fmla="*/ 5 w 1003"/>
                      <a:gd name="T63" fmla="*/ 0 h 517"/>
                      <a:gd name="T64" fmla="*/ 200 w 1003"/>
                      <a:gd name="T65" fmla="*/ 12 h 517"/>
                      <a:gd name="T66" fmla="*/ 415 w 1003"/>
                      <a:gd name="T67" fmla="*/ 22 h 517"/>
                      <a:gd name="T68" fmla="*/ 629 w 1003"/>
                      <a:gd name="T69" fmla="*/ 29 h 517"/>
                      <a:gd name="T70" fmla="*/ 844 w 1003"/>
                      <a:gd name="T71" fmla="*/ 31 h 517"/>
                      <a:gd name="T72" fmla="*/ 979 w 1003"/>
                      <a:gd name="T73" fmla="*/ 102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3" h="517">
                        <a:moveTo>
                          <a:pt x="979" y="102"/>
                        </a:moveTo>
                        <a:lnTo>
                          <a:pt x="1003" y="264"/>
                        </a:lnTo>
                        <a:lnTo>
                          <a:pt x="1003" y="517"/>
                        </a:lnTo>
                        <a:lnTo>
                          <a:pt x="996" y="517"/>
                        </a:lnTo>
                        <a:lnTo>
                          <a:pt x="969" y="506"/>
                        </a:lnTo>
                        <a:lnTo>
                          <a:pt x="955" y="502"/>
                        </a:lnTo>
                        <a:lnTo>
                          <a:pt x="941" y="487"/>
                        </a:lnTo>
                        <a:lnTo>
                          <a:pt x="913" y="472"/>
                        </a:lnTo>
                        <a:lnTo>
                          <a:pt x="906" y="481"/>
                        </a:lnTo>
                        <a:lnTo>
                          <a:pt x="895" y="486"/>
                        </a:lnTo>
                        <a:lnTo>
                          <a:pt x="874" y="483"/>
                        </a:lnTo>
                        <a:lnTo>
                          <a:pt x="866" y="475"/>
                        </a:lnTo>
                        <a:lnTo>
                          <a:pt x="845" y="487"/>
                        </a:lnTo>
                        <a:lnTo>
                          <a:pt x="835" y="488"/>
                        </a:lnTo>
                        <a:lnTo>
                          <a:pt x="825" y="482"/>
                        </a:lnTo>
                        <a:lnTo>
                          <a:pt x="813" y="490"/>
                        </a:lnTo>
                        <a:lnTo>
                          <a:pt x="799" y="493"/>
                        </a:lnTo>
                        <a:lnTo>
                          <a:pt x="793" y="502"/>
                        </a:lnTo>
                        <a:lnTo>
                          <a:pt x="783" y="502"/>
                        </a:lnTo>
                        <a:lnTo>
                          <a:pt x="778" y="511"/>
                        </a:lnTo>
                        <a:lnTo>
                          <a:pt x="768" y="499"/>
                        </a:lnTo>
                        <a:lnTo>
                          <a:pt x="758" y="499"/>
                        </a:lnTo>
                        <a:lnTo>
                          <a:pt x="739" y="480"/>
                        </a:lnTo>
                        <a:lnTo>
                          <a:pt x="734" y="489"/>
                        </a:lnTo>
                        <a:lnTo>
                          <a:pt x="714" y="485"/>
                        </a:lnTo>
                        <a:lnTo>
                          <a:pt x="708" y="474"/>
                        </a:lnTo>
                        <a:lnTo>
                          <a:pt x="688" y="495"/>
                        </a:lnTo>
                        <a:lnTo>
                          <a:pt x="685" y="505"/>
                        </a:lnTo>
                        <a:lnTo>
                          <a:pt x="673" y="497"/>
                        </a:lnTo>
                        <a:lnTo>
                          <a:pt x="675" y="486"/>
                        </a:lnTo>
                        <a:lnTo>
                          <a:pt x="671" y="480"/>
                        </a:lnTo>
                        <a:lnTo>
                          <a:pt x="651" y="491"/>
                        </a:lnTo>
                        <a:lnTo>
                          <a:pt x="640" y="482"/>
                        </a:lnTo>
                        <a:lnTo>
                          <a:pt x="628" y="481"/>
                        </a:lnTo>
                        <a:lnTo>
                          <a:pt x="624" y="469"/>
                        </a:lnTo>
                        <a:lnTo>
                          <a:pt x="615" y="469"/>
                        </a:lnTo>
                        <a:lnTo>
                          <a:pt x="600" y="482"/>
                        </a:lnTo>
                        <a:lnTo>
                          <a:pt x="590" y="485"/>
                        </a:lnTo>
                        <a:lnTo>
                          <a:pt x="580" y="481"/>
                        </a:lnTo>
                        <a:lnTo>
                          <a:pt x="583" y="469"/>
                        </a:lnTo>
                        <a:lnTo>
                          <a:pt x="565" y="461"/>
                        </a:lnTo>
                        <a:lnTo>
                          <a:pt x="565" y="445"/>
                        </a:lnTo>
                        <a:lnTo>
                          <a:pt x="535" y="444"/>
                        </a:lnTo>
                        <a:lnTo>
                          <a:pt x="526" y="452"/>
                        </a:lnTo>
                        <a:lnTo>
                          <a:pt x="516" y="452"/>
                        </a:lnTo>
                        <a:lnTo>
                          <a:pt x="508" y="441"/>
                        </a:lnTo>
                        <a:lnTo>
                          <a:pt x="490" y="442"/>
                        </a:lnTo>
                        <a:lnTo>
                          <a:pt x="470" y="437"/>
                        </a:lnTo>
                        <a:lnTo>
                          <a:pt x="461" y="431"/>
                        </a:lnTo>
                        <a:lnTo>
                          <a:pt x="453" y="431"/>
                        </a:lnTo>
                        <a:lnTo>
                          <a:pt x="433" y="427"/>
                        </a:lnTo>
                        <a:lnTo>
                          <a:pt x="434" y="414"/>
                        </a:lnTo>
                        <a:lnTo>
                          <a:pt x="425" y="401"/>
                        </a:lnTo>
                        <a:lnTo>
                          <a:pt x="410" y="394"/>
                        </a:lnTo>
                        <a:lnTo>
                          <a:pt x="409" y="404"/>
                        </a:lnTo>
                        <a:lnTo>
                          <a:pt x="391" y="399"/>
                        </a:lnTo>
                        <a:lnTo>
                          <a:pt x="375" y="401"/>
                        </a:lnTo>
                        <a:lnTo>
                          <a:pt x="351" y="375"/>
                        </a:lnTo>
                        <a:lnTo>
                          <a:pt x="338" y="374"/>
                        </a:lnTo>
                        <a:lnTo>
                          <a:pt x="350" y="94"/>
                        </a:lnTo>
                        <a:lnTo>
                          <a:pt x="263" y="89"/>
                        </a:lnTo>
                        <a:lnTo>
                          <a:pt x="139" y="81"/>
                        </a:lnTo>
                        <a:lnTo>
                          <a:pt x="0" y="72"/>
                        </a:lnTo>
                        <a:lnTo>
                          <a:pt x="5" y="0"/>
                        </a:lnTo>
                        <a:lnTo>
                          <a:pt x="116" y="7"/>
                        </a:lnTo>
                        <a:lnTo>
                          <a:pt x="200" y="12"/>
                        </a:lnTo>
                        <a:lnTo>
                          <a:pt x="308" y="19"/>
                        </a:lnTo>
                        <a:lnTo>
                          <a:pt x="415" y="22"/>
                        </a:lnTo>
                        <a:lnTo>
                          <a:pt x="495" y="26"/>
                        </a:lnTo>
                        <a:lnTo>
                          <a:pt x="629" y="29"/>
                        </a:lnTo>
                        <a:lnTo>
                          <a:pt x="764" y="30"/>
                        </a:lnTo>
                        <a:lnTo>
                          <a:pt x="844" y="31"/>
                        </a:lnTo>
                        <a:lnTo>
                          <a:pt x="979" y="30"/>
                        </a:lnTo>
                        <a:lnTo>
                          <a:pt x="979" y="102"/>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3" name="South Dakota" descr="{&quot;Key&quot;:&quot;south dakota&quot;,&quot;Name&quot;:&quot;South Dakota&quot;,&quot;Value&quot;:1.0,&quot;Formula&quot;:&quot;&quot;,&quot;Text&quot;:&quot;&quot;,&quot;OfficeApplication&quot;:1,&quot;HasValue&quot;:true}">
                    <a:extLst>
                      <a:ext uri="{FF2B5EF4-FFF2-40B4-BE49-F238E27FC236}">
                        <a16:creationId xmlns:a16="http://schemas.microsoft.com/office/drawing/2014/main" id="{DF71E905-06DC-90CD-0553-AF35F7E73F67}"/>
                      </a:ext>
                    </a:extLst>
                  </p:cNvPr>
                  <p:cNvSpPr>
                    <a:spLocks/>
                  </p:cNvSpPr>
                  <p:nvPr/>
                </p:nvSpPr>
                <p:spPr bwMode="auto">
                  <a:xfrm>
                    <a:off x="6354428" y="4209671"/>
                    <a:ext cx="421786" cy="279745"/>
                  </a:xfrm>
                  <a:custGeom>
                    <a:avLst/>
                    <a:gdLst>
                      <a:gd name="T0" fmla="*/ 800 w 810"/>
                      <a:gd name="T1" fmla="*/ 36 h 536"/>
                      <a:gd name="T2" fmla="*/ 791 w 810"/>
                      <a:gd name="T3" fmla="*/ 63 h 536"/>
                      <a:gd name="T4" fmla="*/ 770 w 810"/>
                      <a:gd name="T5" fmla="*/ 80 h 536"/>
                      <a:gd name="T6" fmla="*/ 768 w 810"/>
                      <a:gd name="T7" fmla="*/ 86 h 536"/>
                      <a:gd name="T8" fmla="*/ 786 w 810"/>
                      <a:gd name="T9" fmla="*/ 115 h 536"/>
                      <a:gd name="T10" fmla="*/ 799 w 810"/>
                      <a:gd name="T11" fmla="*/ 118 h 536"/>
                      <a:gd name="T12" fmla="*/ 810 w 810"/>
                      <a:gd name="T13" fmla="*/ 131 h 536"/>
                      <a:gd name="T14" fmla="*/ 809 w 810"/>
                      <a:gd name="T15" fmla="*/ 394 h 536"/>
                      <a:gd name="T16" fmla="*/ 794 w 810"/>
                      <a:gd name="T17" fmla="*/ 394 h 536"/>
                      <a:gd name="T18" fmla="*/ 800 w 810"/>
                      <a:gd name="T19" fmla="*/ 410 h 536"/>
                      <a:gd name="T20" fmla="*/ 796 w 810"/>
                      <a:gd name="T21" fmla="*/ 434 h 536"/>
                      <a:gd name="T22" fmla="*/ 805 w 810"/>
                      <a:gd name="T23" fmla="*/ 435 h 536"/>
                      <a:gd name="T24" fmla="*/ 808 w 810"/>
                      <a:gd name="T25" fmla="*/ 449 h 536"/>
                      <a:gd name="T26" fmla="*/ 803 w 810"/>
                      <a:gd name="T27" fmla="*/ 460 h 536"/>
                      <a:gd name="T28" fmla="*/ 803 w 810"/>
                      <a:gd name="T29" fmla="*/ 471 h 536"/>
                      <a:gd name="T30" fmla="*/ 796 w 810"/>
                      <a:gd name="T31" fmla="*/ 489 h 536"/>
                      <a:gd name="T32" fmla="*/ 789 w 810"/>
                      <a:gd name="T33" fmla="*/ 503 h 536"/>
                      <a:gd name="T34" fmla="*/ 800 w 810"/>
                      <a:gd name="T35" fmla="*/ 518 h 536"/>
                      <a:gd name="T36" fmla="*/ 805 w 810"/>
                      <a:gd name="T37" fmla="*/ 536 h 536"/>
                      <a:gd name="T38" fmla="*/ 791 w 810"/>
                      <a:gd name="T39" fmla="*/ 534 h 536"/>
                      <a:gd name="T40" fmla="*/ 783 w 810"/>
                      <a:gd name="T41" fmla="*/ 523 h 536"/>
                      <a:gd name="T42" fmla="*/ 780 w 810"/>
                      <a:gd name="T43" fmla="*/ 514 h 536"/>
                      <a:gd name="T44" fmla="*/ 771 w 810"/>
                      <a:gd name="T45" fmla="*/ 511 h 536"/>
                      <a:gd name="T46" fmla="*/ 765 w 810"/>
                      <a:gd name="T47" fmla="*/ 504 h 536"/>
                      <a:gd name="T48" fmla="*/ 736 w 810"/>
                      <a:gd name="T49" fmla="*/ 496 h 536"/>
                      <a:gd name="T50" fmla="*/ 718 w 810"/>
                      <a:gd name="T51" fmla="*/ 482 h 536"/>
                      <a:gd name="T52" fmla="*/ 679 w 810"/>
                      <a:gd name="T53" fmla="*/ 486 h 536"/>
                      <a:gd name="T54" fmla="*/ 660 w 810"/>
                      <a:gd name="T55" fmla="*/ 484 h 536"/>
                      <a:gd name="T56" fmla="*/ 649 w 810"/>
                      <a:gd name="T57" fmla="*/ 495 h 536"/>
                      <a:gd name="T58" fmla="*/ 643 w 810"/>
                      <a:gd name="T59" fmla="*/ 496 h 536"/>
                      <a:gd name="T60" fmla="*/ 618 w 810"/>
                      <a:gd name="T61" fmla="*/ 482 h 536"/>
                      <a:gd name="T62" fmla="*/ 591 w 810"/>
                      <a:gd name="T63" fmla="*/ 462 h 536"/>
                      <a:gd name="T64" fmla="*/ 473 w 810"/>
                      <a:gd name="T65" fmla="*/ 459 h 536"/>
                      <a:gd name="T66" fmla="*/ 383 w 810"/>
                      <a:gd name="T67" fmla="*/ 455 h 536"/>
                      <a:gd name="T68" fmla="*/ 274 w 810"/>
                      <a:gd name="T69" fmla="*/ 449 h 536"/>
                      <a:gd name="T70" fmla="*/ 111 w 810"/>
                      <a:gd name="T71" fmla="*/ 437 h 536"/>
                      <a:gd name="T72" fmla="*/ 0 w 810"/>
                      <a:gd name="T73" fmla="*/ 429 h 536"/>
                      <a:gd name="T74" fmla="*/ 25 w 810"/>
                      <a:gd name="T75" fmla="*/ 137 h 536"/>
                      <a:gd name="T76" fmla="*/ 28 w 810"/>
                      <a:gd name="T77" fmla="*/ 137 h 536"/>
                      <a:gd name="T78" fmla="*/ 39 w 810"/>
                      <a:gd name="T79" fmla="*/ 0 h 536"/>
                      <a:gd name="T80" fmla="*/ 184 w 810"/>
                      <a:gd name="T81" fmla="*/ 12 h 536"/>
                      <a:gd name="T82" fmla="*/ 326 w 810"/>
                      <a:gd name="T83" fmla="*/ 21 h 536"/>
                      <a:gd name="T84" fmla="*/ 420 w 810"/>
                      <a:gd name="T85" fmla="*/ 26 h 536"/>
                      <a:gd name="T86" fmla="*/ 515 w 810"/>
                      <a:gd name="T87" fmla="*/ 30 h 536"/>
                      <a:gd name="T88" fmla="*/ 610 w 810"/>
                      <a:gd name="T89" fmla="*/ 34 h 536"/>
                      <a:gd name="T90" fmla="*/ 705 w 810"/>
                      <a:gd name="T91" fmla="*/ 36 h 536"/>
                      <a:gd name="T92" fmla="*/ 800 w 810"/>
                      <a:gd name="T93" fmla="*/ 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0" h="536">
                        <a:moveTo>
                          <a:pt x="800" y="36"/>
                        </a:moveTo>
                        <a:lnTo>
                          <a:pt x="791" y="63"/>
                        </a:lnTo>
                        <a:lnTo>
                          <a:pt x="770" y="80"/>
                        </a:lnTo>
                        <a:lnTo>
                          <a:pt x="768" y="86"/>
                        </a:lnTo>
                        <a:lnTo>
                          <a:pt x="786" y="115"/>
                        </a:lnTo>
                        <a:lnTo>
                          <a:pt x="799" y="118"/>
                        </a:lnTo>
                        <a:lnTo>
                          <a:pt x="810" y="131"/>
                        </a:lnTo>
                        <a:lnTo>
                          <a:pt x="809" y="394"/>
                        </a:lnTo>
                        <a:lnTo>
                          <a:pt x="794" y="394"/>
                        </a:lnTo>
                        <a:lnTo>
                          <a:pt x="800" y="410"/>
                        </a:lnTo>
                        <a:lnTo>
                          <a:pt x="796" y="434"/>
                        </a:lnTo>
                        <a:lnTo>
                          <a:pt x="805" y="435"/>
                        </a:lnTo>
                        <a:lnTo>
                          <a:pt x="808" y="449"/>
                        </a:lnTo>
                        <a:lnTo>
                          <a:pt x="803" y="460"/>
                        </a:lnTo>
                        <a:lnTo>
                          <a:pt x="803" y="471"/>
                        </a:lnTo>
                        <a:lnTo>
                          <a:pt x="796" y="489"/>
                        </a:lnTo>
                        <a:lnTo>
                          <a:pt x="789" y="503"/>
                        </a:lnTo>
                        <a:lnTo>
                          <a:pt x="800" y="518"/>
                        </a:lnTo>
                        <a:lnTo>
                          <a:pt x="805" y="536"/>
                        </a:lnTo>
                        <a:lnTo>
                          <a:pt x="791" y="534"/>
                        </a:lnTo>
                        <a:lnTo>
                          <a:pt x="783" y="523"/>
                        </a:lnTo>
                        <a:lnTo>
                          <a:pt x="780" y="514"/>
                        </a:lnTo>
                        <a:lnTo>
                          <a:pt x="771" y="511"/>
                        </a:lnTo>
                        <a:lnTo>
                          <a:pt x="765" y="504"/>
                        </a:lnTo>
                        <a:lnTo>
                          <a:pt x="736" y="496"/>
                        </a:lnTo>
                        <a:lnTo>
                          <a:pt x="718" y="482"/>
                        </a:lnTo>
                        <a:lnTo>
                          <a:pt x="679" y="486"/>
                        </a:lnTo>
                        <a:lnTo>
                          <a:pt x="660" y="484"/>
                        </a:lnTo>
                        <a:lnTo>
                          <a:pt x="649" y="495"/>
                        </a:lnTo>
                        <a:lnTo>
                          <a:pt x="643" y="496"/>
                        </a:lnTo>
                        <a:lnTo>
                          <a:pt x="618" y="482"/>
                        </a:lnTo>
                        <a:lnTo>
                          <a:pt x="591" y="462"/>
                        </a:lnTo>
                        <a:lnTo>
                          <a:pt x="473" y="459"/>
                        </a:lnTo>
                        <a:lnTo>
                          <a:pt x="383" y="455"/>
                        </a:lnTo>
                        <a:lnTo>
                          <a:pt x="274" y="449"/>
                        </a:lnTo>
                        <a:lnTo>
                          <a:pt x="111" y="437"/>
                        </a:lnTo>
                        <a:lnTo>
                          <a:pt x="0" y="429"/>
                        </a:lnTo>
                        <a:lnTo>
                          <a:pt x="25" y="137"/>
                        </a:lnTo>
                        <a:lnTo>
                          <a:pt x="28" y="137"/>
                        </a:lnTo>
                        <a:lnTo>
                          <a:pt x="39" y="0"/>
                        </a:lnTo>
                        <a:lnTo>
                          <a:pt x="184" y="12"/>
                        </a:lnTo>
                        <a:lnTo>
                          <a:pt x="326" y="21"/>
                        </a:lnTo>
                        <a:lnTo>
                          <a:pt x="420" y="26"/>
                        </a:lnTo>
                        <a:lnTo>
                          <a:pt x="515" y="30"/>
                        </a:lnTo>
                        <a:lnTo>
                          <a:pt x="610" y="34"/>
                        </a:lnTo>
                        <a:lnTo>
                          <a:pt x="705" y="36"/>
                        </a:lnTo>
                        <a:lnTo>
                          <a:pt x="800" y="36"/>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4" name="Georgia" descr="{&quot;Key&quot;:&quot;georgia&quot;,&quot;Name&quot;:&quot;Georgia&quot;,&quot;Value&quot;:1.0,&quot;Formula&quot;:&quot;&quot;,&quot;Text&quot;:&quot;&quot;,&quot;OfficeApplication&quot;:1,&quot;HasValue&quot;:true}">
                    <a:extLst>
                      <a:ext uri="{FF2B5EF4-FFF2-40B4-BE49-F238E27FC236}">
                        <a16:creationId xmlns:a16="http://schemas.microsoft.com/office/drawing/2014/main" id="{F1429099-11FB-B2CD-105B-848BB076A740}"/>
                      </a:ext>
                    </a:extLst>
                  </p:cNvPr>
                  <p:cNvSpPr>
                    <a:spLocks noEditPoints="1"/>
                  </p:cNvSpPr>
                  <p:nvPr/>
                </p:nvSpPr>
                <p:spPr bwMode="auto">
                  <a:xfrm>
                    <a:off x="7445218" y="5002282"/>
                    <a:ext cx="330707" cy="340465"/>
                  </a:xfrm>
                  <a:custGeom>
                    <a:avLst/>
                    <a:gdLst>
                      <a:gd name="T0" fmla="*/ 593 w 635"/>
                      <a:gd name="T1" fmla="*/ 485 h 654"/>
                      <a:gd name="T2" fmla="*/ 605 w 635"/>
                      <a:gd name="T3" fmla="*/ 468 h 654"/>
                      <a:gd name="T4" fmla="*/ 628 w 635"/>
                      <a:gd name="T5" fmla="*/ 388 h 654"/>
                      <a:gd name="T6" fmla="*/ 622 w 635"/>
                      <a:gd name="T7" fmla="*/ 414 h 654"/>
                      <a:gd name="T8" fmla="*/ 613 w 635"/>
                      <a:gd name="T9" fmla="*/ 427 h 654"/>
                      <a:gd name="T10" fmla="*/ 589 w 635"/>
                      <a:gd name="T11" fmla="*/ 463 h 654"/>
                      <a:gd name="T12" fmla="*/ 592 w 635"/>
                      <a:gd name="T13" fmla="*/ 500 h 654"/>
                      <a:gd name="T14" fmla="*/ 589 w 635"/>
                      <a:gd name="T15" fmla="*/ 527 h 654"/>
                      <a:gd name="T16" fmla="*/ 579 w 635"/>
                      <a:gd name="T17" fmla="*/ 554 h 654"/>
                      <a:gd name="T18" fmla="*/ 584 w 635"/>
                      <a:gd name="T19" fmla="*/ 592 h 654"/>
                      <a:gd name="T20" fmla="*/ 531 w 635"/>
                      <a:gd name="T21" fmla="*/ 584 h 654"/>
                      <a:gd name="T22" fmla="*/ 516 w 635"/>
                      <a:gd name="T23" fmla="*/ 598 h 654"/>
                      <a:gd name="T24" fmla="*/ 523 w 635"/>
                      <a:gd name="T25" fmla="*/ 619 h 654"/>
                      <a:gd name="T26" fmla="*/ 509 w 635"/>
                      <a:gd name="T27" fmla="*/ 654 h 654"/>
                      <a:gd name="T28" fmla="*/ 495 w 635"/>
                      <a:gd name="T29" fmla="*/ 626 h 654"/>
                      <a:gd name="T30" fmla="*/ 164 w 635"/>
                      <a:gd name="T31" fmla="*/ 649 h 654"/>
                      <a:gd name="T32" fmla="*/ 150 w 635"/>
                      <a:gd name="T33" fmla="*/ 625 h 654"/>
                      <a:gd name="T34" fmla="*/ 138 w 635"/>
                      <a:gd name="T35" fmla="*/ 599 h 654"/>
                      <a:gd name="T36" fmla="*/ 123 w 635"/>
                      <a:gd name="T37" fmla="*/ 573 h 654"/>
                      <a:gd name="T38" fmla="*/ 116 w 635"/>
                      <a:gd name="T39" fmla="*/ 511 h 654"/>
                      <a:gd name="T40" fmla="*/ 116 w 635"/>
                      <a:gd name="T41" fmla="*/ 465 h 654"/>
                      <a:gd name="T42" fmla="*/ 131 w 635"/>
                      <a:gd name="T43" fmla="*/ 426 h 654"/>
                      <a:gd name="T44" fmla="*/ 120 w 635"/>
                      <a:gd name="T45" fmla="*/ 401 h 654"/>
                      <a:gd name="T46" fmla="*/ 103 w 635"/>
                      <a:gd name="T47" fmla="*/ 376 h 654"/>
                      <a:gd name="T48" fmla="*/ 89 w 635"/>
                      <a:gd name="T49" fmla="*/ 349 h 654"/>
                      <a:gd name="T50" fmla="*/ 29 w 635"/>
                      <a:gd name="T51" fmla="*/ 143 h 654"/>
                      <a:gd name="T52" fmla="*/ 0 w 635"/>
                      <a:gd name="T53" fmla="*/ 41 h 654"/>
                      <a:gd name="T54" fmla="*/ 151 w 635"/>
                      <a:gd name="T55" fmla="*/ 21 h 654"/>
                      <a:gd name="T56" fmla="*/ 290 w 635"/>
                      <a:gd name="T57" fmla="*/ 10 h 654"/>
                      <a:gd name="T58" fmla="*/ 271 w 635"/>
                      <a:gd name="T59" fmla="*/ 46 h 654"/>
                      <a:gd name="T60" fmla="*/ 303 w 635"/>
                      <a:gd name="T61" fmla="*/ 63 h 654"/>
                      <a:gd name="T62" fmla="*/ 336 w 635"/>
                      <a:gd name="T63" fmla="*/ 74 h 654"/>
                      <a:gd name="T64" fmla="*/ 356 w 635"/>
                      <a:gd name="T65" fmla="*/ 111 h 654"/>
                      <a:gd name="T66" fmla="*/ 380 w 635"/>
                      <a:gd name="T67" fmla="*/ 140 h 654"/>
                      <a:gd name="T68" fmla="*/ 424 w 635"/>
                      <a:gd name="T69" fmla="*/ 165 h 654"/>
                      <a:gd name="T70" fmla="*/ 453 w 635"/>
                      <a:gd name="T71" fmla="*/ 189 h 654"/>
                      <a:gd name="T72" fmla="*/ 470 w 635"/>
                      <a:gd name="T73" fmla="*/ 216 h 654"/>
                      <a:gd name="T74" fmla="*/ 488 w 635"/>
                      <a:gd name="T75" fmla="*/ 234 h 654"/>
                      <a:gd name="T76" fmla="*/ 528 w 635"/>
                      <a:gd name="T77" fmla="*/ 255 h 654"/>
                      <a:gd name="T78" fmla="*/ 543 w 635"/>
                      <a:gd name="T79" fmla="*/ 280 h 654"/>
                      <a:gd name="T80" fmla="*/ 551 w 635"/>
                      <a:gd name="T81" fmla="*/ 313 h 654"/>
                      <a:gd name="T82" fmla="*/ 593 w 635"/>
                      <a:gd name="T83" fmla="*/ 354 h 654"/>
                      <a:gd name="T84" fmla="*/ 604 w 635"/>
                      <a:gd name="T85" fmla="*/ 384 h 654"/>
                      <a:gd name="T86" fmla="*/ 628 w 635"/>
                      <a:gd name="T87" fmla="*/ 38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5" h="654">
                        <a:moveTo>
                          <a:pt x="598" y="488"/>
                        </a:moveTo>
                        <a:lnTo>
                          <a:pt x="593" y="485"/>
                        </a:lnTo>
                        <a:lnTo>
                          <a:pt x="598" y="468"/>
                        </a:lnTo>
                        <a:lnTo>
                          <a:pt x="605" y="468"/>
                        </a:lnTo>
                        <a:lnTo>
                          <a:pt x="598" y="488"/>
                        </a:lnTo>
                        <a:close/>
                        <a:moveTo>
                          <a:pt x="628" y="388"/>
                        </a:moveTo>
                        <a:lnTo>
                          <a:pt x="635" y="390"/>
                        </a:lnTo>
                        <a:lnTo>
                          <a:pt x="622" y="414"/>
                        </a:lnTo>
                        <a:lnTo>
                          <a:pt x="609" y="412"/>
                        </a:lnTo>
                        <a:lnTo>
                          <a:pt x="613" y="427"/>
                        </a:lnTo>
                        <a:lnTo>
                          <a:pt x="598" y="439"/>
                        </a:lnTo>
                        <a:lnTo>
                          <a:pt x="589" y="463"/>
                        </a:lnTo>
                        <a:lnTo>
                          <a:pt x="585" y="487"/>
                        </a:lnTo>
                        <a:lnTo>
                          <a:pt x="592" y="500"/>
                        </a:lnTo>
                        <a:lnTo>
                          <a:pt x="600" y="505"/>
                        </a:lnTo>
                        <a:lnTo>
                          <a:pt x="589" y="527"/>
                        </a:lnTo>
                        <a:lnTo>
                          <a:pt x="587" y="544"/>
                        </a:lnTo>
                        <a:lnTo>
                          <a:pt x="579" y="554"/>
                        </a:lnTo>
                        <a:lnTo>
                          <a:pt x="578" y="570"/>
                        </a:lnTo>
                        <a:lnTo>
                          <a:pt x="584" y="592"/>
                        </a:lnTo>
                        <a:lnTo>
                          <a:pt x="558" y="592"/>
                        </a:lnTo>
                        <a:lnTo>
                          <a:pt x="531" y="584"/>
                        </a:lnTo>
                        <a:lnTo>
                          <a:pt x="524" y="587"/>
                        </a:lnTo>
                        <a:lnTo>
                          <a:pt x="516" y="598"/>
                        </a:lnTo>
                        <a:lnTo>
                          <a:pt x="518" y="610"/>
                        </a:lnTo>
                        <a:lnTo>
                          <a:pt x="523" y="619"/>
                        </a:lnTo>
                        <a:lnTo>
                          <a:pt x="524" y="650"/>
                        </a:lnTo>
                        <a:lnTo>
                          <a:pt x="509" y="654"/>
                        </a:lnTo>
                        <a:lnTo>
                          <a:pt x="501" y="648"/>
                        </a:lnTo>
                        <a:lnTo>
                          <a:pt x="495" y="626"/>
                        </a:lnTo>
                        <a:lnTo>
                          <a:pt x="328" y="639"/>
                        </a:lnTo>
                        <a:lnTo>
                          <a:pt x="164" y="649"/>
                        </a:lnTo>
                        <a:lnTo>
                          <a:pt x="156" y="644"/>
                        </a:lnTo>
                        <a:lnTo>
                          <a:pt x="150" y="625"/>
                        </a:lnTo>
                        <a:lnTo>
                          <a:pt x="141" y="611"/>
                        </a:lnTo>
                        <a:lnTo>
                          <a:pt x="138" y="599"/>
                        </a:lnTo>
                        <a:lnTo>
                          <a:pt x="126" y="585"/>
                        </a:lnTo>
                        <a:lnTo>
                          <a:pt x="123" y="573"/>
                        </a:lnTo>
                        <a:lnTo>
                          <a:pt x="126" y="534"/>
                        </a:lnTo>
                        <a:lnTo>
                          <a:pt x="116" y="511"/>
                        </a:lnTo>
                        <a:lnTo>
                          <a:pt x="109" y="493"/>
                        </a:lnTo>
                        <a:lnTo>
                          <a:pt x="116" y="465"/>
                        </a:lnTo>
                        <a:lnTo>
                          <a:pt x="115" y="446"/>
                        </a:lnTo>
                        <a:lnTo>
                          <a:pt x="131" y="426"/>
                        </a:lnTo>
                        <a:lnTo>
                          <a:pt x="121" y="418"/>
                        </a:lnTo>
                        <a:lnTo>
                          <a:pt x="120" y="401"/>
                        </a:lnTo>
                        <a:lnTo>
                          <a:pt x="114" y="389"/>
                        </a:lnTo>
                        <a:lnTo>
                          <a:pt x="103" y="376"/>
                        </a:lnTo>
                        <a:lnTo>
                          <a:pt x="94" y="354"/>
                        </a:lnTo>
                        <a:lnTo>
                          <a:pt x="89" y="349"/>
                        </a:lnTo>
                        <a:lnTo>
                          <a:pt x="83" y="331"/>
                        </a:lnTo>
                        <a:lnTo>
                          <a:pt x="29" y="143"/>
                        </a:lnTo>
                        <a:lnTo>
                          <a:pt x="9" y="74"/>
                        </a:lnTo>
                        <a:lnTo>
                          <a:pt x="0" y="41"/>
                        </a:lnTo>
                        <a:lnTo>
                          <a:pt x="28" y="38"/>
                        </a:lnTo>
                        <a:lnTo>
                          <a:pt x="151" y="21"/>
                        </a:lnTo>
                        <a:lnTo>
                          <a:pt x="294" y="0"/>
                        </a:lnTo>
                        <a:lnTo>
                          <a:pt x="290" y="10"/>
                        </a:lnTo>
                        <a:lnTo>
                          <a:pt x="275" y="30"/>
                        </a:lnTo>
                        <a:lnTo>
                          <a:pt x="271" y="46"/>
                        </a:lnTo>
                        <a:lnTo>
                          <a:pt x="276" y="51"/>
                        </a:lnTo>
                        <a:lnTo>
                          <a:pt x="303" y="63"/>
                        </a:lnTo>
                        <a:lnTo>
                          <a:pt x="316" y="74"/>
                        </a:lnTo>
                        <a:lnTo>
                          <a:pt x="336" y="74"/>
                        </a:lnTo>
                        <a:lnTo>
                          <a:pt x="351" y="96"/>
                        </a:lnTo>
                        <a:lnTo>
                          <a:pt x="356" y="111"/>
                        </a:lnTo>
                        <a:lnTo>
                          <a:pt x="375" y="129"/>
                        </a:lnTo>
                        <a:lnTo>
                          <a:pt x="380" y="140"/>
                        </a:lnTo>
                        <a:lnTo>
                          <a:pt x="408" y="154"/>
                        </a:lnTo>
                        <a:lnTo>
                          <a:pt x="424" y="165"/>
                        </a:lnTo>
                        <a:lnTo>
                          <a:pt x="433" y="181"/>
                        </a:lnTo>
                        <a:lnTo>
                          <a:pt x="453" y="189"/>
                        </a:lnTo>
                        <a:lnTo>
                          <a:pt x="469" y="201"/>
                        </a:lnTo>
                        <a:lnTo>
                          <a:pt x="470" y="216"/>
                        </a:lnTo>
                        <a:lnTo>
                          <a:pt x="483" y="221"/>
                        </a:lnTo>
                        <a:lnTo>
                          <a:pt x="488" y="234"/>
                        </a:lnTo>
                        <a:lnTo>
                          <a:pt x="496" y="243"/>
                        </a:lnTo>
                        <a:lnTo>
                          <a:pt x="528" y="255"/>
                        </a:lnTo>
                        <a:lnTo>
                          <a:pt x="533" y="270"/>
                        </a:lnTo>
                        <a:lnTo>
                          <a:pt x="543" y="280"/>
                        </a:lnTo>
                        <a:lnTo>
                          <a:pt x="549" y="295"/>
                        </a:lnTo>
                        <a:lnTo>
                          <a:pt x="551" y="313"/>
                        </a:lnTo>
                        <a:lnTo>
                          <a:pt x="579" y="329"/>
                        </a:lnTo>
                        <a:lnTo>
                          <a:pt x="593" y="354"/>
                        </a:lnTo>
                        <a:lnTo>
                          <a:pt x="592" y="370"/>
                        </a:lnTo>
                        <a:lnTo>
                          <a:pt x="604" y="384"/>
                        </a:lnTo>
                        <a:lnTo>
                          <a:pt x="612" y="381"/>
                        </a:lnTo>
                        <a:lnTo>
                          <a:pt x="628" y="38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5" name="Mississippi" descr="{&quot;Key&quot;:&quot;mississippi&quot;,&quot;Name&quot;:&quot;Mississippi&quot;,&quot;Value&quot;:1.0,&quot;Formula&quot;:&quot;&quot;,&quot;Text&quot;:&quot;&quot;,&quot;OfficeApplication&quot;:1,&quot;HasValue&quot;:true}">
                    <a:extLst>
                      <a:ext uri="{FF2B5EF4-FFF2-40B4-BE49-F238E27FC236}">
                        <a16:creationId xmlns:a16="http://schemas.microsoft.com/office/drawing/2014/main" id="{F906991A-4815-92C3-4DD3-FAA0029D253E}"/>
                      </a:ext>
                    </a:extLst>
                  </p:cNvPr>
                  <p:cNvSpPr>
                    <a:spLocks/>
                  </p:cNvSpPr>
                  <p:nvPr/>
                </p:nvSpPr>
                <p:spPr bwMode="auto">
                  <a:xfrm>
                    <a:off x="7085236" y="5038063"/>
                    <a:ext cx="216857" cy="371909"/>
                  </a:xfrm>
                  <a:custGeom>
                    <a:avLst/>
                    <a:gdLst>
                      <a:gd name="T0" fmla="*/ 399 w 416"/>
                      <a:gd name="T1" fmla="*/ 14 h 714"/>
                      <a:gd name="T2" fmla="*/ 387 w 416"/>
                      <a:gd name="T3" fmla="*/ 455 h 714"/>
                      <a:gd name="T4" fmla="*/ 407 w 416"/>
                      <a:gd name="T5" fmla="*/ 684 h 714"/>
                      <a:gd name="T6" fmla="*/ 374 w 416"/>
                      <a:gd name="T7" fmla="*/ 683 h 714"/>
                      <a:gd name="T8" fmla="*/ 349 w 416"/>
                      <a:gd name="T9" fmla="*/ 671 h 714"/>
                      <a:gd name="T10" fmla="*/ 300 w 416"/>
                      <a:gd name="T11" fmla="*/ 696 h 714"/>
                      <a:gd name="T12" fmla="*/ 286 w 416"/>
                      <a:gd name="T13" fmla="*/ 714 h 714"/>
                      <a:gd name="T14" fmla="*/ 267 w 416"/>
                      <a:gd name="T15" fmla="*/ 711 h 714"/>
                      <a:gd name="T16" fmla="*/ 254 w 416"/>
                      <a:gd name="T17" fmla="*/ 676 h 714"/>
                      <a:gd name="T18" fmla="*/ 230 w 416"/>
                      <a:gd name="T19" fmla="*/ 645 h 714"/>
                      <a:gd name="T20" fmla="*/ 241 w 416"/>
                      <a:gd name="T21" fmla="*/ 598 h 714"/>
                      <a:gd name="T22" fmla="*/ 0 w 416"/>
                      <a:gd name="T23" fmla="*/ 611 h 714"/>
                      <a:gd name="T24" fmla="*/ 2 w 416"/>
                      <a:gd name="T25" fmla="*/ 590 h 714"/>
                      <a:gd name="T26" fmla="*/ 1 w 416"/>
                      <a:gd name="T27" fmla="*/ 570 h 714"/>
                      <a:gd name="T28" fmla="*/ 17 w 416"/>
                      <a:gd name="T29" fmla="*/ 550 h 714"/>
                      <a:gd name="T30" fmla="*/ 24 w 416"/>
                      <a:gd name="T31" fmla="*/ 526 h 714"/>
                      <a:gd name="T32" fmla="*/ 34 w 416"/>
                      <a:gd name="T33" fmla="*/ 484 h 714"/>
                      <a:gd name="T34" fmla="*/ 55 w 416"/>
                      <a:gd name="T35" fmla="*/ 464 h 714"/>
                      <a:gd name="T36" fmla="*/ 65 w 416"/>
                      <a:gd name="T37" fmla="*/ 449 h 714"/>
                      <a:gd name="T38" fmla="*/ 59 w 416"/>
                      <a:gd name="T39" fmla="*/ 395 h 714"/>
                      <a:gd name="T40" fmla="*/ 50 w 416"/>
                      <a:gd name="T41" fmla="*/ 370 h 714"/>
                      <a:gd name="T42" fmla="*/ 59 w 416"/>
                      <a:gd name="T43" fmla="*/ 326 h 714"/>
                      <a:gd name="T44" fmla="*/ 46 w 416"/>
                      <a:gd name="T45" fmla="*/ 299 h 714"/>
                      <a:gd name="T46" fmla="*/ 51 w 416"/>
                      <a:gd name="T47" fmla="*/ 276 h 714"/>
                      <a:gd name="T48" fmla="*/ 47 w 416"/>
                      <a:gd name="T49" fmla="*/ 260 h 714"/>
                      <a:gd name="T50" fmla="*/ 36 w 416"/>
                      <a:gd name="T51" fmla="*/ 238 h 714"/>
                      <a:gd name="T52" fmla="*/ 37 w 416"/>
                      <a:gd name="T53" fmla="*/ 213 h 714"/>
                      <a:gd name="T54" fmla="*/ 55 w 416"/>
                      <a:gd name="T55" fmla="*/ 179 h 714"/>
                      <a:gd name="T56" fmla="*/ 69 w 416"/>
                      <a:gd name="T57" fmla="*/ 163 h 714"/>
                      <a:gd name="T58" fmla="*/ 62 w 416"/>
                      <a:gd name="T59" fmla="*/ 145 h 714"/>
                      <a:gd name="T60" fmla="*/ 77 w 416"/>
                      <a:gd name="T61" fmla="*/ 126 h 714"/>
                      <a:gd name="T62" fmla="*/ 105 w 416"/>
                      <a:gd name="T63" fmla="*/ 83 h 714"/>
                      <a:gd name="T64" fmla="*/ 106 w 416"/>
                      <a:gd name="T65" fmla="*/ 58 h 714"/>
                      <a:gd name="T66" fmla="*/ 116 w 416"/>
                      <a:gd name="T67" fmla="*/ 44 h 714"/>
                      <a:gd name="T68" fmla="*/ 137 w 416"/>
                      <a:gd name="T69" fmla="*/ 29 h 714"/>
                      <a:gd name="T70" fmla="*/ 257 w 416"/>
                      <a:gd name="T71" fmla="*/ 1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6" h="714">
                        <a:moveTo>
                          <a:pt x="386" y="0"/>
                        </a:moveTo>
                        <a:lnTo>
                          <a:pt x="399" y="14"/>
                        </a:lnTo>
                        <a:lnTo>
                          <a:pt x="392" y="238"/>
                        </a:lnTo>
                        <a:lnTo>
                          <a:pt x="387" y="455"/>
                        </a:lnTo>
                        <a:lnTo>
                          <a:pt x="416" y="674"/>
                        </a:lnTo>
                        <a:lnTo>
                          <a:pt x="407" y="684"/>
                        </a:lnTo>
                        <a:lnTo>
                          <a:pt x="396" y="681"/>
                        </a:lnTo>
                        <a:lnTo>
                          <a:pt x="374" y="683"/>
                        </a:lnTo>
                        <a:lnTo>
                          <a:pt x="360" y="674"/>
                        </a:lnTo>
                        <a:lnTo>
                          <a:pt x="349" y="671"/>
                        </a:lnTo>
                        <a:lnTo>
                          <a:pt x="339" y="681"/>
                        </a:lnTo>
                        <a:lnTo>
                          <a:pt x="300" y="696"/>
                        </a:lnTo>
                        <a:lnTo>
                          <a:pt x="289" y="703"/>
                        </a:lnTo>
                        <a:lnTo>
                          <a:pt x="286" y="714"/>
                        </a:lnTo>
                        <a:lnTo>
                          <a:pt x="276" y="714"/>
                        </a:lnTo>
                        <a:lnTo>
                          <a:pt x="267" y="711"/>
                        </a:lnTo>
                        <a:lnTo>
                          <a:pt x="261" y="699"/>
                        </a:lnTo>
                        <a:lnTo>
                          <a:pt x="254" y="676"/>
                        </a:lnTo>
                        <a:lnTo>
                          <a:pt x="237" y="661"/>
                        </a:lnTo>
                        <a:lnTo>
                          <a:pt x="230" y="645"/>
                        </a:lnTo>
                        <a:lnTo>
                          <a:pt x="241" y="605"/>
                        </a:lnTo>
                        <a:lnTo>
                          <a:pt x="241" y="598"/>
                        </a:lnTo>
                        <a:lnTo>
                          <a:pt x="119" y="605"/>
                        </a:lnTo>
                        <a:lnTo>
                          <a:pt x="0" y="611"/>
                        </a:lnTo>
                        <a:lnTo>
                          <a:pt x="10" y="603"/>
                        </a:lnTo>
                        <a:lnTo>
                          <a:pt x="2" y="590"/>
                        </a:lnTo>
                        <a:lnTo>
                          <a:pt x="5" y="581"/>
                        </a:lnTo>
                        <a:lnTo>
                          <a:pt x="1" y="570"/>
                        </a:lnTo>
                        <a:lnTo>
                          <a:pt x="12" y="569"/>
                        </a:lnTo>
                        <a:lnTo>
                          <a:pt x="17" y="550"/>
                        </a:lnTo>
                        <a:lnTo>
                          <a:pt x="12" y="538"/>
                        </a:lnTo>
                        <a:lnTo>
                          <a:pt x="24" y="526"/>
                        </a:lnTo>
                        <a:lnTo>
                          <a:pt x="26" y="501"/>
                        </a:lnTo>
                        <a:lnTo>
                          <a:pt x="34" y="484"/>
                        </a:lnTo>
                        <a:lnTo>
                          <a:pt x="44" y="480"/>
                        </a:lnTo>
                        <a:lnTo>
                          <a:pt x="55" y="464"/>
                        </a:lnTo>
                        <a:lnTo>
                          <a:pt x="62" y="459"/>
                        </a:lnTo>
                        <a:lnTo>
                          <a:pt x="65" y="449"/>
                        </a:lnTo>
                        <a:lnTo>
                          <a:pt x="82" y="410"/>
                        </a:lnTo>
                        <a:lnTo>
                          <a:pt x="59" y="395"/>
                        </a:lnTo>
                        <a:lnTo>
                          <a:pt x="57" y="380"/>
                        </a:lnTo>
                        <a:lnTo>
                          <a:pt x="50" y="370"/>
                        </a:lnTo>
                        <a:lnTo>
                          <a:pt x="51" y="336"/>
                        </a:lnTo>
                        <a:lnTo>
                          <a:pt x="59" y="326"/>
                        </a:lnTo>
                        <a:lnTo>
                          <a:pt x="46" y="314"/>
                        </a:lnTo>
                        <a:lnTo>
                          <a:pt x="46" y="299"/>
                        </a:lnTo>
                        <a:lnTo>
                          <a:pt x="52" y="294"/>
                        </a:lnTo>
                        <a:lnTo>
                          <a:pt x="51" y="276"/>
                        </a:lnTo>
                        <a:lnTo>
                          <a:pt x="41" y="269"/>
                        </a:lnTo>
                        <a:lnTo>
                          <a:pt x="47" y="260"/>
                        </a:lnTo>
                        <a:lnTo>
                          <a:pt x="47" y="245"/>
                        </a:lnTo>
                        <a:lnTo>
                          <a:pt x="36" y="238"/>
                        </a:lnTo>
                        <a:lnTo>
                          <a:pt x="42" y="223"/>
                        </a:lnTo>
                        <a:lnTo>
                          <a:pt x="37" y="213"/>
                        </a:lnTo>
                        <a:lnTo>
                          <a:pt x="54" y="196"/>
                        </a:lnTo>
                        <a:lnTo>
                          <a:pt x="55" y="179"/>
                        </a:lnTo>
                        <a:lnTo>
                          <a:pt x="49" y="170"/>
                        </a:lnTo>
                        <a:lnTo>
                          <a:pt x="69" y="163"/>
                        </a:lnTo>
                        <a:lnTo>
                          <a:pt x="71" y="154"/>
                        </a:lnTo>
                        <a:lnTo>
                          <a:pt x="62" y="145"/>
                        </a:lnTo>
                        <a:lnTo>
                          <a:pt x="72" y="138"/>
                        </a:lnTo>
                        <a:lnTo>
                          <a:pt x="77" y="126"/>
                        </a:lnTo>
                        <a:lnTo>
                          <a:pt x="104" y="104"/>
                        </a:lnTo>
                        <a:lnTo>
                          <a:pt x="105" y="83"/>
                        </a:lnTo>
                        <a:lnTo>
                          <a:pt x="101" y="73"/>
                        </a:lnTo>
                        <a:lnTo>
                          <a:pt x="106" y="58"/>
                        </a:lnTo>
                        <a:lnTo>
                          <a:pt x="117" y="54"/>
                        </a:lnTo>
                        <a:lnTo>
                          <a:pt x="116" y="44"/>
                        </a:lnTo>
                        <a:lnTo>
                          <a:pt x="129" y="39"/>
                        </a:lnTo>
                        <a:lnTo>
                          <a:pt x="137" y="29"/>
                        </a:lnTo>
                        <a:lnTo>
                          <a:pt x="134" y="18"/>
                        </a:lnTo>
                        <a:lnTo>
                          <a:pt x="257" y="10"/>
                        </a:lnTo>
                        <a:lnTo>
                          <a:pt x="386" y="0"/>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6" name="Indiana" descr="{&quot;Key&quot;:&quot;indiana&quot;,&quot;Name&quot;:&quot;Indiana&quot;,&quot;Value&quot;:1.0,&quot;Formula&quot;:&quot;&quot;,&quot;Text&quot;:&quot;&quot;,&quot;OfficeApplication&quot;:1,&quot;HasValue&quot;:true}">
                    <a:extLst>
                      <a:ext uri="{FF2B5EF4-FFF2-40B4-BE49-F238E27FC236}">
                        <a16:creationId xmlns:a16="http://schemas.microsoft.com/office/drawing/2014/main" id="{6859E638-C036-B561-BC49-1E531B22A54B}"/>
                      </a:ext>
                    </a:extLst>
                  </p:cNvPr>
                  <p:cNvSpPr>
                    <a:spLocks/>
                  </p:cNvSpPr>
                  <p:nvPr/>
                </p:nvSpPr>
                <p:spPr bwMode="auto">
                  <a:xfrm>
                    <a:off x="7273095" y="4509327"/>
                    <a:ext cx="201134" cy="340464"/>
                  </a:xfrm>
                  <a:custGeom>
                    <a:avLst/>
                    <a:gdLst>
                      <a:gd name="T0" fmla="*/ 311 w 355"/>
                      <a:gd name="T1" fmla="*/ 67 h 611"/>
                      <a:gd name="T2" fmla="*/ 342 w 355"/>
                      <a:gd name="T3" fmla="*/ 390 h 611"/>
                      <a:gd name="T4" fmla="*/ 345 w 355"/>
                      <a:gd name="T5" fmla="*/ 411 h 611"/>
                      <a:gd name="T6" fmla="*/ 353 w 355"/>
                      <a:gd name="T7" fmla="*/ 428 h 611"/>
                      <a:gd name="T8" fmla="*/ 313 w 355"/>
                      <a:gd name="T9" fmla="*/ 447 h 611"/>
                      <a:gd name="T10" fmla="*/ 284 w 355"/>
                      <a:gd name="T11" fmla="*/ 445 h 611"/>
                      <a:gd name="T12" fmla="*/ 278 w 355"/>
                      <a:gd name="T13" fmla="*/ 484 h 611"/>
                      <a:gd name="T14" fmla="*/ 266 w 355"/>
                      <a:gd name="T15" fmla="*/ 509 h 611"/>
                      <a:gd name="T16" fmla="*/ 242 w 355"/>
                      <a:gd name="T17" fmla="*/ 527 h 611"/>
                      <a:gd name="T18" fmla="*/ 229 w 355"/>
                      <a:gd name="T19" fmla="*/ 559 h 611"/>
                      <a:gd name="T20" fmla="*/ 201 w 355"/>
                      <a:gd name="T21" fmla="*/ 551 h 611"/>
                      <a:gd name="T22" fmla="*/ 183 w 355"/>
                      <a:gd name="T23" fmla="*/ 547 h 611"/>
                      <a:gd name="T24" fmla="*/ 173 w 355"/>
                      <a:gd name="T25" fmla="*/ 575 h 611"/>
                      <a:gd name="T26" fmla="*/ 140 w 355"/>
                      <a:gd name="T27" fmla="*/ 568 h 611"/>
                      <a:gd name="T28" fmla="*/ 112 w 355"/>
                      <a:gd name="T29" fmla="*/ 600 h 611"/>
                      <a:gd name="T30" fmla="*/ 57 w 355"/>
                      <a:gd name="T31" fmla="*/ 588 h 611"/>
                      <a:gd name="T32" fmla="*/ 43 w 355"/>
                      <a:gd name="T33" fmla="*/ 592 h 611"/>
                      <a:gd name="T34" fmla="*/ 18 w 355"/>
                      <a:gd name="T35" fmla="*/ 590 h 611"/>
                      <a:gd name="T36" fmla="*/ 13 w 355"/>
                      <a:gd name="T37" fmla="*/ 611 h 611"/>
                      <a:gd name="T38" fmla="*/ 0 w 355"/>
                      <a:gd name="T39" fmla="*/ 573 h 611"/>
                      <a:gd name="T40" fmla="*/ 3 w 355"/>
                      <a:gd name="T41" fmla="*/ 551 h 611"/>
                      <a:gd name="T42" fmla="*/ 18 w 355"/>
                      <a:gd name="T43" fmla="*/ 533 h 611"/>
                      <a:gd name="T44" fmla="*/ 26 w 355"/>
                      <a:gd name="T45" fmla="*/ 512 h 611"/>
                      <a:gd name="T46" fmla="*/ 40 w 355"/>
                      <a:gd name="T47" fmla="*/ 482 h 611"/>
                      <a:gd name="T48" fmla="*/ 51 w 355"/>
                      <a:gd name="T49" fmla="*/ 465 h 611"/>
                      <a:gd name="T50" fmla="*/ 45 w 355"/>
                      <a:gd name="T51" fmla="*/ 436 h 611"/>
                      <a:gd name="T52" fmla="*/ 28 w 355"/>
                      <a:gd name="T53" fmla="*/ 410 h 611"/>
                      <a:gd name="T54" fmla="*/ 31 w 355"/>
                      <a:gd name="T55" fmla="*/ 388 h 611"/>
                      <a:gd name="T56" fmla="*/ 10 w 355"/>
                      <a:gd name="T57" fmla="*/ 36 h 611"/>
                      <a:gd name="T58" fmla="*/ 36 w 355"/>
                      <a:gd name="T59" fmla="*/ 48 h 611"/>
                      <a:gd name="T60" fmla="*/ 82 w 355"/>
                      <a:gd name="T61" fmla="*/ 25 h 611"/>
                      <a:gd name="T62" fmla="*/ 302 w 355"/>
                      <a:gd name="T63"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5" h="611">
                        <a:moveTo>
                          <a:pt x="302" y="8"/>
                        </a:moveTo>
                        <a:lnTo>
                          <a:pt x="311" y="67"/>
                        </a:lnTo>
                        <a:lnTo>
                          <a:pt x="347" y="385"/>
                        </a:lnTo>
                        <a:lnTo>
                          <a:pt x="342" y="390"/>
                        </a:lnTo>
                        <a:lnTo>
                          <a:pt x="348" y="400"/>
                        </a:lnTo>
                        <a:lnTo>
                          <a:pt x="345" y="411"/>
                        </a:lnTo>
                        <a:lnTo>
                          <a:pt x="355" y="413"/>
                        </a:lnTo>
                        <a:lnTo>
                          <a:pt x="353" y="428"/>
                        </a:lnTo>
                        <a:lnTo>
                          <a:pt x="333" y="433"/>
                        </a:lnTo>
                        <a:lnTo>
                          <a:pt x="313" y="447"/>
                        </a:lnTo>
                        <a:lnTo>
                          <a:pt x="304" y="441"/>
                        </a:lnTo>
                        <a:lnTo>
                          <a:pt x="284" y="445"/>
                        </a:lnTo>
                        <a:lnTo>
                          <a:pt x="291" y="468"/>
                        </a:lnTo>
                        <a:lnTo>
                          <a:pt x="278" y="484"/>
                        </a:lnTo>
                        <a:lnTo>
                          <a:pt x="269" y="491"/>
                        </a:lnTo>
                        <a:lnTo>
                          <a:pt x="266" y="509"/>
                        </a:lnTo>
                        <a:lnTo>
                          <a:pt x="249" y="514"/>
                        </a:lnTo>
                        <a:lnTo>
                          <a:pt x="242" y="527"/>
                        </a:lnTo>
                        <a:lnTo>
                          <a:pt x="242" y="548"/>
                        </a:lnTo>
                        <a:lnTo>
                          <a:pt x="229" y="559"/>
                        </a:lnTo>
                        <a:lnTo>
                          <a:pt x="212" y="557"/>
                        </a:lnTo>
                        <a:lnTo>
                          <a:pt x="201" y="551"/>
                        </a:lnTo>
                        <a:lnTo>
                          <a:pt x="198" y="541"/>
                        </a:lnTo>
                        <a:lnTo>
                          <a:pt x="183" y="547"/>
                        </a:lnTo>
                        <a:lnTo>
                          <a:pt x="173" y="562"/>
                        </a:lnTo>
                        <a:lnTo>
                          <a:pt x="173" y="575"/>
                        </a:lnTo>
                        <a:lnTo>
                          <a:pt x="149" y="581"/>
                        </a:lnTo>
                        <a:lnTo>
                          <a:pt x="140" y="568"/>
                        </a:lnTo>
                        <a:lnTo>
                          <a:pt x="116" y="586"/>
                        </a:lnTo>
                        <a:lnTo>
                          <a:pt x="112" y="600"/>
                        </a:lnTo>
                        <a:lnTo>
                          <a:pt x="71" y="582"/>
                        </a:lnTo>
                        <a:lnTo>
                          <a:pt x="57" y="588"/>
                        </a:lnTo>
                        <a:lnTo>
                          <a:pt x="52" y="597"/>
                        </a:lnTo>
                        <a:lnTo>
                          <a:pt x="43" y="592"/>
                        </a:lnTo>
                        <a:lnTo>
                          <a:pt x="30" y="596"/>
                        </a:lnTo>
                        <a:lnTo>
                          <a:pt x="18" y="590"/>
                        </a:lnTo>
                        <a:lnTo>
                          <a:pt x="18" y="605"/>
                        </a:lnTo>
                        <a:lnTo>
                          <a:pt x="13" y="611"/>
                        </a:lnTo>
                        <a:lnTo>
                          <a:pt x="2" y="610"/>
                        </a:lnTo>
                        <a:lnTo>
                          <a:pt x="0" y="573"/>
                        </a:lnTo>
                        <a:lnTo>
                          <a:pt x="11" y="557"/>
                        </a:lnTo>
                        <a:lnTo>
                          <a:pt x="3" y="551"/>
                        </a:lnTo>
                        <a:lnTo>
                          <a:pt x="7" y="537"/>
                        </a:lnTo>
                        <a:lnTo>
                          <a:pt x="18" y="533"/>
                        </a:lnTo>
                        <a:lnTo>
                          <a:pt x="27" y="517"/>
                        </a:lnTo>
                        <a:lnTo>
                          <a:pt x="26" y="512"/>
                        </a:lnTo>
                        <a:lnTo>
                          <a:pt x="38" y="502"/>
                        </a:lnTo>
                        <a:lnTo>
                          <a:pt x="40" y="482"/>
                        </a:lnTo>
                        <a:lnTo>
                          <a:pt x="47" y="477"/>
                        </a:lnTo>
                        <a:lnTo>
                          <a:pt x="51" y="465"/>
                        </a:lnTo>
                        <a:lnTo>
                          <a:pt x="43" y="450"/>
                        </a:lnTo>
                        <a:lnTo>
                          <a:pt x="45" y="436"/>
                        </a:lnTo>
                        <a:lnTo>
                          <a:pt x="38" y="431"/>
                        </a:lnTo>
                        <a:lnTo>
                          <a:pt x="28" y="410"/>
                        </a:lnTo>
                        <a:lnTo>
                          <a:pt x="35" y="402"/>
                        </a:lnTo>
                        <a:lnTo>
                          <a:pt x="31" y="388"/>
                        </a:lnTo>
                        <a:lnTo>
                          <a:pt x="40" y="378"/>
                        </a:lnTo>
                        <a:lnTo>
                          <a:pt x="10" y="36"/>
                        </a:lnTo>
                        <a:lnTo>
                          <a:pt x="21" y="46"/>
                        </a:lnTo>
                        <a:lnTo>
                          <a:pt x="36" y="48"/>
                        </a:lnTo>
                        <a:lnTo>
                          <a:pt x="63" y="37"/>
                        </a:lnTo>
                        <a:lnTo>
                          <a:pt x="82" y="25"/>
                        </a:lnTo>
                        <a:lnTo>
                          <a:pt x="143" y="18"/>
                        </a:lnTo>
                        <a:lnTo>
                          <a:pt x="302" y="0"/>
                        </a:lnTo>
                        <a:lnTo>
                          <a:pt x="302" y="8"/>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7" name="North Carolina" descr="{&quot;Key&quot;:&quot;north carolina&quot;,&quot;Name&quot;:&quot;North Carolina&quot;,&quot;Value&quot;:1.0,&quot;Formula&quot;:&quot;&quot;,&quot;Text&quot;:&quot;&quot;,&quot;OfficeApplication&quot;:1,&quot;HasValue&quot;:true}">
                    <a:extLst>
                      <a:ext uri="{FF2B5EF4-FFF2-40B4-BE49-F238E27FC236}">
                        <a16:creationId xmlns:a16="http://schemas.microsoft.com/office/drawing/2014/main" id="{BF8A2705-6DBF-4817-0829-C8CE3B634B5D}"/>
                      </a:ext>
                    </a:extLst>
                  </p:cNvPr>
                  <p:cNvSpPr>
                    <a:spLocks noEditPoints="1"/>
                  </p:cNvSpPr>
                  <p:nvPr/>
                </p:nvSpPr>
                <p:spPr bwMode="auto">
                  <a:xfrm>
                    <a:off x="7523286" y="4807111"/>
                    <a:ext cx="515035" cy="230952"/>
                  </a:xfrm>
                  <a:custGeom>
                    <a:avLst/>
                    <a:gdLst>
                      <a:gd name="T0" fmla="*/ 934 w 989"/>
                      <a:gd name="T1" fmla="*/ 2 h 445"/>
                      <a:gd name="T2" fmla="*/ 940 w 989"/>
                      <a:gd name="T3" fmla="*/ 0 h 445"/>
                      <a:gd name="T4" fmla="*/ 929 w 989"/>
                      <a:gd name="T5" fmla="*/ 3 h 445"/>
                      <a:gd name="T6" fmla="*/ 932 w 989"/>
                      <a:gd name="T7" fmla="*/ 15 h 445"/>
                      <a:gd name="T8" fmla="*/ 959 w 989"/>
                      <a:gd name="T9" fmla="*/ 54 h 445"/>
                      <a:gd name="T10" fmla="*/ 922 w 989"/>
                      <a:gd name="T11" fmla="*/ 72 h 445"/>
                      <a:gd name="T12" fmla="*/ 887 w 989"/>
                      <a:gd name="T13" fmla="*/ 93 h 445"/>
                      <a:gd name="T14" fmla="*/ 865 w 989"/>
                      <a:gd name="T15" fmla="*/ 107 h 445"/>
                      <a:gd name="T16" fmla="*/ 894 w 989"/>
                      <a:gd name="T17" fmla="*/ 96 h 445"/>
                      <a:gd name="T18" fmla="*/ 925 w 989"/>
                      <a:gd name="T19" fmla="*/ 86 h 445"/>
                      <a:gd name="T20" fmla="*/ 942 w 989"/>
                      <a:gd name="T21" fmla="*/ 103 h 445"/>
                      <a:gd name="T22" fmla="*/ 957 w 989"/>
                      <a:gd name="T23" fmla="*/ 119 h 445"/>
                      <a:gd name="T24" fmla="*/ 965 w 989"/>
                      <a:gd name="T25" fmla="*/ 80 h 445"/>
                      <a:gd name="T26" fmla="*/ 989 w 989"/>
                      <a:gd name="T27" fmla="*/ 116 h 445"/>
                      <a:gd name="T28" fmla="*/ 973 w 989"/>
                      <a:gd name="T29" fmla="*/ 138 h 445"/>
                      <a:gd name="T30" fmla="*/ 937 w 989"/>
                      <a:gd name="T31" fmla="*/ 180 h 445"/>
                      <a:gd name="T32" fmla="*/ 898 w 989"/>
                      <a:gd name="T33" fmla="*/ 182 h 445"/>
                      <a:gd name="T34" fmla="*/ 912 w 989"/>
                      <a:gd name="T35" fmla="*/ 192 h 445"/>
                      <a:gd name="T36" fmla="*/ 897 w 989"/>
                      <a:gd name="T37" fmla="*/ 214 h 445"/>
                      <a:gd name="T38" fmla="*/ 890 w 989"/>
                      <a:gd name="T39" fmla="*/ 244 h 445"/>
                      <a:gd name="T40" fmla="*/ 905 w 989"/>
                      <a:gd name="T41" fmla="*/ 242 h 445"/>
                      <a:gd name="T42" fmla="*/ 937 w 989"/>
                      <a:gd name="T43" fmla="*/ 238 h 445"/>
                      <a:gd name="T44" fmla="*/ 928 w 989"/>
                      <a:gd name="T45" fmla="*/ 269 h 445"/>
                      <a:gd name="T46" fmla="*/ 912 w 989"/>
                      <a:gd name="T47" fmla="*/ 279 h 445"/>
                      <a:gd name="T48" fmla="*/ 849 w 989"/>
                      <a:gd name="T49" fmla="*/ 303 h 445"/>
                      <a:gd name="T50" fmla="*/ 815 w 989"/>
                      <a:gd name="T51" fmla="*/ 338 h 445"/>
                      <a:gd name="T52" fmla="*/ 788 w 989"/>
                      <a:gd name="T53" fmla="*/ 382 h 445"/>
                      <a:gd name="T54" fmla="*/ 787 w 989"/>
                      <a:gd name="T55" fmla="*/ 419 h 445"/>
                      <a:gd name="T56" fmla="*/ 746 w 989"/>
                      <a:gd name="T57" fmla="*/ 433 h 445"/>
                      <a:gd name="T58" fmla="*/ 617 w 989"/>
                      <a:gd name="T59" fmla="*/ 382 h 445"/>
                      <a:gd name="T60" fmla="*/ 551 w 989"/>
                      <a:gd name="T61" fmla="*/ 339 h 445"/>
                      <a:gd name="T62" fmla="*/ 419 w 989"/>
                      <a:gd name="T63" fmla="*/ 339 h 445"/>
                      <a:gd name="T64" fmla="*/ 389 w 989"/>
                      <a:gd name="T65" fmla="*/ 329 h 445"/>
                      <a:gd name="T66" fmla="*/ 238 w 989"/>
                      <a:gd name="T67" fmla="*/ 332 h 445"/>
                      <a:gd name="T68" fmla="*/ 186 w 989"/>
                      <a:gd name="T69" fmla="*/ 358 h 445"/>
                      <a:gd name="T70" fmla="*/ 144 w 989"/>
                      <a:gd name="T71" fmla="*/ 375 h 445"/>
                      <a:gd name="T72" fmla="*/ 0 w 989"/>
                      <a:gd name="T73" fmla="*/ 365 h 445"/>
                      <a:gd name="T74" fmla="*/ 24 w 989"/>
                      <a:gd name="T75" fmla="*/ 354 h 445"/>
                      <a:gd name="T76" fmla="*/ 30 w 989"/>
                      <a:gd name="T77" fmla="*/ 329 h 445"/>
                      <a:gd name="T78" fmla="*/ 60 w 989"/>
                      <a:gd name="T79" fmla="*/ 304 h 445"/>
                      <a:gd name="T80" fmla="*/ 114 w 989"/>
                      <a:gd name="T81" fmla="*/ 274 h 445"/>
                      <a:gd name="T82" fmla="*/ 144 w 989"/>
                      <a:gd name="T83" fmla="*/ 260 h 445"/>
                      <a:gd name="T84" fmla="*/ 160 w 989"/>
                      <a:gd name="T85" fmla="*/ 237 h 445"/>
                      <a:gd name="T86" fmla="*/ 179 w 989"/>
                      <a:gd name="T87" fmla="*/ 215 h 445"/>
                      <a:gd name="T88" fmla="*/ 196 w 989"/>
                      <a:gd name="T89" fmla="*/ 222 h 445"/>
                      <a:gd name="T90" fmla="*/ 227 w 989"/>
                      <a:gd name="T91" fmla="*/ 193 h 445"/>
                      <a:gd name="T92" fmla="*/ 248 w 989"/>
                      <a:gd name="T93" fmla="*/ 193 h 445"/>
                      <a:gd name="T94" fmla="*/ 274 w 989"/>
                      <a:gd name="T95" fmla="*/ 149 h 445"/>
                      <a:gd name="T96" fmla="*/ 279 w 989"/>
                      <a:gd name="T97" fmla="*/ 118 h 445"/>
                      <a:gd name="T98" fmla="*/ 330 w 989"/>
                      <a:gd name="T99" fmla="*/ 117 h 445"/>
                      <a:gd name="T100" fmla="*/ 462 w 989"/>
                      <a:gd name="T101" fmla="*/ 98 h 445"/>
                      <a:gd name="T102" fmla="*/ 713 w 989"/>
                      <a:gd name="T103" fmla="*/ 5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9" h="445">
                        <a:moveTo>
                          <a:pt x="929" y="3"/>
                        </a:moveTo>
                        <a:lnTo>
                          <a:pt x="934" y="2"/>
                        </a:lnTo>
                        <a:lnTo>
                          <a:pt x="937" y="2"/>
                        </a:lnTo>
                        <a:lnTo>
                          <a:pt x="940" y="0"/>
                        </a:lnTo>
                        <a:lnTo>
                          <a:pt x="935" y="9"/>
                        </a:lnTo>
                        <a:lnTo>
                          <a:pt x="929" y="3"/>
                        </a:lnTo>
                        <a:close/>
                        <a:moveTo>
                          <a:pt x="927" y="4"/>
                        </a:moveTo>
                        <a:lnTo>
                          <a:pt x="932" y="15"/>
                        </a:lnTo>
                        <a:lnTo>
                          <a:pt x="944" y="22"/>
                        </a:lnTo>
                        <a:lnTo>
                          <a:pt x="959" y="54"/>
                        </a:lnTo>
                        <a:lnTo>
                          <a:pt x="939" y="54"/>
                        </a:lnTo>
                        <a:lnTo>
                          <a:pt x="922" y="72"/>
                        </a:lnTo>
                        <a:lnTo>
                          <a:pt x="898" y="79"/>
                        </a:lnTo>
                        <a:lnTo>
                          <a:pt x="887" y="93"/>
                        </a:lnTo>
                        <a:lnTo>
                          <a:pt x="867" y="90"/>
                        </a:lnTo>
                        <a:lnTo>
                          <a:pt x="865" y="107"/>
                        </a:lnTo>
                        <a:lnTo>
                          <a:pt x="885" y="104"/>
                        </a:lnTo>
                        <a:lnTo>
                          <a:pt x="894" y="96"/>
                        </a:lnTo>
                        <a:lnTo>
                          <a:pt x="905" y="99"/>
                        </a:lnTo>
                        <a:lnTo>
                          <a:pt x="925" y="86"/>
                        </a:lnTo>
                        <a:lnTo>
                          <a:pt x="943" y="84"/>
                        </a:lnTo>
                        <a:lnTo>
                          <a:pt x="942" y="103"/>
                        </a:lnTo>
                        <a:lnTo>
                          <a:pt x="948" y="115"/>
                        </a:lnTo>
                        <a:lnTo>
                          <a:pt x="957" y="119"/>
                        </a:lnTo>
                        <a:lnTo>
                          <a:pt x="953" y="96"/>
                        </a:lnTo>
                        <a:lnTo>
                          <a:pt x="965" y="80"/>
                        </a:lnTo>
                        <a:lnTo>
                          <a:pt x="985" y="98"/>
                        </a:lnTo>
                        <a:lnTo>
                          <a:pt x="989" y="116"/>
                        </a:lnTo>
                        <a:lnTo>
                          <a:pt x="988" y="129"/>
                        </a:lnTo>
                        <a:lnTo>
                          <a:pt x="973" y="138"/>
                        </a:lnTo>
                        <a:lnTo>
                          <a:pt x="950" y="178"/>
                        </a:lnTo>
                        <a:lnTo>
                          <a:pt x="937" y="180"/>
                        </a:lnTo>
                        <a:lnTo>
                          <a:pt x="915" y="177"/>
                        </a:lnTo>
                        <a:lnTo>
                          <a:pt x="898" y="182"/>
                        </a:lnTo>
                        <a:lnTo>
                          <a:pt x="888" y="190"/>
                        </a:lnTo>
                        <a:lnTo>
                          <a:pt x="912" y="192"/>
                        </a:lnTo>
                        <a:lnTo>
                          <a:pt x="915" y="203"/>
                        </a:lnTo>
                        <a:lnTo>
                          <a:pt x="897" y="214"/>
                        </a:lnTo>
                        <a:lnTo>
                          <a:pt x="910" y="220"/>
                        </a:lnTo>
                        <a:lnTo>
                          <a:pt x="890" y="244"/>
                        </a:lnTo>
                        <a:lnTo>
                          <a:pt x="893" y="255"/>
                        </a:lnTo>
                        <a:lnTo>
                          <a:pt x="905" y="242"/>
                        </a:lnTo>
                        <a:lnTo>
                          <a:pt x="915" y="238"/>
                        </a:lnTo>
                        <a:lnTo>
                          <a:pt x="937" y="238"/>
                        </a:lnTo>
                        <a:lnTo>
                          <a:pt x="943" y="247"/>
                        </a:lnTo>
                        <a:lnTo>
                          <a:pt x="928" y="269"/>
                        </a:lnTo>
                        <a:lnTo>
                          <a:pt x="919" y="269"/>
                        </a:lnTo>
                        <a:lnTo>
                          <a:pt x="912" y="279"/>
                        </a:lnTo>
                        <a:lnTo>
                          <a:pt x="883" y="283"/>
                        </a:lnTo>
                        <a:lnTo>
                          <a:pt x="849" y="303"/>
                        </a:lnTo>
                        <a:lnTo>
                          <a:pt x="845" y="313"/>
                        </a:lnTo>
                        <a:lnTo>
                          <a:pt x="815" y="338"/>
                        </a:lnTo>
                        <a:lnTo>
                          <a:pt x="803" y="354"/>
                        </a:lnTo>
                        <a:lnTo>
                          <a:pt x="788" y="382"/>
                        </a:lnTo>
                        <a:lnTo>
                          <a:pt x="785" y="395"/>
                        </a:lnTo>
                        <a:lnTo>
                          <a:pt x="787" y="419"/>
                        </a:lnTo>
                        <a:lnTo>
                          <a:pt x="774" y="432"/>
                        </a:lnTo>
                        <a:lnTo>
                          <a:pt x="746" y="433"/>
                        </a:lnTo>
                        <a:lnTo>
                          <a:pt x="710" y="445"/>
                        </a:lnTo>
                        <a:lnTo>
                          <a:pt x="617" y="382"/>
                        </a:lnTo>
                        <a:lnTo>
                          <a:pt x="558" y="339"/>
                        </a:lnTo>
                        <a:lnTo>
                          <a:pt x="551" y="339"/>
                        </a:lnTo>
                        <a:lnTo>
                          <a:pt x="424" y="358"/>
                        </a:lnTo>
                        <a:lnTo>
                          <a:pt x="419" y="339"/>
                        </a:lnTo>
                        <a:lnTo>
                          <a:pt x="400" y="320"/>
                        </a:lnTo>
                        <a:lnTo>
                          <a:pt x="389" y="329"/>
                        </a:lnTo>
                        <a:lnTo>
                          <a:pt x="381" y="317"/>
                        </a:lnTo>
                        <a:lnTo>
                          <a:pt x="238" y="332"/>
                        </a:lnTo>
                        <a:lnTo>
                          <a:pt x="206" y="343"/>
                        </a:lnTo>
                        <a:lnTo>
                          <a:pt x="186" y="358"/>
                        </a:lnTo>
                        <a:lnTo>
                          <a:pt x="179" y="359"/>
                        </a:lnTo>
                        <a:lnTo>
                          <a:pt x="144" y="375"/>
                        </a:lnTo>
                        <a:lnTo>
                          <a:pt x="1" y="397"/>
                        </a:lnTo>
                        <a:lnTo>
                          <a:pt x="0" y="365"/>
                        </a:lnTo>
                        <a:lnTo>
                          <a:pt x="4" y="358"/>
                        </a:lnTo>
                        <a:lnTo>
                          <a:pt x="24" y="354"/>
                        </a:lnTo>
                        <a:lnTo>
                          <a:pt x="29" y="348"/>
                        </a:lnTo>
                        <a:lnTo>
                          <a:pt x="30" y="329"/>
                        </a:lnTo>
                        <a:lnTo>
                          <a:pt x="44" y="314"/>
                        </a:lnTo>
                        <a:lnTo>
                          <a:pt x="60" y="304"/>
                        </a:lnTo>
                        <a:lnTo>
                          <a:pt x="88" y="300"/>
                        </a:lnTo>
                        <a:lnTo>
                          <a:pt x="114" y="274"/>
                        </a:lnTo>
                        <a:lnTo>
                          <a:pt x="133" y="262"/>
                        </a:lnTo>
                        <a:lnTo>
                          <a:pt x="144" y="260"/>
                        </a:lnTo>
                        <a:lnTo>
                          <a:pt x="153" y="234"/>
                        </a:lnTo>
                        <a:lnTo>
                          <a:pt x="160" y="237"/>
                        </a:lnTo>
                        <a:lnTo>
                          <a:pt x="164" y="225"/>
                        </a:lnTo>
                        <a:lnTo>
                          <a:pt x="179" y="215"/>
                        </a:lnTo>
                        <a:lnTo>
                          <a:pt x="187" y="227"/>
                        </a:lnTo>
                        <a:lnTo>
                          <a:pt x="196" y="222"/>
                        </a:lnTo>
                        <a:lnTo>
                          <a:pt x="205" y="205"/>
                        </a:lnTo>
                        <a:lnTo>
                          <a:pt x="227" y="193"/>
                        </a:lnTo>
                        <a:lnTo>
                          <a:pt x="242" y="199"/>
                        </a:lnTo>
                        <a:lnTo>
                          <a:pt x="248" y="193"/>
                        </a:lnTo>
                        <a:lnTo>
                          <a:pt x="255" y="169"/>
                        </a:lnTo>
                        <a:lnTo>
                          <a:pt x="274" y="149"/>
                        </a:lnTo>
                        <a:lnTo>
                          <a:pt x="275" y="132"/>
                        </a:lnTo>
                        <a:lnTo>
                          <a:pt x="279" y="118"/>
                        </a:lnTo>
                        <a:lnTo>
                          <a:pt x="284" y="120"/>
                        </a:lnTo>
                        <a:lnTo>
                          <a:pt x="330" y="117"/>
                        </a:lnTo>
                        <a:lnTo>
                          <a:pt x="394" y="107"/>
                        </a:lnTo>
                        <a:lnTo>
                          <a:pt x="462" y="98"/>
                        </a:lnTo>
                        <a:lnTo>
                          <a:pt x="607" y="72"/>
                        </a:lnTo>
                        <a:lnTo>
                          <a:pt x="713" y="50"/>
                        </a:lnTo>
                        <a:lnTo>
                          <a:pt x="927" y="4"/>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8" name="Tennessee" descr="{&quot;Key&quot;:&quot;tennessee&quot;,&quot;Name&quot;:&quot;Tennessee&quot;,&quot;Value&quot;:1.0,&quot;Formula&quot;:&quot;&quot;,&quot;Text&quot;:&quot;&quot;,&quot;OfficeApplication&quot;:1,&quot;HasValue&quot;:true}">
                    <a:extLst>
                      <a:ext uri="{FF2B5EF4-FFF2-40B4-BE49-F238E27FC236}">
                        <a16:creationId xmlns:a16="http://schemas.microsoft.com/office/drawing/2014/main" id="{84DDD45A-93A4-EFD3-915C-A4FED0C83FEF}"/>
                      </a:ext>
                    </a:extLst>
                  </p:cNvPr>
                  <p:cNvSpPr>
                    <a:spLocks/>
                  </p:cNvSpPr>
                  <p:nvPr/>
                </p:nvSpPr>
                <p:spPr bwMode="auto">
                  <a:xfrm>
                    <a:off x="7154630" y="4867830"/>
                    <a:ext cx="513951" cy="179991"/>
                  </a:xfrm>
                  <a:custGeom>
                    <a:avLst/>
                    <a:gdLst>
                      <a:gd name="T0" fmla="*/ 852 w 987"/>
                      <a:gd name="T1" fmla="*/ 22 h 345"/>
                      <a:gd name="T2" fmla="*/ 958 w 987"/>
                      <a:gd name="T3" fmla="*/ 4 h 345"/>
                      <a:gd name="T4" fmla="*/ 983 w 987"/>
                      <a:gd name="T5" fmla="*/ 14 h 345"/>
                      <a:gd name="T6" fmla="*/ 963 w 987"/>
                      <a:gd name="T7" fmla="*/ 51 h 345"/>
                      <a:gd name="T8" fmla="*/ 950 w 987"/>
                      <a:gd name="T9" fmla="*/ 81 h 345"/>
                      <a:gd name="T10" fmla="*/ 913 w 987"/>
                      <a:gd name="T11" fmla="*/ 87 h 345"/>
                      <a:gd name="T12" fmla="*/ 895 w 987"/>
                      <a:gd name="T13" fmla="*/ 109 h 345"/>
                      <a:gd name="T14" fmla="*/ 872 w 987"/>
                      <a:gd name="T15" fmla="*/ 107 h 345"/>
                      <a:gd name="T16" fmla="*/ 861 w 987"/>
                      <a:gd name="T17" fmla="*/ 116 h 345"/>
                      <a:gd name="T18" fmla="*/ 841 w 987"/>
                      <a:gd name="T19" fmla="*/ 143 h 345"/>
                      <a:gd name="T20" fmla="*/ 796 w 987"/>
                      <a:gd name="T21" fmla="*/ 182 h 345"/>
                      <a:gd name="T22" fmla="*/ 752 w 987"/>
                      <a:gd name="T23" fmla="*/ 196 h 345"/>
                      <a:gd name="T24" fmla="*/ 737 w 987"/>
                      <a:gd name="T25" fmla="*/ 230 h 345"/>
                      <a:gd name="T26" fmla="*/ 712 w 987"/>
                      <a:gd name="T27" fmla="*/ 240 h 345"/>
                      <a:gd name="T28" fmla="*/ 709 w 987"/>
                      <a:gd name="T29" fmla="*/ 278 h 345"/>
                      <a:gd name="T30" fmla="*/ 558 w 987"/>
                      <a:gd name="T31" fmla="*/ 298 h 345"/>
                      <a:gd name="T32" fmla="*/ 331 w 987"/>
                      <a:gd name="T33" fmla="*/ 318 h 345"/>
                      <a:gd name="T34" fmla="*/ 252 w 987"/>
                      <a:gd name="T35" fmla="*/ 327 h 345"/>
                      <a:gd name="T36" fmla="*/ 0 w 987"/>
                      <a:gd name="T37" fmla="*/ 345 h 345"/>
                      <a:gd name="T38" fmla="*/ 13 w 987"/>
                      <a:gd name="T39" fmla="*/ 326 h 345"/>
                      <a:gd name="T40" fmla="*/ 20 w 987"/>
                      <a:gd name="T41" fmla="*/ 303 h 345"/>
                      <a:gd name="T42" fmla="*/ 28 w 987"/>
                      <a:gd name="T43" fmla="*/ 277 h 345"/>
                      <a:gd name="T44" fmla="*/ 40 w 987"/>
                      <a:gd name="T45" fmla="*/ 262 h 345"/>
                      <a:gd name="T46" fmla="*/ 36 w 987"/>
                      <a:gd name="T47" fmla="*/ 236 h 345"/>
                      <a:gd name="T48" fmla="*/ 55 w 987"/>
                      <a:gd name="T49" fmla="*/ 209 h 345"/>
                      <a:gd name="T50" fmla="*/ 58 w 987"/>
                      <a:gd name="T51" fmla="*/ 196 h 345"/>
                      <a:gd name="T52" fmla="*/ 70 w 987"/>
                      <a:gd name="T53" fmla="*/ 174 h 345"/>
                      <a:gd name="T54" fmla="*/ 72 w 987"/>
                      <a:gd name="T55" fmla="*/ 157 h 345"/>
                      <a:gd name="T56" fmla="*/ 77 w 987"/>
                      <a:gd name="T57" fmla="*/ 139 h 345"/>
                      <a:gd name="T58" fmla="*/ 80 w 987"/>
                      <a:gd name="T59" fmla="*/ 121 h 345"/>
                      <a:gd name="T60" fmla="*/ 250 w 987"/>
                      <a:gd name="T61" fmla="*/ 107 h 345"/>
                      <a:gd name="T62" fmla="*/ 267 w 987"/>
                      <a:gd name="T63" fmla="*/ 81 h 345"/>
                      <a:gd name="T64" fmla="*/ 421 w 987"/>
                      <a:gd name="T65" fmla="*/ 68 h 345"/>
                      <a:gd name="T66" fmla="*/ 477 w 987"/>
                      <a:gd name="T67" fmla="*/ 65 h 345"/>
                      <a:gd name="T68" fmla="*/ 587 w 987"/>
                      <a:gd name="T69" fmla="*/ 53 h 345"/>
                      <a:gd name="T70" fmla="*/ 756 w 987"/>
                      <a:gd name="T71" fmla="*/ 3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7" h="345">
                        <a:moveTo>
                          <a:pt x="756" y="36"/>
                        </a:moveTo>
                        <a:lnTo>
                          <a:pt x="852" y="22"/>
                        </a:lnTo>
                        <a:lnTo>
                          <a:pt x="953" y="7"/>
                        </a:lnTo>
                        <a:lnTo>
                          <a:pt x="958" y="4"/>
                        </a:lnTo>
                        <a:lnTo>
                          <a:pt x="987" y="0"/>
                        </a:lnTo>
                        <a:lnTo>
                          <a:pt x="983" y="14"/>
                        </a:lnTo>
                        <a:lnTo>
                          <a:pt x="982" y="31"/>
                        </a:lnTo>
                        <a:lnTo>
                          <a:pt x="963" y="51"/>
                        </a:lnTo>
                        <a:lnTo>
                          <a:pt x="956" y="75"/>
                        </a:lnTo>
                        <a:lnTo>
                          <a:pt x="950" y="81"/>
                        </a:lnTo>
                        <a:lnTo>
                          <a:pt x="935" y="75"/>
                        </a:lnTo>
                        <a:lnTo>
                          <a:pt x="913" y="87"/>
                        </a:lnTo>
                        <a:lnTo>
                          <a:pt x="904" y="104"/>
                        </a:lnTo>
                        <a:lnTo>
                          <a:pt x="895" y="109"/>
                        </a:lnTo>
                        <a:lnTo>
                          <a:pt x="887" y="97"/>
                        </a:lnTo>
                        <a:lnTo>
                          <a:pt x="872" y="107"/>
                        </a:lnTo>
                        <a:lnTo>
                          <a:pt x="868" y="118"/>
                        </a:lnTo>
                        <a:lnTo>
                          <a:pt x="861" y="116"/>
                        </a:lnTo>
                        <a:lnTo>
                          <a:pt x="852" y="142"/>
                        </a:lnTo>
                        <a:lnTo>
                          <a:pt x="841" y="143"/>
                        </a:lnTo>
                        <a:lnTo>
                          <a:pt x="822" y="156"/>
                        </a:lnTo>
                        <a:lnTo>
                          <a:pt x="796" y="182"/>
                        </a:lnTo>
                        <a:lnTo>
                          <a:pt x="768" y="186"/>
                        </a:lnTo>
                        <a:lnTo>
                          <a:pt x="752" y="196"/>
                        </a:lnTo>
                        <a:lnTo>
                          <a:pt x="738" y="211"/>
                        </a:lnTo>
                        <a:lnTo>
                          <a:pt x="737" y="230"/>
                        </a:lnTo>
                        <a:lnTo>
                          <a:pt x="732" y="236"/>
                        </a:lnTo>
                        <a:lnTo>
                          <a:pt x="712" y="240"/>
                        </a:lnTo>
                        <a:lnTo>
                          <a:pt x="708" y="247"/>
                        </a:lnTo>
                        <a:lnTo>
                          <a:pt x="709" y="278"/>
                        </a:lnTo>
                        <a:lnTo>
                          <a:pt x="586" y="295"/>
                        </a:lnTo>
                        <a:lnTo>
                          <a:pt x="558" y="298"/>
                        </a:lnTo>
                        <a:lnTo>
                          <a:pt x="424" y="312"/>
                        </a:lnTo>
                        <a:lnTo>
                          <a:pt x="331" y="318"/>
                        </a:lnTo>
                        <a:lnTo>
                          <a:pt x="251" y="325"/>
                        </a:lnTo>
                        <a:lnTo>
                          <a:pt x="252" y="327"/>
                        </a:lnTo>
                        <a:lnTo>
                          <a:pt x="123" y="337"/>
                        </a:lnTo>
                        <a:lnTo>
                          <a:pt x="0" y="345"/>
                        </a:lnTo>
                        <a:lnTo>
                          <a:pt x="8" y="337"/>
                        </a:lnTo>
                        <a:lnTo>
                          <a:pt x="13" y="326"/>
                        </a:lnTo>
                        <a:lnTo>
                          <a:pt x="23" y="316"/>
                        </a:lnTo>
                        <a:lnTo>
                          <a:pt x="20" y="303"/>
                        </a:lnTo>
                        <a:lnTo>
                          <a:pt x="20" y="287"/>
                        </a:lnTo>
                        <a:lnTo>
                          <a:pt x="28" y="277"/>
                        </a:lnTo>
                        <a:lnTo>
                          <a:pt x="28" y="268"/>
                        </a:lnTo>
                        <a:lnTo>
                          <a:pt x="40" y="262"/>
                        </a:lnTo>
                        <a:lnTo>
                          <a:pt x="40" y="247"/>
                        </a:lnTo>
                        <a:lnTo>
                          <a:pt x="36" y="236"/>
                        </a:lnTo>
                        <a:lnTo>
                          <a:pt x="60" y="220"/>
                        </a:lnTo>
                        <a:lnTo>
                          <a:pt x="55" y="209"/>
                        </a:lnTo>
                        <a:lnTo>
                          <a:pt x="66" y="207"/>
                        </a:lnTo>
                        <a:lnTo>
                          <a:pt x="58" y="196"/>
                        </a:lnTo>
                        <a:lnTo>
                          <a:pt x="63" y="180"/>
                        </a:lnTo>
                        <a:lnTo>
                          <a:pt x="70" y="174"/>
                        </a:lnTo>
                        <a:lnTo>
                          <a:pt x="60" y="160"/>
                        </a:lnTo>
                        <a:lnTo>
                          <a:pt x="72" y="157"/>
                        </a:lnTo>
                        <a:lnTo>
                          <a:pt x="66" y="147"/>
                        </a:lnTo>
                        <a:lnTo>
                          <a:pt x="77" y="139"/>
                        </a:lnTo>
                        <a:lnTo>
                          <a:pt x="72" y="121"/>
                        </a:lnTo>
                        <a:lnTo>
                          <a:pt x="80" y="121"/>
                        </a:lnTo>
                        <a:lnTo>
                          <a:pt x="88" y="121"/>
                        </a:lnTo>
                        <a:lnTo>
                          <a:pt x="250" y="107"/>
                        </a:lnTo>
                        <a:lnTo>
                          <a:pt x="243" y="80"/>
                        </a:lnTo>
                        <a:lnTo>
                          <a:pt x="267" y="81"/>
                        </a:lnTo>
                        <a:lnTo>
                          <a:pt x="272" y="85"/>
                        </a:lnTo>
                        <a:lnTo>
                          <a:pt x="421" y="68"/>
                        </a:lnTo>
                        <a:lnTo>
                          <a:pt x="431" y="66"/>
                        </a:lnTo>
                        <a:lnTo>
                          <a:pt x="477" y="65"/>
                        </a:lnTo>
                        <a:lnTo>
                          <a:pt x="551" y="60"/>
                        </a:lnTo>
                        <a:lnTo>
                          <a:pt x="587" y="53"/>
                        </a:lnTo>
                        <a:lnTo>
                          <a:pt x="748" y="38"/>
                        </a:lnTo>
                        <a:lnTo>
                          <a:pt x="756" y="36"/>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19" name="West Virginia" descr="{&quot;Key&quot;:&quot;west virginia&quot;,&quot;Name&quot;:&quot;West Virginia&quot;,&quot;Value&quot;:1.0,&quot;Formula&quot;:&quot;&quot;,&quot;Text&quot;:&quot;&quot;,&quot;OfficeApplication&quot;:1,&quot;HasValue&quot;:true}">
                    <a:extLst>
                      <a:ext uri="{FF2B5EF4-FFF2-40B4-BE49-F238E27FC236}">
                        <a16:creationId xmlns:a16="http://schemas.microsoft.com/office/drawing/2014/main" id="{6F18B49C-99D8-2F69-50CA-C94898A108B8}"/>
                      </a:ext>
                    </a:extLst>
                  </p:cNvPr>
                  <p:cNvSpPr>
                    <a:spLocks/>
                  </p:cNvSpPr>
                  <p:nvPr/>
                </p:nvSpPr>
                <p:spPr bwMode="auto">
                  <a:xfrm>
                    <a:off x="7592681" y="4555557"/>
                    <a:ext cx="268902" cy="267818"/>
                  </a:xfrm>
                  <a:custGeom>
                    <a:avLst/>
                    <a:gdLst>
                      <a:gd name="T0" fmla="*/ 327 w 518"/>
                      <a:gd name="T1" fmla="*/ 186 h 514"/>
                      <a:gd name="T2" fmla="*/ 367 w 518"/>
                      <a:gd name="T3" fmla="*/ 138 h 514"/>
                      <a:gd name="T4" fmla="*/ 395 w 518"/>
                      <a:gd name="T5" fmla="*/ 110 h 514"/>
                      <a:gd name="T6" fmla="*/ 420 w 518"/>
                      <a:gd name="T7" fmla="*/ 121 h 514"/>
                      <a:gd name="T8" fmla="*/ 432 w 518"/>
                      <a:gd name="T9" fmla="*/ 105 h 514"/>
                      <a:gd name="T10" fmla="*/ 455 w 518"/>
                      <a:gd name="T11" fmla="*/ 90 h 514"/>
                      <a:gd name="T12" fmla="*/ 485 w 518"/>
                      <a:gd name="T13" fmla="*/ 97 h 514"/>
                      <a:gd name="T14" fmla="*/ 498 w 518"/>
                      <a:gd name="T15" fmla="*/ 107 h 514"/>
                      <a:gd name="T16" fmla="*/ 518 w 518"/>
                      <a:gd name="T17" fmla="*/ 131 h 514"/>
                      <a:gd name="T18" fmla="*/ 450 w 518"/>
                      <a:gd name="T19" fmla="*/ 126 h 514"/>
                      <a:gd name="T20" fmla="*/ 447 w 518"/>
                      <a:gd name="T21" fmla="*/ 170 h 514"/>
                      <a:gd name="T22" fmla="*/ 418 w 518"/>
                      <a:gd name="T23" fmla="*/ 210 h 514"/>
                      <a:gd name="T24" fmla="*/ 393 w 518"/>
                      <a:gd name="T25" fmla="*/ 227 h 514"/>
                      <a:gd name="T26" fmla="*/ 378 w 518"/>
                      <a:gd name="T27" fmla="*/ 279 h 514"/>
                      <a:gd name="T28" fmla="*/ 345 w 518"/>
                      <a:gd name="T29" fmla="*/ 291 h 514"/>
                      <a:gd name="T30" fmla="*/ 327 w 518"/>
                      <a:gd name="T31" fmla="*/ 277 h 514"/>
                      <a:gd name="T32" fmla="*/ 318 w 518"/>
                      <a:gd name="T33" fmla="*/ 325 h 514"/>
                      <a:gd name="T34" fmla="*/ 302 w 518"/>
                      <a:gd name="T35" fmla="*/ 368 h 514"/>
                      <a:gd name="T36" fmla="*/ 277 w 518"/>
                      <a:gd name="T37" fmla="*/ 420 h 514"/>
                      <a:gd name="T38" fmla="*/ 278 w 518"/>
                      <a:gd name="T39" fmla="*/ 436 h 514"/>
                      <a:gd name="T40" fmla="*/ 265 w 518"/>
                      <a:gd name="T41" fmla="*/ 460 h 514"/>
                      <a:gd name="T42" fmla="*/ 235 w 518"/>
                      <a:gd name="T43" fmla="*/ 471 h 514"/>
                      <a:gd name="T44" fmla="*/ 220 w 518"/>
                      <a:gd name="T45" fmla="*/ 480 h 514"/>
                      <a:gd name="T46" fmla="*/ 191 w 518"/>
                      <a:gd name="T47" fmla="*/ 495 h 514"/>
                      <a:gd name="T48" fmla="*/ 166 w 518"/>
                      <a:gd name="T49" fmla="*/ 491 h 514"/>
                      <a:gd name="T50" fmla="*/ 135 w 518"/>
                      <a:gd name="T51" fmla="*/ 514 h 514"/>
                      <a:gd name="T52" fmla="*/ 97 w 518"/>
                      <a:gd name="T53" fmla="*/ 495 h 514"/>
                      <a:gd name="T54" fmla="*/ 90 w 518"/>
                      <a:gd name="T55" fmla="*/ 472 h 514"/>
                      <a:gd name="T56" fmla="*/ 63 w 518"/>
                      <a:gd name="T57" fmla="*/ 464 h 514"/>
                      <a:gd name="T58" fmla="*/ 1 w 518"/>
                      <a:gd name="T59" fmla="*/ 396 h 514"/>
                      <a:gd name="T60" fmla="*/ 0 w 518"/>
                      <a:gd name="T61" fmla="*/ 356 h 514"/>
                      <a:gd name="T62" fmla="*/ 28 w 518"/>
                      <a:gd name="T63" fmla="*/ 349 h 514"/>
                      <a:gd name="T64" fmla="*/ 41 w 518"/>
                      <a:gd name="T65" fmla="*/ 325 h 514"/>
                      <a:gd name="T66" fmla="*/ 47 w 518"/>
                      <a:gd name="T67" fmla="*/ 264 h 514"/>
                      <a:gd name="T68" fmla="*/ 72 w 518"/>
                      <a:gd name="T69" fmla="*/ 272 h 514"/>
                      <a:gd name="T70" fmla="*/ 77 w 518"/>
                      <a:gd name="T71" fmla="*/ 231 h 514"/>
                      <a:gd name="T72" fmla="*/ 95 w 518"/>
                      <a:gd name="T73" fmla="*/ 214 h 514"/>
                      <a:gd name="T74" fmla="*/ 113 w 518"/>
                      <a:gd name="T75" fmla="*/ 200 h 514"/>
                      <a:gd name="T76" fmla="*/ 140 w 518"/>
                      <a:gd name="T77" fmla="*/ 182 h 514"/>
                      <a:gd name="T78" fmla="*/ 163 w 518"/>
                      <a:gd name="T79" fmla="*/ 152 h 514"/>
                      <a:gd name="T80" fmla="*/ 170 w 518"/>
                      <a:gd name="T81" fmla="*/ 107 h 514"/>
                      <a:gd name="T82" fmla="*/ 172 w 518"/>
                      <a:gd name="T83" fmla="*/ 59 h 514"/>
                      <a:gd name="T84" fmla="*/ 172 w 518"/>
                      <a:gd name="T85" fmla="*/ 36 h 514"/>
                      <a:gd name="T86" fmla="*/ 162 w 518"/>
                      <a:gd name="T87" fmla="*/ 11 h 514"/>
                      <a:gd name="T88" fmla="*/ 201 w 518"/>
                      <a:gd name="T89" fmla="*/ 1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8" h="514">
                        <a:moveTo>
                          <a:pt x="316" y="112"/>
                        </a:moveTo>
                        <a:lnTo>
                          <a:pt x="327" y="186"/>
                        </a:lnTo>
                        <a:lnTo>
                          <a:pt x="357" y="153"/>
                        </a:lnTo>
                        <a:lnTo>
                          <a:pt x="367" y="138"/>
                        </a:lnTo>
                        <a:lnTo>
                          <a:pt x="378" y="141"/>
                        </a:lnTo>
                        <a:lnTo>
                          <a:pt x="395" y="110"/>
                        </a:lnTo>
                        <a:lnTo>
                          <a:pt x="400" y="118"/>
                        </a:lnTo>
                        <a:lnTo>
                          <a:pt x="420" y="121"/>
                        </a:lnTo>
                        <a:lnTo>
                          <a:pt x="431" y="118"/>
                        </a:lnTo>
                        <a:lnTo>
                          <a:pt x="432" y="105"/>
                        </a:lnTo>
                        <a:lnTo>
                          <a:pt x="450" y="100"/>
                        </a:lnTo>
                        <a:lnTo>
                          <a:pt x="455" y="90"/>
                        </a:lnTo>
                        <a:lnTo>
                          <a:pt x="463" y="87"/>
                        </a:lnTo>
                        <a:lnTo>
                          <a:pt x="485" y="97"/>
                        </a:lnTo>
                        <a:lnTo>
                          <a:pt x="493" y="93"/>
                        </a:lnTo>
                        <a:lnTo>
                          <a:pt x="498" y="107"/>
                        </a:lnTo>
                        <a:lnTo>
                          <a:pt x="507" y="110"/>
                        </a:lnTo>
                        <a:lnTo>
                          <a:pt x="518" y="131"/>
                        </a:lnTo>
                        <a:lnTo>
                          <a:pt x="512" y="160"/>
                        </a:lnTo>
                        <a:lnTo>
                          <a:pt x="450" y="126"/>
                        </a:lnTo>
                        <a:lnTo>
                          <a:pt x="446" y="154"/>
                        </a:lnTo>
                        <a:lnTo>
                          <a:pt x="447" y="170"/>
                        </a:lnTo>
                        <a:lnTo>
                          <a:pt x="427" y="207"/>
                        </a:lnTo>
                        <a:lnTo>
                          <a:pt x="418" y="210"/>
                        </a:lnTo>
                        <a:lnTo>
                          <a:pt x="409" y="232"/>
                        </a:lnTo>
                        <a:lnTo>
                          <a:pt x="393" y="227"/>
                        </a:lnTo>
                        <a:lnTo>
                          <a:pt x="381" y="260"/>
                        </a:lnTo>
                        <a:lnTo>
                          <a:pt x="378" y="279"/>
                        </a:lnTo>
                        <a:lnTo>
                          <a:pt x="370" y="294"/>
                        </a:lnTo>
                        <a:lnTo>
                          <a:pt x="345" y="291"/>
                        </a:lnTo>
                        <a:lnTo>
                          <a:pt x="337" y="279"/>
                        </a:lnTo>
                        <a:lnTo>
                          <a:pt x="327" y="277"/>
                        </a:lnTo>
                        <a:lnTo>
                          <a:pt x="325" y="300"/>
                        </a:lnTo>
                        <a:lnTo>
                          <a:pt x="318" y="325"/>
                        </a:lnTo>
                        <a:lnTo>
                          <a:pt x="307" y="342"/>
                        </a:lnTo>
                        <a:lnTo>
                          <a:pt x="302" y="368"/>
                        </a:lnTo>
                        <a:lnTo>
                          <a:pt x="283" y="400"/>
                        </a:lnTo>
                        <a:lnTo>
                          <a:pt x="277" y="420"/>
                        </a:lnTo>
                        <a:lnTo>
                          <a:pt x="286" y="430"/>
                        </a:lnTo>
                        <a:lnTo>
                          <a:pt x="278" y="436"/>
                        </a:lnTo>
                        <a:lnTo>
                          <a:pt x="281" y="445"/>
                        </a:lnTo>
                        <a:lnTo>
                          <a:pt x="265" y="460"/>
                        </a:lnTo>
                        <a:lnTo>
                          <a:pt x="256" y="456"/>
                        </a:lnTo>
                        <a:lnTo>
                          <a:pt x="235" y="471"/>
                        </a:lnTo>
                        <a:lnTo>
                          <a:pt x="220" y="469"/>
                        </a:lnTo>
                        <a:lnTo>
                          <a:pt x="220" y="480"/>
                        </a:lnTo>
                        <a:lnTo>
                          <a:pt x="212" y="489"/>
                        </a:lnTo>
                        <a:lnTo>
                          <a:pt x="191" y="495"/>
                        </a:lnTo>
                        <a:lnTo>
                          <a:pt x="181" y="501"/>
                        </a:lnTo>
                        <a:lnTo>
                          <a:pt x="166" y="491"/>
                        </a:lnTo>
                        <a:lnTo>
                          <a:pt x="146" y="511"/>
                        </a:lnTo>
                        <a:lnTo>
                          <a:pt x="135" y="514"/>
                        </a:lnTo>
                        <a:lnTo>
                          <a:pt x="112" y="506"/>
                        </a:lnTo>
                        <a:lnTo>
                          <a:pt x="97" y="495"/>
                        </a:lnTo>
                        <a:lnTo>
                          <a:pt x="91" y="484"/>
                        </a:lnTo>
                        <a:lnTo>
                          <a:pt x="90" y="472"/>
                        </a:lnTo>
                        <a:lnTo>
                          <a:pt x="72" y="471"/>
                        </a:lnTo>
                        <a:lnTo>
                          <a:pt x="63" y="464"/>
                        </a:lnTo>
                        <a:lnTo>
                          <a:pt x="50" y="456"/>
                        </a:lnTo>
                        <a:lnTo>
                          <a:pt x="1" y="396"/>
                        </a:lnTo>
                        <a:lnTo>
                          <a:pt x="6" y="381"/>
                        </a:lnTo>
                        <a:lnTo>
                          <a:pt x="0" y="356"/>
                        </a:lnTo>
                        <a:lnTo>
                          <a:pt x="10" y="356"/>
                        </a:lnTo>
                        <a:lnTo>
                          <a:pt x="28" y="349"/>
                        </a:lnTo>
                        <a:lnTo>
                          <a:pt x="33" y="325"/>
                        </a:lnTo>
                        <a:lnTo>
                          <a:pt x="41" y="325"/>
                        </a:lnTo>
                        <a:lnTo>
                          <a:pt x="35" y="297"/>
                        </a:lnTo>
                        <a:lnTo>
                          <a:pt x="47" y="264"/>
                        </a:lnTo>
                        <a:lnTo>
                          <a:pt x="52" y="260"/>
                        </a:lnTo>
                        <a:lnTo>
                          <a:pt x="72" y="272"/>
                        </a:lnTo>
                        <a:lnTo>
                          <a:pt x="80" y="269"/>
                        </a:lnTo>
                        <a:lnTo>
                          <a:pt x="77" y="231"/>
                        </a:lnTo>
                        <a:lnTo>
                          <a:pt x="82" y="219"/>
                        </a:lnTo>
                        <a:lnTo>
                          <a:pt x="95" y="214"/>
                        </a:lnTo>
                        <a:lnTo>
                          <a:pt x="102" y="196"/>
                        </a:lnTo>
                        <a:lnTo>
                          <a:pt x="113" y="200"/>
                        </a:lnTo>
                        <a:lnTo>
                          <a:pt x="131" y="192"/>
                        </a:lnTo>
                        <a:lnTo>
                          <a:pt x="140" y="182"/>
                        </a:lnTo>
                        <a:lnTo>
                          <a:pt x="146" y="170"/>
                        </a:lnTo>
                        <a:lnTo>
                          <a:pt x="163" y="152"/>
                        </a:lnTo>
                        <a:lnTo>
                          <a:pt x="163" y="129"/>
                        </a:lnTo>
                        <a:lnTo>
                          <a:pt x="170" y="107"/>
                        </a:lnTo>
                        <a:lnTo>
                          <a:pt x="168" y="89"/>
                        </a:lnTo>
                        <a:lnTo>
                          <a:pt x="172" y="59"/>
                        </a:lnTo>
                        <a:lnTo>
                          <a:pt x="177" y="47"/>
                        </a:lnTo>
                        <a:lnTo>
                          <a:pt x="172" y="36"/>
                        </a:lnTo>
                        <a:lnTo>
                          <a:pt x="173" y="27"/>
                        </a:lnTo>
                        <a:lnTo>
                          <a:pt x="162" y="11"/>
                        </a:lnTo>
                        <a:lnTo>
                          <a:pt x="178" y="0"/>
                        </a:lnTo>
                        <a:lnTo>
                          <a:pt x="201" y="132"/>
                        </a:lnTo>
                        <a:lnTo>
                          <a:pt x="316" y="112"/>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20" name="New York" descr="{&quot;Key&quot;:&quot;new york&quot;,&quot;Name&quot;:&quot;New York&quot;,&quot;Value&quot;:1.0,&quot;Formula&quot;:&quot;&quot;,&quot;Text&quot;:&quot;&quot;,&quot;OfficeApplication&quot;:1,&quot;HasValue&quot;:true}">
                    <a:extLst>
                      <a:ext uri="{FF2B5EF4-FFF2-40B4-BE49-F238E27FC236}">
                        <a16:creationId xmlns:a16="http://schemas.microsoft.com/office/drawing/2014/main" id="{8DF3DDFF-E239-48F9-63C4-4E9AEE1E85AC}"/>
                      </a:ext>
                    </a:extLst>
                  </p:cNvPr>
                  <p:cNvSpPr>
                    <a:spLocks noEditPoints="1"/>
                  </p:cNvSpPr>
                  <p:nvPr/>
                </p:nvSpPr>
                <p:spPr bwMode="auto">
                  <a:xfrm>
                    <a:off x="7705446" y="4150035"/>
                    <a:ext cx="453231" cy="338297"/>
                  </a:xfrm>
                  <a:custGeom>
                    <a:avLst/>
                    <a:gdLst>
                      <a:gd name="T0" fmla="*/ 656 w 870"/>
                      <a:gd name="T1" fmla="*/ 648 h 650"/>
                      <a:gd name="T2" fmla="*/ 646 w 870"/>
                      <a:gd name="T3" fmla="*/ 637 h 650"/>
                      <a:gd name="T4" fmla="*/ 833 w 870"/>
                      <a:gd name="T5" fmla="*/ 516 h 650"/>
                      <a:gd name="T6" fmla="*/ 826 w 870"/>
                      <a:gd name="T7" fmla="*/ 539 h 650"/>
                      <a:gd name="T8" fmla="*/ 845 w 870"/>
                      <a:gd name="T9" fmla="*/ 525 h 650"/>
                      <a:gd name="T10" fmla="*/ 866 w 870"/>
                      <a:gd name="T11" fmla="*/ 517 h 650"/>
                      <a:gd name="T12" fmla="*/ 825 w 870"/>
                      <a:gd name="T13" fmla="*/ 559 h 650"/>
                      <a:gd name="T14" fmla="*/ 794 w 870"/>
                      <a:gd name="T15" fmla="*/ 576 h 650"/>
                      <a:gd name="T16" fmla="*/ 743 w 870"/>
                      <a:gd name="T17" fmla="*/ 602 h 650"/>
                      <a:gd name="T18" fmla="*/ 710 w 870"/>
                      <a:gd name="T19" fmla="*/ 622 h 650"/>
                      <a:gd name="T20" fmla="*/ 682 w 870"/>
                      <a:gd name="T21" fmla="*/ 629 h 650"/>
                      <a:gd name="T22" fmla="*/ 660 w 870"/>
                      <a:gd name="T23" fmla="*/ 635 h 650"/>
                      <a:gd name="T24" fmla="*/ 683 w 870"/>
                      <a:gd name="T25" fmla="*/ 604 h 650"/>
                      <a:gd name="T26" fmla="*/ 705 w 870"/>
                      <a:gd name="T27" fmla="*/ 582 h 650"/>
                      <a:gd name="T28" fmla="*/ 737 w 870"/>
                      <a:gd name="T29" fmla="*/ 575 h 650"/>
                      <a:gd name="T30" fmla="*/ 782 w 870"/>
                      <a:gd name="T31" fmla="*/ 555 h 650"/>
                      <a:gd name="T32" fmla="*/ 822 w 870"/>
                      <a:gd name="T33" fmla="*/ 517 h 650"/>
                      <a:gd name="T34" fmla="*/ 441 w 870"/>
                      <a:gd name="T35" fmla="*/ 35 h 650"/>
                      <a:gd name="T36" fmla="*/ 581 w 870"/>
                      <a:gd name="T37" fmla="*/ 23 h 650"/>
                      <a:gd name="T38" fmla="*/ 587 w 870"/>
                      <a:gd name="T39" fmla="*/ 50 h 650"/>
                      <a:gd name="T40" fmla="*/ 602 w 870"/>
                      <a:gd name="T41" fmla="*/ 73 h 650"/>
                      <a:gd name="T42" fmla="*/ 607 w 870"/>
                      <a:gd name="T43" fmla="*/ 108 h 650"/>
                      <a:gd name="T44" fmla="*/ 602 w 870"/>
                      <a:gd name="T45" fmla="*/ 137 h 650"/>
                      <a:gd name="T46" fmla="*/ 620 w 870"/>
                      <a:gd name="T47" fmla="*/ 178 h 650"/>
                      <a:gd name="T48" fmla="*/ 632 w 870"/>
                      <a:gd name="T49" fmla="*/ 193 h 650"/>
                      <a:gd name="T50" fmla="*/ 667 w 870"/>
                      <a:gd name="T51" fmla="*/ 317 h 650"/>
                      <a:gd name="T52" fmla="*/ 669 w 870"/>
                      <a:gd name="T53" fmla="*/ 420 h 650"/>
                      <a:gd name="T54" fmla="*/ 698 w 870"/>
                      <a:gd name="T55" fmla="*/ 539 h 650"/>
                      <a:gd name="T56" fmla="*/ 689 w 870"/>
                      <a:gd name="T57" fmla="*/ 573 h 650"/>
                      <a:gd name="T58" fmla="*/ 666 w 870"/>
                      <a:gd name="T59" fmla="*/ 609 h 650"/>
                      <a:gd name="T60" fmla="*/ 662 w 870"/>
                      <a:gd name="T61" fmla="*/ 582 h 650"/>
                      <a:gd name="T62" fmla="*/ 557 w 870"/>
                      <a:gd name="T63" fmla="*/ 541 h 650"/>
                      <a:gd name="T64" fmla="*/ 528 w 870"/>
                      <a:gd name="T65" fmla="*/ 536 h 650"/>
                      <a:gd name="T66" fmla="*/ 513 w 870"/>
                      <a:gd name="T67" fmla="*/ 500 h 650"/>
                      <a:gd name="T68" fmla="*/ 475 w 870"/>
                      <a:gd name="T69" fmla="*/ 476 h 650"/>
                      <a:gd name="T70" fmla="*/ 184 w 870"/>
                      <a:gd name="T71" fmla="*/ 539 h 650"/>
                      <a:gd name="T72" fmla="*/ 7 w 870"/>
                      <a:gd name="T73" fmla="*/ 572 h 650"/>
                      <a:gd name="T74" fmla="*/ 28 w 870"/>
                      <a:gd name="T75" fmla="*/ 507 h 650"/>
                      <a:gd name="T76" fmla="*/ 57 w 870"/>
                      <a:gd name="T77" fmla="*/ 476 h 650"/>
                      <a:gd name="T78" fmla="*/ 77 w 870"/>
                      <a:gd name="T79" fmla="*/ 447 h 650"/>
                      <a:gd name="T80" fmla="*/ 68 w 870"/>
                      <a:gd name="T81" fmla="*/ 415 h 650"/>
                      <a:gd name="T82" fmla="*/ 52 w 870"/>
                      <a:gd name="T83" fmla="*/ 400 h 650"/>
                      <a:gd name="T84" fmla="*/ 84 w 870"/>
                      <a:gd name="T85" fmla="*/ 356 h 650"/>
                      <a:gd name="T86" fmla="*/ 132 w 870"/>
                      <a:gd name="T87" fmla="*/ 343 h 650"/>
                      <a:gd name="T88" fmla="*/ 182 w 870"/>
                      <a:gd name="T89" fmla="*/ 338 h 650"/>
                      <a:gd name="T90" fmla="*/ 207 w 870"/>
                      <a:gd name="T91" fmla="*/ 347 h 650"/>
                      <a:gd name="T92" fmla="*/ 263 w 870"/>
                      <a:gd name="T93" fmla="*/ 331 h 650"/>
                      <a:gd name="T94" fmla="*/ 293 w 870"/>
                      <a:gd name="T95" fmla="*/ 307 h 650"/>
                      <a:gd name="T96" fmla="*/ 332 w 870"/>
                      <a:gd name="T97" fmla="*/ 279 h 650"/>
                      <a:gd name="T98" fmla="*/ 318 w 870"/>
                      <a:gd name="T99" fmla="*/ 230 h 650"/>
                      <a:gd name="T100" fmla="*/ 328 w 870"/>
                      <a:gd name="T101" fmla="*/ 203 h 650"/>
                      <a:gd name="T102" fmla="*/ 302 w 870"/>
                      <a:gd name="T103" fmla="*/ 196 h 650"/>
                      <a:gd name="T104" fmla="*/ 328 w 870"/>
                      <a:gd name="T105" fmla="*/ 170 h 650"/>
                      <a:gd name="T106" fmla="*/ 348 w 870"/>
                      <a:gd name="T107" fmla="*/ 131 h 650"/>
                      <a:gd name="T108" fmla="*/ 388 w 870"/>
                      <a:gd name="T109" fmla="*/ 67 h 650"/>
                      <a:gd name="T110" fmla="*/ 424 w 870"/>
                      <a:gd name="T111" fmla="*/ 3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0" h="650">
                        <a:moveTo>
                          <a:pt x="657" y="636"/>
                        </a:moveTo>
                        <a:lnTo>
                          <a:pt x="656" y="648"/>
                        </a:lnTo>
                        <a:lnTo>
                          <a:pt x="644" y="650"/>
                        </a:lnTo>
                        <a:lnTo>
                          <a:pt x="646" y="637"/>
                        </a:lnTo>
                        <a:lnTo>
                          <a:pt x="657" y="636"/>
                        </a:lnTo>
                        <a:close/>
                        <a:moveTo>
                          <a:pt x="833" y="516"/>
                        </a:moveTo>
                        <a:lnTo>
                          <a:pt x="818" y="531"/>
                        </a:lnTo>
                        <a:lnTo>
                          <a:pt x="826" y="539"/>
                        </a:lnTo>
                        <a:lnTo>
                          <a:pt x="836" y="535"/>
                        </a:lnTo>
                        <a:lnTo>
                          <a:pt x="845" y="525"/>
                        </a:lnTo>
                        <a:lnTo>
                          <a:pt x="852" y="531"/>
                        </a:lnTo>
                        <a:lnTo>
                          <a:pt x="866" y="517"/>
                        </a:lnTo>
                        <a:lnTo>
                          <a:pt x="870" y="521"/>
                        </a:lnTo>
                        <a:lnTo>
                          <a:pt x="825" y="559"/>
                        </a:lnTo>
                        <a:lnTo>
                          <a:pt x="807" y="574"/>
                        </a:lnTo>
                        <a:lnTo>
                          <a:pt x="794" y="576"/>
                        </a:lnTo>
                        <a:lnTo>
                          <a:pt x="773" y="591"/>
                        </a:lnTo>
                        <a:lnTo>
                          <a:pt x="743" y="602"/>
                        </a:lnTo>
                        <a:lnTo>
                          <a:pt x="730" y="614"/>
                        </a:lnTo>
                        <a:lnTo>
                          <a:pt x="710" y="622"/>
                        </a:lnTo>
                        <a:lnTo>
                          <a:pt x="697" y="634"/>
                        </a:lnTo>
                        <a:lnTo>
                          <a:pt x="682" y="629"/>
                        </a:lnTo>
                        <a:lnTo>
                          <a:pt x="668" y="644"/>
                        </a:lnTo>
                        <a:lnTo>
                          <a:pt x="660" y="635"/>
                        </a:lnTo>
                        <a:lnTo>
                          <a:pt x="668" y="610"/>
                        </a:lnTo>
                        <a:lnTo>
                          <a:pt x="683" y="604"/>
                        </a:lnTo>
                        <a:lnTo>
                          <a:pt x="685" y="595"/>
                        </a:lnTo>
                        <a:lnTo>
                          <a:pt x="705" y="582"/>
                        </a:lnTo>
                        <a:lnTo>
                          <a:pt x="708" y="577"/>
                        </a:lnTo>
                        <a:lnTo>
                          <a:pt x="737" y="575"/>
                        </a:lnTo>
                        <a:lnTo>
                          <a:pt x="747" y="562"/>
                        </a:lnTo>
                        <a:lnTo>
                          <a:pt x="782" y="555"/>
                        </a:lnTo>
                        <a:lnTo>
                          <a:pt x="800" y="546"/>
                        </a:lnTo>
                        <a:lnTo>
                          <a:pt x="822" y="517"/>
                        </a:lnTo>
                        <a:lnTo>
                          <a:pt x="833" y="516"/>
                        </a:lnTo>
                        <a:close/>
                        <a:moveTo>
                          <a:pt x="441" y="35"/>
                        </a:moveTo>
                        <a:lnTo>
                          <a:pt x="577" y="0"/>
                        </a:lnTo>
                        <a:lnTo>
                          <a:pt x="581" y="23"/>
                        </a:lnTo>
                        <a:lnTo>
                          <a:pt x="586" y="28"/>
                        </a:lnTo>
                        <a:lnTo>
                          <a:pt x="587" y="50"/>
                        </a:lnTo>
                        <a:lnTo>
                          <a:pt x="591" y="61"/>
                        </a:lnTo>
                        <a:lnTo>
                          <a:pt x="602" y="73"/>
                        </a:lnTo>
                        <a:lnTo>
                          <a:pt x="602" y="90"/>
                        </a:lnTo>
                        <a:lnTo>
                          <a:pt x="607" y="108"/>
                        </a:lnTo>
                        <a:lnTo>
                          <a:pt x="603" y="112"/>
                        </a:lnTo>
                        <a:lnTo>
                          <a:pt x="602" y="137"/>
                        </a:lnTo>
                        <a:lnTo>
                          <a:pt x="607" y="142"/>
                        </a:lnTo>
                        <a:lnTo>
                          <a:pt x="620" y="178"/>
                        </a:lnTo>
                        <a:lnTo>
                          <a:pt x="618" y="193"/>
                        </a:lnTo>
                        <a:lnTo>
                          <a:pt x="632" y="193"/>
                        </a:lnTo>
                        <a:lnTo>
                          <a:pt x="639" y="202"/>
                        </a:lnTo>
                        <a:lnTo>
                          <a:pt x="667" y="317"/>
                        </a:lnTo>
                        <a:lnTo>
                          <a:pt x="666" y="417"/>
                        </a:lnTo>
                        <a:lnTo>
                          <a:pt x="669" y="420"/>
                        </a:lnTo>
                        <a:lnTo>
                          <a:pt x="689" y="529"/>
                        </a:lnTo>
                        <a:lnTo>
                          <a:pt x="698" y="539"/>
                        </a:lnTo>
                        <a:lnTo>
                          <a:pt x="677" y="561"/>
                        </a:lnTo>
                        <a:lnTo>
                          <a:pt x="689" y="573"/>
                        </a:lnTo>
                        <a:lnTo>
                          <a:pt x="677" y="601"/>
                        </a:lnTo>
                        <a:lnTo>
                          <a:pt x="666" y="609"/>
                        </a:lnTo>
                        <a:lnTo>
                          <a:pt x="663" y="590"/>
                        </a:lnTo>
                        <a:lnTo>
                          <a:pt x="662" y="582"/>
                        </a:lnTo>
                        <a:lnTo>
                          <a:pt x="564" y="551"/>
                        </a:lnTo>
                        <a:lnTo>
                          <a:pt x="557" y="541"/>
                        </a:lnTo>
                        <a:lnTo>
                          <a:pt x="542" y="542"/>
                        </a:lnTo>
                        <a:lnTo>
                          <a:pt x="528" y="536"/>
                        </a:lnTo>
                        <a:lnTo>
                          <a:pt x="518" y="524"/>
                        </a:lnTo>
                        <a:lnTo>
                          <a:pt x="513" y="500"/>
                        </a:lnTo>
                        <a:lnTo>
                          <a:pt x="509" y="494"/>
                        </a:lnTo>
                        <a:lnTo>
                          <a:pt x="475" y="476"/>
                        </a:lnTo>
                        <a:lnTo>
                          <a:pt x="343" y="505"/>
                        </a:lnTo>
                        <a:lnTo>
                          <a:pt x="184" y="539"/>
                        </a:lnTo>
                        <a:lnTo>
                          <a:pt x="98" y="555"/>
                        </a:lnTo>
                        <a:lnTo>
                          <a:pt x="7" y="572"/>
                        </a:lnTo>
                        <a:lnTo>
                          <a:pt x="0" y="534"/>
                        </a:lnTo>
                        <a:lnTo>
                          <a:pt x="28" y="507"/>
                        </a:lnTo>
                        <a:lnTo>
                          <a:pt x="37" y="494"/>
                        </a:lnTo>
                        <a:lnTo>
                          <a:pt x="57" y="476"/>
                        </a:lnTo>
                        <a:lnTo>
                          <a:pt x="66" y="455"/>
                        </a:lnTo>
                        <a:lnTo>
                          <a:pt x="77" y="447"/>
                        </a:lnTo>
                        <a:lnTo>
                          <a:pt x="79" y="433"/>
                        </a:lnTo>
                        <a:lnTo>
                          <a:pt x="68" y="415"/>
                        </a:lnTo>
                        <a:lnTo>
                          <a:pt x="68" y="401"/>
                        </a:lnTo>
                        <a:lnTo>
                          <a:pt x="52" y="400"/>
                        </a:lnTo>
                        <a:lnTo>
                          <a:pt x="48" y="375"/>
                        </a:lnTo>
                        <a:lnTo>
                          <a:pt x="84" y="356"/>
                        </a:lnTo>
                        <a:lnTo>
                          <a:pt x="116" y="345"/>
                        </a:lnTo>
                        <a:lnTo>
                          <a:pt x="132" y="343"/>
                        </a:lnTo>
                        <a:lnTo>
                          <a:pt x="143" y="338"/>
                        </a:lnTo>
                        <a:lnTo>
                          <a:pt x="182" y="338"/>
                        </a:lnTo>
                        <a:lnTo>
                          <a:pt x="197" y="346"/>
                        </a:lnTo>
                        <a:lnTo>
                          <a:pt x="207" y="347"/>
                        </a:lnTo>
                        <a:lnTo>
                          <a:pt x="223" y="337"/>
                        </a:lnTo>
                        <a:lnTo>
                          <a:pt x="263" y="331"/>
                        </a:lnTo>
                        <a:lnTo>
                          <a:pt x="289" y="317"/>
                        </a:lnTo>
                        <a:lnTo>
                          <a:pt x="293" y="307"/>
                        </a:lnTo>
                        <a:lnTo>
                          <a:pt x="314" y="282"/>
                        </a:lnTo>
                        <a:lnTo>
                          <a:pt x="332" y="279"/>
                        </a:lnTo>
                        <a:lnTo>
                          <a:pt x="336" y="257"/>
                        </a:lnTo>
                        <a:lnTo>
                          <a:pt x="318" y="230"/>
                        </a:lnTo>
                        <a:lnTo>
                          <a:pt x="331" y="222"/>
                        </a:lnTo>
                        <a:lnTo>
                          <a:pt x="328" y="203"/>
                        </a:lnTo>
                        <a:lnTo>
                          <a:pt x="312" y="203"/>
                        </a:lnTo>
                        <a:lnTo>
                          <a:pt x="302" y="196"/>
                        </a:lnTo>
                        <a:lnTo>
                          <a:pt x="317" y="178"/>
                        </a:lnTo>
                        <a:lnTo>
                          <a:pt x="328" y="170"/>
                        </a:lnTo>
                        <a:lnTo>
                          <a:pt x="352" y="137"/>
                        </a:lnTo>
                        <a:lnTo>
                          <a:pt x="348" y="131"/>
                        </a:lnTo>
                        <a:lnTo>
                          <a:pt x="354" y="117"/>
                        </a:lnTo>
                        <a:lnTo>
                          <a:pt x="388" y="67"/>
                        </a:lnTo>
                        <a:lnTo>
                          <a:pt x="401" y="55"/>
                        </a:lnTo>
                        <a:lnTo>
                          <a:pt x="424" y="36"/>
                        </a:lnTo>
                        <a:lnTo>
                          <a:pt x="441" y="3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sp>
                <p:nvSpPr>
                  <p:cNvPr id="21" name="Pensylvania" descr="{&quot;Key&quot;:&quot;pensylvania&quot;,&quot;Name&quot;:&quot;Pensylvania&quot;,&quot;Value&quot;:1.0,&quot;Formula&quot;:&quot;&quot;,&quot;Text&quot;:&quot;&quot;,&quot;OfficeApplication&quot;:1,&quot;HasValue&quot;:true}">
                    <a:extLst>
                      <a:ext uri="{FF2B5EF4-FFF2-40B4-BE49-F238E27FC236}">
                        <a16:creationId xmlns:a16="http://schemas.microsoft.com/office/drawing/2014/main" id="{62C90444-C48F-E651-2400-366BEA8407C2}"/>
                      </a:ext>
                    </a:extLst>
                  </p:cNvPr>
                  <p:cNvSpPr>
                    <a:spLocks/>
                  </p:cNvSpPr>
                  <p:nvPr/>
                </p:nvSpPr>
                <p:spPr bwMode="auto">
                  <a:xfrm>
                    <a:off x="7667496" y="4397251"/>
                    <a:ext cx="351308" cy="227700"/>
                  </a:xfrm>
                  <a:custGeom>
                    <a:avLst/>
                    <a:gdLst>
                      <a:gd name="T0" fmla="*/ 637 w 674"/>
                      <a:gd name="T1" fmla="*/ 75 h 436"/>
                      <a:gd name="T2" fmla="*/ 625 w 674"/>
                      <a:gd name="T3" fmla="*/ 90 h 436"/>
                      <a:gd name="T4" fmla="*/ 624 w 674"/>
                      <a:gd name="T5" fmla="*/ 104 h 436"/>
                      <a:gd name="T6" fmla="*/ 614 w 674"/>
                      <a:gd name="T7" fmla="*/ 126 h 436"/>
                      <a:gd name="T8" fmla="*/ 604 w 674"/>
                      <a:gd name="T9" fmla="*/ 139 h 436"/>
                      <a:gd name="T10" fmla="*/ 615 w 674"/>
                      <a:gd name="T11" fmla="*/ 150 h 436"/>
                      <a:gd name="T12" fmla="*/ 614 w 674"/>
                      <a:gd name="T13" fmla="*/ 164 h 436"/>
                      <a:gd name="T14" fmla="*/ 606 w 674"/>
                      <a:gd name="T15" fmla="*/ 171 h 436"/>
                      <a:gd name="T16" fmla="*/ 612 w 674"/>
                      <a:gd name="T17" fmla="*/ 198 h 436"/>
                      <a:gd name="T18" fmla="*/ 624 w 674"/>
                      <a:gd name="T19" fmla="*/ 198 h 436"/>
                      <a:gd name="T20" fmla="*/ 629 w 674"/>
                      <a:gd name="T21" fmla="*/ 211 h 436"/>
                      <a:gd name="T22" fmla="*/ 674 w 674"/>
                      <a:gd name="T23" fmla="*/ 241 h 436"/>
                      <a:gd name="T24" fmla="*/ 649 w 674"/>
                      <a:gd name="T25" fmla="*/ 273 h 436"/>
                      <a:gd name="T26" fmla="*/ 639 w 674"/>
                      <a:gd name="T27" fmla="*/ 281 h 436"/>
                      <a:gd name="T28" fmla="*/ 639 w 674"/>
                      <a:gd name="T29" fmla="*/ 291 h 436"/>
                      <a:gd name="T30" fmla="*/ 614 w 674"/>
                      <a:gd name="T31" fmla="*/ 306 h 436"/>
                      <a:gd name="T32" fmla="*/ 611 w 674"/>
                      <a:gd name="T33" fmla="*/ 313 h 436"/>
                      <a:gd name="T34" fmla="*/ 591 w 674"/>
                      <a:gd name="T35" fmla="*/ 313 h 436"/>
                      <a:gd name="T36" fmla="*/ 579 w 674"/>
                      <a:gd name="T37" fmla="*/ 324 h 436"/>
                      <a:gd name="T38" fmla="*/ 575 w 674"/>
                      <a:gd name="T39" fmla="*/ 334 h 436"/>
                      <a:gd name="T40" fmla="*/ 512 w 674"/>
                      <a:gd name="T41" fmla="*/ 348 h 436"/>
                      <a:gd name="T42" fmla="*/ 386 w 674"/>
                      <a:gd name="T43" fmla="*/ 374 h 436"/>
                      <a:gd name="T44" fmla="*/ 285 w 674"/>
                      <a:gd name="T45" fmla="*/ 395 h 436"/>
                      <a:gd name="T46" fmla="*/ 171 w 674"/>
                      <a:gd name="T47" fmla="*/ 416 h 436"/>
                      <a:gd name="T48" fmla="*/ 56 w 674"/>
                      <a:gd name="T49" fmla="*/ 436 h 436"/>
                      <a:gd name="T50" fmla="*/ 34 w 674"/>
                      <a:gd name="T51" fmla="*/ 304 h 436"/>
                      <a:gd name="T52" fmla="*/ 0 w 674"/>
                      <a:gd name="T53" fmla="*/ 113 h 436"/>
                      <a:gd name="T54" fmla="*/ 15 w 674"/>
                      <a:gd name="T55" fmla="*/ 104 h 436"/>
                      <a:gd name="T56" fmla="*/ 61 w 674"/>
                      <a:gd name="T57" fmla="*/ 65 h 436"/>
                      <a:gd name="T58" fmla="*/ 74 w 674"/>
                      <a:gd name="T59" fmla="*/ 58 h 436"/>
                      <a:gd name="T60" fmla="*/ 80 w 674"/>
                      <a:gd name="T61" fmla="*/ 96 h 436"/>
                      <a:gd name="T62" fmla="*/ 171 w 674"/>
                      <a:gd name="T63" fmla="*/ 79 h 436"/>
                      <a:gd name="T64" fmla="*/ 257 w 674"/>
                      <a:gd name="T65" fmla="*/ 63 h 436"/>
                      <a:gd name="T66" fmla="*/ 416 w 674"/>
                      <a:gd name="T67" fmla="*/ 29 h 436"/>
                      <a:gd name="T68" fmla="*/ 549 w 674"/>
                      <a:gd name="T69" fmla="*/ 0 h 436"/>
                      <a:gd name="T70" fmla="*/ 582 w 674"/>
                      <a:gd name="T71" fmla="*/ 18 h 436"/>
                      <a:gd name="T72" fmla="*/ 586 w 674"/>
                      <a:gd name="T73" fmla="*/ 24 h 436"/>
                      <a:gd name="T74" fmla="*/ 591 w 674"/>
                      <a:gd name="T75" fmla="*/ 48 h 436"/>
                      <a:gd name="T76" fmla="*/ 601 w 674"/>
                      <a:gd name="T77" fmla="*/ 60 h 436"/>
                      <a:gd name="T78" fmla="*/ 615 w 674"/>
                      <a:gd name="T79" fmla="*/ 66 h 436"/>
                      <a:gd name="T80" fmla="*/ 630 w 674"/>
                      <a:gd name="T81" fmla="*/ 65 h 436"/>
                      <a:gd name="T82" fmla="*/ 637 w 674"/>
                      <a:gd name="T83" fmla="*/ 7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4" h="436">
                        <a:moveTo>
                          <a:pt x="637" y="75"/>
                        </a:moveTo>
                        <a:lnTo>
                          <a:pt x="625" y="90"/>
                        </a:lnTo>
                        <a:lnTo>
                          <a:pt x="624" y="104"/>
                        </a:lnTo>
                        <a:lnTo>
                          <a:pt x="614" y="126"/>
                        </a:lnTo>
                        <a:lnTo>
                          <a:pt x="604" y="139"/>
                        </a:lnTo>
                        <a:lnTo>
                          <a:pt x="615" y="150"/>
                        </a:lnTo>
                        <a:lnTo>
                          <a:pt x="614" y="164"/>
                        </a:lnTo>
                        <a:lnTo>
                          <a:pt x="606" y="171"/>
                        </a:lnTo>
                        <a:lnTo>
                          <a:pt x="612" y="198"/>
                        </a:lnTo>
                        <a:lnTo>
                          <a:pt x="624" y="198"/>
                        </a:lnTo>
                        <a:lnTo>
                          <a:pt x="629" y="211"/>
                        </a:lnTo>
                        <a:lnTo>
                          <a:pt x="674" y="241"/>
                        </a:lnTo>
                        <a:lnTo>
                          <a:pt x="649" y="273"/>
                        </a:lnTo>
                        <a:lnTo>
                          <a:pt x="639" y="281"/>
                        </a:lnTo>
                        <a:lnTo>
                          <a:pt x="639" y="291"/>
                        </a:lnTo>
                        <a:lnTo>
                          <a:pt x="614" y="306"/>
                        </a:lnTo>
                        <a:lnTo>
                          <a:pt x="611" y="313"/>
                        </a:lnTo>
                        <a:lnTo>
                          <a:pt x="591" y="313"/>
                        </a:lnTo>
                        <a:lnTo>
                          <a:pt x="579" y="324"/>
                        </a:lnTo>
                        <a:lnTo>
                          <a:pt x="575" y="334"/>
                        </a:lnTo>
                        <a:lnTo>
                          <a:pt x="512" y="348"/>
                        </a:lnTo>
                        <a:lnTo>
                          <a:pt x="386" y="374"/>
                        </a:lnTo>
                        <a:lnTo>
                          <a:pt x="285" y="395"/>
                        </a:lnTo>
                        <a:lnTo>
                          <a:pt x="171" y="416"/>
                        </a:lnTo>
                        <a:lnTo>
                          <a:pt x="56" y="436"/>
                        </a:lnTo>
                        <a:lnTo>
                          <a:pt x="34" y="304"/>
                        </a:lnTo>
                        <a:lnTo>
                          <a:pt x="0" y="113"/>
                        </a:lnTo>
                        <a:lnTo>
                          <a:pt x="15" y="104"/>
                        </a:lnTo>
                        <a:lnTo>
                          <a:pt x="61" y="65"/>
                        </a:lnTo>
                        <a:lnTo>
                          <a:pt x="74" y="58"/>
                        </a:lnTo>
                        <a:lnTo>
                          <a:pt x="80" y="96"/>
                        </a:lnTo>
                        <a:lnTo>
                          <a:pt x="171" y="79"/>
                        </a:lnTo>
                        <a:lnTo>
                          <a:pt x="257" y="63"/>
                        </a:lnTo>
                        <a:lnTo>
                          <a:pt x="416" y="29"/>
                        </a:lnTo>
                        <a:lnTo>
                          <a:pt x="549" y="0"/>
                        </a:lnTo>
                        <a:lnTo>
                          <a:pt x="582" y="18"/>
                        </a:lnTo>
                        <a:lnTo>
                          <a:pt x="586" y="24"/>
                        </a:lnTo>
                        <a:lnTo>
                          <a:pt x="591" y="48"/>
                        </a:lnTo>
                        <a:lnTo>
                          <a:pt x="601" y="60"/>
                        </a:lnTo>
                        <a:lnTo>
                          <a:pt x="615" y="66"/>
                        </a:lnTo>
                        <a:lnTo>
                          <a:pt x="630" y="65"/>
                        </a:lnTo>
                        <a:lnTo>
                          <a:pt x="637" y="75"/>
                        </a:lnTo>
                        <a:close/>
                      </a:path>
                    </a:pathLst>
                  </a:custGeom>
                  <a:solidFill>
                    <a:srgbClr val="3E7994"/>
                  </a:solidFill>
                  <a:ln w="0" cap="rnd">
                    <a:solidFill>
                      <a:srgbClr val="3E7994"/>
                    </a:solidFill>
                    <a:prstDash val="solid"/>
                    <a:round/>
                    <a:headEnd/>
                    <a:tailEnd/>
                  </a:ln>
                </p:spPr>
                <p:txBody>
                  <a:bodyPr vert="horz" wrap="square" lIns="45720" tIns="22860" rIns="45720" bIns="22860" numCol="1" anchor="t" anchorCtr="0" compatLnSpc="1">
                    <a:prstTxWarp prst="textNoShape">
                      <a:avLst/>
                    </a:prstTxWarp>
                  </a:bodyPr>
                  <a:lstStyle/>
                  <a:p>
                    <a:endParaRPr lang="en-US" sz="500"/>
                  </a:p>
                </p:txBody>
              </p:sp>
            </p:grpSp>
            <p:grpSp>
              <p:nvGrpSpPr>
                <p:cNvPr id="3164" name="GradientColorLegend">
                  <a:extLst>
                    <a:ext uri="{FF2B5EF4-FFF2-40B4-BE49-F238E27FC236}">
                      <a16:creationId xmlns:a16="http://schemas.microsoft.com/office/drawing/2014/main" id="{49905045-45F1-10D0-222D-DB7FB0FC14A4}"/>
                    </a:ext>
                  </a:extLst>
                </p:cNvPr>
                <p:cNvGrpSpPr/>
                <p:nvPr/>
              </p:nvGrpSpPr>
              <p:grpSpPr>
                <a:xfrm>
                  <a:off x="3579069" y="3208930"/>
                  <a:ext cx="120073" cy="1596587"/>
                  <a:chOff x="1066170" y="2465604"/>
                  <a:chExt cx="120073" cy="1596587"/>
                </a:xfrm>
              </p:grpSpPr>
              <p:sp>
                <p:nvSpPr>
                  <p:cNvPr id="3186" name="Etiquette - GradientColorLegend - DARK - Shape" hidden="1">
                    <a:extLst>
                      <a:ext uri="{FF2B5EF4-FFF2-40B4-BE49-F238E27FC236}">
                        <a16:creationId xmlns:a16="http://schemas.microsoft.com/office/drawing/2014/main" id="{8B2E44B6-DDE7-11D5-0743-321F3DDA4015}"/>
                      </a:ext>
                    </a:extLst>
                  </p:cNvPr>
                  <p:cNvSpPr/>
                  <p:nvPr/>
                </p:nvSpPr>
                <p:spPr>
                  <a:xfrm>
                    <a:off x="1066170" y="2575168"/>
                    <a:ext cx="120073" cy="1382400"/>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a:p>
                </p:txBody>
              </p:sp>
              <p:sp>
                <p:nvSpPr>
                  <p:cNvPr id="3187" name="Etiquette - GradientColorLegend - DARK - MaxValue" hidden="1">
                    <a:extLst>
                      <a:ext uri="{FF2B5EF4-FFF2-40B4-BE49-F238E27FC236}">
                        <a16:creationId xmlns:a16="http://schemas.microsoft.com/office/drawing/2014/main" id="{ECFD54F4-7F2A-BF9C-4092-8206ACA26552}"/>
                      </a:ext>
                    </a:extLst>
                  </p:cNvPr>
                  <p:cNvSpPr txBox="1"/>
                  <p:nvPr/>
                </p:nvSpPr>
                <p:spPr>
                  <a:xfrm>
                    <a:off x="1104955" y="2465604"/>
                    <a:ext cx="42505" cy="102008"/>
                  </a:xfrm>
                  <a:prstGeom prst="rect">
                    <a:avLst/>
                  </a:prstGeom>
                  <a:noFill/>
                </p:spPr>
                <p:txBody>
                  <a:bodyPr wrap="none" lIns="0" tIns="0" rIns="0" bIns="0" rtlCol="0" anchor="b">
                    <a:spAutoFit/>
                  </a:bodyPr>
                  <a:lstStyle/>
                  <a:p>
                    <a:pPr algn="ctr"/>
                    <a:r>
                      <a:rPr lang="en-US" sz="500"/>
                      <a:t>1</a:t>
                    </a:r>
                  </a:p>
                </p:txBody>
              </p:sp>
              <p:sp>
                <p:nvSpPr>
                  <p:cNvPr id="3188" name="Etiquette - GradientColorLegend - DARK - MinValue" hidden="1">
                    <a:extLst>
                      <a:ext uri="{FF2B5EF4-FFF2-40B4-BE49-F238E27FC236}">
                        <a16:creationId xmlns:a16="http://schemas.microsoft.com/office/drawing/2014/main" id="{9D545E15-3305-D3A6-E412-DF0DF44ABC55}"/>
                      </a:ext>
                    </a:extLst>
                  </p:cNvPr>
                  <p:cNvSpPr txBox="1"/>
                  <p:nvPr/>
                </p:nvSpPr>
                <p:spPr>
                  <a:xfrm>
                    <a:off x="1104955" y="3960183"/>
                    <a:ext cx="42505" cy="102008"/>
                  </a:xfrm>
                  <a:prstGeom prst="rect">
                    <a:avLst/>
                  </a:prstGeom>
                  <a:noFill/>
                </p:spPr>
                <p:txBody>
                  <a:bodyPr wrap="none" lIns="0" tIns="0" rIns="0" bIns="0" rtlCol="0">
                    <a:spAutoFit/>
                  </a:bodyPr>
                  <a:lstStyle/>
                  <a:p>
                    <a:pPr algn="ctr"/>
                    <a:r>
                      <a:rPr lang="en-US" sz="500"/>
                      <a:t>1</a:t>
                    </a:r>
                  </a:p>
                </p:txBody>
              </p:sp>
            </p:grpSp>
            <p:grpSp>
              <p:nvGrpSpPr>
                <p:cNvPr id="3165" name="RangeColorLegend">
                  <a:extLst>
                    <a:ext uri="{FF2B5EF4-FFF2-40B4-BE49-F238E27FC236}">
                      <a16:creationId xmlns:a16="http://schemas.microsoft.com/office/drawing/2014/main" id="{BB9DA52E-7EC1-2C9C-065B-6BEDF7D8AB18}"/>
                    </a:ext>
                  </a:extLst>
                </p:cNvPr>
                <p:cNvGrpSpPr/>
                <p:nvPr/>
              </p:nvGrpSpPr>
              <p:grpSpPr>
                <a:xfrm>
                  <a:off x="2881454" y="3097644"/>
                  <a:ext cx="1270800" cy="1538880"/>
                  <a:chOff x="9035858" y="4406418"/>
                  <a:chExt cx="1270800" cy="1538880"/>
                </a:xfrm>
              </p:grpSpPr>
              <p:sp>
                <p:nvSpPr>
                  <p:cNvPr id="3166" name="Etiquette - RangeColorLegend - DARK - Color - 2" hidden="1">
                    <a:extLst>
                      <a:ext uri="{FF2B5EF4-FFF2-40B4-BE49-F238E27FC236}">
                        <a16:creationId xmlns:a16="http://schemas.microsoft.com/office/drawing/2014/main" id="{91EFDB3B-30B2-162B-9EEE-3D8FC42FD55F}"/>
                      </a:ext>
                    </a:extLst>
                  </p:cNvPr>
                  <p:cNvSpPr/>
                  <p:nvPr/>
                </p:nvSpPr>
                <p:spPr>
                  <a:xfrm>
                    <a:off x="9035858" y="4560306"/>
                    <a:ext cx="154800" cy="153888"/>
                  </a:xfrm>
                  <a:prstGeom prst="rect">
                    <a:avLst/>
                  </a:prstGeom>
                  <a:solidFill>
                    <a:srgbClr val="92D050"/>
                  </a:solidFill>
                  <a:ln>
                    <a:solidFill>
                      <a:schemeClr val="tx1"/>
                    </a:solidFill>
                  </a:ln>
                </p:spPr>
                <p:txBody>
                  <a:bodyPr wrap="square" lIns="0" tIns="0" rIns="0" bIns="0" anchor="ctr">
                    <a:noAutofit/>
                  </a:bodyPr>
                  <a:lstStyle/>
                  <a:p>
                    <a:pPr algn="ctr"/>
                    <a:endParaRPr lang="en-US" sz="500"/>
                  </a:p>
                </p:txBody>
              </p:sp>
              <p:sp>
                <p:nvSpPr>
                  <p:cNvPr id="3167" name="Etiquette - RangeColorLegend - DARK - Color - 1" hidden="1">
                    <a:extLst>
                      <a:ext uri="{FF2B5EF4-FFF2-40B4-BE49-F238E27FC236}">
                        <a16:creationId xmlns:a16="http://schemas.microsoft.com/office/drawing/2014/main" id="{E1A0D48F-3FBE-7638-6C36-D757509396FE}"/>
                      </a:ext>
                    </a:extLst>
                  </p:cNvPr>
                  <p:cNvSpPr/>
                  <p:nvPr/>
                </p:nvSpPr>
                <p:spPr>
                  <a:xfrm>
                    <a:off x="9035858" y="4406418"/>
                    <a:ext cx="154800" cy="153888"/>
                  </a:xfrm>
                  <a:prstGeom prst="rect">
                    <a:avLst/>
                  </a:prstGeom>
                  <a:solidFill>
                    <a:srgbClr val="00B050"/>
                  </a:solidFill>
                  <a:ln>
                    <a:solidFill>
                      <a:schemeClr val="tx1"/>
                    </a:solidFill>
                  </a:ln>
                </p:spPr>
                <p:txBody>
                  <a:bodyPr wrap="square" lIns="0" tIns="0" rIns="0" bIns="0" anchor="ctr">
                    <a:noAutofit/>
                  </a:bodyPr>
                  <a:lstStyle/>
                  <a:p>
                    <a:pPr algn="ctr"/>
                    <a:endParaRPr lang="en-US" sz="500"/>
                  </a:p>
                </p:txBody>
              </p:sp>
              <p:sp>
                <p:nvSpPr>
                  <p:cNvPr id="3168" name="Etiquette - RangeColorLegend - DARK - Number - 2" hidden="1">
                    <a:extLst>
                      <a:ext uri="{FF2B5EF4-FFF2-40B4-BE49-F238E27FC236}">
                        <a16:creationId xmlns:a16="http://schemas.microsoft.com/office/drawing/2014/main" id="{5F74241B-E34A-23BF-5106-16A2835F4CAD}"/>
                      </a:ext>
                    </a:extLst>
                  </p:cNvPr>
                  <p:cNvSpPr/>
                  <p:nvPr/>
                </p:nvSpPr>
                <p:spPr>
                  <a:xfrm>
                    <a:off x="9190658" y="4560306"/>
                    <a:ext cx="1116000" cy="153888"/>
                  </a:xfrm>
                  <a:prstGeom prst="rect">
                    <a:avLst/>
                  </a:prstGeom>
                  <a:ln>
                    <a:noFill/>
                  </a:ln>
                </p:spPr>
                <p:txBody>
                  <a:bodyPr wrap="none" lIns="36000" tIns="0" rIns="0" bIns="0" anchor="ctr">
                    <a:noAutofit/>
                  </a:bodyPr>
                  <a:lstStyle/>
                  <a:p>
                    <a:r>
                      <a:rPr lang="en-US" sz="500"/>
                      <a:t>[100 to 200[</a:t>
                    </a:r>
                  </a:p>
                </p:txBody>
              </p:sp>
              <p:sp>
                <p:nvSpPr>
                  <p:cNvPr id="3169" name="Etiquette - RangeColorLegend - DARK - Number - 1" hidden="1">
                    <a:extLst>
                      <a:ext uri="{FF2B5EF4-FFF2-40B4-BE49-F238E27FC236}">
                        <a16:creationId xmlns:a16="http://schemas.microsoft.com/office/drawing/2014/main" id="{3EB82A77-3306-A645-A46E-A6C077532FED}"/>
                      </a:ext>
                    </a:extLst>
                  </p:cNvPr>
                  <p:cNvSpPr/>
                  <p:nvPr/>
                </p:nvSpPr>
                <p:spPr>
                  <a:xfrm>
                    <a:off x="9190658" y="4406418"/>
                    <a:ext cx="1116000" cy="153888"/>
                  </a:xfrm>
                  <a:prstGeom prst="rect">
                    <a:avLst/>
                  </a:prstGeom>
                  <a:ln>
                    <a:noFill/>
                  </a:ln>
                </p:spPr>
                <p:txBody>
                  <a:bodyPr wrap="none" lIns="36000" tIns="0" rIns="0" bIns="0" anchor="ctr">
                    <a:noAutofit/>
                  </a:bodyPr>
                  <a:lstStyle/>
                  <a:p>
                    <a:r>
                      <a:rPr lang="en-US" sz="500"/>
                      <a:t>[0 to 100[</a:t>
                    </a:r>
                  </a:p>
                </p:txBody>
              </p:sp>
              <p:sp>
                <p:nvSpPr>
                  <p:cNvPr id="3170" name="Etiquette - RangeColorLegend - DARK - Color - 4" hidden="1">
                    <a:extLst>
                      <a:ext uri="{FF2B5EF4-FFF2-40B4-BE49-F238E27FC236}">
                        <a16:creationId xmlns:a16="http://schemas.microsoft.com/office/drawing/2014/main" id="{B9DF3787-6874-3DD7-C024-C874018BEF17}"/>
                      </a:ext>
                    </a:extLst>
                  </p:cNvPr>
                  <p:cNvSpPr/>
                  <p:nvPr/>
                </p:nvSpPr>
                <p:spPr>
                  <a:xfrm>
                    <a:off x="9035858" y="4868082"/>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500"/>
                  </a:p>
                </p:txBody>
              </p:sp>
              <p:sp>
                <p:nvSpPr>
                  <p:cNvPr id="3171" name="Etiquette - RangeColorLegend - DARK - Color - 3" hidden="1">
                    <a:extLst>
                      <a:ext uri="{FF2B5EF4-FFF2-40B4-BE49-F238E27FC236}">
                        <a16:creationId xmlns:a16="http://schemas.microsoft.com/office/drawing/2014/main" id="{B9A36A31-356A-2EBA-4761-E49CA1E8FE22}"/>
                      </a:ext>
                    </a:extLst>
                  </p:cNvPr>
                  <p:cNvSpPr/>
                  <p:nvPr/>
                </p:nvSpPr>
                <p:spPr>
                  <a:xfrm>
                    <a:off x="9035858" y="4714194"/>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500"/>
                  </a:p>
                </p:txBody>
              </p:sp>
              <p:sp>
                <p:nvSpPr>
                  <p:cNvPr id="3172" name="Etiquette - RangeColorLegend - DARK - Number - 4" hidden="1">
                    <a:extLst>
                      <a:ext uri="{FF2B5EF4-FFF2-40B4-BE49-F238E27FC236}">
                        <a16:creationId xmlns:a16="http://schemas.microsoft.com/office/drawing/2014/main" id="{D0E9C6A0-1258-B062-6A3C-19B835EA63D0}"/>
                      </a:ext>
                    </a:extLst>
                  </p:cNvPr>
                  <p:cNvSpPr/>
                  <p:nvPr/>
                </p:nvSpPr>
                <p:spPr>
                  <a:xfrm>
                    <a:off x="9190658" y="4868082"/>
                    <a:ext cx="1116000" cy="153888"/>
                  </a:xfrm>
                  <a:prstGeom prst="rect">
                    <a:avLst/>
                  </a:prstGeom>
                  <a:ln>
                    <a:noFill/>
                  </a:ln>
                </p:spPr>
                <p:txBody>
                  <a:bodyPr wrap="none" lIns="36000" tIns="0" rIns="0" bIns="0" anchor="ctr">
                    <a:noAutofit/>
                  </a:bodyPr>
                  <a:lstStyle/>
                  <a:p>
                    <a:r>
                      <a:rPr lang="en-US" sz="500"/>
                      <a:t>[300 to 400[</a:t>
                    </a:r>
                  </a:p>
                </p:txBody>
              </p:sp>
              <p:sp>
                <p:nvSpPr>
                  <p:cNvPr id="3173" name="Etiquette - RangeColorLegend - DARK - Number - 3" hidden="1">
                    <a:extLst>
                      <a:ext uri="{FF2B5EF4-FFF2-40B4-BE49-F238E27FC236}">
                        <a16:creationId xmlns:a16="http://schemas.microsoft.com/office/drawing/2014/main" id="{9D4D7637-3332-BA66-833A-2C43E183837C}"/>
                      </a:ext>
                    </a:extLst>
                  </p:cNvPr>
                  <p:cNvSpPr/>
                  <p:nvPr/>
                </p:nvSpPr>
                <p:spPr>
                  <a:xfrm>
                    <a:off x="9190658" y="4714194"/>
                    <a:ext cx="1116000" cy="153888"/>
                  </a:xfrm>
                  <a:prstGeom prst="rect">
                    <a:avLst/>
                  </a:prstGeom>
                  <a:ln>
                    <a:noFill/>
                  </a:ln>
                </p:spPr>
                <p:txBody>
                  <a:bodyPr wrap="none" lIns="36000" tIns="0" rIns="0" bIns="0" anchor="ctr">
                    <a:noAutofit/>
                  </a:bodyPr>
                  <a:lstStyle/>
                  <a:p>
                    <a:r>
                      <a:rPr lang="en-US" sz="500"/>
                      <a:t>[200 to 300[</a:t>
                    </a:r>
                  </a:p>
                </p:txBody>
              </p:sp>
              <p:sp>
                <p:nvSpPr>
                  <p:cNvPr id="3174" name="Etiquette - RangeColorLegend - DARK - Color - 5" hidden="1">
                    <a:extLst>
                      <a:ext uri="{FF2B5EF4-FFF2-40B4-BE49-F238E27FC236}">
                        <a16:creationId xmlns:a16="http://schemas.microsoft.com/office/drawing/2014/main" id="{3CE077C2-E536-022E-4A03-7643A769A654}"/>
                      </a:ext>
                    </a:extLst>
                  </p:cNvPr>
                  <p:cNvSpPr/>
                  <p:nvPr/>
                </p:nvSpPr>
                <p:spPr>
                  <a:xfrm>
                    <a:off x="9035858" y="502197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75" name="Etiquette - RangeColorLegend - DARK - Number - 5" hidden="1">
                    <a:extLst>
                      <a:ext uri="{FF2B5EF4-FFF2-40B4-BE49-F238E27FC236}">
                        <a16:creationId xmlns:a16="http://schemas.microsoft.com/office/drawing/2014/main" id="{40651321-B835-FFEB-9332-D3B756CF6BF0}"/>
                      </a:ext>
                    </a:extLst>
                  </p:cNvPr>
                  <p:cNvSpPr/>
                  <p:nvPr/>
                </p:nvSpPr>
                <p:spPr>
                  <a:xfrm>
                    <a:off x="9190658" y="5021970"/>
                    <a:ext cx="1116000" cy="153888"/>
                  </a:xfrm>
                  <a:prstGeom prst="rect">
                    <a:avLst/>
                  </a:prstGeom>
                  <a:ln>
                    <a:noFill/>
                  </a:ln>
                </p:spPr>
                <p:txBody>
                  <a:bodyPr wrap="none" lIns="36000" tIns="0" rIns="0" bIns="0" anchor="ctr">
                    <a:noAutofit/>
                  </a:bodyPr>
                  <a:lstStyle/>
                  <a:p>
                    <a:r>
                      <a:rPr lang="en-US" sz="500"/>
                      <a:t>400+</a:t>
                    </a:r>
                  </a:p>
                </p:txBody>
              </p:sp>
              <p:sp>
                <p:nvSpPr>
                  <p:cNvPr id="3176" name="Etiquette - RangeColorLegend - DARK - Color - 6" hidden="1">
                    <a:extLst>
                      <a:ext uri="{FF2B5EF4-FFF2-40B4-BE49-F238E27FC236}">
                        <a16:creationId xmlns:a16="http://schemas.microsoft.com/office/drawing/2014/main" id="{57E7F24B-A14C-3195-1119-618950F357B0}"/>
                      </a:ext>
                    </a:extLst>
                  </p:cNvPr>
                  <p:cNvSpPr/>
                  <p:nvPr/>
                </p:nvSpPr>
                <p:spPr>
                  <a:xfrm>
                    <a:off x="9035858" y="517585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77" name="Etiquette - RangeColorLegend - DARK - Number - 6" hidden="1">
                    <a:extLst>
                      <a:ext uri="{FF2B5EF4-FFF2-40B4-BE49-F238E27FC236}">
                        <a16:creationId xmlns:a16="http://schemas.microsoft.com/office/drawing/2014/main" id="{467EF361-274E-1F42-9618-3FF82EE2A3DA}"/>
                      </a:ext>
                    </a:extLst>
                  </p:cNvPr>
                  <p:cNvSpPr/>
                  <p:nvPr/>
                </p:nvSpPr>
                <p:spPr>
                  <a:xfrm>
                    <a:off x="9190658" y="5175858"/>
                    <a:ext cx="1116000" cy="153888"/>
                  </a:xfrm>
                  <a:prstGeom prst="rect">
                    <a:avLst/>
                  </a:prstGeom>
                  <a:ln>
                    <a:noFill/>
                  </a:ln>
                </p:spPr>
                <p:txBody>
                  <a:bodyPr wrap="none" lIns="36000" tIns="0" rIns="0" bIns="0" anchor="ctr">
                    <a:noAutofit/>
                  </a:bodyPr>
                  <a:lstStyle/>
                  <a:p>
                    <a:r>
                      <a:rPr lang="en-US" sz="500"/>
                      <a:t>400+</a:t>
                    </a:r>
                  </a:p>
                </p:txBody>
              </p:sp>
              <p:sp>
                <p:nvSpPr>
                  <p:cNvPr id="3178" name="Etiquette - RangeColorLegend - DARK - Color - 7" hidden="1">
                    <a:extLst>
                      <a:ext uri="{FF2B5EF4-FFF2-40B4-BE49-F238E27FC236}">
                        <a16:creationId xmlns:a16="http://schemas.microsoft.com/office/drawing/2014/main" id="{775D3685-ADCC-E5C2-EF12-7DA959003705}"/>
                      </a:ext>
                    </a:extLst>
                  </p:cNvPr>
                  <p:cNvSpPr/>
                  <p:nvPr/>
                </p:nvSpPr>
                <p:spPr>
                  <a:xfrm>
                    <a:off x="9035858" y="532974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79" name="Etiquette - RangeColorLegend - DARK - Number - 7" hidden="1">
                    <a:extLst>
                      <a:ext uri="{FF2B5EF4-FFF2-40B4-BE49-F238E27FC236}">
                        <a16:creationId xmlns:a16="http://schemas.microsoft.com/office/drawing/2014/main" id="{EDD476E8-DA59-CABF-D30F-C8AE0A486701}"/>
                      </a:ext>
                    </a:extLst>
                  </p:cNvPr>
                  <p:cNvSpPr/>
                  <p:nvPr/>
                </p:nvSpPr>
                <p:spPr>
                  <a:xfrm>
                    <a:off x="9190658" y="5329746"/>
                    <a:ext cx="1116000" cy="153888"/>
                  </a:xfrm>
                  <a:prstGeom prst="rect">
                    <a:avLst/>
                  </a:prstGeom>
                  <a:ln>
                    <a:noFill/>
                  </a:ln>
                </p:spPr>
                <p:txBody>
                  <a:bodyPr wrap="none" lIns="36000" tIns="0" rIns="0" bIns="0" anchor="ctr">
                    <a:noAutofit/>
                  </a:bodyPr>
                  <a:lstStyle/>
                  <a:p>
                    <a:r>
                      <a:rPr lang="en-US" sz="500"/>
                      <a:t>400+</a:t>
                    </a:r>
                  </a:p>
                </p:txBody>
              </p:sp>
              <p:sp>
                <p:nvSpPr>
                  <p:cNvPr id="3180" name="Etiquette - RangeColorLegend - DARK - Color - 8" hidden="1">
                    <a:extLst>
                      <a:ext uri="{FF2B5EF4-FFF2-40B4-BE49-F238E27FC236}">
                        <a16:creationId xmlns:a16="http://schemas.microsoft.com/office/drawing/2014/main" id="{BC60D29F-6BB0-27B7-1F10-9D44D29069D8}"/>
                      </a:ext>
                    </a:extLst>
                  </p:cNvPr>
                  <p:cNvSpPr/>
                  <p:nvPr/>
                </p:nvSpPr>
                <p:spPr>
                  <a:xfrm>
                    <a:off x="9035858" y="548363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81" name="Etiquette - RangeColorLegend - DARK - Number - 8" hidden="1">
                    <a:extLst>
                      <a:ext uri="{FF2B5EF4-FFF2-40B4-BE49-F238E27FC236}">
                        <a16:creationId xmlns:a16="http://schemas.microsoft.com/office/drawing/2014/main" id="{64123816-C9EF-A13D-93FA-56A88AE129DD}"/>
                      </a:ext>
                    </a:extLst>
                  </p:cNvPr>
                  <p:cNvSpPr/>
                  <p:nvPr/>
                </p:nvSpPr>
                <p:spPr>
                  <a:xfrm>
                    <a:off x="9190658" y="5483634"/>
                    <a:ext cx="1116000" cy="153888"/>
                  </a:xfrm>
                  <a:prstGeom prst="rect">
                    <a:avLst/>
                  </a:prstGeom>
                  <a:ln>
                    <a:noFill/>
                  </a:ln>
                </p:spPr>
                <p:txBody>
                  <a:bodyPr wrap="none" lIns="36000" tIns="0" rIns="0" bIns="0" anchor="ctr">
                    <a:noAutofit/>
                  </a:bodyPr>
                  <a:lstStyle/>
                  <a:p>
                    <a:r>
                      <a:rPr lang="en-US" sz="500"/>
                      <a:t>400+</a:t>
                    </a:r>
                  </a:p>
                </p:txBody>
              </p:sp>
              <p:sp>
                <p:nvSpPr>
                  <p:cNvPr id="3182" name="Etiquette - RangeColorLegend - DARK - Color - 9" hidden="1">
                    <a:extLst>
                      <a:ext uri="{FF2B5EF4-FFF2-40B4-BE49-F238E27FC236}">
                        <a16:creationId xmlns:a16="http://schemas.microsoft.com/office/drawing/2014/main" id="{A68F298D-BD56-53BA-48E8-97C08C1D12FE}"/>
                      </a:ext>
                    </a:extLst>
                  </p:cNvPr>
                  <p:cNvSpPr/>
                  <p:nvPr/>
                </p:nvSpPr>
                <p:spPr>
                  <a:xfrm>
                    <a:off x="9035858" y="563752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83" name="Etiquette - RangeColorLegend - DARK - Number - 9" hidden="1">
                    <a:extLst>
                      <a:ext uri="{FF2B5EF4-FFF2-40B4-BE49-F238E27FC236}">
                        <a16:creationId xmlns:a16="http://schemas.microsoft.com/office/drawing/2014/main" id="{7E6C45B1-2E14-C0A2-4666-B885BAF80D2A}"/>
                      </a:ext>
                    </a:extLst>
                  </p:cNvPr>
                  <p:cNvSpPr/>
                  <p:nvPr/>
                </p:nvSpPr>
                <p:spPr>
                  <a:xfrm>
                    <a:off x="9190658" y="5637522"/>
                    <a:ext cx="1116000" cy="153888"/>
                  </a:xfrm>
                  <a:prstGeom prst="rect">
                    <a:avLst/>
                  </a:prstGeom>
                  <a:ln>
                    <a:noFill/>
                  </a:ln>
                </p:spPr>
                <p:txBody>
                  <a:bodyPr wrap="none" lIns="36000" tIns="0" rIns="0" bIns="0" anchor="ctr">
                    <a:noAutofit/>
                  </a:bodyPr>
                  <a:lstStyle/>
                  <a:p>
                    <a:r>
                      <a:rPr lang="en-US" sz="500"/>
                      <a:t>400+</a:t>
                    </a:r>
                  </a:p>
                </p:txBody>
              </p:sp>
              <p:sp>
                <p:nvSpPr>
                  <p:cNvPr id="3184" name="Etiquette - RangeColorLegend - DARK - Color - 10" hidden="1">
                    <a:extLst>
                      <a:ext uri="{FF2B5EF4-FFF2-40B4-BE49-F238E27FC236}">
                        <a16:creationId xmlns:a16="http://schemas.microsoft.com/office/drawing/2014/main" id="{C6D89237-901F-EBB5-E707-22B83C1CF9EC}"/>
                      </a:ext>
                    </a:extLst>
                  </p:cNvPr>
                  <p:cNvSpPr/>
                  <p:nvPr/>
                </p:nvSpPr>
                <p:spPr>
                  <a:xfrm>
                    <a:off x="9035858" y="579141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500"/>
                  </a:p>
                </p:txBody>
              </p:sp>
              <p:sp>
                <p:nvSpPr>
                  <p:cNvPr id="3185" name="Etiquette - RangeColorLegend - DARK - Number - 10" hidden="1">
                    <a:extLst>
                      <a:ext uri="{FF2B5EF4-FFF2-40B4-BE49-F238E27FC236}">
                        <a16:creationId xmlns:a16="http://schemas.microsoft.com/office/drawing/2014/main" id="{22262F88-3072-2F03-8824-B3AB2E2D3095}"/>
                      </a:ext>
                    </a:extLst>
                  </p:cNvPr>
                  <p:cNvSpPr/>
                  <p:nvPr/>
                </p:nvSpPr>
                <p:spPr>
                  <a:xfrm>
                    <a:off x="9190658" y="5791410"/>
                    <a:ext cx="1116000" cy="153888"/>
                  </a:xfrm>
                  <a:prstGeom prst="rect">
                    <a:avLst/>
                  </a:prstGeom>
                  <a:ln>
                    <a:noFill/>
                  </a:ln>
                </p:spPr>
                <p:txBody>
                  <a:bodyPr wrap="none" lIns="36000" tIns="0" rIns="0" bIns="0" anchor="ctr">
                    <a:noAutofit/>
                  </a:bodyPr>
                  <a:lstStyle/>
                  <a:p>
                    <a:r>
                      <a:rPr lang="en-US" sz="500"/>
                      <a:t>400+</a:t>
                    </a:r>
                  </a:p>
                </p:txBody>
              </p:sp>
            </p:grpSp>
          </p:grpSp>
          <p:sp>
            <p:nvSpPr>
              <p:cNvPr id="3256" name="POWER_USER_DATA_MAP_TITLE">
                <a:extLst>
                  <a:ext uri="{FF2B5EF4-FFF2-40B4-BE49-F238E27FC236}">
                    <a16:creationId xmlns:a16="http://schemas.microsoft.com/office/drawing/2014/main" id="{35572097-34E5-5C23-892D-30F2DDE29A06}"/>
                  </a:ext>
                </a:extLst>
              </p:cNvPr>
              <p:cNvSpPr/>
              <p:nvPr/>
            </p:nvSpPr>
            <p:spPr>
              <a:xfrm>
                <a:off x="2881454" y="796737"/>
                <a:ext cx="6098304" cy="635000"/>
              </a:xfrm>
              <a:prstGeom prst="rect">
                <a:avLst/>
              </a:prstGeom>
              <a:noFill/>
              <a:ln w="12700" cap="flat">
                <a:noFill/>
                <a:miter lim="400000"/>
              </a:ln>
              <a:effectLs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a:solidFill>
                      <a:prstClr val="black"/>
                    </a:solidFill>
                    <a:miter lim="400000"/>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750">
                  <a:sym typeface="Helvetica Neue Medium"/>
                </a:endParaRPr>
              </a:p>
            </p:txBody>
          </p:sp>
          <p:sp>
            <p:nvSpPr>
              <p:cNvPr id="3257" name="POWER_USER_DATA_MAP_STORAGE">
                <a:extLst>
                  <a:ext uri="{FF2B5EF4-FFF2-40B4-BE49-F238E27FC236}">
                    <a16:creationId xmlns:a16="http://schemas.microsoft.com/office/drawing/2014/main" id="{4D7671B4-006B-19CA-9564-CE7DD145B541}"/>
                  </a:ext>
                </a:extLst>
              </p:cNvPr>
              <p:cNvSpPr/>
              <p:nvPr/>
            </p:nvSpPr>
            <p:spPr>
              <a:xfrm>
                <a:off x="2881454" y="1431738"/>
                <a:ext cx="0" cy="0"/>
              </a:xfrm>
              <a:prstGeom prst="rect">
                <a:avLst/>
              </a:prstGeom>
              <a:solidFill>
                <a:schemeClr val="accent1"/>
              </a:solidFill>
              <a:ln w="12700" cap="flat">
                <a:solidFill>
                  <a:prstClr val="black"/>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1600">
                  <a:solidFill>
                    <a:srgbClr val="FFFFFF"/>
                  </a:solidFill>
                  <a:sym typeface="Helvetica Neue Medium"/>
                </a:endParaRPr>
              </a:p>
            </p:txBody>
          </p:sp>
        </p:grpSp>
        <p:sp>
          <p:nvSpPr>
            <p:cNvPr id="235" name="Marketing…">
              <a:extLst>
                <a:ext uri="{FF2B5EF4-FFF2-40B4-BE49-F238E27FC236}">
                  <a16:creationId xmlns:a16="http://schemas.microsoft.com/office/drawing/2014/main" id="{C798497E-A1BC-E347-9634-F471D9E7B55C}"/>
                </a:ext>
              </a:extLst>
            </p:cNvPr>
            <p:cNvSpPr txBox="1"/>
            <p:nvPr/>
          </p:nvSpPr>
          <p:spPr>
            <a:xfrm>
              <a:off x="7699271" y="10720237"/>
              <a:ext cx="3132000" cy="10750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gn="l">
                <a:lnSpc>
                  <a:spcPct val="130000"/>
                </a:lnSpc>
                <a:defRPr sz="2500">
                  <a:solidFill>
                    <a:srgbClr val="53585F"/>
                  </a:solidFill>
                  <a:latin typeface="Roboto"/>
                  <a:ea typeface="Roboto"/>
                  <a:cs typeface="Roboto"/>
                  <a:sym typeface="Roboto"/>
                </a:defRPr>
              </a:pPr>
              <a:r>
                <a:rPr lang="pl-PL" sz="1400">
                  <a:solidFill>
                    <a:srgbClr val="FFFFFF"/>
                  </a:solidFill>
                  <a:latin typeface="+mj-lt"/>
                  <a:ea typeface="Roboto"/>
                  <a:cs typeface="Roboto"/>
                </a:rPr>
                <a:t>Zaangażowanie</a:t>
              </a:r>
              <a:r>
                <a:rPr lang="pl-PL" sz="1400">
                  <a:solidFill>
                    <a:srgbClr val="FFFFFF"/>
                  </a:solidFill>
                  <a:latin typeface="+mj-lt"/>
                </a:rPr>
                <a:t> </a:t>
              </a:r>
              <a:r>
                <a:rPr lang="pl-PL" sz="1000">
                  <a:solidFill>
                    <a:srgbClr val="FFFFFF"/>
                  </a:solidFill>
                  <a:latin typeface="+mj-lt"/>
                </a:rPr>
                <a:t> </a:t>
              </a:r>
            </a:p>
            <a:p>
              <a:pPr algn="l">
                <a:lnSpc>
                  <a:spcPct val="130000"/>
                </a:lnSpc>
                <a:defRPr sz="2500">
                  <a:solidFill>
                    <a:srgbClr val="53585F"/>
                  </a:solidFill>
                  <a:latin typeface="Roboto"/>
                  <a:ea typeface="Roboto"/>
                  <a:cs typeface="Roboto"/>
                  <a:sym typeface="Roboto"/>
                </a:defRPr>
              </a:pPr>
              <a:r>
                <a:rPr lang="pl-PL" sz="1400">
                  <a:solidFill>
                    <a:srgbClr val="FFFFFF"/>
                  </a:solidFill>
                  <a:latin typeface="+mj-lt"/>
                  <a:ea typeface="Roboto"/>
                  <a:cs typeface="Roboto"/>
                </a:rPr>
                <a:t>&gt; 100 mln euro</a:t>
              </a:r>
              <a:endParaRPr lang="pl-PL" sz="900">
                <a:solidFill>
                  <a:srgbClr val="FFFFFF"/>
                </a:solidFill>
                <a:latin typeface="+mj-lt"/>
              </a:endParaRPr>
            </a:p>
          </p:txBody>
        </p:sp>
        <p:grpSp>
          <p:nvGrpSpPr>
            <p:cNvPr id="225" name="Grupa 224">
              <a:extLst>
                <a:ext uri="{FF2B5EF4-FFF2-40B4-BE49-F238E27FC236}">
                  <a16:creationId xmlns:a16="http://schemas.microsoft.com/office/drawing/2014/main" id="{C7418241-FF76-7A2A-13A1-2F6F7E84DEAC}"/>
                </a:ext>
              </a:extLst>
            </p:cNvPr>
            <p:cNvGrpSpPr/>
            <p:nvPr/>
          </p:nvGrpSpPr>
          <p:grpSpPr>
            <a:xfrm>
              <a:off x="9600160" y="6971536"/>
              <a:ext cx="3852950" cy="2063619"/>
              <a:chOff x="9600160" y="6971536"/>
              <a:chExt cx="3852950" cy="2063619"/>
            </a:xfrm>
          </p:grpSpPr>
          <p:sp>
            <p:nvSpPr>
              <p:cNvPr id="3353" name="Etiquette - Iceland">
                <a:extLst>
                  <a:ext uri="{FF2B5EF4-FFF2-40B4-BE49-F238E27FC236}">
                    <a16:creationId xmlns:a16="http://schemas.microsoft.com/office/drawing/2014/main" id="{BB20BCB7-BDA7-7C71-46CA-B6694CD96BE1}"/>
                  </a:ext>
                </a:extLst>
              </p:cNvPr>
              <p:cNvSpPr>
                <a:spLocks noChangeArrowheads="1"/>
              </p:cNvSpPr>
              <p:nvPr>
                <p:custDataLst>
                  <p:tags r:id="rId9"/>
                </p:custDataLst>
              </p:nvPr>
            </p:nvSpPr>
            <p:spPr bwMode="auto">
              <a:xfrm>
                <a:off x="10856876" y="7846704"/>
                <a:ext cx="343044" cy="246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USA</a:t>
                </a:r>
                <a:endParaRPr lang="en-US" altLang="fr-FR" sz="800" dirty="0">
                  <a:solidFill>
                    <a:srgbClr val="000000"/>
                  </a:solidFill>
                  <a:latin typeface="+mn-lt"/>
                </a:endParaRPr>
              </a:p>
            </p:txBody>
          </p:sp>
          <p:sp>
            <p:nvSpPr>
              <p:cNvPr id="22" name="Prostokąt 21">
                <a:extLst>
                  <a:ext uri="{FF2B5EF4-FFF2-40B4-BE49-F238E27FC236}">
                    <a16:creationId xmlns:a16="http://schemas.microsoft.com/office/drawing/2014/main" id="{89B11F58-3688-0C74-00B2-9D491C4C679E}"/>
                  </a:ext>
                </a:extLst>
              </p:cNvPr>
              <p:cNvSpPr/>
              <p:nvPr/>
            </p:nvSpPr>
            <p:spPr>
              <a:xfrm>
                <a:off x="9888756" y="6971536"/>
                <a:ext cx="1656640"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3" name="Prostokąt 22">
                <a:extLst>
                  <a:ext uri="{FF2B5EF4-FFF2-40B4-BE49-F238E27FC236}">
                    <a16:creationId xmlns:a16="http://schemas.microsoft.com/office/drawing/2014/main" id="{501F4A14-E7C0-2B28-B7EF-29B619D2BA80}"/>
                  </a:ext>
                </a:extLst>
              </p:cNvPr>
              <p:cNvSpPr/>
              <p:nvPr/>
            </p:nvSpPr>
            <p:spPr>
              <a:xfrm>
                <a:off x="9600160" y="7123648"/>
                <a:ext cx="1656640"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4" name="Prostokąt 23">
                <a:extLst>
                  <a:ext uri="{FF2B5EF4-FFF2-40B4-BE49-F238E27FC236}">
                    <a16:creationId xmlns:a16="http://schemas.microsoft.com/office/drawing/2014/main" id="{7EB971C5-600B-C9B2-3637-5B8CFBEA7813}"/>
                  </a:ext>
                </a:extLst>
              </p:cNvPr>
              <p:cNvSpPr/>
              <p:nvPr/>
            </p:nvSpPr>
            <p:spPr>
              <a:xfrm>
                <a:off x="10314836" y="7318272"/>
                <a:ext cx="1656640"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5" name="Prostokąt 24">
                <a:extLst>
                  <a:ext uri="{FF2B5EF4-FFF2-40B4-BE49-F238E27FC236}">
                    <a16:creationId xmlns:a16="http://schemas.microsoft.com/office/drawing/2014/main" id="{2C267F49-EBEB-571B-86E0-1D5471D62B0B}"/>
                  </a:ext>
                </a:extLst>
              </p:cNvPr>
              <p:cNvSpPr/>
              <p:nvPr/>
            </p:nvSpPr>
            <p:spPr>
              <a:xfrm>
                <a:off x="9823672" y="8139223"/>
                <a:ext cx="3103918"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6" name="Prostokąt 25">
                <a:extLst>
                  <a:ext uri="{FF2B5EF4-FFF2-40B4-BE49-F238E27FC236}">
                    <a16:creationId xmlns:a16="http://schemas.microsoft.com/office/drawing/2014/main" id="{CF1BC110-F507-61D8-50D3-BFA0121303A5}"/>
                  </a:ext>
                </a:extLst>
              </p:cNvPr>
              <p:cNvSpPr/>
              <p:nvPr/>
            </p:nvSpPr>
            <p:spPr>
              <a:xfrm>
                <a:off x="12090246" y="8542713"/>
                <a:ext cx="16779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7" name="Prostokąt 26">
                <a:extLst>
                  <a:ext uri="{FF2B5EF4-FFF2-40B4-BE49-F238E27FC236}">
                    <a16:creationId xmlns:a16="http://schemas.microsoft.com/office/drawing/2014/main" id="{0E2DF58F-6786-E0D2-CD7A-BCE3CCFB9E1D}"/>
                  </a:ext>
                </a:extLst>
              </p:cNvPr>
              <p:cNvSpPr/>
              <p:nvPr/>
            </p:nvSpPr>
            <p:spPr>
              <a:xfrm>
                <a:off x="10784910" y="8440793"/>
                <a:ext cx="16779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8" name="Prostokąt 27">
                <a:extLst>
                  <a:ext uri="{FF2B5EF4-FFF2-40B4-BE49-F238E27FC236}">
                    <a16:creationId xmlns:a16="http://schemas.microsoft.com/office/drawing/2014/main" id="{1ED1BABB-B97B-06CC-6681-9352A649C126}"/>
                  </a:ext>
                </a:extLst>
              </p:cNvPr>
              <p:cNvSpPr/>
              <p:nvPr/>
            </p:nvSpPr>
            <p:spPr>
              <a:xfrm>
                <a:off x="13285316" y="7053424"/>
                <a:ext cx="16779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9" name="Prostokąt 28">
                <a:extLst>
                  <a:ext uri="{FF2B5EF4-FFF2-40B4-BE49-F238E27FC236}">
                    <a16:creationId xmlns:a16="http://schemas.microsoft.com/office/drawing/2014/main" id="{AD2729B5-3B88-66DA-85CC-0CC12156AEBB}"/>
                  </a:ext>
                </a:extLst>
              </p:cNvPr>
              <p:cNvSpPr/>
              <p:nvPr/>
            </p:nvSpPr>
            <p:spPr>
              <a:xfrm>
                <a:off x="13246362" y="7399374"/>
                <a:ext cx="74226"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30" name="Prostokąt 29">
                <a:extLst>
                  <a:ext uri="{FF2B5EF4-FFF2-40B4-BE49-F238E27FC236}">
                    <a16:creationId xmlns:a16="http://schemas.microsoft.com/office/drawing/2014/main" id="{1F50C600-5A3A-D736-1040-5207BE41E1CF}"/>
                  </a:ext>
                </a:extLst>
              </p:cNvPr>
              <p:cNvSpPr/>
              <p:nvPr/>
            </p:nvSpPr>
            <p:spPr>
              <a:xfrm>
                <a:off x="12862644" y="7624632"/>
                <a:ext cx="27213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31" name="Prostokąt 30">
                <a:extLst>
                  <a:ext uri="{FF2B5EF4-FFF2-40B4-BE49-F238E27FC236}">
                    <a16:creationId xmlns:a16="http://schemas.microsoft.com/office/drawing/2014/main" id="{A64CFC43-A58B-4363-2CC1-005E60907C22}"/>
                  </a:ext>
                </a:extLst>
              </p:cNvPr>
              <p:cNvSpPr/>
              <p:nvPr/>
            </p:nvSpPr>
            <p:spPr>
              <a:xfrm>
                <a:off x="12350250" y="7738678"/>
                <a:ext cx="729054"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24" name="Prostokąt 223">
                <a:extLst>
                  <a:ext uri="{FF2B5EF4-FFF2-40B4-BE49-F238E27FC236}">
                    <a16:creationId xmlns:a16="http://schemas.microsoft.com/office/drawing/2014/main" id="{479767E6-CBC0-28C0-0488-FCAAF0FADB1D}"/>
                  </a:ext>
                </a:extLst>
              </p:cNvPr>
              <p:cNvSpPr/>
              <p:nvPr/>
            </p:nvSpPr>
            <p:spPr>
              <a:xfrm>
                <a:off x="13242108" y="7562622"/>
                <a:ext cx="61272" cy="492442"/>
              </a:xfrm>
              <a:prstGeom prst="rect">
                <a:avLst/>
              </a:prstGeom>
              <a:solidFill>
                <a:srgbClr val="3E7994"/>
              </a:solidFill>
              <a:ln w="12700" cap="flat">
                <a:solidFill>
                  <a:srgbClr val="3E799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grpSp>
      </p:grpSp>
      <p:grpSp>
        <p:nvGrpSpPr>
          <p:cNvPr id="3161" name="POWER_USER_DATA_MAP" descr="{&quot;IsGrandientColor&quot;:true,&quot;GradientColor&quot;:&quot;#D9D9D9&quot;,&quot;IsRangesColor&quot;:false,&quot;RangesSettings&quot;:null,&quot;RangeName&quot;:&quot;POWER_USER_EXCEL_MAP_0CCC51BC_6899_455F_9CFA_467ED30A3F16&quot;,&quot;Version&quot;:&quot;1.6.1616.0&quot;}">
            <a:extLst>
              <a:ext uri="{FF2B5EF4-FFF2-40B4-BE49-F238E27FC236}">
                <a16:creationId xmlns:a16="http://schemas.microsoft.com/office/drawing/2014/main" id="{2CC6732F-FE25-F67A-FE70-BFFC0A93EBE0}"/>
              </a:ext>
            </a:extLst>
          </p:cNvPr>
          <p:cNvGrpSpPr>
            <a:grpSpLocks noChangeAspect="1"/>
          </p:cNvGrpSpPr>
          <p:nvPr/>
        </p:nvGrpSpPr>
        <p:grpSpPr>
          <a:xfrm>
            <a:off x="7183730" y="1029252"/>
            <a:ext cx="5789616" cy="4399262"/>
            <a:chOff x="1963063" y="207101"/>
            <a:chExt cx="9090906" cy="6907760"/>
          </a:xfrm>
        </p:grpSpPr>
        <p:grpSp>
          <p:nvGrpSpPr>
            <p:cNvPr id="3042" name="Europe_States_2">
              <a:extLst>
                <a:ext uri="{FF2B5EF4-FFF2-40B4-BE49-F238E27FC236}">
                  <a16:creationId xmlns:a16="http://schemas.microsoft.com/office/drawing/2014/main" id="{C92D1EE4-6F07-53EA-B107-27BB134A1DB0}"/>
                </a:ext>
              </a:extLst>
            </p:cNvPr>
            <p:cNvGrpSpPr>
              <a:grpSpLocks noChangeAspect="1"/>
            </p:cNvGrpSpPr>
            <p:nvPr/>
          </p:nvGrpSpPr>
          <p:grpSpPr>
            <a:xfrm>
              <a:off x="1963063" y="842102"/>
              <a:ext cx="8719224" cy="6272759"/>
              <a:chOff x="1963063" y="207102"/>
              <a:chExt cx="8719224" cy="6272759"/>
            </a:xfrm>
          </p:grpSpPr>
          <p:grpSp>
            <p:nvGrpSpPr>
              <p:cNvPr id="3043" name="GradientColorLegend">
                <a:extLst>
                  <a:ext uri="{FF2B5EF4-FFF2-40B4-BE49-F238E27FC236}">
                    <a16:creationId xmlns:a16="http://schemas.microsoft.com/office/drawing/2014/main" id="{499EA95E-FE31-F22C-A171-E5757C3A8FFC}"/>
                  </a:ext>
                </a:extLst>
              </p:cNvPr>
              <p:cNvGrpSpPr/>
              <p:nvPr/>
            </p:nvGrpSpPr>
            <p:grpSpPr>
              <a:xfrm>
                <a:off x="2468174" y="3189348"/>
                <a:ext cx="120073" cy="1682537"/>
                <a:chOff x="1066170" y="2422629"/>
                <a:chExt cx="120073" cy="1682537"/>
              </a:xfrm>
            </p:grpSpPr>
            <p:sp>
              <p:nvSpPr>
                <p:cNvPr id="3156" name="Etiquette - GradientColorLegend - DARK - Shape" hidden="1">
                  <a:extLst>
                    <a:ext uri="{FF2B5EF4-FFF2-40B4-BE49-F238E27FC236}">
                      <a16:creationId xmlns:a16="http://schemas.microsoft.com/office/drawing/2014/main" id="{274F9102-DCB6-7647-9E5F-BCE206209CB5}"/>
                    </a:ext>
                  </a:extLst>
                </p:cNvPr>
                <p:cNvSpPr/>
                <p:nvPr/>
              </p:nvSpPr>
              <p:spPr>
                <a:xfrm>
                  <a:off x="1066170" y="2575168"/>
                  <a:ext cx="120073" cy="1382400"/>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157" name="Etiquette - GradientColorLegend - DARK - MaxValue" hidden="1">
                  <a:extLst>
                    <a:ext uri="{FF2B5EF4-FFF2-40B4-BE49-F238E27FC236}">
                      <a16:creationId xmlns:a16="http://schemas.microsoft.com/office/drawing/2014/main" id="{8D0D54AF-0824-FA21-5C39-617CB08FD39D}"/>
                    </a:ext>
                  </a:extLst>
                </p:cNvPr>
                <p:cNvSpPr txBox="1"/>
                <p:nvPr/>
              </p:nvSpPr>
              <p:spPr>
                <a:xfrm>
                  <a:off x="1095999" y="2422629"/>
                  <a:ext cx="60409" cy="144982"/>
                </a:xfrm>
                <a:prstGeom prst="rect">
                  <a:avLst/>
                </a:prstGeom>
                <a:noFill/>
              </p:spPr>
              <p:txBody>
                <a:bodyPr wrap="none" lIns="0" tIns="0" rIns="0" bIns="0" rtlCol="0" anchor="b">
                  <a:spAutoFit/>
                </a:bodyPr>
                <a:lstStyle/>
                <a:p>
                  <a:pPr algn="ctr"/>
                  <a:r>
                    <a:rPr lang="en-US" sz="600"/>
                    <a:t>1</a:t>
                  </a:r>
                </a:p>
              </p:txBody>
            </p:sp>
            <p:sp>
              <p:nvSpPr>
                <p:cNvPr id="3158" name="Etiquette - GradientColorLegend - DARK - MinValue" hidden="1">
                  <a:extLst>
                    <a:ext uri="{FF2B5EF4-FFF2-40B4-BE49-F238E27FC236}">
                      <a16:creationId xmlns:a16="http://schemas.microsoft.com/office/drawing/2014/main" id="{54D383E0-DD9D-F792-B18D-8AC0C333360B}"/>
                    </a:ext>
                  </a:extLst>
                </p:cNvPr>
                <p:cNvSpPr txBox="1"/>
                <p:nvPr/>
              </p:nvSpPr>
              <p:spPr>
                <a:xfrm>
                  <a:off x="1095999" y="3960184"/>
                  <a:ext cx="60409" cy="144982"/>
                </a:xfrm>
                <a:prstGeom prst="rect">
                  <a:avLst/>
                </a:prstGeom>
                <a:noFill/>
              </p:spPr>
              <p:txBody>
                <a:bodyPr wrap="none" lIns="0" tIns="0" rIns="0" bIns="0" rtlCol="0">
                  <a:spAutoFit/>
                </a:bodyPr>
                <a:lstStyle/>
                <a:p>
                  <a:pPr algn="ctr"/>
                  <a:r>
                    <a:rPr lang="en-US" sz="600"/>
                    <a:t>1</a:t>
                  </a:r>
                </a:p>
              </p:txBody>
            </p:sp>
          </p:grpSp>
          <p:grpSp>
            <p:nvGrpSpPr>
              <p:cNvPr id="3044" name="RangeColorLegend">
                <a:extLst>
                  <a:ext uri="{FF2B5EF4-FFF2-40B4-BE49-F238E27FC236}">
                    <a16:creationId xmlns:a16="http://schemas.microsoft.com/office/drawing/2014/main" id="{FFB60CA2-754C-95A6-6CBC-E7EA93489E24}"/>
                  </a:ext>
                </a:extLst>
              </p:cNvPr>
              <p:cNvGrpSpPr/>
              <p:nvPr/>
            </p:nvGrpSpPr>
            <p:grpSpPr>
              <a:xfrm>
                <a:off x="1963063" y="3261176"/>
                <a:ext cx="1270800" cy="1538880"/>
                <a:chOff x="9228362" y="4919762"/>
                <a:chExt cx="1270800" cy="1538880"/>
              </a:xfrm>
            </p:grpSpPr>
            <p:sp>
              <p:nvSpPr>
                <p:cNvPr id="3136" name="Etiquette - RangeColorLegend - DARK - Color - 2" hidden="1">
                  <a:extLst>
                    <a:ext uri="{FF2B5EF4-FFF2-40B4-BE49-F238E27FC236}">
                      <a16:creationId xmlns:a16="http://schemas.microsoft.com/office/drawing/2014/main" id="{D1679405-7C3B-AD6A-EEF3-138B20A13A19}"/>
                    </a:ext>
                  </a:extLst>
                </p:cNvPr>
                <p:cNvSpPr/>
                <p:nvPr/>
              </p:nvSpPr>
              <p:spPr>
                <a:xfrm>
                  <a:off x="9228362" y="5073650"/>
                  <a:ext cx="154800" cy="153888"/>
                </a:xfrm>
                <a:prstGeom prst="rect">
                  <a:avLst/>
                </a:prstGeom>
                <a:solidFill>
                  <a:srgbClr val="92D050"/>
                </a:solidFill>
                <a:ln>
                  <a:solidFill>
                    <a:schemeClr val="tx1"/>
                  </a:solidFill>
                </a:ln>
              </p:spPr>
              <p:txBody>
                <a:bodyPr wrap="square" lIns="0" tIns="0" rIns="0" bIns="0" anchor="ctr">
                  <a:noAutofit/>
                </a:bodyPr>
                <a:lstStyle/>
                <a:p>
                  <a:pPr algn="ctr"/>
                  <a:endParaRPr lang="en-US" sz="600"/>
                </a:p>
              </p:txBody>
            </p:sp>
            <p:sp>
              <p:nvSpPr>
                <p:cNvPr id="3137" name="Etiquette - RangeColorLegend - DARK - Color - 1" hidden="1">
                  <a:extLst>
                    <a:ext uri="{FF2B5EF4-FFF2-40B4-BE49-F238E27FC236}">
                      <a16:creationId xmlns:a16="http://schemas.microsoft.com/office/drawing/2014/main" id="{38F8A02F-9090-AE4F-08EE-DB0C6C5646E1}"/>
                    </a:ext>
                  </a:extLst>
                </p:cNvPr>
                <p:cNvSpPr/>
                <p:nvPr/>
              </p:nvSpPr>
              <p:spPr>
                <a:xfrm>
                  <a:off x="9228362" y="4919762"/>
                  <a:ext cx="154800" cy="153888"/>
                </a:xfrm>
                <a:prstGeom prst="rect">
                  <a:avLst/>
                </a:prstGeom>
                <a:solidFill>
                  <a:srgbClr val="00B050"/>
                </a:solidFill>
                <a:ln>
                  <a:solidFill>
                    <a:schemeClr val="tx1"/>
                  </a:solidFill>
                </a:ln>
              </p:spPr>
              <p:txBody>
                <a:bodyPr wrap="square" lIns="0" tIns="0" rIns="0" bIns="0" anchor="ctr">
                  <a:noAutofit/>
                </a:bodyPr>
                <a:lstStyle/>
                <a:p>
                  <a:pPr algn="ctr"/>
                  <a:endParaRPr lang="en-US" sz="600"/>
                </a:p>
              </p:txBody>
            </p:sp>
            <p:sp>
              <p:nvSpPr>
                <p:cNvPr id="3138" name="Etiquette - RangeColorLegend - DARK - Number - 2" hidden="1">
                  <a:extLst>
                    <a:ext uri="{FF2B5EF4-FFF2-40B4-BE49-F238E27FC236}">
                      <a16:creationId xmlns:a16="http://schemas.microsoft.com/office/drawing/2014/main" id="{0CB5EB9A-EF32-A470-07F9-B9149CBBD831}"/>
                    </a:ext>
                  </a:extLst>
                </p:cNvPr>
                <p:cNvSpPr/>
                <p:nvPr/>
              </p:nvSpPr>
              <p:spPr>
                <a:xfrm>
                  <a:off x="9383162" y="5073650"/>
                  <a:ext cx="1116000" cy="153888"/>
                </a:xfrm>
                <a:prstGeom prst="rect">
                  <a:avLst/>
                </a:prstGeom>
                <a:ln>
                  <a:noFill/>
                </a:ln>
              </p:spPr>
              <p:txBody>
                <a:bodyPr wrap="none" lIns="36000" tIns="0" rIns="0" bIns="0" anchor="ctr">
                  <a:noAutofit/>
                </a:bodyPr>
                <a:lstStyle/>
                <a:p>
                  <a:r>
                    <a:rPr lang="en-US" sz="600"/>
                    <a:t>[100 to 200[</a:t>
                  </a:r>
                </a:p>
              </p:txBody>
            </p:sp>
            <p:sp>
              <p:nvSpPr>
                <p:cNvPr id="3139" name="Etiquette - RangeColorLegend - DARK - Number - 1" hidden="1">
                  <a:extLst>
                    <a:ext uri="{FF2B5EF4-FFF2-40B4-BE49-F238E27FC236}">
                      <a16:creationId xmlns:a16="http://schemas.microsoft.com/office/drawing/2014/main" id="{58F0E8E4-4806-5E9A-2639-507AEED85FB8}"/>
                    </a:ext>
                  </a:extLst>
                </p:cNvPr>
                <p:cNvSpPr/>
                <p:nvPr/>
              </p:nvSpPr>
              <p:spPr>
                <a:xfrm>
                  <a:off x="9383162" y="4919762"/>
                  <a:ext cx="1116000" cy="153888"/>
                </a:xfrm>
                <a:prstGeom prst="rect">
                  <a:avLst/>
                </a:prstGeom>
                <a:ln>
                  <a:noFill/>
                </a:ln>
              </p:spPr>
              <p:txBody>
                <a:bodyPr wrap="none" lIns="36000" tIns="0" rIns="0" bIns="0" anchor="ctr">
                  <a:noAutofit/>
                </a:bodyPr>
                <a:lstStyle/>
                <a:p>
                  <a:r>
                    <a:rPr lang="en-US" sz="600"/>
                    <a:t>[0 to 100[</a:t>
                  </a:r>
                </a:p>
              </p:txBody>
            </p:sp>
            <p:sp>
              <p:nvSpPr>
                <p:cNvPr id="3140" name="Etiquette - RangeColorLegend - DARK - Color - 4" hidden="1">
                  <a:extLst>
                    <a:ext uri="{FF2B5EF4-FFF2-40B4-BE49-F238E27FC236}">
                      <a16:creationId xmlns:a16="http://schemas.microsoft.com/office/drawing/2014/main" id="{7C95C6E9-C5E8-A7AB-B7F1-DA19E5D8FC45}"/>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600"/>
                </a:p>
              </p:txBody>
            </p:sp>
            <p:sp>
              <p:nvSpPr>
                <p:cNvPr id="3141" name="Etiquette - RangeColorLegend - DARK - Color - 3" hidden="1">
                  <a:extLst>
                    <a:ext uri="{FF2B5EF4-FFF2-40B4-BE49-F238E27FC236}">
                      <a16:creationId xmlns:a16="http://schemas.microsoft.com/office/drawing/2014/main" id="{388EEAC3-E702-0DDE-9EE9-C384C23D52B1}"/>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600"/>
                </a:p>
              </p:txBody>
            </p:sp>
            <p:sp>
              <p:nvSpPr>
                <p:cNvPr id="3142" name="Etiquette - RangeColorLegend - DARK - Number - 4" hidden="1">
                  <a:extLst>
                    <a:ext uri="{FF2B5EF4-FFF2-40B4-BE49-F238E27FC236}">
                      <a16:creationId xmlns:a16="http://schemas.microsoft.com/office/drawing/2014/main" id="{51A2A318-72E1-9CA1-DEEE-91ACE2C3793B}"/>
                    </a:ext>
                  </a:extLst>
                </p:cNvPr>
                <p:cNvSpPr/>
                <p:nvPr/>
              </p:nvSpPr>
              <p:spPr>
                <a:xfrm>
                  <a:off x="9383162" y="5381426"/>
                  <a:ext cx="1116000" cy="153888"/>
                </a:xfrm>
                <a:prstGeom prst="rect">
                  <a:avLst/>
                </a:prstGeom>
                <a:ln>
                  <a:noFill/>
                </a:ln>
              </p:spPr>
              <p:txBody>
                <a:bodyPr wrap="none" lIns="36000" tIns="0" rIns="0" bIns="0" anchor="ctr">
                  <a:noAutofit/>
                </a:bodyPr>
                <a:lstStyle/>
                <a:p>
                  <a:r>
                    <a:rPr lang="en-US" sz="600"/>
                    <a:t>[300 to 400[</a:t>
                  </a:r>
                </a:p>
              </p:txBody>
            </p:sp>
            <p:sp>
              <p:nvSpPr>
                <p:cNvPr id="3143" name="Etiquette - RangeColorLegend - DARK - Number - 3" hidden="1">
                  <a:extLst>
                    <a:ext uri="{FF2B5EF4-FFF2-40B4-BE49-F238E27FC236}">
                      <a16:creationId xmlns:a16="http://schemas.microsoft.com/office/drawing/2014/main" id="{860907AC-5300-63AD-177E-BEB470C88AB3}"/>
                    </a:ext>
                  </a:extLst>
                </p:cNvPr>
                <p:cNvSpPr/>
                <p:nvPr/>
              </p:nvSpPr>
              <p:spPr>
                <a:xfrm>
                  <a:off x="9383162" y="5227538"/>
                  <a:ext cx="1116000" cy="153888"/>
                </a:xfrm>
                <a:prstGeom prst="rect">
                  <a:avLst/>
                </a:prstGeom>
                <a:ln>
                  <a:noFill/>
                </a:ln>
              </p:spPr>
              <p:txBody>
                <a:bodyPr wrap="none" lIns="36000" tIns="0" rIns="0" bIns="0" anchor="ctr">
                  <a:noAutofit/>
                </a:bodyPr>
                <a:lstStyle/>
                <a:p>
                  <a:r>
                    <a:rPr lang="en-US" sz="600"/>
                    <a:t>[200 to 300[</a:t>
                  </a:r>
                </a:p>
              </p:txBody>
            </p:sp>
            <p:sp>
              <p:nvSpPr>
                <p:cNvPr id="3144" name="Etiquette - RangeColorLegend - DARK - Color - 5" hidden="1">
                  <a:extLst>
                    <a:ext uri="{FF2B5EF4-FFF2-40B4-BE49-F238E27FC236}">
                      <a16:creationId xmlns:a16="http://schemas.microsoft.com/office/drawing/2014/main" id="{2F6D2616-9168-5557-759F-669FCA27C4C4}"/>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45" name="Etiquette - RangeColorLegend - DARK - Number - 5" hidden="1">
                  <a:extLst>
                    <a:ext uri="{FF2B5EF4-FFF2-40B4-BE49-F238E27FC236}">
                      <a16:creationId xmlns:a16="http://schemas.microsoft.com/office/drawing/2014/main" id="{CFF1A9C8-8393-36AB-3EBB-6C38F4F71003}"/>
                    </a:ext>
                  </a:extLst>
                </p:cNvPr>
                <p:cNvSpPr/>
                <p:nvPr/>
              </p:nvSpPr>
              <p:spPr>
                <a:xfrm>
                  <a:off x="9383162" y="5535314"/>
                  <a:ext cx="1116000" cy="153888"/>
                </a:xfrm>
                <a:prstGeom prst="rect">
                  <a:avLst/>
                </a:prstGeom>
                <a:ln>
                  <a:noFill/>
                </a:ln>
              </p:spPr>
              <p:txBody>
                <a:bodyPr wrap="none" lIns="36000" tIns="0" rIns="0" bIns="0" anchor="ctr">
                  <a:noAutofit/>
                </a:bodyPr>
                <a:lstStyle/>
                <a:p>
                  <a:r>
                    <a:rPr lang="en-US" sz="600"/>
                    <a:t>400+</a:t>
                  </a:r>
                </a:p>
              </p:txBody>
            </p:sp>
            <p:sp>
              <p:nvSpPr>
                <p:cNvPr id="3146" name="Etiquette - RangeColorLegend - DARK - Color - 6" hidden="1">
                  <a:extLst>
                    <a:ext uri="{FF2B5EF4-FFF2-40B4-BE49-F238E27FC236}">
                      <a16:creationId xmlns:a16="http://schemas.microsoft.com/office/drawing/2014/main" id="{BB1A1A23-470D-D451-EB91-7A25BB054C4E}"/>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47" name="Etiquette - RangeColorLegend - DARK - Number - 6" hidden="1">
                  <a:extLst>
                    <a:ext uri="{FF2B5EF4-FFF2-40B4-BE49-F238E27FC236}">
                      <a16:creationId xmlns:a16="http://schemas.microsoft.com/office/drawing/2014/main" id="{290AF60F-A334-ABAA-4A23-849FC99D1056}"/>
                    </a:ext>
                  </a:extLst>
                </p:cNvPr>
                <p:cNvSpPr/>
                <p:nvPr/>
              </p:nvSpPr>
              <p:spPr>
                <a:xfrm>
                  <a:off x="9383162" y="5689202"/>
                  <a:ext cx="1116000" cy="153888"/>
                </a:xfrm>
                <a:prstGeom prst="rect">
                  <a:avLst/>
                </a:prstGeom>
                <a:ln>
                  <a:noFill/>
                </a:ln>
              </p:spPr>
              <p:txBody>
                <a:bodyPr wrap="none" lIns="36000" tIns="0" rIns="0" bIns="0" anchor="ctr">
                  <a:noAutofit/>
                </a:bodyPr>
                <a:lstStyle/>
                <a:p>
                  <a:r>
                    <a:rPr lang="en-US" sz="600"/>
                    <a:t>400+</a:t>
                  </a:r>
                </a:p>
              </p:txBody>
            </p:sp>
            <p:sp>
              <p:nvSpPr>
                <p:cNvPr id="3148" name="Etiquette - RangeColorLegend - DARK - Color - 7" hidden="1">
                  <a:extLst>
                    <a:ext uri="{FF2B5EF4-FFF2-40B4-BE49-F238E27FC236}">
                      <a16:creationId xmlns:a16="http://schemas.microsoft.com/office/drawing/2014/main" id="{81B839F1-CDFC-A2BA-5D2D-E2117D43EB18}"/>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49" name="Etiquette - RangeColorLegend - DARK - Number - 7" hidden="1">
                  <a:extLst>
                    <a:ext uri="{FF2B5EF4-FFF2-40B4-BE49-F238E27FC236}">
                      <a16:creationId xmlns:a16="http://schemas.microsoft.com/office/drawing/2014/main" id="{6126E8B3-095C-180D-D597-66E29CBE8DF4}"/>
                    </a:ext>
                  </a:extLst>
                </p:cNvPr>
                <p:cNvSpPr/>
                <p:nvPr/>
              </p:nvSpPr>
              <p:spPr>
                <a:xfrm>
                  <a:off x="9383162" y="5843090"/>
                  <a:ext cx="1116000" cy="153888"/>
                </a:xfrm>
                <a:prstGeom prst="rect">
                  <a:avLst/>
                </a:prstGeom>
                <a:ln>
                  <a:noFill/>
                </a:ln>
              </p:spPr>
              <p:txBody>
                <a:bodyPr wrap="none" lIns="36000" tIns="0" rIns="0" bIns="0" anchor="ctr">
                  <a:noAutofit/>
                </a:bodyPr>
                <a:lstStyle/>
                <a:p>
                  <a:r>
                    <a:rPr lang="en-US" sz="600"/>
                    <a:t>400+</a:t>
                  </a:r>
                </a:p>
              </p:txBody>
            </p:sp>
            <p:sp>
              <p:nvSpPr>
                <p:cNvPr id="3150" name="Etiquette - RangeColorLegend - DARK - Color - 8" hidden="1">
                  <a:extLst>
                    <a:ext uri="{FF2B5EF4-FFF2-40B4-BE49-F238E27FC236}">
                      <a16:creationId xmlns:a16="http://schemas.microsoft.com/office/drawing/2014/main" id="{63ACE6C6-11BF-49C0-E5EE-0BCBDFF67DA0}"/>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51" name="Etiquette - RangeColorLegend - DARK - Number - 8" hidden="1">
                  <a:extLst>
                    <a:ext uri="{FF2B5EF4-FFF2-40B4-BE49-F238E27FC236}">
                      <a16:creationId xmlns:a16="http://schemas.microsoft.com/office/drawing/2014/main" id="{5DF667F4-E568-592A-4682-CC03EC2068A8}"/>
                    </a:ext>
                  </a:extLst>
                </p:cNvPr>
                <p:cNvSpPr/>
                <p:nvPr/>
              </p:nvSpPr>
              <p:spPr>
                <a:xfrm>
                  <a:off x="9383162" y="5996978"/>
                  <a:ext cx="1116000" cy="153888"/>
                </a:xfrm>
                <a:prstGeom prst="rect">
                  <a:avLst/>
                </a:prstGeom>
                <a:ln>
                  <a:noFill/>
                </a:ln>
              </p:spPr>
              <p:txBody>
                <a:bodyPr wrap="none" lIns="36000" tIns="0" rIns="0" bIns="0" anchor="ctr">
                  <a:noAutofit/>
                </a:bodyPr>
                <a:lstStyle/>
                <a:p>
                  <a:r>
                    <a:rPr lang="en-US" sz="600"/>
                    <a:t>400+</a:t>
                  </a:r>
                </a:p>
              </p:txBody>
            </p:sp>
            <p:sp>
              <p:nvSpPr>
                <p:cNvPr id="3152" name="Etiquette - RangeColorLegend - DARK - Color - 9" hidden="1">
                  <a:extLst>
                    <a:ext uri="{FF2B5EF4-FFF2-40B4-BE49-F238E27FC236}">
                      <a16:creationId xmlns:a16="http://schemas.microsoft.com/office/drawing/2014/main" id="{A95C4720-EFFA-A853-DB4F-07B394099E6C}"/>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53" name="Etiquette - RangeColorLegend - DARK - Number - 9" hidden="1">
                  <a:extLst>
                    <a:ext uri="{FF2B5EF4-FFF2-40B4-BE49-F238E27FC236}">
                      <a16:creationId xmlns:a16="http://schemas.microsoft.com/office/drawing/2014/main" id="{DE5B6804-8F76-FED8-543E-981B985DFC4C}"/>
                    </a:ext>
                  </a:extLst>
                </p:cNvPr>
                <p:cNvSpPr/>
                <p:nvPr/>
              </p:nvSpPr>
              <p:spPr>
                <a:xfrm>
                  <a:off x="9383162" y="6150866"/>
                  <a:ext cx="1116000" cy="153888"/>
                </a:xfrm>
                <a:prstGeom prst="rect">
                  <a:avLst/>
                </a:prstGeom>
                <a:ln>
                  <a:noFill/>
                </a:ln>
              </p:spPr>
              <p:txBody>
                <a:bodyPr wrap="none" lIns="36000" tIns="0" rIns="0" bIns="0" anchor="ctr">
                  <a:noAutofit/>
                </a:bodyPr>
                <a:lstStyle/>
                <a:p>
                  <a:r>
                    <a:rPr lang="en-US" sz="600"/>
                    <a:t>400+</a:t>
                  </a:r>
                </a:p>
              </p:txBody>
            </p:sp>
            <p:sp>
              <p:nvSpPr>
                <p:cNvPr id="3154" name="Etiquette - RangeColorLegend - DARK - Color - 10" hidden="1">
                  <a:extLst>
                    <a:ext uri="{FF2B5EF4-FFF2-40B4-BE49-F238E27FC236}">
                      <a16:creationId xmlns:a16="http://schemas.microsoft.com/office/drawing/2014/main" id="{AFA62C8C-3AD5-AC0C-75AE-8FD10F974864}"/>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600"/>
                </a:p>
              </p:txBody>
            </p:sp>
            <p:sp>
              <p:nvSpPr>
                <p:cNvPr id="3155" name="Etiquette - RangeColorLegend - DARK - Number - 10" hidden="1">
                  <a:extLst>
                    <a:ext uri="{FF2B5EF4-FFF2-40B4-BE49-F238E27FC236}">
                      <a16:creationId xmlns:a16="http://schemas.microsoft.com/office/drawing/2014/main" id="{DBC1266C-4C76-0320-7737-DAE7A59C1091}"/>
                    </a:ext>
                  </a:extLst>
                </p:cNvPr>
                <p:cNvSpPr/>
                <p:nvPr/>
              </p:nvSpPr>
              <p:spPr>
                <a:xfrm>
                  <a:off x="9383162" y="6304754"/>
                  <a:ext cx="1116000" cy="153888"/>
                </a:xfrm>
                <a:prstGeom prst="rect">
                  <a:avLst/>
                </a:prstGeom>
                <a:ln>
                  <a:noFill/>
                </a:ln>
              </p:spPr>
              <p:txBody>
                <a:bodyPr wrap="none" lIns="36000" tIns="0" rIns="0" bIns="0" anchor="ctr">
                  <a:noAutofit/>
                </a:bodyPr>
                <a:lstStyle/>
                <a:p>
                  <a:r>
                    <a:rPr lang="en-US" sz="600"/>
                    <a:t>400+</a:t>
                  </a:r>
                </a:p>
              </p:txBody>
            </p:sp>
          </p:grpSp>
          <p:grpSp>
            <p:nvGrpSpPr>
              <p:cNvPr id="3045" name="Map">
                <a:extLst>
                  <a:ext uri="{FF2B5EF4-FFF2-40B4-BE49-F238E27FC236}">
                    <a16:creationId xmlns:a16="http://schemas.microsoft.com/office/drawing/2014/main" id="{D9D9D5DF-16B3-7EC1-77A3-6632B5954620}"/>
                  </a:ext>
                </a:extLst>
              </p:cNvPr>
              <p:cNvGrpSpPr/>
              <p:nvPr/>
            </p:nvGrpSpPr>
            <p:grpSpPr>
              <a:xfrm>
                <a:off x="2819604" y="207102"/>
                <a:ext cx="7862683" cy="6203630"/>
                <a:chOff x="2819604" y="207102"/>
                <a:chExt cx="7862683" cy="6203630"/>
              </a:xfrm>
            </p:grpSpPr>
            <p:sp>
              <p:nvSpPr>
                <p:cNvPr id="3091" name="Albania" descr="{&quot;Key&quot;:&quot;albania&quot;,&quot;Name&quot;:&quot;Albania&quot;,&quot;Value&quot;:1.0,&quot;Formula&quot;:&quot;&quot;,&quot;Text&quot;:&quot;&quot;,&quot;OfficeApplication&quot;:1,&quot;HasValue&quot;:true}">
                  <a:extLst>
                    <a:ext uri="{FF2B5EF4-FFF2-40B4-BE49-F238E27FC236}">
                      <a16:creationId xmlns:a16="http://schemas.microsoft.com/office/drawing/2014/main" id="{8FEC43BA-80BD-A39F-FF41-95C7740A9472}"/>
                    </a:ext>
                  </a:extLst>
                </p:cNvPr>
                <p:cNvSpPr/>
                <p:nvPr/>
              </p:nvSpPr>
              <p:spPr>
                <a:xfrm>
                  <a:off x="7488555" y="5216299"/>
                  <a:ext cx="222884" cy="441007"/>
                </a:xfrm>
                <a:custGeom>
                  <a:avLst/>
                  <a:gdLst>
                    <a:gd name="connsiteX0" fmla="*/ 80963 w 222884"/>
                    <a:gd name="connsiteY0" fmla="*/ 11430 h 441007"/>
                    <a:gd name="connsiteX1" fmla="*/ 85725 w 222884"/>
                    <a:gd name="connsiteY1" fmla="*/ 15240 h 441007"/>
                    <a:gd name="connsiteX2" fmla="*/ 104775 w 222884"/>
                    <a:gd name="connsiteY2" fmla="*/ 42863 h 441007"/>
                    <a:gd name="connsiteX3" fmla="*/ 118110 w 222884"/>
                    <a:gd name="connsiteY3" fmla="*/ 47625 h 441007"/>
                    <a:gd name="connsiteX4" fmla="*/ 136207 w 222884"/>
                    <a:gd name="connsiteY4" fmla="*/ 60007 h 441007"/>
                    <a:gd name="connsiteX5" fmla="*/ 149543 w 222884"/>
                    <a:gd name="connsiteY5" fmla="*/ 90488 h 441007"/>
                    <a:gd name="connsiteX6" fmla="*/ 150495 w 222884"/>
                    <a:gd name="connsiteY6" fmla="*/ 111442 h 441007"/>
                    <a:gd name="connsiteX7" fmla="*/ 145732 w 222884"/>
                    <a:gd name="connsiteY7" fmla="*/ 136207 h 441007"/>
                    <a:gd name="connsiteX8" fmla="*/ 148590 w 222884"/>
                    <a:gd name="connsiteY8" fmla="*/ 156210 h 441007"/>
                    <a:gd name="connsiteX9" fmla="*/ 140970 w 222884"/>
                    <a:gd name="connsiteY9" fmla="*/ 163830 h 441007"/>
                    <a:gd name="connsiteX10" fmla="*/ 147638 w 222884"/>
                    <a:gd name="connsiteY10" fmla="*/ 182880 h 441007"/>
                    <a:gd name="connsiteX11" fmla="*/ 149543 w 222884"/>
                    <a:gd name="connsiteY11" fmla="*/ 200977 h 441007"/>
                    <a:gd name="connsiteX12" fmla="*/ 160972 w 222884"/>
                    <a:gd name="connsiteY12" fmla="*/ 221932 h 441007"/>
                    <a:gd name="connsiteX13" fmla="*/ 172402 w 222884"/>
                    <a:gd name="connsiteY13" fmla="*/ 232410 h 441007"/>
                    <a:gd name="connsiteX14" fmla="*/ 184785 w 222884"/>
                    <a:gd name="connsiteY14" fmla="*/ 255270 h 441007"/>
                    <a:gd name="connsiteX15" fmla="*/ 200025 w 222884"/>
                    <a:gd name="connsiteY15" fmla="*/ 253365 h 441007"/>
                    <a:gd name="connsiteX16" fmla="*/ 212407 w 222884"/>
                    <a:gd name="connsiteY16" fmla="*/ 263842 h 441007"/>
                    <a:gd name="connsiteX17" fmla="*/ 212407 w 222884"/>
                    <a:gd name="connsiteY17" fmla="*/ 274320 h 441007"/>
                    <a:gd name="connsiteX18" fmla="*/ 222885 w 222884"/>
                    <a:gd name="connsiteY18" fmla="*/ 291465 h 441007"/>
                    <a:gd name="connsiteX19" fmla="*/ 215265 w 222884"/>
                    <a:gd name="connsiteY19" fmla="*/ 316230 h 441007"/>
                    <a:gd name="connsiteX20" fmla="*/ 199072 w 222884"/>
                    <a:gd name="connsiteY20" fmla="*/ 323850 h 441007"/>
                    <a:gd name="connsiteX21" fmla="*/ 187643 w 222884"/>
                    <a:gd name="connsiteY21" fmla="*/ 353377 h 441007"/>
                    <a:gd name="connsiteX22" fmla="*/ 184785 w 222884"/>
                    <a:gd name="connsiteY22" fmla="*/ 372427 h 441007"/>
                    <a:gd name="connsiteX23" fmla="*/ 179070 w 222884"/>
                    <a:gd name="connsiteY23" fmla="*/ 377190 h 441007"/>
                    <a:gd name="connsiteX24" fmla="*/ 160972 w 222884"/>
                    <a:gd name="connsiteY24" fmla="*/ 380047 h 441007"/>
                    <a:gd name="connsiteX25" fmla="*/ 144780 w 222884"/>
                    <a:gd name="connsiteY25" fmla="*/ 392430 h 441007"/>
                    <a:gd name="connsiteX26" fmla="*/ 154305 w 222884"/>
                    <a:gd name="connsiteY26" fmla="*/ 413385 h 441007"/>
                    <a:gd name="connsiteX27" fmla="*/ 145732 w 222884"/>
                    <a:gd name="connsiteY27" fmla="*/ 420052 h 441007"/>
                    <a:gd name="connsiteX28" fmla="*/ 142875 w 222884"/>
                    <a:gd name="connsiteY28" fmla="*/ 434340 h 441007"/>
                    <a:gd name="connsiteX29" fmla="*/ 136207 w 222884"/>
                    <a:gd name="connsiteY29" fmla="*/ 441007 h 441007"/>
                    <a:gd name="connsiteX30" fmla="*/ 110490 w 222884"/>
                    <a:gd name="connsiteY30" fmla="*/ 432435 h 441007"/>
                    <a:gd name="connsiteX31" fmla="*/ 103822 w 222884"/>
                    <a:gd name="connsiteY31" fmla="*/ 408622 h 441007"/>
                    <a:gd name="connsiteX32" fmla="*/ 87630 w 222884"/>
                    <a:gd name="connsiteY32" fmla="*/ 382905 h 441007"/>
                    <a:gd name="connsiteX33" fmla="*/ 40957 w 222884"/>
                    <a:gd name="connsiteY33" fmla="*/ 358140 h 441007"/>
                    <a:gd name="connsiteX34" fmla="*/ 29527 w 222884"/>
                    <a:gd name="connsiteY34" fmla="*/ 347663 h 441007"/>
                    <a:gd name="connsiteX35" fmla="*/ 33338 w 222884"/>
                    <a:gd name="connsiteY35" fmla="*/ 333375 h 441007"/>
                    <a:gd name="connsiteX36" fmla="*/ 32385 w 222884"/>
                    <a:gd name="connsiteY36" fmla="*/ 320040 h 441007"/>
                    <a:gd name="connsiteX37" fmla="*/ 19050 w 222884"/>
                    <a:gd name="connsiteY37" fmla="*/ 297180 h 441007"/>
                    <a:gd name="connsiteX38" fmla="*/ 21907 w 222884"/>
                    <a:gd name="connsiteY38" fmla="*/ 272415 h 441007"/>
                    <a:gd name="connsiteX39" fmla="*/ 29527 w 222884"/>
                    <a:gd name="connsiteY39" fmla="*/ 251460 h 441007"/>
                    <a:gd name="connsiteX40" fmla="*/ 26670 w 222884"/>
                    <a:gd name="connsiteY40" fmla="*/ 225742 h 441007"/>
                    <a:gd name="connsiteX41" fmla="*/ 27622 w 222884"/>
                    <a:gd name="connsiteY41" fmla="*/ 205740 h 441007"/>
                    <a:gd name="connsiteX42" fmla="*/ 20955 w 222884"/>
                    <a:gd name="connsiteY42" fmla="*/ 178117 h 441007"/>
                    <a:gd name="connsiteX43" fmla="*/ 25718 w 222884"/>
                    <a:gd name="connsiteY43" fmla="*/ 158115 h 441007"/>
                    <a:gd name="connsiteX44" fmla="*/ 34290 w 222884"/>
                    <a:gd name="connsiteY44" fmla="*/ 145732 h 441007"/>
                    <a:gd name="connsiteX45" fmla="*/ 32385 w 222884"/>
                    <a:gd name="connsiteY45" fmla="*/ 124777 h 441007"/>
                    <a:gd name="connsiteX46" fmla="*/ 18097 w 222884"/>
                    <a:gd name="connsiteY46" fmla="*/ 114300 h 441007"/>
                    <a:gd name="connsiteX47" fmla="*/ 2857 w 222884"/>
                    <a:gd name="connsiteY47" fmla="*/ 112395 h 441007"/>
                    <a:gd name="connsiteX48" fmla="*/ 2857 w 222884"/>
                    <a:gd name="connsiteY48" fmla="*/ 82867 h 441007"/>
                    <a:gd name="connsiteX49" fmla="*/ 0 w 222884"/>
                    <a:gd name="connsiteY49" fmla="*/ 77152 h 441007"/>
                    <a:gd name="connsiteX50" fmla="*/ 16193 w 222884"/>
                    <a:gd name="connsiteY50" fmla="*/ 77152 h 441007"/>
                    <a:gd name="connsiteX51" fmla="*/ 0 w 222884"/>
                    <a:gd name="connsiteY51" fmla="*/ 50482 h 441007"/>
                    <a:gd name="connsiteX52" fmla="*/ 30480 w 222884"/>
                    <a:gd name="connsiteY52" fmla="*/ 0 h 441007"/>
                    <a:gd name="connsiteX53" fmla="*/ 40957 w 222884"/>
                    <a:gd name="connsiteY53" fmla="*/ 2857 h 441007"/>
                    <a:gd name="connsiteX54" fmla="*/ 48577 w 222884"/>
                    <a:gd name="connsiteY54" fmla="*/ 22860 h 441007"/>
                    <a:gd name="connsiteX55" fmla="*/ 80963 w 222884"/>
                    <a:gd name="connsiteY55" fmla="*/ 11430 h 44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2884" h="441007">
                      <a:moveTo>
                        <a:pt x="80963" y="11430"/>
                      </a:moveTo>
                      <a:lnTo>
                        <a:pt x="85725" y="15240"/>
                      </a:lnTo>
                      <a:lnTo>
                        <a:pt x="104775" y="42863"/>
                      </a:lnTo>
                      <a:lnTo>
                        <a:pt x="118110" y="47625"/>
                      </a:lnTo>
                      <a:lnTo>
                        <a:pt x="136207" y="60007"/>
                      </a:lnTo>
                      <a:lnTo>
                        <a:pt x="149543" y="90488"/>
                      </a:lnTo>
                      <a:lnTo>
                        <a:pt x="150495" y="111442"/>
                      </a:lnTo>
                      <a:lnTo>
                        <a:pt x="145732" y="136207"/>
                      </a:lnTo>
                      <a:lnTo>
                        <a:pt x="148590" y="156210"/>
                      </a:lnTo>
                      <a:lnTo>
                        <a:pt x="140970" y="163830"/>
                      </a:lnTo>
                      <a:lnTo>
                        <a:pt x="147638" y="182880"/>
                      </a:lnTo>
                      <a:lnTo>
                        <a:pt x="149543" y="200977"/>
                      </a:lnTo>
                      <a:lnTo>
                        <a:pt x="160972" y="221932"/>
                      </a:lnTo>
                      <a:lnTo>
                        <a:pt x="172402" y="232410"/>
                      </a:lnTo>
                      <a:lnTo>
                        <a:pt x="184785" y="255270"/>
                      </a:lnTo>
                      <a:lnTo>
                        <a:pt x="200025" y="253365"/>
                      </a:lnTo>
                      <a:lnTo>
                        <a:pt x="212407" y="263842"/>
                      </a:lnTo>
                      <a:lnTo>
                        <a:pt x="212407" y="274320"/>
                      </a:lnTo>
                      <a:lnTo>
                        <a:pt x="222885" y="291465"/>
                      </a:lnTo>
                      <a:lnTo>
                        <a:pt x="215265" y="316230"/>
                      </a:lnTo>
                      <a:lnTo>
                        <a:pt x="199072" y="323850"/>
                      </a:lnTo>
                      <a:lnTo>
                        <a:pt x="187643" y="353377"/>
                      </a:lnTo>
                      <a:lnTo>
                        <a:pt x="184785" y="372427"/>
                      </a:lnTo>
                      <a:lnTo>
                        <a:pt x="179070" y="377190"/>
                      </a:lnTo>
                      <a:lnTo>
                        <a:pt x="160972" y="380047"/>
                      </a:lnTo>
                      <a:lnTo>
                        <a:pt x="144780" y="392430"/>
                      </a:lnTo>
                      <a:lnTo>
                        <a:pt x="154305" y="413385"/>
                      </a:lnTo>
                      <a:lnTo>
                        <a:pt x="145732" y="420052"/>
                      </a:lnTo>
                      <a:lnTo>
                        <a:pt x="142875" y="434340"/>
                      </a:lnTo>
                      <a:lnTo>
                        <a:pt x="136207" y="441007"/>
                      </a:lnTo>
                      <a:lnTo>
                        <a:pt x="110490" y="432435"/>
                      </a:lnTo>
                      <a:lnTo>
                        <a:pt x="103822" y="408622"/>
                      </a:lnTo>
                      <a:lnTo>
                        <a:pt x="87630" y="382905"/>
                      </a:lnTo>
                      <a:lnTo>
                        <a:pt x="40957" y="358140"/>
                      </a:lnTo>
                      <a:lnTo>
                        <a:pt x="29527" y="347663"/>
                      </a:lnTo>
                      <a:lnTo>
                        <a:pt x="33338" y="333375"/>
                      </a:lnTo>
                      <a:lnTo>
                        <a:pt x="32385" y="320040"/>
                      </a:lnTo>
                      <a:lnTo>
                        <a:pt x="19050" y="297180"/>
                      </a:lnTo>
                      <a:lnTo>
                        <a:pt x="21907" y="272415"/>
                      </a:lnTo>
                      <a:lnTo>
                        <a:pt x="29527" y="251460"/>
                      </a:lnTo>
                      <a:lnTo>
                        <a:pt x="26670" y="225742"/>
                      </a:lnTo>
                      <a:lnTo>
                        <a:pt x="27622" y="205740"/>
                      </a:lnTo>
                      <a:lnTo>
                        <a:pt x="20955" y="178117"/>
                      </a:lnTo>
                      <a:lnTo>
                        <a:pt x="25718" y="158115"/>
                      </a:lnTo>
                      <a:lnTo>
                        <a:pt x="34290" y="145732"/>
                      </a:lnTo>
                      <a:lnTo>
                        <a:pt x="32385" y="124777"/>
                      </a:lnTo>
                      <a:lnTo>
                        <a:pt x="18097" y="114300"/>
                      </a:lnTo>
                      <a:lnTo>
                        <a:pt x="2857" y="112395"/>
                      </a:lnTo>
                      <a:lnTo>
                        <a:pt x="2857" y="82867"/>
                      </a:lnTo>
                      <a:lnTo>
                        <a:pt x="0" y="77152"/>
                      </a:lnTo>
                      <a:lnTo>
                        <a:pt x="16193" y="77152"/>
                      </a:lnTo>
                      <a:lnTo>
                        <a:pt x="0" y="50482"/>
                      </a:lnTo>
                      <a:lnTo>
                        <a:pt x="30480" y="0"/>
                      </a:lnTo>
                      <a:lnTo>
                        <a:pt x="40957" y="2857"/>
                      </a:lnTo>
                      <a:lnTo>
                        <a:pt x="48577" y="22860"/>
                      </a:lnTo>
                      <a:lnTo>
                        <a:pt x="80963" y="1143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2" name="Andorra" descr="{&quot;Key&quot;:&quot;andorra&quot;,&quot;Name&quot;:&quot;Andorra&quot;,&quot;Value&quot;:1.0,&quot;Formula&quot;:&quot;&quot;,&quot;Text&quot;:&quot;&quot;,&quot;OfficeApplication&quot;:1,&quot;HasValue&quot;:true}">
                  <a:extLst>
                    <a:ext uri="{FF2B5EF4-FFF2-40B4-BE49-F238E27FC236}">
                      <a16:creationId xmlns:a16="http://schemas.microsoft.com/office/drawing/2014/main" id="{EA93EBAB-2D73-6A17-5238-A69BB1EED393}"/>
                    </a:ext>
                  </a:extLst>
                </p:cNvPr>
                <p:cNvSpPr/>
                <p:nvPr/>
              </p:nvSpPr>
              <p:spPr>
                <a:xfrm>
                  <a:off x="5333047" y="5214394"/>
                  <a:ext cx="33337" cy="30480"/>
                </a:xfrm>
                <a:custGeom>
                  <a:avLst/>
                  <a:gdLst>
                    <a:gd name="connsiteX0" fmla="*/ 33338 w 33337"/>
                    <a:gd name="connsiteY0" fmla="*/ 20002 h 30480"/>
                    <a:gd name="connsiteX1" fmla="*/ 6668 w 33337"/>
                    <a:gd name="connsiteY1" fmla="*/ 30480 h 30480"/>
                    <a:gd name="connsiteX2" fmla="*/ 0 w 33337"/>
                    <a:gd name="connsiteY2" fmla="*/ 26670 h 30480"/>
                    <a:gd name="connsiteX3" fmla="*/ 0 w 33337"/>
                    <a:gd name="connsiteY3" fmla="*/ 6668 h 30480"/>
                    <a:gd name="connsiteX4" fmla="*/ 8572 w 33337"/>
                    <a:gd name="connsiteY4" fmla="*/ 0 h 30480"/>
                    <a:gd name="connsiteX5" fmla="*/ 33338 w 33337"/>
                    <a:gd name="connsiteY5" fmla="*/ 5715 h 30480"/>
                    <a:gd name="connsiteX6" fmla="*/ 33338 w 33337"/>
                    <a:gd name="connsiteY6" fmla="*/ 20002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7" h="30480">
                      <a:moveTo>
                        <a:pt x="33338" y="20002"/>
                      </a:moveTo>
                      <a:lnTo>
                        <a:pt x="6668" y="30480"/>
                      </a:lnTo>
                      <a:lnTo>
                        <a:pt x="0" y="26670"/>
                      </a:lnTo>
                      <a:lnTo>
                        <a:pt x="0" y="6668"/>
                      </a:lnTo>
                      <a:lnTo>
                        <a:pt x="8572" y="0"/>
                      </a:lnTo>
                      <a:lnTo>
                        <a:pt x="33338" y="5715"/>
                      </a:lnTo>
                      <a:lnTo>
                        <a:pt x="33338" y="20002"/>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4" name="Austria" descr="{&quot;Key&quot;:&quot;austria&quot;,&quot;Name&quot;:&quot;Austria&quot;,&quot;Value&quot;:1.0,&quot;Formula&quot;:&quot;&quot;,&quot;Text&quot;:&quot;&quot;,&quot;OfficeApplication&quot;:1,&quot;HasValue&quot;:true}">
                  <a:extLst>
                    <a:ext uri="{FF2B5EF4-FFF2-40B4-BE49-F238E27FC236}">
                      <a16:creationId xmlns:a16="http://schemas.microsoft.com/office/drawing/2014/main" id="{B1AD4AB8-FB6C-D530-B994-DB1875605DCD}"/>
                    </a:ext>
                  </a:extLst>
                </p:cNvPr>
                <p:cNvSpPr/>
                <p:nvPr/>
              </p:nvSpPr>
              <p:spPr>
                <a:xfrm>
                  <a:off x="6273164" y="4281896"/>
                  <a:ext cx="879157" cy="376237"/>
                </a:xfrm>
                <a:custGeom>
                  <a:avLst/>
                  <a:gdLst>
                    <a:gd name="connsiteX0" fmla="*/ 849630 w 879157"/>
                    <a:gd name="connsiteY0" fmla="*/ 58103 h 376237"/>
                    <a:gd name="connsiteX1" fmla="*/ 841058 w 879157"/>
                    <a:gd name="connsiteY1" fmla="*/ 80963 h 376237"/>
                    <a:gd name="connsiteX2" fmla="*/ 842010 w 879157"/>
                    <a:gd name="connsiteY2" fmla="*/ 88583 h 376237"/>
                    <a:gd name="connsiteX3" fmla="*/ 857250 w 879157"/>
                    <a:gd name="connsiteY3" fmla="*/ 116205 h 376237"/>
                    <a:gd name="connsiteX4" fmla="*/ 879158 w 879157"/>
                    <a:gd name="connsiteY4" fmla="*/ 143828 h 376237"/>
                    <a:gd name="connsiteX5" fmla="*/ 873443 w 879157"/>
                    <a:gd name="connsiteY5" fmla="*/ 150495 h 376237"/>
                    <a:gd name="connsiteX6" fmla="*/ 867728 w 879157"/>
                    <a:gd name="connsiteY6" fmla="*/ 168593 h 376237"/>
                    <a:gd name="connsiteX7" fmla="*/ 874395 w 879157"/>
                    <a:gd name="connsiteY7" fmla="*/ 187643 h 376237"/>
                    <a:gd name="connsiteX8" fmla="*/ 837248 w 879157"/>
                    <a:gd name="connsiteY8" fmla="*/ 190500 h 376237"/>
                    <a:gd name="connsiteX9" fmla="*/ 813435 w 879157"/>
                    <a:gd name="connsiteY9" fmla="*/ 181928 h 376237"/>
                    <a:gd name="connsiteX10" fmla="*/ 801053 w 879157"/>
                    <a:gd name="connsiteY10" fmla="*/ 195263 h 376237"/>
                    <a:gd name="connsiteX11" fmla="*/ 825818 w 879157"/>
                    <a:gd name="connsiteY11" fmla="*/ 201930 h 376237"/>
                    <a:gd name="connsiteX12" fmla="*/ 830580 w 879157"/>
                    <a:gd name="connsiteY12" fmla="*/ 212408 h 376237"/>
                    <a:gd name="connsiteX13" fmla="*/ 825818 w 879157"/>
                    <a:gd name="connsiteY13" fmla="*/ 225743 h 376237"/>
                    <a:gd name="connsiteX14" fmla="*/ 804863 w 879157"/>
                    <a:gd name="connsiteY14" fmla="*/ 237173 h 376237"/>
                    <a:gd name="connsiteX15" fmla="*/ 808673 w 879157"/>
                    <a:gd name="connsiteY15" fmla="*/ 251460 h 376237"/>
                    <a:gd name="connsiteX16" fmla="*/ 803910 w 879157"/>
                    <a:gd name="connsiteY16" fmla="*/ 258128 h 376237"/>
                    <a:gd name="connsiteX17" fmla="*/ 814388 w 879157"/>
                    <a:gd name="connsiteY17" fmla="*/ 273368 h 376237"/>
                    <a:gd name="connsiteX18" fmla="*/ 811530 w 879157"/>
                    <a:gd name="connsiteY18" fmla="*/ 290513 h 376237"/>
                    <a:gd name="connsiteX19" fmla="*/ 787718 w 879157"/>
                    <a:gd name="connsiteY19" fmla="*/ 295275 h 376237"/>
                    <a:gd name="connsiteX20" fmla="*/ 770573 w 879157"/>
                    <a:gd name="connsiteY20" fmla="*/ 311468 h 376237"/>
                    <a:gd name="connsiteX21" fmla="*/ 758190 w 879157"/>
                    <a:gd name="connsiteY21" fmla="*/ 320040 h 376237"/>
                    <a:gd name="connsiteX22" fmla="*/ 757238 w 879157"/>
                    <a:gd name="connsiteY22" fmla="*/ 338138 h 376237"/>
                    <a:gd name="connsiteX23" fmla="*/ 734378 w 879157"/>
                    <a:gd name="connsiteY23" fmla="*/ 333375 h 376237"/>
                    <a:gd name="connsiteX24" fmla="*/ 719138 w 879157"/>
                    <a:gd name="connsiteY24" fmla="*/ 335280 h 376237"/>
                    <a:gd name="connsiteX25" fmla="*/ 697230 w 879157"/>
                    <a:gd name="connsiteY25" fmla="*/ 345758 h 376237"/>
                    <a:gd name="connsiteX26" fmla="*/ 670560 w 879157"/>
                    <a:gd name="connsiteY26" fmla="*/ 343853 h 376237"/>
                    <a:gd name="connsiteX27" fmla="*/ 645795 w 879157"/>
                    <a:gd name="connsiteY27" fmla="*/ 345758 h 376237"/>
                    <a:gd name="connsiteX28" fmla="*/ 627698 w 879157"/>
                    <a:gd name="connsiteY28" fmla="*/ 352425 h 376237"/>
                    <a:gd name="connsiteX29" fmla="*/ 618173 w 879157"/>
                    <a:gd name="connsiteY29" fmla="*/ 364808 h 376237"/>
                    <a:gd name="connsiteX30" fmla="*/ 589598 w 879157"/>
                    <a:gd name="connsiteY30" fmla="*/ 376238 h 376237"/>
                    <a:gd name="connsiteX31" fmla="*/ 541973 w 879157"/>
                    <a:gd name="connsiteY31" fmla="*/ 369570 h 376237"/>
                    <a:gd name="connsiteX32" fmla="*/ 494348 w 879157"/>
                    <a:gd name="connsiteY32" fmla="*/ 360998 h 376237"/>
                    <a:gd name="connsiteX33" fmla="*/ 469583 w 879157"/>
                    <a:gd name="connsiteY33" fmla="*/ 356235 h 376237"/>
                    <a:gd name="connsiteX34" fmla="*/ 431483 w 879157"/>
                    <a:gd name="connsiteY34" fmla="*/ 353378 h 376237"/>
                    <a:gd name="connsiteX35" fmla="*/ 349568 w 879157"/>
                    <a:gd name="connsiteY35" fmla="*/ 339090 h 376237"/>
                    <a:gd name="connsiteX36" fmla="*/ 339090 w 879157"/>
                    <a:gd name="connsiteY36" fmla="*/ 334328 h 376237"/>
                    <a:gd name="connsiteX37" fmla="*/ 309563 w 879157"/>
                    <a:gd name="connsiteY37" fmla="*/ 300990 h 376237"/>
                    <a:gd name="connsiteX38" fmla="*/ 309563 w 879157"/>
                    <a:gd name="connsiteY38" fmla="*/ 279083 h 376237"/>
                    <a:gd name="connsiteX39" fmla="*/ 264795 w 879157"/>
                    <a:gd name="connsiteY39" fmla="*/ 293370 h 376237"/>
                    <a:gd name="connsiteX40" fmla="*/ 235268 w 879157"/>
                    <a:gd name="connsiteY40" fmla="*/ 291465 h 376237"/>
                    <a:gd name="connsiteX41" fmla="*/ 202883 w 879157"/>
                    <a:gd name="connsiteY41" fmla="*/ 294323 h 376237"/>
                    <a:gd name="connsiteX42" fmla="*/ 189548 w 879157"/>
                    <a:gd name="connsiteY42" fmla="*/ 300038 h 376237"/>
                    <a:gd name="connsiteX43" fmla="*/ 178118 w 879157"/>
                    <a:gd name="connsiteY43" fmla="*/ 320993 h 376237"/>
                    <a:gd name="connsiteX44" fmla="*/ 167640 w 879157"/>
                    <a:gd name="connsiteY44" fmla="*/ 324803 h 376237"/>
                    <a:gd name="connsiteX45" fmla="*/ 147638 w 879157"/>
                    <a:gd name="connsiteY45" fmla="*/ 320993 h 376237"/>
                    <a:gd name="connsiteX46" fmla="*/ 139065 w 879157"/>
                    <a:gd name="connsiteY46" fmla="*/ 313373 h 376237"/>
                    <a:gd name="connsiteX47" fmla="*/ 110490 w 879157"/>
                    <a:gd name="connsiteY47" fmla="*/ 310515 h 376237"/>
                    <a:gd name="connsiteX48" fmla="*/ 105728 w 879157"/>
                    <a:gd name="connsiteY48" fmla="*/ 296228 h 376237"/>
                    <a:gd name="connsiteX49" fmla="*/ 98108 w 879157"/>
                    <a:gd name="connsiteY49" fmla="*/ 293370 h 376237"/>
                    <a:gd name="connsiteX50" fmla="*/ 79058 w 879157"/>
                    <a:gd name="connsiteY50" fmla="*/ 311468 h 376237"/>
                    <a:gd name="connsiteX51" fmla="*/ 57150 w 879157"/>
                    <a:gd name="connsiteY51" fmla="*/ 307658 h 376237"/>
                    <a:gd name="connsiteX52" fmla="*/ 42863 w 879157"/>
                    <a:gd name="connsiteY52" fmla="*/ 300038 h 376237"/>
                    <a:gd name="connsiteX53" fmla="*/ 39053 w 879157"/>
                    <a:gd name="connsiteY53" fmla="*/ 290513 h 376237"/>
                    <a:gd name="connsiteX54" fmla="*/ 7620 w 879157"/>
                    <a:gd name="connsiteY54" fmla="*/ 282893 h 376237"/>
                    <a:gd name="connsiteX55" fmla="*/ 10478 w 879157"/>
                    <a:gd name="connsiteY55" fmla="*/ 275273 h 376237"/>
                    <a:gd name="connsiteX56" fmla="*/ 0 w 879157"/>
                    <a:gd name="connsiteY56" fmla="*/ 251460 h 376237"/>
                    <a:gd name="connsiteX57" fmla="*/ 9525 w 879157"/>
                    <a:gd name="connsiteY57" fmla="*/ 222885 h 376237"/>
                    <a:gd name="connsiteX58" fmla="*/ 953 w 879157"/>
                    <a:gd name="connsiteY58" fmla="*/ 216218 h 376237"/>
                    <a:gd name="connsiteX59" fmla="*/ 17145 w 879157"/>
                    <a:gd name="connsiteY59" fmla="*/ 211455 h 376237"/>
                    <a:gd name="connsiteX60" fmla="*/ 23813 w 879157"/>
                    <a:gd name="connsiteY60" fmla="*/ 206693 h 376237"/>
                    <a:gd name="connsiteX61" fmla="*/ 57150 w 879157"/>
                    <a:gd name="connsiteY61" fmla="*/ 221933 h 376237"/>
                    <a:gd name="connsiteX62" fmla="*/ 65723 w 879157"/>
                    <a:gd name="connsiteY62" fmla="*/ 235268 h 376237"/>
                    <a:gd name="connsiteX63" fmla="*/ 77153 w 879157"/>
                    <a:gd name="connsiteY63" fmla="*/ 238125 h 376237"/>
                    <a:gd name="connsiteX64" fmla="*/ 76200 w 879157"/>
                    <a:gd name="connsiteY64" fmla="*/ 250508 h 376237"/>
                    <a:gd name="connsiteX65" fmla="*/ 91440 w 879157"/>
                    <a:gd name="connsiteY65" fmla="*/ 245745 h 376237"/>
                    <a:gd name="connsiteX66" fmla="*/ 100965 w 879157"/>
                    <a:gd name="connsiteY66" fmla="*/ 230505 h 376237"/>
                    <a:gd name="connsiteX67" fmla="*/ 102870 w 879157"/>
                    <a:gd name="connsiteY67" fmla="*/ 212408 h 376237"/>
                    <a:gd name="connsiteX68" fmla="*/ 129540 w 879157"/>
                    <a:gd name="connsiteY68" fmla="*/ 211455 h 376237"/>
                    <a:gd name="connsiteX69" fmla="*/ 155258 w 879157"/>
                    <a:gd name="connsiteY69" fmla="*/ 215265 h 376237"/>
                    <a:gd name="connsiteX70" fmla="*/ 168593 w 879157"/>
                    <a:gd name="connsiteY70" fmla="*/ 233363 h 376237"/>
                    <a:gd name="connsiteX71" fmla="*/ 204788 w 879157"/>
                    <a:gd name="connsiteY71" fmla="*/ 228600 h 376237"/>
                    <a:gd name="connsiteX72" fmla="*/ 215265 w 879157"/>
                    <a:gd name="connsiteY72" fmla="*/ 220028 h 376237"/>
                    <a:gd name="connsiteX73" fmla="*/ 252413 w 879157"/>
                    <a:gd name="connsiteY73" fmla="*/ 205740 h 376237"/>
                    <a:gd name="connsiteX74" fmla="*/ 306705 w 879157"/>
                    <a:gd name="connsiteY74" fmla="*/ 200978 h 376237"/>
                    <a:gd name="connsiteX75" fmla="*/ 307658 w 879157"/>
                    <a:gd name="connsiteY75" fmla="*/ 187643 h 376237"/>
                    <a:gd name="connsiteX76" fmla="*/ 326708 w 879157"/>
                    <a:gd name="connsiteY76" fmla="*/ 190500 h 376237"/>
                    <a:gd name="connsiteX77" fmla="*/ 340995 w 879157"/>
                    <a:gd name="connsiteY77" fmla="*/ 198120 h 376237"/>
                    <a:gd name="connsiteX78" fmla="*/ 364808 w 879157"/>
                    <a:gd name="connsiteY78" fmla="*/ 193358 h 376237"/>
                    <a:gd name="connsiteX79" fmla="*/ 375285 w 879157"/>
                    <a:gd name="connsiteY79" fmla="*/ 198120 h 376237"/>
                    <a:gd name="connsiteX80" fmla="*/ 377190 w 879157"/>
                    <a:gd name="connsiteY80" fmla="*/ 208598 h 376237"/>
                    <a:gd name="connsiteX81" fmla="*/ 388620 w 879157"/>
                    <a:gd name="connsiteY81" fmla="*/ 217170 h 376237"/>
                    <a:gd name="connsiteX82" fmla="*/ 404813 w 879157"/>
                    <a:gd name="connsiteY82" fmla="*/ 220980 h 376237"/>
                    <a:gd name="connsiteX83" fmla="*/ 407670 w 879157"/>
                    <a:gd name="connsiteY83" fmla="*/ 206693 h 376237"/>
                    <a:gd name="connsiteX84" fmla="*/ 404813 w 879157"/>
                    <a:gd name="connsiteY84" fmla="*/ 188595 h 376237"/>
                    <a:gd name="connsiteX85" fmla="*/ 388620 w 879157"/>
                    <a:gd name="connsiteY85" fmla="*/ 185738 h 376237"/>
                    <a:gd name="connsiteX86" fmla="*/ 394335 w 879157"/>
                    <a:gd name="connsiteY86" fmla="*/ 173355 h 376237"/>
                    <a:gd name="connsiteX87" fmla="*/ 393383 w 879157"/>
                    <a:gd name="connsiteY87" fmla="*/ 160973 h 376237"/>
                    <a:gd name="connsiteX88" fmla="*/ 369570 w 879157"/>
                    <a:gd name="connsiteY88" fmla="*/ 134303 h 376237"/>
                    <a:gd name="connsiteX89" fmla="*/ 375285 w 879157"/>
                    <a:gd name="connsiteY89" fmla="*/ 121920 h 376237"/>
                    <a:gd name="connsiteX90" fmla="*/ 404813 w 879157"/>
                    <a:gd name="connsiteY90" fmla="*/ 104775 h 376237"/>
                    <a:gd name="connsiteX91" fmla="*/ 432435 w 879157"/>
                    <a:gd name="connsiteY91" fmla="*/ 97155 h 376237"/>
                    <a:gd name="connsiteX92" fmla="*/ 441960 w 879157"/>
                    <a:gd name="connsiteY92" fmla="*/ 87630 h 376237"/>
                    <a:gd name="connsiteX93" fmla="*/ 448628 w 879157"/>
                    <a:gd name="connsiteY93" fmla="*/ 60008 h 376237"/>
                    <a:gd name="connsiteX94" fmla="*/ 470535 w 879157"/>
                    <a:gd name="connsiteY94" fmla="*/ 68580 h 376237"/>
                    <a:gd name="connsiteX95" fmla="*/ 482918 w 879157"/>
                    <a:gd name="connsiteY95" fmla="*/ 60008 h 376237"/>
                    <a:gd name="connsiteX96" fmla="*/ 484823 w 879157"/>
                    <a:gd name="connsiteY96" fmla="*/ 33338 h 376237"/>
                    <a:gd name="connsiteX97" fmla="*/ 505778 w 879157"/>
                    <a:gd name="connsiteY97" fmla="*/ 44768 h 376237"/>
                    <a:gd name="connsiteX98" fmla="*/ 513398 w 879157"/>
                    <a:gd name="connsiteY98" fmla="*/ 57150 h 376237"/>
                    <a:gd name="connsiteX99" fmla="*/ 550545 w 879157"/>
                    <a:gd name="connsiteY99" fmla="*/ 60960 h 376237"/>
                    <a:gd name="connsiteX100" fmla="*/ 563880 w 879157"/>
                    <a:gd name="connsiteY100" fmla="*/ 54293 h 376237"/>
                    <a:gd name="connsiteX101" fmla="*/ 587693 w 879157"/>
                    <a:gd name="connsiteY101" fmla="*/ 58103 h 376237"/>
                    <a:gd name="connsiteX102" fmla="*/ 588645 w 879157"/>
                    <a:gd name="connsiteY102" fmla="*/ 47625 h 376237"/>
                    <a:gd name="connsiteX103" fmla="*/ 601028 w 879157"/>
                    <a:gd name="connsiteY103" fmla="*/ 32385 h 376237"/>
                    <a:gd name="connsiteX104" fmla="*/ 612458 w 879157"/>
                    <a:gd name="connsiteY104" fmla="*/ 32385 h 376237"/>
                    <a:gd name="connsiteX105" fmla="*/ 615315 w 879157"/>
                    <a:gd name="connsiteY105" fmla="*/ 1905 h 376237"/>
                    <a:gd name="connsiteX106" fmla="*/ 626745 w 879157"/>
                    <a:gd name="connsiteY106" fmla="*/ 0 h 376237"/>
                    <a:gd name="connsiteX107" fmla="*/ 641985 w 879157"/>
                    <a:gd name="connsiteY107" fmla="*/ 7620 h 376237"/>
                    <a:gd name="connsiteX108" fmla="*/ 655320 w 879157"/>
                    <a:gd name="connsiteY108" fmla="*/ 3810 h 376237"/>
                    <a:gd name="connsiteX109" fmla="*/ 701040 w 879157"/>
                    <a:gd name="connsiteY109" fmla="*/ 20003 h 376237"/>
                    <a:gd name="connsiteX110" fmla="*/ 715328 w 879157"/>
                    <a:gd name="connsiteY110" fmla="*/ 19050 h 376237"/>
                    <a:gd name="connsiteX111" fmla="*/ 743903 w 879157"/>
                    <a:gd name="connsiteY111" fmla="*/ 35243 h 376237"/>
                    <a:gd name="connsiteX112" fmla="*/ 780098 w 879157"/>
                    <a:gd name="connsiteY112" fmla="*/ 37148 h 376237"/>
                    <a:gd name="connsiteX113" fmla="*/ 791528 w 879157"/>
                    <a:gd name="connsiteY113" fmla="*/ 28575 h 376237"/>
                    <a:gd name="connsiteX114" fmla="*/ 840105 w 879157"/>
                    <a:gd name="connsiteY114" fmla="*/ 42863 h 376237"/>
                    <a:gd name="connsiteX115" fmla="*/ 849630 w 879157"/>
                    <a:gd name="connsiteY115" fmla="*/ 58103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879157" h="376237">
                      <a:moveTo>
                        <a:pt x="849630" y="58103"/>
                      </a:moveTo>
                      <a:lnTo>
                        <a:pt x="841058" y="80963"/>
                      </a:lnTo>
                      <a:lnTo>
                        <a:pt x="842010" y="88583"/>
                      </a:lnTo>
                      <a:lnTo>
                        <a:pt x="857250" y="116205"/>
                      </a:lnTo>
                      <a:lnTo>
                        <a:pt x="879158" y="143828"/>
                      </a:lnTo>
                      <a:lnTo>
                        <a:pt x="873443" y="150495"/>
                      </a:lnTo>
                      <a:lnTo>
                        <a:pt x="867728" y="168593"/>
                      </a:lnTo>
                      <a:lnTo>
                        <a:pt x="874395" y="187643"/>
                      </a:lnTo>
                      <a:lnTo>
                        <a:pt x="837248" y="190500"/>
                      </a:lnTo>
                      <a:lnTo>
                        <a:pt x="813435" y="181928"/>
                      </a:lnTo>
                      <a:lnTo>
                        <a:pt x="801053" y="195263"/>
                      </a:lnTo>
                      <a:lnTo>
                        <a:pt x="825818" y="201930"/>
                      </a:lnTo>
                      <a:lnTo>
                        <a:pt x="830580" y="212408"/>
                      </a:lnTo>
                      <a:lnTo>
                        <a:pt x="825818" y="225743"/>
                      </a:lnTo>
                      <a:lnTo>
                        <a:pt x="804863" y="237173"/>
                      </a:lnTo>
                      <a:lnTo>
                        <a:pt x="808673" y="251460"/>
                      </a:lnTo>
                      <a:lnTo>
                        <a:pt x="803910" y="258128"/>
                      </a:lnTo>
                      <a:lnTo>
                        <a:pt x="814388" y="273368"/>
                      </a:lnTo>
                      <a:lnTo>
                        <a:pt x="811530" y="290513"/>
                      </a:lnTo>
                      <a:lnTo>
                        <a:pt x="787718" y="295275"/>
                      </a:lnTo>
                      <a:lnTo>
                        <a:pt x="770573" y="311468"/>
                      </a:lnTo>
                      <a:lnTo>
                        <a:pt x="758190" y="320040"/>
                      </a:lnTo>
                      <a:lnTo>
                        <a:pt x="757238" y="338138"/>
                      </a:lnTo>
                      <a:lnTo>
                        <a:pt x="734378" y="333375"/>
                      </a:lnTo>
                      <a:lnTo>
                        <a:pt x="719138" y="335280"/>
                      </a:lnTo>
                      <a:lnTo>
                        <a:pt x="697230" y="345758"/>
                      </a:lnTo>
                      <a:lnTo>
                        <a:pt x="670560" y="343853"/>
                      </a:lnTo>
                      <a:lnTo>
                        <a:pt x="645795" y="345758"/>
                      </a:lnTo>
                      <a:lnTo>
                        <a:pt x="627698" y="352425"/>
                      </a:lnTo>
                      <a:lnTo>
                        <a:pt x="618173" y="364808"/>
                      </a:lnTo>
                      <a:lnTo>
                        <a:pt x="589598" y="376238"/>
                      </a:lnTo>
                      <a:lnTo>
                        <a:pt x="541973" y="369570"/>
                      </a:lnTo>
                      <a:lnTo>
                        <a:pt x="494348" y="360998"/>
                      </a:lnTo>
                      <a:lnTo>
                        <a:pt x="469583" y="356235"/>
                      </a:lnTo>
                      <a:lnTo>
                        <a:pt x="431483" y="353378"/>
                      </a:lnTo>
                      <a:lnTo>
                        <a:pt x="349568" y="339090"/>
                      </a:lnTo>
                      <a:lnTo>
                        <a:pt x="339090" y="334328"/>
                      </a:lnTo>
                      <a:lnTo>
                        <a:pt x="309563" y="300990"/>
                      </a:lnTo>
                      <a:lnTo>
                        <a:pt x="309563" y="279083"/>
                      </a:lnTo>
                      <a:lnTo>
                        <a:pt x="264795" y="293370"/>
                      </a:lnTo>
                      <a:lnTo>
                        <a:pt x="235268" y="291465"/>
                      </a:lnTo>
                      <a:lnTo>
                        <a:pt x="202883" y="294323"/>
                      </a:lnTo>
                      <a:lnTo>
                        <a:pt x="189548" y="300038"/>
                      </a:lnTo>
                      <a:lnTo>
                        <a:pt x="178118" y="320993"/>
                      </a:lnTo>
                      <a:lnTo>
                        <a:pt x="167640" y="324803"/>
                      </a:lnTo>
                      <a:lnTo>
                        <a:pt x="147638" y="320993"/>
                      </a:lnTo>
                      <a:lnTo>
                        <a:pt x="139065" y="313373"/>
                      </a:lnTo>
                      <a:lnTo>
                        <a:pt x="110490" y="310515"/>
                      </a:lnTo>
                      <a:lnTo>
                        <a:pt x="105728" y="296228"/>
                      </a:lnTo>
                      <a:lnTo>
                        <a:pt x="98108" y="293370"/>
                      </a:lnTo>
                      <a:lnTo>
                        <a:pt x="79058" y="311468"/>
                      </a:lnTo>
                      <a:lnTo>
                        <a:pt x="57150" y="307658"/>
                      </a:lnTo>
                      <a:lnTo>
                        <a:pt x="42863" y="300038"/>
                      </a:lnTo>
                      <a:lnTo>
                        <a:pt x="39053" y="290513"/>
                      </a:lnTo>
                      <a:lnTo>
                        <a:pt x="7620" y="282893"/>
                      </a:lnTo>
                      <a:lnTo>
                        <a:pt x="10478" y="275273"/>
                      </a:lnTo>
                      <a:lnTo>
                        <a:pt x="0" y="251460"/>
                      </a:lnTo>
                      <a:lnTo>
                        <a:pt x="9525" y="222885"/>
                      </a:lnTo>
                      <a:lnTo>
                        <a:pt x="953" y="216218"/>
                      </a:lnTo>
                      <a:lnTo>
                        <a:pt x="17145" y="211455"/>
                      </a:lnTo>
                      <a:lnTo>
                        <a:pt x="23813" y="206693"/>
                      </a:lnTo>
                      <a:lnTo>
                        <a:pt x="57150" y="221933"/>
                      </a:lnTo>
                      <a:lnTo>
                        <a:pt x="65723" y="235268"/>
                      </a:lnTo>
                      <a:lnTo>
                        <a:pt x="77153" y="238125"/>
                      </a:lnTo>
                      <a:lnTo>
                        <a:pt x="76200" y="250508"/>
                      </a:lnTo>
                      <a:lnTo>
                        <a:pt x="91440" y="245745"/>
                      </a:lnTo>
                      <a:lnTo>
                        <a:pt x="100965" y="230505"/>
                      </a:lnTo>
                      <a:lnTo>
                        <a:pt x="102870" y="212408"/>
                      </a:lnTo>
                      <a:lnTo>
                        <a:pt x="129540" y="211455"/>
                      </a:lnTo>
                      <a:lnTo>
                        <a:pt x="155258" y="215265"/>
                      </a:lnTo>
                      <a:lnTo>
                        <a:pt x="168593" y="233363"/>
                      </a:lnTo>
                      <a:lnTo>
                        <a:pt x="204788" y="228600"/>
                      </a:lnTo>
                      <a:lnTo>
                        <a:pt x="215265" y="220028"/>
                      </a:lnTo>
                      <a:lnTo>
                        <a:pt x="252413" y="205740"/>
                      </a:lnTo>
                      <a:lnTo>
                        <a:pt x="306705" y="200978"/>
                      </a:lnTo>
                      <a:lnTo>
                        <a:pt x="307658" y="187643"/>
                      </a:lnTo>
                      <a:lnTo>
                        <a:pt x="326708" y="190500"/>
                      </a:lnTo>
                      <a:lnTo>
                        <a:pt x="340995" y="198120"/>
                      </a:lnTo>
                      <a:lnTo>
                        <a:pt x="364808" y="193358"/>
                      </a:lnTo>
                      <a:lnTo>
                        <a:pt x="375285" y="198120"/>
                      </a:lnTo>
                      <a:lnTo>
                        <a:pt x="377190" y="208598"/>
                      </a:lnTo>
                      <a:lnTo>
                        <a:pt x="388620" y="217170"/>
                      </a:lnTo>
                      <a:lnTo>
                        <a:pt x="404813" y="220980"/>
                      </a:lnTo>
                      <a:lnTo>
                        <a:pt x="407670" y="206693"/>
                      </a:lnTo>
                      <a:lnTo>
                        <a:pt x="404813" y="188595"/>
                      </a:lnTo>
                      <a:lnTo>
                        <a:pt x="388620" y="185738"/>
                      </a:lnTo>
                      <a:lnTo>
                        <a:pt x="394335" y="173355"/>
                      </a:lnTo>
                      <a:lnTo>
                        <a:pt x="393383" y="160973"/>
                      </a:lnTo>
                      <a:lnTo>
                        <a:pt x="369570" y="134303"/>
                      </a:lnTo>
                      <a:lnTo>
                        <a:pt x="375285" y="121920"/>
                      </a:lnTo>
                      <a:lnTo>
                        <a:pt x="404813" y="104775"/>
                      </a:lnTo>
                      <a:lnTo>
                        <a:pt x="432435" y="97155"/>
                      </a:lnTo>
                      <a:lnTo>
                        <a:pt x="441960" y="87630"/>
                      </a:lnTo>
                      <a:lnTo>
                        <a:pt x="448628" y="60008"/>
                      </a:lnTo>
                      <a:lnTo>
                        <a:pt x="470535" y="68580"/>
                      </a:lnTo>
                      <a:lnTo>
                        <a:pt x="482918" y="60008"/>
                      </a:lnTo>
                      <a:lnTo>
                        <a:pt x="484823" y="33338"/>
                      </a:lnTo>
                      <a:lnTo>
                        <a:pt x="505778" y="44768"/>
                      </a:lnTo>
                      <a:lnTo>
                        <a:pt x="513398" y="57150"/>
                      </a:lnTo>
                      <a:lnTo>
                        <a:pt x="550545" y="60960"/>
                      </a:lnTo>
                      <a:lnTo>
                        <a:pt x="563880" y="54293"/>
                      </a:lnTo>
                      <a:lnTo>
                        <a:pt x="587693" y="58103"/>
                      </a:lnTo>
                      <a:lnTo>
                        <a:pt x="588645" y="47625"/>
                      </a:lnTo>
                      <a:lnTo>
                        <a:pt x="601028" y="32385"/>
                      </a:lnTo>
                      <a:lnTo>
                        <a:pt x="612458" y="32385"/>
                      </a:lnTo>
                      <a:lnTo>
                        <a:pt x="615315" y="1905"/>
                      </a:lnTo>
                      <a:lnTo>
                        <a:pt x="626745" y="0"/>
                      </a:lnTo>
                      <a:lnTo>
                        <a:pt x="641985" y="7620"/>
                      </a:lnTo>
                      <a:lnTo>
                        <a:pt x="655320" y="3810"/>
                      </a:lnTo>
                      <a:lnTo>
                        <a:pt x="701040" y="20003"/>
                      </a:lnTo>
                      <a:lnTo>
                        <a:pt x="715328" y="19050"/>
                      </a:lnTo>
                      <a:lnTo>
                        <a:pt x="743903" y="35243"/>
                      </a:lnTo>
                      <a:lnTo>
                        <a:pt x="780098" y="37148"/>
                      </a:lnTo>
                      <a:lnTo>
                        <a:pt x="791528" y="28575"/>
                      </a:lnTo>
                      <a:lnTo>
                        <a:pt x="840105" y="42863"/>
                      </a:lnTo>
                      <a:lnTo>
                        <a:pt x="849630" y="5810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5" name="Belgium" descr="{&quot;Key&quot;:&quot;belgium&quot;,&quot;Name&quot;:&quot;Belgium&quot;,&quot;Value&quot;:1.0,&quot;Formula&quot;:&quot;&quot;,&quot;Text&quot;:&quot;&quot;,&quot;OfficeApplication&quot;:1,&quot;HasValue&quot;:true}">
                  <a:extLst>
                    <a:ext uri="{FF2B5EF4-FFF2-40B4-BE49-F238E27FC236}">
                      <a16:creationId xmlns:a16="http://schemas.microsoft.com/office/drawing/2014/main" id="{0AA37D18-9E06-430F-F528-A96EFDC2DC0F}"/>
                    </a:ext>
                  </a:extLst>
                </p:cNvPr>
                <p:cNvSpPr/>
                <p:nvPr/>
              </p:nvSpPr>
              <p:spPr>
                <a:xfrm>
                  <a:off x="5448300" y="3921852"/>
                  <a:ext cx="441007" cy="285750"/>
                </a:xfrm>
                <a:custGeom>
                  <a:avLst/>
                  <a:gdLst>
                    <a:gd name="connsiteX0" fmla="*/ 361950 w 441007"/>
                    <a:gd name="connsiteY0" fmla="*/ 102870 h 285750"/>
                    <a:gd name="connsiteX1" fmla="*/ 377190 w 441007"/>
                    <a:gd name="connsiteY1" fmla="*/ 98107 h 285750"/>
                    <a:gd name="connsiteX2" fmla="*/ 384810 w 441007"/>
                    <a:gd name="connsiteY2" fmla="*/ 105728 h 285750"/>
                    <a:gd name="connsiteX3" fmla="*/ 396240 w 441007"/>
                    <a:gd name="connsiteY3" fmla="*/ 106680 h 285750"/>
                    <a:gd name="connsiteX4" fmla="*/ 424815 w 441007"/>
                    <a:gd name="connsiteY4" fmla="*/ 128588 h 285750"/>
                    <a:gd name="connsiteX5" fmla="*/ 421005 w 441007"/>
                    <a:gd name="connsiteY5" fmla="*/ 142875 h 285750"/>
                    <a:gd name="connsiteX6" fmla="*/ 437197 w 441007"/>
                    <a:gd name="connsiteY6" fmla="*/ 149543 h 285750"/>
                    <a:gd name="connsiteX7" fmla="*/ 441007 w 441007"/>
                    <a:gd name="connsiteY7" fmla="*/ 168593 h 285750"/>
                    <a:gd name="connsiteX8" fmla="*/ 419100 w 441007"/>
                    <a:gd name="connsiteY8" fmla="*/ 180975 h 285750"/>
                    <a:gd name="connsiteX9" fmla="*/ 413385 w 441007"/>
                    <a:gd name="connsiteY9" fmla="*/ 197168 h 285750"/>
                    <a:gd name="connsiteX10" fmla="*/ 397193 w 441007"/>
                    <a:gd name="connsiteY10" fmla="*/ 190500 h 285750"/>
                    <a:gd name="connsiteX11" fmla="*/ 384810 w 441007"/>
                    <a:gd name="connsiteY11" fmla="*/ 202882 h 285750"/>
                    <a:gd name="connsiteX12" fmla="*/ 371475 w 441007"/>
                    <a:gd name="connsiteY12" fmla="*/ 226695 h 285750"/>
                    <a:gd name="connsiteX13" fmla="*/ 369570 w 441007"/>
                    <a:gd name="connsiteY13" fmla="*/ 242888 h 285750"/>
                    <a:gd name="connsiteX14" fmla="*/ 388620 w 441007"/>
                    <a:gd name="connsiteY14" fmla="*/ 265747 h 285750"/>
                    <a:gd name="connsiteX15" fmla="*/ 378143 w 441007"/>
                    <a:gd name="connsiteY15" fmla="*/ 281940 h 285750"/>
                    <a:gd name="connsiteX16" fmla="*/ 345757 w 441007"/>
                    <a:gd name="connsiteY16" fmla="*/ 285750 h 285750"/>
                    <a:gd name="connsiteX17" fmla="*/ 319088 w 441007"/>
                    <a:gd name="connsiteY17" fmla="*/ 260985 h 285750"/>
                    <a:gd name="connsiteX18" fmla="*/ 287655 w 441007"/>
                    <a:gd name="connsiteY18" fmla="*/ 246697 h 285750"/>
                    <a:gd name="connsiteX19" fmla="*/ 271463 w 441007"/>
                    <a:gd name="connsiteY19" fmla="*/ 245745 h 285750"/>
                    <a:gd name="connsiteX20" fmla="*/ 267653 w 441007"/>
                    <a:gd name="connsiteY20" fmla="*/ 226695 h 285750"/>
                    <a:gd name="connsiteX21" fmla="*/ 261938 w 441007"/>
                    <a:gd name="connsiteY21" fmla="*/ 220980 h 285750"/>
                    <a:gd name="connsiteX22" fmla="*/ 269557 w 441007"/>
                    <a:gd name="connsiteY22" fmla="*/ 195263 h 285750"/>
                    <a:gd name="connsiteX23" fmla="*/ 251460 w 441007"/>
                    <a:gd name="connsiteY23" fmla="*/ 200978 h 285750"/>
                    <a:gd name="connsiteX24" fmla="*/ 246697 w 441007"/>
                    <a:gd name="connsiteY24" fmla="*/ 214313 h 285750"/>
                    <a:gd name="connsiteX25" fmla="*/ 234315 w 441007"/>
                    <a:gd name="connsiteY25" fmla="*/ 220028 h 285750"/>
                    <a:gd name="connsiteX26" fmla="*/ 213360 w 441007"/>
                    <a:gd name="connsiteY26" fmla="*/ 222885 h 285750"/>
                    <a:gd name="connsiteX27" fmla="*/ 191453 w 441007"/>
                    <a:gd name="connsiteY27" fmla="*/ 220028 h 285750"/>
                    <a:gd name="connsiteX28" fmla="*/ 186690 w 441007"/>
                    <a:gd name="connsiteY28" fmla="*/ 214313 h 285750"/>
                    <a:gd name="connsiteX29" fmla="*/ 193357 w 441007"/>
                    <a:gd name="connsiteY29" fmla="*/ 200978 h 285750"/>
                    <a:gd name="connsiteX30" fmla="*/ 186690 w 441007"/>
                    <a:gd name="connsiteY30" fmla="*/ 194310 h 285750"/>
                    <a:gd name="connsiteX31" fmla="*/ 190500 w 441007"/>
                    <a:gd name="connsiteY31" fmla="*/ 179070 h 285750"/>
                    <a:gd name="connsiteX32" fmla="*/ 175260 w 441007"/>
                    <a:gd name="connsiteY32" fmla="*/ 168593 h 285750"/>
                    <a:gd name="connsiteX33" fmla="*/ 140970 w 441007"/>
                    <a:gd name="connsiteY33" fmla="*/ 164782 h 285750"/>
                    <a:gd name="connsiteX34" fmla="*/ 132397 w 441007"/>
                    <a:gd name="connsiteY34" fmla="*/ 167640 h 285750"/>
                    <a:gd name="connsiteX35" fmla="*/ 126682 w 441007"/>
                    <a:gd name="connsiteY35" fmla="*/ 148590 h 285750"/>
                    <a:gd name="connsiteX36" fmla="*/ 86678 w 441007"/>
                    <a:gd name="connsiteY36" fmla="*/ 138113 h 285750"/>
                    <a:gd name="connsiteX37" fmla="*/ 81915 w 441007"/>
                    <a:gd name="connsiteY37" fmla="*/ 119063 h 285750"/>
                    <a:gd name="connsiteX38" fmla="*/ 66675 w 441007"/>
                    <a:gd name="connsiteY38" fmla="*/ 101918 h 285750"/>
                    <a:gd name="connsiteX39" fmla="*/ 36195 w 441007"/>
                    <a:gd name="connsiteY39" fmla="*/ 111443 h 285750"/>
                    <a:gd name="connsiteX40" fmla="*/ 8572 w 441007"/>
                    <a:gd name="connsiteY40" fmla="*/ 88582 h 285750"/>
                    <a:gd name="connsiteX41" fmla="*/ 8572 w 441007"/>
                    <a:gd name="connsiteY41" fmla="*/ 77153 h 285750"/>
                    <a:gd name="connsiteX42" fmla="*/ 0 w 441007"/>
                    <a:gd name="connsiteY42" fmla="*/ 56197 h 285750"/>
                    <a:gd name="connsiteX43" fmla="*/ 48578 w 441007"/>
                    <a:gd name="connsiteY43" fmla="*/ 32385 h 285750"/>
                    <a:gd name="connsiteX44" fmla="*/ 93345 w 441007"/>
                    <a:gd name="connsiteY44" fmla="*/ 16193 h 285750"/>
                    <a:gd name="connsiteX45" fmla="*/ 96203 w 441007"/>
                    <a:gd name="connsiteY45" fmla="*/ 28575 h 285750"/>
                    <a:gd name="connsiteX46" fmla="*/ 107632 w 441007"/>
                    <a:gd name="connsiteY46" fmla="*/ 35243 h 285750"/>
                    <a:gd name="connsiteX47" fmla="*/ 119063 w 441007"/>
                    <a:gd name="connsiteY47" fmla="*/ 29528 h 285750"/>
                    <a:gd name="connsiteX48" fmla="*/ 156210 w 441007"/>
                    <a:gd name="connsiteY48" fmla="*/ 40005 h 285750"/>
                    <a:gd name="connsiteX49" fmla="*/ 186690 w 441007"/>
                    <a:gd name="connsiteY49" fmla="*/ 25718 h 285750"/>
                    <a:gd name="connsiteX50" fmla="*/ 192405 w 441007"/>
                    <a:gd name="connsiteY50" fmla="*/ 14288 h 285750"/>
                    <a:gd name="connsiteX51" fmla="*/ 212407 w 441007"/>
                    <a:gd name="connsiteY51" fmla="*/ 17145 h 285750"/>
                    <a:gd name="connsiteX52" fmla="*/ 210503 w 441007"/>
                    <a:gd name="connsiteY52" fmla="*/ 8572 h 285750"/>
                    <a:gd name="connsiteX53" fmla="*/ 223838 w 441007"/>
                    <a:gd name="connsiteY53" fmla="*/ 1905 h 285750"/>
                    <a:gd name="connsiteX54" fmla="*/ 238125 w 441007"/>
                    <a:gd name="connsiteY54" fmla="*/ 9525 h 285750"/>
                    <a:gd name="connsiteX55" fmla="*/ 252413 w 441007"/>
                    <a:gd name="connsiteY55" fmla="*/ 0 h 285750"/>
                    <a:gd name="connsiteX56" fmla="*/ 262890 w 441007"/>
                    <a:gd name="connsiteY56" fmla="*/ 12382 h 285750"/>
                    <a:gd name="connsiteX57" fmla="*/ 286703 w 441007"/>
                    <a:gd name="connsiteY57" fmla="*/ 4763 h 285750"/>
                    <a:gd name="connsiteX58" fmla="*/ 291465 w 441007"/>
                    <a:gd name="connsiteY58" fmla="*/ 20003 h 285750"/>
                    <a:gd name="connsiteX59" fmla="*/ 316230 w 441007"/>
                    <a:gd name="connsiteY59" fmla="*/ 33338 h 285750"/>
                    <a:gd name="connsiteX60" fmla="*/ 334328 w 441007"/>
                    <a:gd name="connsiteY60" fmla="*/ 29528 h 285750"/>
                    <a:gd name="connsiteX61" fmla="*/ 350520 w 441007"/>
                    <a:gd name="connsiteY61" fmla="*/ 41910 h 285750"/>
                    <a:gd name="connsiteX62" fmla="*/ 375285 w 441007"/>
                    <a:gd name="connsiteY62" fmla="*/ 52388 h 285750"/>
                    <a:gd name="connsiteX63" fmla="*/ 365760 w 441007"/>
                    <a:gd name="connsiteY63" fmla="*/ 80010 h 285750"/>
                    <a:gd name="connsiteX64" fmla="*/ 355282 w 441007"/>
                    <a:gd name="connsiteY64" fmla="*/ 92393 h 285750"/>
                    <a:gd name="connsiteX65" fmla="*/ 361950 w 441007"/>
                    <a:gd name="connsiteY65" fmla="*/ 10287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1007" h="285750">
                      <a:moveTo>
                        <a:pt x="361950" y="102870"/>
                      </a:moveTo>
                      <a:lnTo>
                        <a:pt x="377190" y="98107"/>
                      </a:lnTo>
                      <a:lnTo>
                        <a:pt x="384810" y="105728"/>
                      </a:lnTo>
                      <a:lnTo>
                        <a:pt x="396240" y="106680"/>
                      </a:lnTo>
                      <a:lnTo>
                        <a:pt x="424815" y="128588"/>
                      </a:lnTo>
                      <a:lnTo>
                        <a:pt x="421005" y="142875"/>
                      </a:lnTo>
                      <a:lnTo>
                        <a:pt x="437197" y="149543"/>
                      </a:lnTo>
                      <a:lnTo>
                        <a:pt x="441007" y="168593"/>
                      </a:lnTo>
                      <a:lnTo>
                        <a:pt x="419100" y="180975"/>
                      </a:lnTo>
                      <a:lnTo>
                        <a:pt x="413385" y="197168"/>
                      </a:lnTo>
                      <a:lnTo>
                        <a:pt x="397193" y="190500"/>
                      </a:lnTo>
                      <a:lnTo>
                        <a:pt x="384810" y="202882"/>
                      </a:lnTo>
                      <a:lnTo>
                        <a:pt x="371475" y="226695"/>
                      </a:lnTo>
                      <a:lnTo>
                        <a:pt x="369570" y="242888"/>
                      </a:lnTo>
                      <a:lnTo>
                        <a:pt x="388620" y="265747"/>
                      </a:lnTo>
                      <a:lnTo>
                        <a:pt x="378143" y="281940"/>
                      </a:lnTo>
                      <a:lnTo>
                        <a:pt x="345757" y="285750"/>
                      </a:lnTo>
                      <a:lnTo>
                        <a:pt x="319088" y="260985"/>
                      </a:lnTo>
                      <a:lnTo>
                        <a:pt x="287655" y="246697"/>
                      </a:lnTo>
                      <a:lnTo>
                        <a:pt x="271463" y="245745"/>
                      </a:lnTo>
                      <a:lnTo>
                        <a:pt x="267653" y="226695"/>
                      </a:lnTo>
                      <a:lnTo>
                        <a:pt x="261938" y="220980"/>
                      </a:lnTo>
                      <a:lnTo>
                        <a:pt x="269557" y="195263"/>
                      </a:lnTo>
                      <a:lnTo>
                        <a:pt x="251460" y="200978"/>
                      </a:lnTo>
                      <a:lnTo>
                        <a:pt x="246697" y="214313"/>
                      </a:lnTo>
                      <a:lnTo>
                        <a:pt x="234315" y="220028"/>
                      </a:lnTo>
                      <a:lnTo>
                        <a:pt x="213360" y="222885"/>
                      </a:lnTo>
                      <a:lnTo>
                        <a:pt x="191453" y="220028"/>
                      </a:lnTo>
                      <a:lnTo>
                        <a:pt x="186690" y="214313"/>
                      </a:lnTo>
                      <a:lnTo>
                        <a:pt x="193357" y="200978"/>
                      </a:lnTo>
                      <a:lnTo>
                        <a:pt x="186690" y="194310"/>
                      </a:lnTo>
                      <a:lnTo>
                        <a:pt x="190500" y="179070"/>
                      </a:lnTo>
                      <a:lnTo>
                        <a:pt x="175260" y="168593"/>
                      </a:lnTo>
                      <a:lnTo>
                        <a:pt x="140970" y="164782"/>
                      </a:lnTo>
                      <a:lnTo>
                        <a:pt x="132397" y="167640"/>
                      </a:lnTo>
                      <a:lnTo>
                        <a:pt x="126682" y="148590"/>
                      </a:lnTo>
                      <a:lnTo>
                        <a:pt x="86678" y="138113"/>
                      </a:lnTo>
                      <a:lnTo>
                        <a:pt x="81915" y="119063"/>
                      </a:lnTo>
                      <a:lnTo>
                        <a:pt x="66675" y="101918"/>
                      </a:lnTo>
                      <a:lnTo>
                        <a:pt x="36195" y="111443"/>
                      </a:lnTo>
                      <a:lnTo>
                        <a:pt x="8572" y="88582"/>
                      </a:lnTo>
                      <a:lnTo>
                        <a:pt x="8572" y="77153"/>
                      </a:lnTo>
                      <a:lnTo>
                        <a:pt x="0" y="56197"/>
                      </a:lnTo>
                      <a:lnTo>
                        <a:pt x="48578" y="32385"/>
                      </a:lnTo>
                      <a:lnTo>
                        <a:pt x="93345" y="16193"/>
                      </a:lnTo>
                      <a:lnTo>
                        <a:pt x="96203" y="28575"/>
                      </a:lnTo>
                      <a:lnTo>
                        <a:pt x="107632" y="35243"/>
                      </a:lnTo>
                      <a:lnTo>
                        <a:pt x="119063" y="29528"/>
                      </a:lnTo>
                      <a:lnTo>
                        <a:pt x="156210" y="40005"/>
                      </a:lnTo>
                      <a:lnTo>
                        <a:pt x="186690" y="25718"/>
                      </a:lnTo>
                      <a:lnTo>
                        <a:pt x="192405" y="14288"/>
                      </a:lnTo>
                      <a:lnTo>
                        <a:pt x="212407" y="17145"/>
                      </a:lnTo>
                      <a:lnTo>
                        <a:pt x="210503" y="8572"/>
                      </a:lnTo>
                      <a:lnTo>
                        <a:pt x="223838" y="1905"/>
                      </a:lnTo>
                      <a:lnTo>
                        <a:pt x="238125" y="9525"/>
                      </a:lnTo>
                      <a:lnTo>
                        <a:pt x="252413" y="0"/>
                      </a:lnTo>
                      <a:lnTo>
                        <a:pt x="262890" y="12382"/>
                      </a:lnTo>
                      <a:lnTo>
                        <a:pt x="286703" y="4763"/>
                      </a:lnTo>
                      <a:lnTo>
                        <a:pt x="291465" y="20003"/>
                      </a:lnTo>
                      <a:lnTo>
                        <a:pt x="316230" y="33338"/>
                      </a:lnTo>
                      <a:lnTo>
                        <a:pt x="334328" y="29528"/>
                      </a:lnTo>
                      <a:lnTo>
                        <a:pt x="350520" y="41910"/>
                      </a:lnTo>
                      <a:lnTo>
                        <a:pt x="375285" y="52388"/>
                      </a:lnTo>
                      <a:lnTo>
                        <a:pt x="365760" y="80010"/>
                      </a:lnTo>
                      <a:lnTo>
                        <a:pt x="355282" y="92393"/>
                      </a:lnTo>
                      <a:lnTo>
                        <a:pt x="361950" y="10287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6" name="Bulgaria" descr="{&quot;Key&quot;:&quot;bulgaria&quot;,&quot;Name&quot;:&quot;Bulgaria&quot;,&quot;Value&quot;:1.0,&quot;Formula&quot;:&quot;&quot;,&quot;Text&quot;:&quot;&quot;,&quot;OfficeApplication&quot;:1,&quot;HasValue&quot;:true}">
                  <a:extLst>
                    <a:ext uri="{FF2B5EF4-FFF2-40B4-BE49-F238E27FC236}">
                      <a16:creationId xmlns:a16="http://schemas.microsoft.com/office/drawing/2014/main" id="{5278FF2A-3915-37C1-F262-9384B764279C}"/>
                    </a:ext>
                  </a:extLst>
                </p:cNvPr>
                <p:cNvSpPr/>
                <p:nvPr/>
              </p:nvSpPr>
              <p:spPr>
                <a:xfrm>
                  <a:off x="7825739" y="4978174"/>
                  <a:ext cx="744855" cy="442912"/>
                </a:xfrm>
                <a:custGeom>
                  <a:avLst/>
                  <a:gdLst>
                    <a:gd name="connsiteX0" fmla="*/ 742950 w 744855"/>
                    <a:gd name="connsiteY0" fmla="*/ 73343 h 442912"/>
                    <a:gd name="connsiteX1" fmla="*/ 744855 w 744855"/>
                    <a:gd name="connsiteY1" fmla="*/ 108585 h 442912"/>
                    <a:gd name="connsiteX2" fmla="*/ 736283 w 744855"/>
                    <a:gd name="connsiteY2" fmla="*/ 125730 h 442912"/>
                    <a:gd name="connsiteX3" fmla="*/ 717233 w 744855"/>
                    <a:gd name="connsiteY3" fmla="*/ 120015 h 442912"/>
                    <a:gd name="connsiteX4" fmla="*/ 696278 w 744855"/>
                    <a:gd name="connsiteY4" fmla="*/ 124778 h 442912"/>
                    <a:gd name="connsiteX5" fmla="*/ 686753 w 744855"/>
                    <a:gd name="connsiteY5" fmla="*/ 143828 h 442912"/>
                    <a:gd name="connsiteX6" fmla="*/ 675323 w 744855"/>
                    <a:gd name="connsiteY6" fmla="*/ 155258 h 442912"/>
                    <a:gd name="connsiteX7" fmla="*/ 675323 w 744855"/>
                    <a:gd name="connsiteY7" fmla="*/ 180022 h 442912"/>
                    <a:gd name="connsiteX8" fmla="*/ 679133 w 744855"/>
                    <a:gd name="connsiteY8" fmla="*/ 220028 h 442912"/>
                    <a:gd name="connsiteX9" fmla="*/ 663893 w 744855"/>
                    <a:gd name="connsiteY9" fmla="*/ 226695 h 442912"/>
                    <a:gd name="connsiteX10" fmla="*/ 636270 w 744855"/>
                    <a:gd name="connsiteY10" fmla="*/ 261938 h 442912"/>
                    <a:gd name="connsiteX11" fmla="*/ 664845 w 744855"/>
                    <a:gd name="connsiteY11" fmla="*/ 279083 h 442912"/>
                    <a:gd name="connsiteX12" fmla="*/ 681038 w 744855"/>
                    <a:gd name="connsiteY12" fmla="*/ 300038 h 442912"/>
                    <a:gd name="connsiteX13" fmla="*/ 703898 w 744855"/>
                    <a:gd name="connsiteY13" fmla="*/ 323850 h 442912"/>
                    <a:gd name="connsiteX14" fmla="*/ 708660 w 744855"/>
                    <a:gd name="connsiteY14" fmla="*/ 335280 h 442912"/>
                    <a:gd name="connsiteX15" fmla="*/ 692468 w 744855"/>
                    <a:gd name="connsiteY15" fmla="*/ 333375 h 442912"/>
                    <a:gd name="connsiteX16" fmla="*/ 683895 w 744855"/>
                    <a:gd name="connsiteY16" fmla="*/ 337185 h 442912"/>
                    <a:gd name="connsiteX17" fmla="*/ 666750 w 744855"/>
                    <a:gd name="connsiteY17" fmla="*/ 337185 h 442912"/>
                    <a:gd name="connsiteX18" fmla="*/ 652463 w 744855"/>
                    <a:gd name="connsiteY18" fmla="*/ 342900 h 442912"/>
                    <a:gd name="connsiteX19" fmla="*/ 620078 w 744855"/>
                    <a:gd name="connsiteY19" fmla="*/ 319088 h 442912"/>
                    <a:gd name="connsiteX20" fmla="*/ 586740 w 744855"/>
                    <a:gd name="connsiteY20" fmla="*/ 321945 h 442912"/>
                    <a:gd name="connsiteX21" fmla="*/ 572453 w 744855"/>
                    <a:gd name="connsiteY21" fmla="*/ 332422 h 442912"/>
                    <a:gd name="connsiteX22" fmla="*/ 540068 w 744855"/>
                    <a:gd name="connsiteY22" fmla="*/ 336233 h 442912"/>
                    <a:gd name="connsiteX23" fmla="*/ 530543 w 744855"/>
                    <a:gd name="connsiteY23" fmla="*/ 357188 h 442912"/>
                    <a:gd name="connsiteX24" fmla="*/ 512445 w 744855"/>
                    <a:gd name="connsiteY24" fmla="*/ 360045 h 442912"/>
                    <a:gd name="connsiteX25" fmla="*/ 509588 w 744855"/>
                    <a:gd name="connsiteY25" fmla="*/ 373380 h 442912"/>
                    <a:gd name="connsiteX26" fmla="*/ 494348 w 744855"/>
                    <a:gd name="connsiteY26" fmla="*/ 368617 h 442912"/>
                    <a:gd name="connsiteX27" fmla="*/ 479108 w 744855"/>
                    <a:gd name="connsiteY27" fmla="*/ 379095 h 442912"/>
                    <a:gd name="connsiteX28" fmla="*/ 485775 w 744855"/>
                    <a:gd name="connsiteY28" fmla="*/ 388620 h 442912"/>
                    <a:gd name="connsiteX29" fmla="*/ 494348 w 744855"/>
                    <a:gd name="connsiteY29" fmla="*/ 414338 h 442912"/>
                    <a:gd name="connsiteX30" fmla="*/ 492443 w 744855"/>
                    <a:gd name="connsiteY30" fmla="*/ 421958 h 442912"/>
                    <a:gd name="connsiteX31" fmla="*/ 468630 w 744855"/>
                    <a:gd name="connsiteY31" fmla="*/ 433388 h 442912"/>
                    <a:gd name="connsiteX32" fmla="*/ 451485 w 744855"/>
                    <a:gd name="connsiteY32" fmla="*/ 430530 h 442912"/>
                    <a:gd name="connsiteX33" fmla="*/ 421005 w 744855"/>
                    <a:gd name="connsiteY33" fmla="*/ 434340 h 442912"/>
                    <a:gd name="connsiteX34" fmla="*/ 388620 w 744855"/>
                    <a:gd name="connsiteY34" fmla="*/ 442913 h 442912"/>
                    <a:gd name="connsiteX35" fmla="*/ 372428 w 744855"/>
                    <a:gd name="connsiteY35" fmla="*/ 432435 h 442912"/>
                    <a:gd name="connsiteX36" fmla="*/ 337185 w 744855"/>
                    <a:gd name="connsiteY36" fmla="*/ 421005 h 442912"/>
                    <a:gd name="connsiteX37" fmla="*/ 328613 w 744855"/>
                    <a:gd name="connsiteY37" fmla="*/ 426720 h 442912"/>
                    <a:gd name="connsiteX38" fmla="*/ 305753 w 744855"/>
                    <a:gd name="connsiteY38" fmla="*/ 413385 h 442912"/>
                    <a:gd name="connsiteX39" fmla="*/ 294323 w 744855"/>
                    <a:gd name="connsiteY39" fmla="*/ 397192 h 442912"/>
                    <a:gd name="connsiteX40" fmla="*/ 279083 w 744855"/>
                    <a:gd name="connsiteY40" fmla="*/ 401955 h 442912"/>
                    <a:gd name="connsiteX41" fmla="*/ 239078 w 744855"/>
                    <a:gd name="connsiteY41" fmla="*/ 401003 h 442912"/>
                    <a:gd name="connsiteX42" fmla="*/ 237173 w 744855"/>
                    <a:gd name="connsiteY42" fmla="*/ 409575 h 442912"/>
                    <a:gd name="connsiteX43" fmla="*/ 219075 w 744855"/>
                    <a:gd name="connsiteY43" fmla="*/ 411480 h 442912"/>
                    <a:gd name="connsiteX44" fmla="*/ 190500 w 744855"/>
                    <a:gd name="connsiteY44" fmla="*/ 421958 h 442912"/>
                    <a:gd name="connsiteX45" fmla="*/ 165735 w 744855"/>
                    <a:gd name="connsiteY45" fmla="*/ 420053 h 442912"/>
                    <a:gd name="connsiteX46" fmla="*/ 142875 w 744855"/>
                    <a:gd name="connsiteY46" fmla="*/ 421958 h 442912"/>
                    <a:gd name="connsiteX47" fmla="*/ 133350 w 744855"/>
                    <a:gd name="connsiteY47" fmla="*/ 431483 h 442912"/>
                    <a:gd name="connsiteX48" fmla="*/ 104775 w 744855"/>
                    <a:gd name="connsiteY48" fmla="*/ 429578 h 442912"/>
                    <a:gd name="connsiteX49" fmla="*/ 104775 w 744855"/>
                    <a:gd name="connsiteY49" fmla="*/ 389572 h 442912"/>
                    <a:gd name="connsiteX50" fmla="*/ 109538 w 744855"/>
                    <a:gd name="connsiteY50" fmla="*/ 373380 h 442912"/>
                    <a:gd name="connsiteX51" fmla="*/ 100965 w 744855"/>
                    <a:gd name="connsiteY51" fmla="*/ 363855 h 442912"/>
                    <a:gd name="connsiteX52" fmla="*/ 84773 w 744855"/>
                    <a:gd name="connsiteY52" fmla="*/ 332422 h 442912"/>
                    <a:gd name="connsiteX53" fmla="*/ 52388 w 744855"/>
                    <a:gd name="connsiteY53" fmla="*/ 315278 h 442912"/>
                    <a:gd name="connsiteX54" fmla="*/ 20955 w 744855"/>
                    <a:gd name="connsiteY54" fmla="*/ 284797 h 442912"/>
                    <a:gd name="connsiteX55" fmla="*/ 30480 w 744855"/>
                    <a:gd name="connsiteY55" fmla="*/ 281940 h 442912"/>
                    <a:gd name="connsiteX56" fmla="*/ 40958 w 744855"/>
                    <a:gd name="connsiteY56" fmla="*/ 265747 h 442912"/>
                    <a:gd name="connsiteX57" fmla="*/ 27623 w 744855"/>
                    <a:gd name="connsiteY57" fmla="*/ 238125 h 442912"/>
                    <a:gd name="connsiteX58" fmla="*/ 27623 w 744855"/>
                    <a:gd name="connsiteY58" fmla="*/ 206692 h 442912"/>
                    <a:gd name="connsiteX59" fmla="*/ 38100 w 744855"/>
                    <a:gd name="connsiteY59" fmla="*/ 200978 h 442912"/>
                    <a:gd name="connsiteX60" fmla="*/ 55245 w 744855"/>
                    <a:gd name="connsiteY60" fmla="*/ 200025 h 442912"/>
                    <a:gd name="connsiteX61" fmla="*/ 65723 w 744855"/>
                    <a:gd name="connsiteY61" fmla="*/ 184785 h 442912"/>
                    <a:gd name="connsiteX62" fmla="*/ 80963 w 744855"/>
                    <a:gd name="connsiteY62" fmla="*/ 168592 h 442912"/>
                    <a:gd name="connsiteX63" fmla="*/ 83820 w 744855"/>
                    <a:gd name="connsiteY63" fmla="*/ 155258 h 442912"/>
                    <a:gd name="connsiteX64" fmla="*/ 68580 w 744855"/>
                    <a:gd name="connsiteY64" fmla="*/ 145733 h 442912"/>
                    <a:gd name="connsiteX65" fmla="*/ 56198 w 744855"/>
                    <a:gd name="connsiteY65" fmla="*/ 130492 h 442912"/>
                    <a:gd name="connsiteX66" fmla="*/ 28575 w 744855"/>
                    <a:gd name="connsiteY66" fmla="*/ 116205 h 442912"/>
                    <a:gd name="connsiteX67" fmla="*/ 5715 w 744855"/>
                    <a:gd name="connsiteY67" fmla="*/ 79058 h 442912"/>
                    <a:gd name="connsiteX68" fmla="*/ 0 w 744855"/>
                    <a:gd name="connsiteY68" fmla="*/ 56197 h 442912"/>
                    <a:gd name="connsiteX69" fmla="*/ 3810 w 744855"/>
                    <a:gd name="connsiteY69" fmla="*/ 34290 h 442912"/>
                    <a:gd name="connsiteX70" fmla="*/ 23813 w 744855"/>
                    <a:gd name="connsiteY70" fmla="*/ 24765 h 442912"/>
                    <a:gd name="connsiteX71" fmla="*/ 25718 w 744855"/>
                    <a:gd name="connsiteY71" fmla="*/ 6668 h 442912"/>
                    <a:gd name="connsiteX72" fmla="*/ 34290 w 744855"/>
                    <a:gd name="connsiteY72" fmla="*/ 0 h 442912"/>
                    <a:gd name="connsiteX73" fmla="*/ 75248 w 744855"/>
                    <a:gd name="connsiteY73" fmla="*/ 23813 h 442912"/>
                    <a:gd name="connsiteX74" fmla="*/ 58103 w 744855"/>
                    <a:gd name="connsiteY74" fmla="*/ 42863 h 442912"/>
                    <a:gd name="connsiteX75" fmla="*/ 66675 w 744855"/>
                    <a:gd name="connsiteY75" fmla="*/ 60008 h 442912"/>
                    <a:gd name="connsiteX76" fmla="*/ 101918 w 744855"/>
                    <a:gd name="connsiteY76" fmla="*/ 54293 h 442912"/>
                    <a:gd name="connsiteX77" fmla="*/ 139065 w 744855"/>
                    <a:gd name="connsiteY77" fmla="*/ 57150 h 442912"/>
                    <a:gd name="connsiteX78" fmla="*/ 189548 w 744855"/>
                    <a:gd name="connsiteY78" fmla="*/ 66675 h 442912"/>
                    <a:gd name="connsiteX79" fmla="*/ 222885 w 744855"/>
                    <a:gd name="connsiteY79" fmla="*/ 70485 h 442912"/>
                    <a:gd name="connsiteX80" fmla="*/ 246698 w 744855"/>
                    <a:gd name="connsiteY80" fmla="*/ 65722 h 442912"/>
                    <a:gd name="connsiteX81" fmla="*/ 336233 w 744855"/>
                    <a:gd name="connsiteY81" fmla="*/ 81915 h 442912"/>
                    <a:gd name="connsiteX82" fmla="*/ 376238 w 744855"/>
                    <a:gd name="connsiteY82" fmla="*/ 83820 h 442912"/>
                    <a:gd name="connsiteX83" fmla="*/ 398145 w 744855"/>
                    <a:gd name="connsiteY83" fmla="*/ 78105 h 442912"/>
                    <a:gd name="connsiteX84" fmla="*/ 413385 w 744855"/>
                    <a:gd name="connsiteY84" fmla="*/ 69533 h 442912"/>
                    <a:gd name="connsiteX85" fmla="*/ 424815 w 744855"/>
                    <a:gd name="connsiteY85" fmla="*/ 54293 h 442912"/>
                    <a:gd name="connsiteX86" fmla="*/ 456248 w 744855"/>
                    <a:gd name="connsiteY86" fmla="*/ 34290 h 442912"/>
                    <a:gd name="connsiteX87" fmla="*/ 486728 w 744855"/>
                    <a:gd name="connsiteY87" fmla="*/ 22860 h 442912"/>
                    <a:gd name="connsiteX88" fmla="*/ 528638 w 744855"/>
                    <a:gd name="connsiteY88" fmla="*/ 14288 h 442912"/>
                    <a:gd name="connsiteX89" fmla="*/ 556260 w 744855"/>
                    <a:gd name="connsiteY89" fmla="*/ 10478 h 442912"/>
                    <a:gd name="connsiteX90" fmla="*/ 599123 w 744855"/>
                    <a:gd name="connsiteY90" fmla="*/ 32385 h 442912"/>
                    <a:gd name="connsiteX91" fmla="*/ 629603 w 744855"/>
                    <a:gd name="connsiteY91" fmla="*/ 36195 h 442912"/>
                    <a:gd name="connsiteX92" fmla="*/ 638175 w 744855"/>
                    <a:gd name="connsiteY92" fmla="*/ 41910 h 442912"/>
                    <a:gd name="connsiteX93" fmla="*/ 654368 w 744855"/>
                    <a:gd name="connsiteY93" fmla="*/ 37147 h 442912"/>
                    <a:gd name="connsiteX94" fmla="*/ 678180 w 744855"/>
                    <a:gd name="connsiteY94" fmla="*/ 61913 h 442912"/>
                    <a:gd name="connsiteX95" fmla="*/ 699135 w 744855"/>
                    <a:gd name="connsiteY95" fmla="*/ 68580 h 442912"/>
                    <a:gd name="connsiteX96" fmla="*/ 723900 w 744855"/>
                    <a:gd name="connsiteY96" fmla="*/ 73343 h 442912"/>
                    <a:gd name="connsiteX97" fmla="*/ 742950 w 744855"/>
                    <a:gd name="connsiteY97" fmla="*/ 73343 h 44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44855" h="442912">
                      <a:moveTo>
                        <a:pt x="742950" y="73343"/>
                      </a:moveTo>
                      <a:lnTo>
                        <a:pt x="744855" y="108585"/>
                      </a:lnTo>
                      <a:lnTo>
                        <a:pt x="736283" y="125730"/>
                      </a:lnTo>
                      <a:lnTo>
                        <a:pt x="717233" y="120015"/>
                      </a:lnTo>
                      <a:lnTo>
                        <a:pt x="696278" y="124778"/>
                      </a:lnTo>
                      <a:lnTo>
                        <a:pt x="686753" y="143828"/>
                      </a:lnTo>
                      <a:lnTo>
                        <a:pt x="675323" y="155258"/>
                      </a:lnTo>
                      <a:lnTo>
                        <a:pt x="675323" y="180022"/>
                      </a:lnTo>
                      <a:lnTo>
                        <a:pt x="679133" y="220028"/>
                      </a:lnTo>
                      <a:lnTo>
                        <a:pt x="663893" y="226695"/>
                      </a:lnTo>
                      <a:lnTo>
                        <a:pt x="636270" y="261938"/>
                      </a:lnTo>
                      <a:lnTo>
                        <a:pt x="664845" y="279083"/>
                      </a:lnTo>
                      <a:lnTo>
                        <a:pt x="681038" y="300038"/>
                      </a:lnTo>
                      <a:lnTo>
                        <a:pt x="703898" y="323850"/>
                      </a:lnTo>
                      <a:lnTo>
                        <a:pt x="708660" y="335280"/>
                      </a:lnTo>
                      <a:lnTo>
                        <a:pt x="692468" y="333375"/>
                      </a:lnTo>
                      <a:lnTo>
                        <a:pt x="683895" y="337185"/>
                      </a:lnTo>
                      <a:lnTo>
                        <a:pt x="666750" y="337185"/>
                      </a:lnTo>
                      <a:lnTo>
                        <a:pt x="652463" y="342900"/>
                      </a:lnTo>
                      <a:lnTo>
                        <a:pt x="620078" y="319088"/>
                      </a:lnTo>
                      <a:lnTo>
                        <a:pt x="586740" y="321945"/>
                      </a:lnTo>
                      <a:lnTo>
                        <a:pt x="572453" y="332422"/>
                      </a:lnTo>
                      <a:lnTo>
                        <a:pt x="540068" y="336233"/>
                      </a:lnTo>
                      <a:lnTo>
                        <a:pt x="530543" y="357188"/>
                      </a:lnTo>
                      <a:lnTo>
                        <a:pt x="512445" y="360045"/>
                      </a:lnTo>
                      <a:lnTo>
                        <a:pt x="509588" y="373380"/>
                      </a:lnTo>
                      <a:lnTo>
                        <a:pt x="494348" y="368617"/>
                      </a:lnTo>
                      <a:lnTo>
                        <a:pt x="479108" y="379095"/>
                      </a:lnTo>
                      <a:lnTo>
                        <a:pt x="485775" y="388620"/>
                      </a:lnTo>
                      <a:lnTo>
                        <a:pt x="494348" y="414338"/>
                      </a:lnTo>
                      <a:lnTo>
                        <a:pt x="492443" y="421958"/>
                      </a:lnTo>
                      <a:lnTo>
                        <a:pt x="468630" y="433388"/>
                      </a:lnTo>
                      <a:lnTo>
                        <a:pt x="451485" y="430530"/>
                      </a:lnTo>
                      <a:lnTo>
                        <a:pt x="421005" y="434340"/>
                      </a:lnTo>
                      <a:lnTo>
                        <a:pt x="388620" y="442913"/>
                      </a:lnTo>
                      <a:lnTo>
                        <a:pt x="372428" y="432435"/>
                      </a:lnTo>
                      <a:lnTo>
                        <a:pt x="337185" y="421005"/>
                      </a:lnTo>
                      <a:lnTo>
                        <a:pt x="328613" y="426720"/>
                      </a:lnTo>
                      <a:lnTo>
                        <a:pt x="305753" y="413385"/>
                      </a:lnTo>
                      <a:lnTo>
                        <a:pt x="294323" y="397192"/>
                      </a:lnTo>
                      <a:lnTo>
                        <a:pt x="279083" y="401955"/>
                      </a:lnTo>
                      <a:lnTo>
                        <a:pt x="239078" y="401003"/>
                      </a:lnTo>
                      <a:lnTo>
                        <a:pt x="237173" y="409575"/>
                      </a:lnTo>
                      <a:lnTo>
                        <a:pt x="219075" y="411480"/>
                      </a:lnTo>
                      <a:lnTo>
                        <a:pt x="190500" y="421958"/>
                      </a:lnTo>
                      <a:lnTo>
                        <a:pt x="165735" y="420053"/>
                      </a:lnTo>
                      <a:lnTo>
                        <a:pt x="142875" y="421958"/>
                      </a:lnTo>
                      <a:lnTo>
                        <a:pt x="133350" y="431483"/>
                      </a:lnTo>
                      <a:lnTo>
                        <a:pt x="104775" y="429578"/>
                      </a:lnTo>
                      <a:lnTo>
                        <a:pt x="104775" y="389572"/>
                      </a:lnTo>
                      <a:lnTo>
                        <a:pt x="109538" y="373380"/>
                      </a:lnTo>
                      <a:lnTo>
                        <a:pt x="100965" y="363855"/>
                      </a:lnTo>
                      <a:lnTo>
                        <a:pt x="84773" y="332422"/>
                      </a:lnTo>
                      <a:lnTo>
                        <a:pt x="52388" y="315278"/>
                      </a:lnTo>
                      <a:lnTo>
                        <a:pt x="20955" y="284797"/>
                      </a:lnTo>
                      <a:lnTo>
                        <a:pt x="30480" y="281940"/>
                      </a:lnTo>
                      <a:lnTo>
                        <a:pt x="40958" y="265747"/>
                      </a:lnTo>
                      <a:lnTo>
                        <a:pt x="27623" y="238125"/>
                      </a:lnTo>
                      <a:lnTo>
                        <a:pt x="27623" y="206692"/>
                      </a:lnTo>
                      <a:lnTo>
                        <a:pt x="38100" y="200978"/>
                      </a:lnTo>
                      <a:lnTo>
                        <a:pt x="55245" y="200025"/>
                      </a:lnTo>
                      <a:lnTo>
                        <a:pt x="65723" y="184785"/>
                      </a:lnTo>
                      <a:lnTo>
                        <a:pt x="80963" y="168592"/>
                      </a:lnTo>
                      <a:lnTo>
                        <a:pt x="83820" y="155258"/>
                      </a:lnTo>
                      <a:lnTo>
                        <a:pt x="68580" y="145733"/>
                      </a:lnTo>
                      <a:lnTo>
                        <a:pt x="56198" y="130492"/>
                      </a:lnTo>
                      <a:lnTo>
                        <a:pt x="28575" y="116205"/>
                      </a:lnTo>
                      <a:lnTo>
                        <a:pt x="5715" y="79058"/>
                      </a:lnTo>
                      <a:lnTo>
                        <a:pt x="0" y="56197"/>
                      </a:lnTo>
                      <a:lnTo>
                        <a:pt x="3810" y="34290"/>
                      </a:lnTo>
                      <a:lnTo>
                        <a:pt x="23813" y="24765"/>
                      </a:lnTo>
                      <a:lnTo>
                        <a:pt x="25718" y="6668"/>
                      </a:lnTo>
                      <a:lnTo>
                        <a:pt x="34290" y="0"/>
                      </a:lnTo>
                      <a:lnTo>
                        <a:pt x="75248" y="23813"/>
                      </a:lnTo>
                      <a:lnTo>
                        <a:pt x="58103" y="42863"/>
                      </a:lnTo>
                      <a:lnTo>
                        <a:pt x="66675" y="60008"/>
                      </a:lnTo>
                      <a:lnTo>
                        <a:pt x="101918" y="54293"/>
                      </a:lnTo>
                      <a:lnTo>
                        <a:pt x="139065" y="57150"/>
                      </a:lnTo>
                      <a:lnTo>
                        <a:pt x="189548" y="66675"/>
                      </a:lnTo>
                      <a:lnTo>
                        <a:pt x="222885" y="70485"/>
                      </a:lnTo>
                      <a:lnTo>
                        <a:pt x="246698" y="65722"/>
                      </a:lnTo>
                      <a:lnTo>
                        <a:pt x="336233" y="81915"/>
                      </a:lnTo>
                      <a:lnTo>
                        <a:pt x="376238" y="83820"/>
                      </a:lnTo>
                      <a:lnTo>
                        <a:pt x="398145" y="78105"/>
                      </a:lnTo>
                      <a:lnTo>
                        <a:pt x="413385" y="69533"/>
                      </a:lnTo>
                      <a:lnTo>
                        <a:pt x="424815" y="54293"/>
                      </a:lnTo>
                      <a:lnTo>
                        <a:pt x="456248" y="34290"/>
                      </a:lnTo>
                      <a:lnTo>
                        <a:pt x="486728" y="22860"/>
                      </a:lnTo>
                      <a:lnTo>
                        <a:pt x="528638" y="14288"/>
                      </a:lnTo>
                      <a:lnTo>
                        <a:pt x="556260" y="10478"/>
                      </a:lnTo>
                      <a:lnTo>
                        <a:pt x="599123" y="32385"/>
                      </a:lnTo>
                      <a:lnTo>
                        <a:pt x="629603" y="36195"/>
                      </a:lnTo>
                      <a:lnTo>
                        <a:pt x="638175" y="41910"/>
                      </a:lnTo>
                      <a:lnTo>
                        <a:pt x="654368" y="37147"/>
                      </a:lnTo>
                      <a:lnTo>
                        <a:pt x="678180" y="61913"/>
                      </a:lnTo>
                      <a:lnTo>
                        <a:pt x="699135" y="68580"/>
                      </a:lnTo>
                      <a:lnTo>
                        <a:pt x="723900" y="73343"/>
                      </a:lnTo>
                      <a:lnTo>
                        <a:pt x="742950" y="7334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7" name="Bosnia and Herzegovina" descr="{&quot;Key&quot;:&quot;bosnia and herzegovina&quot;,&quot;Name&quot;:&quot;Bosnia and Herzegovina&quot;,&quot;Value&quot;:1.0,&quot;Formula&quot;:&quot;&quot;,&quot;Text&quot;:&quot;&quot;,&quot;OfficeApplication&quot;:1,&quot;HasValue&quot;:true}">
                  <a:extLst>
                    <a:ext uri="{FF2B5EF4-FFF2-40B4-BE49-F238E27FC236}">
                      <a16:creationId xmlns:a16="http://schemas.microsoft.com/office/drawing/2014/main" id="{FE407277-F131-39E3-49FE-BFE5A84DD95C}"/>
                    </a:ext>
                  </a:extLst>
                </p:cNvPr>
                <p:cNvSpPr/>
                <p:nvPr/>
              </p:nvSpPr>
              <p:spPr>
                <a:xfrm>
                  <a:off x="7024687" y="4825774"/>
                  <a:ext cx="466725" cy="401002"/>
                </a:xfrm>
                <a:custGeom>
                  <a:avLst/>
                  <a:gdLst>
                    <a:gd name="connsiteX0" fmla="*/ 387668 w 466725"/>
                    <a:gd name="connsiteY0" fmla="*/ 60008 h 401002"/>
                    <a:gd name="connsiteX1" fmla="*/ 414338 w 466725"/>
                    <a:gd name="connsiteY1" fmla="*/ 53340 h 401002"/>
                    <a:gd name="connsiteX2" fmla="*/ 428625 w 466725"/>
                    <a:gd name="connsiteY2" fmla="*/ 60960 h 401002"/>
                    <a:gd name="connsiteX3" fmla="*/ 423863 w 466725"/>
                    <a:gd name="connsiteY3" fmla="*/ 84772 h 401002"/>
                    <a:gd name="connsiteX4" fmla="*/ 408623 w 466725"/>
                    <a:gd name="connsiteY4" fmla="*/ 110490 h 401002"/>
                    <a:gd name="connsiteX5" fmla="*/ 407670 w 466725"/>
                    <a:gd name="connsiteY5" fmla="*/ 135255 h 401002"/>
                    <a:gd name="connsiteX6" fmla="*/ 412432 w 466725"/>
                    <a:gd name="connsiteY6" fmla="*/ 142875 h 401002"/>
                    <a:gd name="connsiteX7" fmla="*/ 435293 w 466725"/>
                    <a:gd name="connsiteY7" fmla="*/ 154305 h 401002"/>
                    <a:gd name="connsiteX8" fmla="*/ 466725 w 466725"/>
                    <a:gd name="connsiteY8" fmla="*/ 181928 h 401002"/>
                    <a:gd name="connsiteX9" fmla="*/ 463868 w 466725"/>
                    <a:gd name="connsiteY9" fmla="*/ 189547 h 401002"/>
                    <a:gd name="connsiteX10" fmla="*/ 434340 w 466725"/>
                    <a:gd name="connsiteY10" fmla="*/ 188595 h 401002"/>
                    <a:gd name="connsiteX11" fmla="*/ 429577 w 466725"/>
                    <a:gd name="connsiteY11" fmla="*/ 196215 h 401002"/>
                    <a:gd name="connsiteX12" fmla="*/ 460057 w 466725"/>
                    <a:gd name="connsiteY12" fmla="*/ 231458 h 401002"/>
                    <a:gd name="connsiteX13" fmla="*/ 458152 w 466725"/>
                    <a:gd name="connsiteY13" fmla="*/ 252413 h 401002"/>
                    <a:gd name="connsiteX14" fmla="*/ 434340 w 466725"/>
                    <a:gd name="connsiteY14" fmla="*/ 249555 h 401002"/>
                    <a:gd name="connsiteX15" fmla="*/ 427673 w 466725"/>
                    <a:gd name="connsiteY15" fmla="*/ 257175 h 401002"/>
                    <a:gd name="connsiteX16" fmla="*/ 397193 w 466725"/>
                    <a:gd name="connsiteY16" fmla="*/ 261938 h 401002"/>
                    <a:gd name="connsiteX17" fmla="*/ 410527 w 466725"/>
                    <a:gd name="connsiteY17" fmla="*/ 282892 h 401002"/>
                    <a:gd name="connsiteX18" fmla="*/ 388620 w 466725"/>
                    <a:gd name="connsiteY18" fmla="*/ 284797 h 401002"/>
                    <a:gd name="connsiteX19" fmla="*/ 369570 w 466725"/>
                    <a:gd name="connsiteY19" fmla="*/ 300990 h 401002"/>
                    <a:gd name="connsiteX20" fmla="*/ 364807 w 466725"/>
                    <a:gd name="connsiteY20" fmla="*/ 317183 h 401002"/>
                    <a:gd name="connsiteX21" fmla="*/ 365760 w 466725"/>
                    <a:gd name="connsiteY21" fmla="*/ 331470 h 401002"/>
                    <a:gd name="connsiteX22" fmla="*/ 349568 w 466725"/>
                    <a:gd name="connsiteY22" fmla="*/ 333375 h 401002"/>
                    <a:gd name="connsiteX23" fmla="*/ 344805 w 466725"/>
                    <a:gd name="connsiteY23" fmla="*/ 340042 h 401002"/>
                    <a:gd name="connsiteX24" fmla="*/ 350520 w 466725"/>
                    <a:gd name="connsiteY24" fmla="*/ 368617 h 401002"/>
                    <a:gd name="connsiteX25" fmla="*/ 360998 w 466725"/>
                    <a:gd name="connsiteY25" fmla="*/ 383858 h 401002"/>
                    <a:gd name="connsiteX26" fmla="*/ 360045 w 466725"/>
                    <a:gd name="connsiteY26" fmla="*/ 391478 h 401002"/>
                    <a:gd name="connsiteX27" fmla="*/ 349568 w 466725"/>
                    <a:gd name="connsiteY27" fmla="*/ 401003 h 401002"/>
                    <a:gd name="connsiteX28" fmla="*/ 333375 w 466725"/>
                    <a:gd name="connsiteY28" fmla="*/ 394335 h 401002"/>
                    <a:gd name="connsiteX29" fmla="*/ 274320 w 466725"/>
                    <a:gd name="connsiteY29" fmla="*/ 358140 h 401002"/>
                    <a:gd name="connsiteX30" fmla="*/ 268605 w 466725"/>
                    <a:gd name="connsiteY30" fmla="*/ 349567 h 401002"/>
                    <a:gd name="connsiteX31" fmla="*/ 253365 w 466725"/>
                    <a:gd name="connsiteY31" fmla="*/ 350520 h 401002"/>
                    <a:gd name="connsiteX32" fmla="*/ 242888 w 466725"/>
                    <a:gd name="connsiteY32" fmla="*/ 344805 h 401002"/>
                    <a:gd name="connsiteX33" fmla="*/ 245745 w 466725"/>
                    <a:gd name="connsiteY33" fmla="*/ 329565 h 401002"/>
                    <a:gd name="connsiteX34" fmla="*/ 217170 w 466725"/>
                    <a:gd name="connsiteY34" fmla="*/ 305753 h 401002"/>
                    <a:gd name="connsiteX35" fmla="*/ 202882 w 466725"/>
                    <a:gd name="connsiteY35" fmla="*/ 290513 h 401002"/>
                    <a:gd name="connsiteX36" fmla="*/ 199073 w 466725"/>
                    <a:gd name="connsiteY36" fmla="*/ 269558 h 401002"/>
                    <a:gd name="connsiteX37" fmla="*/ 176213 w 466725"/>
                    <a:gd name="connsiteY37" fmla="*/ 259080 h 401002"/>
                    <a:gd name="connsiteX38" fmla="*/ 128588 w 466725"/>
                    <a:gd name="connsiteY38" fmla="*/ 220028 h 401002"/>
                    <a:gd name="connsiteX39" fmla="*/ 112395 w 466725"/>
                    <a:gd name="connsiteY39" fmla="*/ 200978 h 401002"/>
                    <a:gd name="connsiteX40" fmla="*/ 85725 w 466725"/>
                    <a:gd name="connsiteY40" fmla="*/ 179070 h 401002"/>
                    <a:gd name="connsiteX41" fmla="*/ 63818 w 466725"/>
                    <a:gd name="connsiteY41" fmla="*/ 156210 h 401002"/>
                    <a:gd name="connsiteX42" fmla="*/ 51435 w 466725"/>
                    <a:gd name="connsiteY42" fmla="*/ 118110 h 401002"/>
                    <a:gd name="connsiteX43" fmla="*/ 19050 w 466725"/>
                    <a:gd name="connsiteY43" fmla="*/ 87630 h 401002"/>
                    <a:gd name="connsiteX44" fmla="*/ 952 w 466725"/>
                    <a:gd name="connsiteY44" fmla="*/ 75247 h 401002"/>
                    <a:gd name="connsiteX45" fmla="*/ 0 w 466725"/>
                    <a:gd name="connsiteY45" fmla="*/ 61913 h 401002"/>
                    <a:gd name="connsiteX46" fmla="*/ 2857 w 466725"/>
                    <a:gd name="connsiteY46" fmla="*/ 14288 h 401002"/>
                    <a:gd name="connsiteX47" fmla="*/ 14288 w 466725"/>
                    <a:gd name="connsiteY47" fmla="*/ 8572 h 401002"/>
                    <a:gd name="connsiteX48" fmla="*/ 31432 w 466725"/>
                    <a:gd name="connsiteY48" fmla="*/ 12383 h 401002"/>
                    <a:gd name="connsiteX49" fmla="*/ 47625 w 466725"/>
                    <a:gd name="connsiteY49" fmla="*/ 29528 h 401002"/>
                    <a:gd name="connsiteX50" fmla="*/ 64770 w 466725"/>
                    <a:gd name="connsiteY50" fmla="*/ 39053 h 401002"/>
                    <a:gd name="connsiteX51" fmla="*/ 90488 w 466725"/>
                    <a:gd name="connsiteY51" fmla="*/ 8572 h 401002"/>
                    <a:gd name="connsiteX52" fmla="*/ 120968 w 466725"/>
                    <a:gd name="connsiteY52" fmla="*/ 11430 h 401002"/>
                    <a:gd name="connsiteX53" fmla="*/ 135255 w 466725"/>
                    <a:gd name="connsiteY53" fmla="*/ 0 h 401002"/>
                    <a:gd name="connsiteX54" fmla="*/ 160973 w 466725"/>
                    <a:gd name="connsiteY54" fmla="*/ 15240 h 401002"/>
                    <a:gd name="connsiteX55" fmla="*/ 184785 w 466725"/>
                    <a:gd name="connsiteY55" fmla="*/ 16193 h 401002"/>
                    <a:gd name="connsiteX56" fmla="*/ 211455 w 466725"/>
                    <a:gd name="connsiteY56" fmla="*/ 22860 h 401002"/>
                    <a:gd name="connsiteX57" fmla="*/ 227648 w 466725"/>
                    <a:gd name="connsiteY57" fmla="*/ 17145 h 401002"/>
                    <a:gd name="connsiteX58" fmla="*/ 242888 w 466725"/>
                    <a:gd name="connsiteY58" fmla="*/ 29528 h 401002"/>
                    <a:gd name="connsiteX59" fmla="*/ 263843 w 466725"/>
                    <a:gd name="connsiteY59" fmla="*/ 20003 h 401002"/>
                    <a:gd name="connsiteX60" fmla="*/ 280988 w 466725"/>
                    <a:gd name="connsiteY60" fmla="*/ 22860 h 401002"/>
                    <a:gd name="connsiteX61" fmla="*/ 298132 w 466725"/>
                    <a:gd name="connsiteY61" fmla="*/ 20955 h 401002"/>
                    <a:gd name="connsiteX62" fmla="*/ 322898 w 466725"/>
                    <a:gd name="connsiteY62" fmla="*/ 27622 h 401002"/>
                    <a:gd name="connsiteX63" fmla="*/ 343852 w 466725"/>
                    <a:gd name="connsiteY63" fmla="*/ 29528 h 401002"/>
                    <a:gd name="connsiteX64" fmla="*/ 354330 w 466725"/>
                    <a:gd name="connsiteY64" fmla="*/ 37147 h 401002"/>
                    <a:gd name="connsiteX65" fmla="*/ 366713 w 466725"/>
                    <a:gd name="connsiteY65" fmla="*/ 58103 h 401002"/>
                    <a:gd name="connsiteX66" fmla="*/ 387668 w 466725"/>
                    <a:gd name="connsiteY66" fmla="*/ 60008 h 40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66725" h="401002">
                      <a:moveTo>
                        <a:pt x="387668" y="60008"/>
                      </a:moveTo>
                      <a:lnTo>
                        <a:pt x="414338" y="53340"/>
                      </a:lnTo>
                      <a:lnTo>
                        <a:pt x="428625" y="60960"/>
                      </a:lnTo>
                      <a:lnTo>
                        <a:pt x="423863" y="84772"/>
                      </a:lnTo>
                      <a:lnTo>
                        <a:pt x="408623" y="110490"/>
                      </a:lnTo>
                      <a:lnTo>
                        <a:pt x="407670" y="135255"/>
                      </a:lnTo>
                      <a:lnTo>
                        <a:pt x="412432" y="142875"/>
                      </a:lnTo>
                      <a:lnTo>
                        <a:pt x="435293" y="154305"/>
                      </a:lnTo>
                      <a:lnTo>
                        <a:pt x="466725" y="181928"/>
                      </a:lnTo>
                      <a:lnTo>
                        <a:pt x="463868" y="189547"/>
                      </a:lnTo>
                      <a:lnTo>
                        <a:pt x="434340" y="188595"/>
                      </a:lnTo>
                      <a:lnTo>
                        <a:pt x="429577" y="196215"/>
                      </a:lnTo>
                      <a:lnTo>
                        <a:pt x="460057" y="231458"/>
                      </a:lnTo>
                      <a:lnTo>
                        <a:pt x="458152" y="252413"/>
                      </a:lnTo>
                      <a:lnTo>
                        <a:pt x="434340" y="249555"/>
                      </a:lnTo>
                      <a:lnTo>
                        <a:pt x="427673" y="257175"/>
                      </a:lnTo>
                      <a:lnTo>
                        <a:pt x="397193" y="261938"/>
                      </a:lnTo>
                      <a:lnTo>
                        <a:pt x="410527" y="282892"/>
                      </a:lnTo>
                      <a:lnTo>
                        <a:pt x="388620" y="284797"/>
                      </a:lnTo>
                      <a:lnTo>
                        <a:pt x="369570" y="300990"/>
                      </a:lnTo>
                      <a:lnTo>
                        <a:pt x="364807" y="317183"/>
                      </a:lnTo>
                      <a:lnTo>
                        <a:pt x="365760" y="331470"/>
                      </a:lnTo>
                      <a:lnTo>
                        <a:pt x="349568" y="333375"/>
                      </a:lnTo>
                      <a:lnTo>
                        <a:pt x="344805" y="340042"/>
                      </a:lnTo>
                      <a:lnTo>
                        <a:pt x="350520" y="368617"/>
                      </a:lnTo>
                      <a:lnTo>
                        <a:pt x="360998" y="383858"/>
                      </a:lnTo>
                      <a:lnTo>
                        <a:pt x="360045" y="391478"/>
                      </a:lnTo>
                      <a:lnTo>
                        <a:pt x="349568" y="401003"/>
                      </a:lnTo>
                      <a:lnTo>
                        <a:pt x="333375" y="394335"/>
                      </a:lnTo>
                      <a:lnTo>
                        <a:pt x="274320" y="358140"/>
                      </a:lnTo>
                      <a:lnTo>
                        <a:pt x="268605" y="349567"/>
                      </a:lnTo>
                      <a:lnTo>
                        <a:pt x="253365" y="350520"/>
                      </a:lnTo>
                      <a:lnTo>
                        <a:pt x="242888" y="344805"/>
                      </a:lnTo>
                      <a:lnTo>
                        <a:pt x="245745" y="329565"/>
                      </a:lnTo>
                      <a:lnTo>
                        <a:pt x="217170" y="305753"/>
                      </a:lnTo>
                      <a:lnTo>
                        <a:pt x="202882" y="290513"/>
                      </a:lnTo>
                      <a:lnTo>
                        <a:pt x="199073" y="269558"/>
                      </a:lnTo>
                      <a:lnTo>
                        <a:pt x="176213" y="259080"/>
                      </a:lnTo>
                      <a:lnTo>
                        <a:pt x="128588" y="220028"/>
                      </a:lnTo>
                      <a:lnTo>
                        <a:pt x="112395" y="200978"/>
                      </a:lnTo>
                      <a:lnTo>
                        <a:pt x="85725" y="179070"/>
                      </a:lnTo>
                      <a:lnTo>
                        <a:pt x="63818" y="156210"/>
                      </a:lnTo>
                      <a:lnTo>
                        <a:pt x="51435" y="118110"/>
                      </a:lnTo>
                      <a:lnTo>
                        <a:pt x="19050" y="87630"/>
                      </a:lnTo>
                      <a:lnTo>
                        <a:pt x="952" y="75247"/>
                      </a:lnTo>
                      <a:lnTo>
                        <a:pt x="0" y="61913"/>
                      </a:lnTo>
                      <a:lnTo>
                        <a:pt x="2857" y="14288"/>
                      </a:lnTo>
                      <a:lnTo>
                        <a:pt x="14288" y="8572"/>
                      </a:lnTo>
                      <a:lnTo>
                        <a:pt x="31432" y="12383"/>
                      </a:lnTo>
                      <a:lnTo>
                        <a:pt x="47625" y="29528"/>
                      </a:lnTo>
                      <a:lnTo>
                        <a:pt x="64770" y="39053"/>
                      </a:lnTo>
                      <a:lnTo>
                        <a:pt x="90488" y="8572"/>
                      </a:lnTo>
                      <a:lnTo>
                        <a:pt x="120968" y="11430"/>
                      </a:lnTo>
                      <a:lnTo>
                        <a:pt x="135255" y="0"/>
                      </a:lnTo>
                      <a:lnTo>
                        <a:pt x="160973" y="15240"/>
                      </a:lnTo>
                      <a:lnTo>
                        <a:pt x="184785" y="16193"/>
                      </a:lnTo>
                      <a:lnTo>
                        <a:pt x="211455" y="22860"/>
                      </a:lnTo>
                      <a:lnTo>
                        <a:pt x="227648" y="17145"/>
                      </a:lnTo>
                      <a:lnTo>
                        <a:pt x="242888" y="29528"/>
                      </a:lnTo>
                      <a:lnTo>
                        <a:pt x="263843" y="20003"/>
                      </a:lnTo>
                      <a:lnTo>
                        <a:pt x="280988" y="22860"/>
                      </a:lnTo>
                      <a:lnTo>
                        <a:pt x="298132" y="20955"/>
                      </a:lnTo>
                      <a:lnTo>
                        <a:pt x="322898" y="27622"/>
                      </a:lnTo>
                      <a:lnTo>
                        <a:pt x="343852" y="29528"/>
                      </a:lnTo>
                      <a:lnTo>
                        <a:pt x="354330" y="37147"/>
                      </a:lnTo>
                      <a:lnTo>
                        <a:pt x="366713" y="58103"/>
                      </a:lnTo>
                      <a:lnTo>
                        <a:pt x="387668" y="6000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8" name="Belarus" descr="{&quot;Key&quot;:&quot;belarus&quot;,&quot;Name&quot;:&quot;Belarus&quot;,&quot;Value&quot;:1.0,&quot;Formula&quot;:&quot;&quot;,&quot;Text&quot;:&quot;&quot;,&quot;OfficeApplication&quot;:1,&quot;HasValue&quot;:true}">
                  <a:extLst>
                    <a:ext uri="{FF2B5EF4-FFF2-40B4-BE49-F238E27FC236}">
                      <a16:creationId xmlns:a16="http://schemas.microsoft.com/office/drawing/2014/main" id="{F28A5586-352D-BB12-B681-B5AB6648247E}"/>
                    </a:ext>
                  </a:extLst>
                </p:cNvPr>
                <p:cNvSpPr/>
                <p:nvPr/>
              </p:nvSpPr>
              <p:spPr>
                <a:xfrm>
                  <a:off x="7773352" y="3259864"/>
                  <a:ext cx="1042987" cy="694372"/>
                </a:xfrm>
                <a:custGeom>
                  <a:avLst/>
                  <a:gdLst>
                    <a:gd name="connsiteX0" fmla="*/ 461010 w 1042987"/>
                    <a:gd name="connsiteY0" fmla="*/ 0 h 694372"/>
                    <a:gd name="connsiteX1" fmla="*/ 478155 w 1042987"/>
                    <a:gd name="connsiteY1" fmla="*/ 12382 h 694372"/>
                    <a:gd name="connsiteX2" fmla="*/ 489585 w 1042987"/>
                    <a:gd name="connsiteY2" fmla="*/ 8572 h 694372"/>
                    <a:gd name="connsiteX3" fmla="*/ 507683 w 1042987"/>
                    <a:gd name="connsiteY3" fmla="*/ 7620 h 694372"/>
                    <a:gd name="connsiteX4" fmla="*/ 537210 w 1042987"/>
                    <a:gd name="connsiteY4" fmla="*/ 28575 h 694372"/>
                    <a:gd name="connsiteX5" fmla="*/ 552450 w 1042987"/>
                    <a:gd name="connsiteY5" fmla="*/ 20003 h 694372"/>
                    <a:gd name="connsiteX6" fmla="*/ 566738 w 1042987"/>
                    <a:gd name="connsiteY6" fmla="*/ 17145 h 694372"/>
                    <a:gd name="connsiteX7" fmla="*/ 601028 w 1042987"/>
                    <a:gd name="connsiteY7" fmla="*/ 28575 h 694372"/>
                    <a:gd name="connsiteX8" fmla="*/ 602933 w 1042987"/>
                    <a:gd name="connsiteY8" fmla="*/ 50482 h 694372"/>
                    <a:gd name="connsiteX9" fmla="*/ 619125 w 1042987"/>
                    <a:gd name="connsiteY9" fmla="*/ 64770 h 694372"/>
                    <a:gd name="connsiteX10" fmla="*/ 639128 w 1042987"/>
                    <a:gd name="connsiteY10" fmla="*/ 52388 h 694372"/>
                    <a:gd name="connsiteX11" fmla="*/ 664845 w 1042987"/>
                    <a:gd name="connsiteY11" fmla="*/ 41910 h 694372"/>
                    <a:gd name="connsiteX12" fmla="*/ 697230 w 1042987"/>
                    <a:gd name="connsiteY12" fmla="*/ 41910 h 694372"/>
                    <a:gd name="connsiteX13" fmla="*/ 722948 w 1042987"/>
                    <a:gd name="connsiteY13" fmla="*/ 50482 h 694372"/>
                    <a:gd name="connsiteX14" fmla="*/ 745808 w 1042987"/>
                    <a:gd name="connsiteY14" fmla="*/ 67628 h 694372"/>
                    <a:gd name="connsiteX15" fmla="*/ 779145 w 1042987"/>
                    <a:gd name="connsiteY15" fmla="*/ 80963 h 694372"/>
                    <a:gd name="connsiteX16" fmla="*/ 782955 w 1042987"/>
                    <a:gd name="connsiteY16" fmla="*/ 104775 h 694372"/>
                    <a:gd name="connsiteX17" fmla="*/ 777240 w 1042987"/>
                    <a:gd name="connsiteY17" fmla="*/ 121920 h 694372"/>
                    <a:gd name="connsiteX18" fmla="*/ 797243 w 1042987"/>
                    <a:gd name="connsiteY18" fmla="*/ 141922 h 694372"/>
                    <a:gd name="connsiteX19" fmla="*/ 802005 w 1042987"/>
                    <a:gd name="connsiteY19" fmla="*/ 154305 h 694372"/>
                    <a:gd name="connsiteX20" fmla="*/ 789623 w 1042987"/>
                    <a:gd name="connsiteY20" fmla="*/ 173355 h 694372"/>
                    <a:gd name="connsiteX21" fmla="*/ 789623 w 1042987"/>
                    <a:gd name="connsiteY21" fmla="*/ 192405 h 694372"/>
                    <a:gd name="connsiteX22" fmla="*/ 828675 w 1042987"/>
                    <a:gd name="connsiteY22" fmla="*/ 211455 h 694372"/>
                    <a:gd name="connsiteX23" fmla="*/ 833438 w 1042987"/>
                    <a:gd name="connsiteY23" fmla="*/ 216218 h 694372"/>
                    <a:gd name="connsiteX24" fmla="*/ 828675 w 1042987"/>
                    <a:gd name="connsiteY24" fmla="*/ 233363 h 694372"/>
                    <a:gd name="connsiteX25" fmla="*/ 842010 w 1042987"/>
                    <a:gd name="connsiteY25" fmla="*/ 239078 h 694372"/>
                    <a:gd name="connsiteX26" fmla="*/ 859155 w 1042987"/>
                    <a:gd name="connsiteY26" fmla="*/ 261938 h 694372"/>
                    <a:gd name="connsiteX27" fmla="*/ 873443 w 1042987"/>
                    <a:gd name="connsiteY27" fmla="*/ 275272 h 694372"/>
                    <a:gd name="connsiteX28" fmla="*/ 920115 w 1042987"/>
                    <a:gd name="connsiteY28" fmla="*/ 295275 h 694372"/>
                    <a:gd name="connsiteX29" fmla="*/ 926783 w 1042987"/>
                    <a:gd name="connsiteY29" fmla="*/ 302895 h 694372"/>
                    <a:gd name="connsiteX30" fmla="*/ 922973 w 1042987"/>
                    <a:gd name="connsiteY30" fmla="*/ 329565 h 694372"/>
                    <a:gd name="connsiteX31" fmla="*/ 973455 w 1042987"/>
                    <a:gd name="connsiteY31" fmla="*/ 334328 h 694372"/>
                    <a:gd name="connsiteX32" fmla="*/ 1003935 w 1042987"/>
                    <a:gd name="connsiteY32" fmla="*/ 346710 h 694372"/>
                    <a:gd name="connsiteX33" fmla="*/ 1003935 w 1042987"/>
                    <a:gd name="connsiteY33" fmla="*/ 357188 h 694372"/>
                    <a:gd name="connsiteX34" fmla="*/ 1010603 w 1042987"/>
                    <a:gd name="connsiteY34" fmla="*/ 367665 h 694372"/>
                    <a:gd name="connsiteX35" fmla="*/ 1037273 w 1042987"/>
                    <a:gd name="connsiteY35" fmla="*/ 381000 h 694372"/>
                    <a:gd name="connsiteX36" fmla="*/ 1042988 w 1042987"/>
                    <a:gd name="connsiteY36" fmla="*/ 397193 h 694372"/>
                    <a:gd name="connsiteX37" fmla="*/ 1018223 w 1042987"/>
                    <a:gd name="connsiteY37" fmla="*/ 406718 h 694372"/>
                    <a:gd name="connsiteX38" fmla="*/ 1015365 w 1042987"/>
                    <a:gd name="connsiteY38" fmla="*/ 415290 h 694372"/>
                    <a:gd name="connsiteX39" fmla="*/ 986790 w 1042987"/>
                    <a:gd name="connsiteY39" fmla="*/ 432435 h 694372"/>
                    <a:gd name="connsiteX40" fmla="*/ 953453 w 1042987"/>
                    <a:gd name="connsiteY40" fmla="*/ 430530 h 694372"/>
                    <a:gd name="connsiteX41" fmla="*/ 930593 w 1042987"/>
                    <a:gd name="connsiteY41" fmla="*/ 416243 h 694372"/>
                    <a:gd name="connsiteX42" fmla="*/ 902970 w 1042987"/>
                    <a:gd name="connsiteY42" fmla="*/ 417195 h 694372"/>
                    <a:gd name="connsiteX43" fmla="*/ 889635 w 1042987"/>
                    <a:gd name="connsiteY43" fmla="*/ 442913 h 694372"/>
                    <a:gd name="connsiteX44" fmla="*/ 926783 w 1042987"/>
                    <a:gd name="connsiteY44" fmla="*/ 474345 h 694372"/>
                    <a:gd name="connsiteX45" fmla="*/ 932498 w 1042987"/>
                    <a:gd name="connsiteY45" fmla="*/ 483870 h 694372"/>
                    <a:gd name="connsiteX46" fmla="*/ 930593 w 1042987"/>
                    <a:gd name="connsiteY46" fmla="*/ 498157 h 694372"/>
                    <a:gd name="connsiteX47" fmla="*/ 940118 w 1042987"/>
                    <a:gd name="connsiteY47" fmla="*/ 512445 h 694372"/>
                    <a:gd name="connsiteX48" fmla="*/ 944880 w 1042987"/>
                    <a:gd name="connsiteY48" fmla="*/ 543878 h 694372"/>
                    <a:gd name="connsiteX49" fmla="*/ 960120 w 1042987"/>
                    <a:gd name="connsiteY49" fmla="*/ 557213 h 694372"/>
                    <a:gd name="connsiteX50" fmla="*/ 972503 w 1042987"/>
                    <a:gd name="connsiteY50" fmla="*/ 574357 h 694372"/>
                    <a:gd name="connsiteX51" fmla="*/ 924878 w 1042987"/>
                    <a:gd name="connsiteY51" fmla="*/ 573405 h 694372"/>
                    <a:gd name="connsiteX52" fmla="*/ 911543 w 1042987"/>
                    <a:gd name="connsiteY52" fmla="*/ 581025 h 694372"/>
                    <a:gd name="connsiteX53" fmla="*/ 895350 w 1042987"/>
                    <a:gd name="connsiteY53" fmla="*/ 577215 h 694372"/>
                    <a:gd name="connsiteX54" fmla="*/ 884873 w 1042987"/>
                    <a:gd name="connsiteY54" fmla="*/ 581978 h 694372"/>
                    <a:gd name="connsiteX55" fmla="*/ 863918 w 1042987"/>
                    <a:gd name="connsiteY55" fmla="*/ 603885 h 694372"/>
                    <a:gd name="connsiteX56" fmla="*/ 856298 w 1042987"/>
                    <a:gd name="connsiteY56" fmla="*/ 615315 h 694372"/>
                    <a:gd name="connsiteX57" fmla="*/ 846773 w 1042987"/>
                    <a:gd name="connsiteY57" fmla="*/ 646747 h 694372"/>
                    <a:gd name="connsiteX58" fmla="*/ 863918 w 1042987"/>
                    <a:gd name="connsiteY58" fmla="*/ 681038 h 694372"/>
                    <a:gd name="connsiteX59" fmla="*/ 856298 w 1042987"/>
                    <a:gd name="connsiteY59" fmla="*/ 694372 h 694372"/>
                    <a:gd name="connsiteX60" fmla="*/ 830580 w 1042987"/>
                    <a:gd name="connsiteY60" fmla="*/ 685800 h 694372"/>
                    <a:gd name="connsiteX61" fmla="*/ 825818 w 1042987"/>
                    <a:gd name="connsiteY61" fmla="*/ 674370 h 694372"/>
                    <a:gd name="connsiteX62" fmla="*/ 806768 w 1042987"/>
                    <a:gd name="connsiteY62" fmla="*/ 663893 h 694372"/>
                    <a:gd name="connsiteX63" fmla="*/ 739140 w 1042987"/>
                    <a:gd name="connsiteY63" fmla="*/ 669607 h 694372"/>
                    <a:gd name="connsiteX64" fmla="*/ 717233 w 1042987"/>
                    <a:gd name="connsiteY64" fmla="*/ 677228 h 694372"/>
                    <a:gd name="connsiteX65" fmla="*/ 711518 w 1042987"/>
                    <a:gd name="connsiteY65" fmla="*/ 672465 h 694372"/>
                    <a:gd name="connsiteX66" fmla="*/ 687705 w 1042987"/>
                    <a:gd name="connsiteY66" fmla="*/ 643890 h 694372"/>
                    <a:gd name="connsiteX67" fmla="*/ 651510 w 1042987"/>
                    <a:gd name="connsiteY67" fmla="*/ 659130 h 694372"/>
                    <a:gd name="connsiteX68" fmla="*/ 645795 w 1042987"/>
                    <a:gd name="connsiteY68" fmla="*/ 669607 h 694372"/>
                    <a:gd name="connsiteX69" fmla="*/ 636270 w 1042987"/>
                    <a:gd name="connsiteY69" fmla="*/ 666750 h 694372"/>
                    <a:gd name="connsiteX70" fmla="*/ 628650 w 1042987"/>
                    <a:gd name="connsiteY70" fmla="*/ 654368 h 694372"/>
                    <a:gd name="connsiteX71" fmla="*/ 580073 w 1042987"/>
                    <a:gd name="connsiteY71" fmla="*/ 644843 h 694372"/>
                    <a:gd name="connsiteX72" fmla="*/ 561975 w 1042987"/>
                    <a:gd name="connsiteY72" fmla="*/ 651510 h 694372"/>
                    <a:gd name="connsiteX73" fmla="*/ 543878 w 1042987"/>
                    <a:gd name="connsiteY73" fmla="*/ 646747 h 694372"/>
                    <a:gd name="connsiteX74" fmla="*/ 532448 w 1042987"/>
                    <a:gd name="connsiteY74" fmla="*/ 662940 h 694372"/>
                    <a:gd name="connsiteX75" fmla="*/ 524828 w 1042987"/>
                    <a:gd name="connsiteY75" fmla="*/ 649605 h 694372"/>
                    <a:gd name="connsiteX76" fmla="*/ 514350 w 1042987"/>
                    <a:gd name="connsiteY76" fmla="*/ 645795 h 694372"/>
                    <a:gd name="connsiteX77" fmla="*/ 485775 w 1042987"/>
                    <a:gd name="connsiteY77" fmla="*/ 646747 h 694372"/>
                    <a:gd name="connsiteX78" fmla="*/ 476250 w 1042987"/>
                    <a:gd name="connsiteY78" fmla="*/ 643890 h 694372"/>
                    <a:gd name="connsiteX79" fmla="*/ 459105 w 1042987"/>
                    <a:gd name="connsiteY79" fmla="*/ 623888 h 694372"/>
                    <a:gd name="connsiteX80" fmla="*/ 437198 w 1042987"/>
                    <a:gd name="connsiteY80" fmla="*/ 623888 h 694372"/>
                    <a:gd name="connsiteX81" fmla="*/ 379095 w 1042987"/>
                    <a:gd name="connsiteY81" fmla="*/ 615315 h 694372"/>
                    <a:gd name="connsiteX82" fmla="*/ 317183 w 1042987"/>
                    <a:gd name="connsiteY82" fmla="*/ 601028 h 694372"/>
                    <a:gd name="connsiteX83" fmla="*/ 242888 w 1042987"/>
                    <a:gd name="connsiteY83" fmla="*/ 597218 h 694372"/>
                    <a:gd name="connsiteX84" fmla="*/ 220028 w 1042987"/>
                    <a:gd name="connsiteY84" fmla="*/ 598170 h 694372"/>
                    <a:gd name="connsiteX85" fmla="*/ 198120 w 1042987"/>
                    <a:gd name="connsiteY85" fmla="*/ 602932 h 694372"/>
                    <a:gd name="connsiteX86" fmla="*/ 141923 w 1042987"/>
                    <a:gd name="connsiteY86" fmla="*/ 607695 h 694372"/>
                    <a:gd name="connsiteX87" fmla="*/ 134303 w 1042987"/>
                    <a:gd name="connsiteY87" fmla="*/ 621030 h 694372"/>
                    <a:gd name="connsiteX88" fmla="*/ 119063 w 1042987"/>
                    <a:gd name="connsiteY88" fmla="*/ 636270 h 694372"/>
                    <a:gd name="connsiteX89" fmla="*/ 100965 w 1042987"/>
                    <a:gd name="connsiteY89" fmla="*/ 647700 h 694372"/>
                    <a:gd name="connsiteX90" fmla="*/ 90488 w 1042987"/>
                    <a:gd name="connsiteY90" fmla="*/ 642938 h 694372"/>
                    <a:gd name="connsiteX91" fmla="*/ 72390 w 1042987"/>
                    <a:gd name="connsiteY91" fmla="*/ 640080 h 694372"/>
                    <a:gd name="connsiteX92" fmla="*/ 61913 w 1042987"/>
                    <a:gd name="connsiteY92" fmla="*/ 644843 h 694372"/>
                    <a:gd name="connsiteX93" fmla="*/ 62865 w 1042987"/>
                    <a:gd name="connsiteY93" fmla="*/ 658178 h 694372"/>
                    <a:gd name="connsiteX94" fmla="*/ 53340 w 1042987"/>
                    <a:gd name="connsiteY94" fmla="*/ 642938 h 694372"/>
                    <a:gd name="connsiteX95" fmla="*/ 52388 w 1042987"/>
                    <a:gd name="connsiteY95" fmla="*/ 630555 h 694372"/>
                    <a:gd name="connsiteX96" fmla="*/ 60008 w 1042987"/>
                    <a:gd name="connsiteY96" fmla="*/ 616268 h 694372"/>
                    <a:gd name="connsiteX97" fmla="*/ 56198 w 1042987"/>
                    <a:gd name="connsiteY97" fmla="*/ 605790 h 694372"/>
                    <a:gd name="connsiteX98" fmla="*/ 58103 w 1042987"/>
                    <a:gd name="connsiteY98" fmla="*/ 582930 h 694372"/>
                    <a:gd name="connsiteX99" fmla="*/ 50483 w 1042987"/>
                    <a:gd name="connsiteY99" fmla="*/ 573405 h 694372"/>
                    <a:gd name="connsiteX100" fmla="*/ 33338 w 1042987"/>
                    <a:gd name="connsiteY100" fmla="*/ 563880 h 694372"/>
                    <a:gd name="connsiteX101" fmla="*/ 1905 w 1042987"/>
                    <a:gd name="connsiteY101" fmla="*/ 551497 h 694372"/>
                    <a:gd name="connsiteX102" fmla="*/ 1905 w 1042987"/>
                    <a:gd name="connsiteY102" fmla="*/ 540068 h 694372"/>
                    <a:gd name="connsiteX103" fmla="*/ 20955 w 1042987"/>
                    <a:gd name="connsiteY103" fmla="*/ 514350 h 694372"/>
                    <a:gd name="connsiteX104" fmla="*/ 28575 w 1042987"/>
                    <a:gd name="connsiteY104" fmla="*/ 509588 h 694372"/>
                    <a:gd name="connsiteX105" fmla="*/ 66675 w 1042987"/>
                    <a:gd name="connsiteY105" fmla="*/ 493395 h 694372"/>
                    <a:gd name="connsiteX106" fmla="*/ 72390 w 1042987"/>
                    <a:gd name="connsiteY106" fmla="*/ 478155 h 694372"/>
                    <a:gd name="connsiteX107" fmla="*/ 63818 w 1042987"/>
                    <a:gd name="connsiteY107" fmla="*/ 441007 h 694372"/>
                    <a:gd name="connsiteX108" fmla="*/ 47625 w 1042987"/>
                    <a:gd name="connsiteY108" fmla="*/ 406718 h 694372"/>
                    <a:gd name="connsiteX109" fmla="*/ 20003 w 1042987"/>
                    <a:gd name="connsiteY109" fmla="*/ 360045 h 694372"/>
                    <a:gd name="connsiteX110" fmla="*/ 0 w 1042987"/>
                    <a:gd name="connsiteY110" fmla="*/ 311468 h 694372"/>
                    <a:gd name="connsiteX111" fmla="*/ 27623 w 1042987"/>
                    <a:gd name="connsiteY111" fmla="*/ 315278 h 694372"/>
                    <a:gd name="connsiteX112" fmla="*/ 42863 w 1042987"/>
                    <a:gd name="connsiteY112" fmla="*/ 312420 h 694372"/>
                    <a:gd name="connsiteX113" fmla="*/ 78105 w 1042987"/>
                    <a:gd name="connsiteY113" fmla="*/ 309563 h 694372"/>
                    <a:gd name="connsiteX114" fmla="*/ 93345 w 1042987"/>
                    <a:gd name="connsiteY114" fmla="*/ 318135 h 694372"/>
                    <a:gd name="connsiteX115" fmla="*/ 124778 w 1042987"/>
                    <a:gd name="connsiteY115" fmla="*/ 305753 h 694372"/>
                    <a:gd name="connsiteX116" fmla="*/ 141923 w 1042987"/>
                    <a:gd name="connsiteY116" fmla="*/ 306705 h 694372"/>
                    <a:gd name="connsiteX117" fmla="*/ 149543 w 1042987"/>
                    <a:gd name="connsiteY117" fmla="*/ 281940 h 694372"/>
                    <a:gd name="connsiteX118" fmla="*/ 168593 w 1042987"/>
                    <a:gd name="connsiteY118" fmla="*/ 283845 h 694372"/>
                    <a:gd name="connsiteX119" fmla="*/ 181928 w 1042987"/>
                    <a:gd name="connsiteY119" fmla="*/ 272415 h 694372"/>
                    <a:gd name="connsiteX120" fmla="*/ 201930 w 1042987"/>
                    <a:gd name="connsiteY120" fmla="*/ 267653 h 694372"/>
                    <a:gd name="connsiteX121" fmla="*/ 211455 w 1042987"/>
                    <a:gd name="connsiteY121" fmla="*/ 260985 h 694372"/>
                    <a:gd name="connsiteX122" fmla="*/ 227648 w 1042987"/>
                    <a:gd name="connsiteY122" fmla="*/ 282893 h 694372"/>
                    <a:gd name="connsiteX123" fmla="*/ 246698 w 1042987"/>
                    <a:gd name="connsiteY123" fmla="*/ 280988 h 694372"/>
                    <a:gd name="connsiteX124" fmla="*/ 246698 w 1042987"/>
                    <a:gd name="connsiteY124" fmla="*/ 271463 h 694372"/>
                    <a:gd name="connsiteX125" fmla="*/ 238125 w 1042987"/>
                    <a:gd name="connsiteY125" fmla="*/ 260985 h 694372"/>
                    <a:gd name="connsiteX126" fmla="*/ 220028 w 1042987"/>
                    <a:gd name="connsiteY126" fmla="*/ 256222 h 694372"/>
                    <a:gd name="connsiteX127" fmla="*/ 224790 w 1042987"/>
                    <a:gd name="connsiteY127" fmla="*/ 237172 h 694372"/>
                    <a:gd name="connsiteX128" fmla="*/ 234315 w 1042987"/>
                    <a:gd name="connsiteY128" fmla="*/ 222885 h 694372"/>
                    <a:gd name="connsiteX129" fmla="*/ 230505 w 1042987"/>
                    <a:gd name="connsiteY129" fmla="*/ 200978 h 694372"/>
                    <a:gd name="connsiteX130" fmla="*/ 240983 w 1042987"/>
                    <a:gd name="connsiteY130" fmla="*/ 172403 h 694372"/>
                    <a:gd name="connsiteX131" fmla="*/ 265748 w 1042987"/>
                    <a:gd name="connsiteY131" fmla="*/ 166688 h 694372"/>
                    <a:gd name="connsiteX132" fmla="*/ 273368 w 1042987"/>
                    <a:gd name="connsiteY132" fmla="*/ 160972 h 694372"/>
                    <a:gd name="connsiteX133" fmla="*/ 282893 w 1042987"/>
                    <a:gd name="connsiteY133" fmla="*/ 141922 h 694372"/>
                    <a:gd name="connsiteX134" fmla="*/ 317183 w 1042987"/>
                    <a:gd name="connsiteY134" fmla="*/ 142875 h 694372"/>
                    <a:gd name="connsiteX135" fmla="*/ 320993 w 1042987"/>
                    <a:gd name="connsiteY135" fmla="*/ 132397 h 694372"/>
                    <a:gd name="connsiteX136" fmla="*/ 333375 w 1042987"/>
                    <a:gd name="connsiteY136" fmla="*/ 122872 h 694372"/>
                    <a:gd name="connsiteX137" fmla="*/ 296228 w 1042987"/>
                    <a:gd name="connsiteY137" fmla="*/ 113347 h 694372"/>
                    <a:gd name="connsiteX138" fmla="*/ 302895 w 1042987"/>
                    <a:gd name="connsiteY138" fmla="*/ 83820 h 694372"/>
                    <a:gd name="connsiteX139" fmla="*/ 302895 w 1042987"/>
                    <a:gd name="connsiteY139" fmla="*/ 66675 h 694372"/>
                    <a:gd name="connsiteX140" fmla="*/ 327660 w 1042987"/>
                    <a:gd name="connsiteY140" fmla="*/ 60960 h 694372"/>
                    <a:gd name="connsiteX141" fmla="*/ 339090 w 1042987"/>
                    <a:gd name="connsiteY141" fmla="*/ 46672 h 694372"/>
                    <a:gd name="connsiteX142" fmla="*/ 349568 w 1042987"/>
                    <a:gd name="connsiteY142" fmla="*/ 43815 h 694372"/>
                    <a:gd name="connsiteX143" fmla="*/ 378143 w 1042987"/>
                    <a:gd name="connsiteY143" fmla="*/ 47625 h 694372"/>
                    <a:gd name="connsiteX144" fmla="*/ 407670 w 1042987"/>
                    <a:gd name="connsiteY144" fmla="*/ 48578 h 694372"/>
                    <a:gd name="connsiteX145" fmla="*/ 411480 w 1042987"/>
                    <a:gd name="connsiteY145" fmla="*/ 32385 h 694372"/>
                    <a:gd name="connsiteX146" fmla="*/ 435293 w 1042987"/>
                    <a:gd name="connsiteY146" fmla="*/ 9525 h 694372"/>
                    <a:gd name="connsiteX147" fmla="*/ 448628 w 1042987"/>
                    <a:gd name="connsiteY147" fmla="*/ 1905 h 694372"/>
                    <a:gd name="connsiteX148" fmla="*/ 461010 w 1042987"/>
                    <a:gd name="connsiteY148" fmla="*/ 0 h 6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042987" h="694372">
                      <a:moveTo>
                        <a:pt x="461010" y="0"/>
                      </a:moveTo>
                      <a:lnTo>
                        <a:pt x="478155" y="12382"/>
                      </a:lnTo>
                      <a:lnTo>
                        <a:pt x="489585" y="8572"/>
                      </a:lnTo>
                      <a:lnTo>
                        <a:pt x="507683" y="7620"/>
                      </a:lnTo>
                      <a:lnTo>
                        <a:pt x="537210" y="28575"/>
                      </a:lnTo>
                      <a:lnTo>
                        <a:pt x="552450" y="20003"/>
                      </a:lnTo>
                      <a:lnTo>
                        <a:pt x="566738" y="17145"/>
                      </a:lnTo>
                      <a:lnTo>
                        <a:pt x="601028" y="28575"/>
                      </a:lnTo>
                      <a:lnTo>
                        <a:pt x="602933" y="50482"/>
                      </a:lnTo>
                      <a:lnTo>
                        <a:pt x="619125" y="64770"/>
                      </a:lnTo>
                      <a:lnTo>
                        <a:pt x="639128" y="52388"/>
                      </a:lnTo>
                      <a:lnTo>
                        <a:pt x="664845" y="41910"/>
                      </a:lnTo>
                      <a:lnTo>
                        <a:pt x="697230" y="41910"/>
                      </a:lnTo>
                      <a:lnTo>
                        <a:pt x="722948" y="50482"/>
                      </a:lnTo>
                      <a:lnTo>
                        <a:pt x="745808" y="67628"/>
                      </a:lnTo>
                      <a:lnTo>
                        <a:pt x="779145" y="80963"/>
                      </a:lnTo>
                      <a:lnTo>
                        <a:pt x="782955" y="104775"/>
                      </a:lnTo>
                      <a:lnTo>
                        <a:pt x="777240" y="121920"/>
                      </a:lnTo>
                      <a:lnTo>
                        <a:pt x="797243" y="141922"/>
                      </a:lnTo>
                      <a:lnTo>
                        <a:pt x="802005" y="154305"/>
                      </a:lnTo>
                      <a:lnTo>
                        <a:pt x="789623" y="173355"/>
                      </a:lnTo>
                      <a:lnTo>
                        <a:pt x="789623" y="192405"/>
                      </a:lnTo>
                      <a:lnTo>
                        <a:pt x="828675" y="211455"/>
                      </a:lnTo>
                      <a:lnTo>
                        <a:pt x="833438" y="216218"/>
                      </a:lnTo>
                      <a:lnTo>
                        <a:pt x="828675" y="233363"/>
                      </a:lnTo>
                      <a:lnTo>
                        <a:pt x="842010" y="239078"/>
                      </a:lnTo>
                      <a:lnTo>
                        <a:pt x="859155" y="261938"/>
                      </a:lnTo>
                      <a:lnTo>
                        <a:pt x="873443" y="275272"/>
                      </a:lnTo>
                      <a:lnTo>
                        <a:pt x="920115" y="295275"/>
                      </a:lnTo>
                      <a:lnTo>
                        <a:pt x="926783" y="302895"/>
                      </a:lnTo>
                      <a:lnTo>
                        <a:pt x="922973" y="329565"/>
                      </a:lnTo>
                      <a:lnTo>
                        <a:pt x="973455" y="334328"/>
                      </a:lnTo>
                      <a:lnTo>
                        <a:pt x="1003935" y="346710"/>
                      </a:lnTo>
                      <a:lnTo>
                        <a:pt x="1003935" y="357188"/>
                      </a:lnTo>
                      <a:lnTo>
                        <a:pt x="1010603" y="367665"/>
                      </a:lnTo>
                      <a:lnTo>
                        <a:pt x="1037273" y="381000"/>
                      </a:lnTo>
                      <a:lnTo>
                        <a:pt x="1042988" y="397193"/>
                      </a:lnTo>
                      <a:lnTo>
                        <a:pt x="1018223" y="406718"/>
                      </a:lnTo>
                      <a:lnTo>
                        <a:pt x="1015365" y="415290"/>
                      </a:lnTo>
                      <a:lnTo>
                        <a:pt x="986790" y="432435"/>
                      </a:lnTo>
                      <a:lnTo>
                        <a:pt x="953453" y="430530"/>
                      </a:lnTo>
                      <a:lnTo>
                        <a:pt x="930593" y="416243"/>
                      </a:lnTo>
                      <a:lnTo>
                        <a:pt x="902970" y="417195"/>
                      </a:lnTo>
                      <a:lnTo>
                        <a:pt x="889635" y="442913"/>
                      </a:lnTo>
                      <a:lnTo>
                        <a:pt x="926783" y="474345"/>
                      </a:lnTo>
                      <a:lnTo>
                        <a:pt x="932498" y="483870"/>
                      </a:lnTo>
                      <a:lnTo>
                        <a:pt x="930593" y="498157"/>
                      </a:lnTo>
                      <a:lnTo>
                        <a:pt x="940118" y="512445"/>
                      </a:lnTo>
                      <a:lnTo>
                        <a:pt x="944880" y="543878"/>
                      </a:lnTo>
                      <a:lnTo>
                        <a:pt x="960120" y="557213"/>
                      </a:lnTo>
                      <a:lnTo>
                        <a:pt x="972503" y="574357"/>
                      </a:lnTo>
                      <a:lnTo>
                        <a:pt x="924878" y="573405"/>
                      </a:lnTo>
                      <a:lnTo>
                        <a:pt x="911543" y="581025"/>
                      </a:lnTo>
                      <a:lnTo>
                        <a:pt x="895350" y="577215"/>
                      </a:lnTo>
                      <a:lnTo>
                        <a:pt x="884873" y="581978"/>
                      </a:lnTo>
                      <a:lnTo>
                        <a:pt x="863918" y="603885"/>
                      </a:lnTo>
                      <a:lnTo>
                        <a:pt x="856298" y="615315"/>
                      </a:lnTo>
                      <a:lnTo>
                        <a:pt x="846773" y="646747"/>
                      </a:lnTo>
                      <a:lnTo>
                        <a:pt x="863918" y="681038"/>
                      </a:lnTo>
                      <a:lnTo>
                        <a:pt x="856298" y="694372"/>
                      </a:lnTo>
                      <a:lnTo>
                        <a:pt x="830580" y="685800"/>
                      </a:lnTo>
                      <a:lnTo>
                        <a:pt x="825818" y="674370"/>
                      </a:lnTo>
                      <a:lnTo>
                        <a:pt x="806768" y="663893"/>
                      </a:lnTo>
                      <a:lnTo>
                        <a:pt x="739140" y="669607"/>
                      </a:lnTo>
                      <a:lnTo>
                        <a:pt x="717233" y="677228"/>
                      </a:lnTo>
                      <a:lnTo>
                        <a:pt x="711518" y="672465"/>
                      </a:lnTo>
                      <a:lnTo>
                        <a:pt x="687705" y="643890"/>
                      </a:lnTo>
                      <a:lnTo>
                        <a:pt x="651510" y="659130"/>
                      </a:lnTo>
                      <a:lnTo>
                        <a:pt x="645795" y="669607"/>
                      </a:lnTo>
                      <a:lnTo>
                        <a:pt x="636270" y="666750"/>
                      </a:lnTo>
                      <a:lnTo>
                        <a:pt x="628650" y="654368"/>
                      </a:lnTo>
                      <a:lnTo>
                        <a:pt x="580073" y="644843"/>
                      </a:lnTo>
                      <a:lnTo>
                        <a:pt x="561975" y="651510"/>
                      </a:lnTo>
                      <a:lnTo>
                        <a:pt x="543878" y="646747"/>
                      </a:lnTo>
                      <a:lnTo>
                        <a:pt x="532448" y="662940"/>
                      </a:lnTo>
                      <a:lnTo>
                        <a:pt x="524828" y="649605"/>
                      </a:lnTo>
                      <a:lnTo>
                        <a:pt x="514350" y="645795"/>
                      </a:lnTo>
                      <a:lnTo>
                        <a:pt x="485775" y="646747"/>
                      </a:lnTo>
                      <a:lnTo>
                        <a:pt x="476250" y="643890"/>
                      </a:lnTo>
                      <a:lnTo>
                        <a:pt x="459105" y="623888"/>
                      </a:lnTo>
                      <a:lnTo>
                        <a:pt x="437198" y="623888"/>
                      </a:lnTo>
                      <a:lnTo>
                        <a:pt x="379095" y="615315"/>
                      </a:lnTo>
                      <a:lnTo>
                        <a:pt x="317183" y="601028"/>
                      </a:lnTo>
                      <a:lnTo>
                        <a:pt x="242888" y="597218"/>
                      </a:lnTo>
                      <a:lnTo>
                        <a:pt x="220028" y="598170"/>
                      </a:lnTo>
                      <a:lnTo>
                        <a:pt x="198120" y="602932"/>
                      </a:lnTo>
                      <a:lnTo>
                        <a:pt x="141923" y="607695"/>
                      </a:lnTo>
                      <a:lnTo>
                        <a:pt x="134303" y="621030"/>
                      </a:lnTo>
                      <a:lnTo>
                        <a:pt x="119063" y="636270"/>
                      </a:lnTo>
                      <a:lnTo>
                        <a:pt x="100965" y="647700"/>
                      </a:lnTo>
                      <a:lnTo>
                        <a:pt x="90488" y="642938"/>
                      </a:lnTo>
                      <a:lnTo>
                        <a:pt x="72390" y="640080"/>
                      </a:lnTo>
                      <a:lnTo>
                        <a:pt x="61913" y="644843"/>
                      </a:lnTo>
                      <a:lnTo>
                        <a:pt x="62865" y="658178"/>
                      </a:lnTo>
                      <a:lnTo>
                        <a:pt x="53340" y="642938"/>
                      </a:lnTo>
                      <a:lnTo>
                        <a:pt x="52388" y="630555"/>
                      </a:lnTo>
                      <a:lnTo>
                        <a:pt x="60008" y="616268"/>
                      </a:lnTo>
                      <a:lnTo>
                        <a:pt x="56198" y="605790"/>
                      </a:lnTo>
                      <a:lnTo>
                        <a:pt x="58103" y="582930"/>
                      </a:lnTo>
                      <a:lnTo>
                        <a:pt x="50483" y="573405"/>
                      </a:lnTo>
                      <a:lnTo>
                        <a:pt x="33338" y="563880"/>
                      </a:lnTo>
                      <a:lnTo>
                        <a:pt x="1905" y="551497"/>
                      </a:lnTo>
                      <a:lnTo>
                        <a:pt x="1905" y="540068"/>
                      </a:lnTo>
                      <a:lnTo>
                        <a:pt x="20955" y="514350"/>
                      </a:lnTo>
                      <a:lnTo>
                        <a:pt x="28575" y="509588"/>
                      </a:lnTo>
                      <a:lnTo>
                        <a:pt x="66675" y="493395"/>
                      </a:lnTo>
                      <a:lnTo>
                        <a:pt x="72390" y="478155"/>
                      </a:lnTo>
                      <a:lnTo>
                        <a:pt x="63818" y="441007"/>
                      </a:lnTo>
                      <a:lnTo>
                        <a:pt x="47625" y="406718"/>
                      </a:lnTo>
                      <a:lnTo>
                        <a:pt x="20003" y="360045"/>
                      </a:lnTo>
                      <a:lnTo>
                        <a:pt x="0" y="311468"/>
                      </a:lnTo>
                      <a:lnTo>
                        <a:pt x="27623" y="315278"/>
                      </a:lnTo>
                      <a:lnTo>
                        <a:pt x="42863" y="312420"/>
                      </a:lnTo>
                      <a:lnTo>
                        <a:pt x="78105" y="309563"/>
                      </a:lnTo>
                      <a:lnTo>
                        <a:pt x="93345" y="318135"/>
                      </a:lnTo>
                      <a:lnTo>
                        <a:pt x="124778" y="305753"/>
                      </a:lnTo>
                      <a:lnTo>
                        <a:pt x="141923" y="306705"/>
                      </a:lnTo>
                      <a:lnTo>
                        <a:pt x="149543" y="281940"/>
                      </a:lnTo>
                      <a:lnTo>
                        <a:pt x="168593" y="283845"/>
                      </a:lnTo>
                      <a:lnTo>
                        <a:pt x="181928" y="272415"/>
                      </a:lnTo>
                      <a:lnTo>
                        <a:pt x="201930" y="267653"/>
                      </a:lnTo>
                      <a:lnTo>
                        <a:pt x="211455" y="260985"/>
                      </a:lnTo>
                      <a:lnTo>
                        <a:pt x="227648" y="282893"/>
                      </a:lnTo>
                      <a:lnTo>
                        <a:pt x="246698" y="280988"/>
                      </a:lnTo>
                      <a:lnTo>
                        <a:pt x="246698" y="271463"/>
                      </a:lnTo>
                      <a:lnTo>
                        <a:pt x="238125" y="260985"/>
                      </a:lnTo>
                      <a:lnTo>
                        <a:pt x="220028" y="256222"/>
                      </a:lnTo>
                      <a:lnTo>
                        <a:pt x="224790" y="237172"/>
                      </a:lnTo>
                      <a:lnTo>
                        <a:pt x="234315" y="222885"/>
                      </a:lnTo>
                      <a:lnTo>
                        <a:pt x="230505" y="200978"/>
                      </a:lnTo>
                      <a:lnTo>
                        <a:pt x="240983" y="172403"/>
                      </a:lnTo>
                      <a:lnTo>
                        <a:pt x="265748" y="166688"/>
                      </a:lnTo>
                      <a:lnTo>
                        <a:pt x="273368" y="160972"/>
                      </a:lnTo>
                      <a:lnTo>
                        <a:pt x="282893" y="141922"/>
                      </a:lnTo>
                      <a:lnTo>
                        <a:pt x="317183" y="142875"/>
                      </a:lnTo>
                      <a:lnTo>
                        <a:pt x="320993" y="132397"/>
                      </a:lnTo>
                      <a:lnTo>
                        <a:pt x="333375" y="122872"/>
                      </a:lnTo>
                      <a:lnTo>
                        <a:pt x="296228" y="113347"/>
                      </a:lnTo>
                      <a:lnTo>
                        <a:pt x="302895" y="83820"/>
                      </a:lnTo>
                      <a:lnTo>
                        <a:pt x="302895" y="66675"/>
                      </a:lnTo>
                      <a:lnTo>
                        <a:pt x="327660" y="60960"/>
                      </a:lnTo>
                      <a:lnTo>
                        <a:pt x="339090" y="46672"/>
                      </a:lnTo>
                      <a:lnTo>
                        <a:pt x="349568" y="43815"/>
                      </a:lnTo>
                      <a:lnTo>
                        <a:pt x="378143" y="47625"/>
                      </a:lnTo>
                      <a:lnTo>
                        <a:pt x="407670" y="48578"/>
                      </a:lnTo>
                      <a:lnTo>
                        <a:pt x="411480" y="32385"/>
                      </a:lnTo>
                      <a:lnTo>
                        <a:pt x="435293" y="9525"/>
                      </a:lnTo>
                      <a:lnTo>
                        <a:pt x="448628" y="1905"/>
                      </a:lnTo>
                      <a:lnTo>
                        <a:pt x="461010" y="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099" name="Switzerland" descr="{&quot;Key&quot;:&quot;switzerland&quot;,&quot;Name&quot;:&quot;Switzerland&quot;,&quot;Value&quot;:1.0,&quot;Formula&quot;:&quot;&quot;,&quot;Text&quot;:&quot;&quot;,&quot;OfficeApplication&quot;:1,&quot;HasValue&quot;:true}">
                  <a:extLst>
                    <a:ext uri="{FF2B5EF4-FFF2-40B4-BE49-F238E27FC236}">
                      <a16:creationId xmlns:a16="http://schemas.microsoft.com/office/drawing/2014/main" id="{0345BCDE-656B-9B6F-7483-E3D5A855DF00}"/>
                    </a:ext>
                  </a:extLst>
                </p:cNvPr>
                <p:cNvSpPr/>
                <p:nvPr/>
              </p:nvSpPr>
              <p:spPr>
                <a:xfrm>
                  <a:off x="5862637" y="4460967"/>
                  <a:ext cx="521017" cy="283844"/>
                </a:xfrm>
                <a:custGeom>
                  <a:avLst/>
                  <a:gdLst>
                    <a:gd name="connsiteX0" fmla="*/ 367665 w 521017"/>
                    <a:gd name="connsiteY0" fmla="*/ 14288 h 283844"/>
                    <a:gd name="connsiteX1" fmla="*/ 375285 w 521017"/>
                    <a:gd name="connsiteY1" fmla="*/ 24765 h 283844"/>
                    <a:gd name="connsiteX2" fmla="*/ 400050 w 521017"/>
                    <a:gd name="connsiteY2" fmla="*/ 37147 h 283844"/>
                    <a:gd name="connsiteX3" fmla="*/ 411480 w 521017"/>
                    <a:gd name="connsiteY3" fmla="*/ 37147 h 283844"/>
                    <a:gd name="connsiteX4" fmla="*/ 420052 w 521017"/>
                    <a:gd name="connsiteY4" fmla="*/ 43815 h 283844"/>
                    <a:gd name="connsiteX5" fmla="*/ 410527 w 521017"/>
                    <a:gd name="connsiteY5" fmla="*/ 72390 h 283844"/>
                    <a:gd name="connsiteX6" fmla="*/ 405765 w 521017"/>
                    <a:gd name="connsiteY6" fmla="*/ 86678 h 283844"/>
                    <a:gd name="connsiteX7" fmla="*/ 406718 w 521017"/>
                    <a:gd name="connsiteY7" fmla="*/ 102870 h 283844"/>
                    <a:gd name="connsiteX8" fmla="*/ 418148 w 521017"/>
                    <a:gd name="connsiteY8" fmla="*/ 103822 h 283844"/>
                    <a:gd name="connsiteX9" fmla="*/ 449580 w 521017"/>
                    <a:gd name="connsiteY9" fmla="*/ 111442 h 283844"/>
                    <a:gd name="connsiteX10" fmla="*/ 453390 w 521017"/>
                    <a:gd name="connsiteY10" fmla="*/ 120967 h 283844"/>
                    <a:gd name="connsiteX11" fmla="*/ 467677 w 521017"/>
                    <a:gd name="connsiteY11" fmla="*/ 128588 h 283844"/>
                    <a:gd name="connsiteX12" fmla="*/ 489585 w 521017"/>
                    <a:gd name="connsiteY12" fmla="*/ 132397 h 283844"/>
                    <a:gd name="connsiteX13" fmla="*/ 508635 w 521017"/>
                    <a:gd name="connsiteY13" fmla="*/ 114300 h 283844"/>
                    <a:gd name="connsiteX14" fmla="*/ 516255 w 521017"/>
                    <a:gd name="connsiteY14" fmla="*/ 117157 h 283844"/>
                    <a:gd name="connsiteX15" fmla="*/ 521018 w 521017"/>
                    <a:gd name="connsiteY15" fmla="*/ 131445 h 283844"/>
                    <a:gd name="connsiteX16" fmla="*/ 516255 w 521017"/>
                    <a:gd name="connsiteY16" fmla="*/ 160972 h 283844"/>
                    <a:gd name="connsiteX17" fmla="*/ 521018 w 521017"/>
                    <a:gd name="connsiteY17" fmla="*/ 178117 h 283844"/>
                    <a:gd name="connsiteX18" fmla="*/ 502920 w 521017"/>
                    <a:gd name="connsiteY18" fmla="*/ 176213 h 283844"/>
                    <a:gd name="connsiteX19" fmla="*/ 493395 w 521017"/>
                    <a:gd name="connsiteY19" fmla="*/ 167640 h 283844"/>
                    <a:gd name="connsiteX20" fmla="*/ 481013 w 521017"/>
                    <a:gd name="connsiteY20" fmla="*/ 170497 h 283844"/>
                    <a:gd name="connsiteX21" fmla="*/ 475298 w 521017"/>
                    <a:gd name="connsiteY21" fmla="*/ 187642 h 283844"/>
                    <a:gd name="connsiteX22" fmla="*/ 489585 w 521017"/>
                    <a:gd name="connsiteY22" fmla="*/ 220980 h 283844"/>
                    <a:gd name="connsiteX23" fmla="*/ 478155 w 521017"/>
                    <a:gd name="connsiteY23" fmla="*/ 223838 h 283844"/>
                    <a:gd name="connsiteX24" fmla="*/ 464820 w 521017"/>
                    <a:gd name="connsiteY24" fmla="*/ 205740 h 283844"/>
                    <a:gd name="connsiteX25" fmla="*/ 458152 w 521017"/>
                    <a:gd name="connsiteY25" fmla="*/ 204788 h 283844"/>
                    <a:gd name="connsiteX26" fmla="*/ 430530 w 521017"/>
                    <a:gd name="connsiteY26" fmla="*/ 215265 h 283844"/>
                    <a:gd name="connsiteX27" fmla="*/ 411480 w 521017"/>
                    <a:gd name="connsiteY27" fmla="*/ 207645 h 283844"/>
                    <a:gd name="connsiteX28" fmla="*/ 403860 w 521017"/>
                    <a:gd name="connsiteY28" fmla="*/ 187642 h 283844"/>
                    <a:gd name="connsiteX29" fmla="*/ 384810 w 521017"/>
                    <a:gd name="connsiteY29" fmla="*/ 188595 h 283844"/>
                    <a:gd name="connsiteX30" fmla="*/ 384810 w 521017"/>
                    <a:gd name="connsiteY30" fmla="*/ 216217 h 283844"/>
                    <a:gd name="connsiteX31" fmla="*/ 380048 w 521017"/>
                    <a:gd name="connsiteY31" fmla="*/ 226695 h 283844"/>
                    <a:gd name="connsiteX32" fmla="*/ 359093 w 521017"/>
                    <a:gd name="connsiteY32" fmla="*/ 251460 h 283844"/>
                    <a:gd name="connsiteX33" fmla="*/ 357188 w 521017"/>
                    <a:gd name="connsiteY33" fmla="*/ 260985 h 283844"/>
                    <a:gd name="connsiteX34" fmla="*/ 363855 w 521017"/>
                    <a:gd name="connsiteY34" fmla="*/ 277178 h 283844"/>
                    <a:gd name="connsiteX35" fmla="*/ 352425 w 521017"/>
                    <a:gd name="connsiteY35" fmla="*/ 283845 h 283844"/>
                    <a:gd name="connsiteX36" fmla="*/ 343853 w 521017"/>
                    <a:gd name="connsiteY36" fmla="*/ 270510 h 283844"/>
                    <a:gd name="connsiteX37" fmla="*/ 331470 w 521017"/>
                    <a:gd name="connsiteY37" fmla="*/ 259080 h 283844"/>
                    <a:gd name="connsiteX38" fmla="*/ 335280 w 521017"/>
                    <a:gd name="connsiteY38" fmla="*/ 247650 h 283844"/>
                    <a:gd name="connsiteX39" fmla="*/ 314325 w 521017"/>
                    <a:gd name="connsiteY39" fmla="*/ 241935 h 283844"/>
                    <a:gd name="connsiteX40" fmla="*/ 291465 w 521017"/>
                    <a:gd name="connsiteY40" fmla="*/ 222885 h 283844"/>
                    <a:gd name="connsiteX41" fmla="*/ 289560 w 521017"/>
                    <a:gd name="connsiteY41" fmla="*/ 199072 h 283844"/>
                    <a:gd name="connsiteX42" fmla="*/ 280035 w 521017"/>
                    <a:gd name="connsiteY42" fmla="*/ 193357 h 283844"/>
                    <a:gd name="connsiteX43" fmla="*/ 247650 w 521017"/>
                    <a:gd name="connsiteY43" fmla="*/ 220980 h 283844"/>
                    <a:gd name="connsiteX44" fmla="*/ 253365 w 521017"/>
                    <a:gd name="connsiteY44" fmla="*/ 235267 h 283844"/>
                    <a:gd name="connsiteX45" fmla="*/ 238125 w 521017"/>
                    <a:gd name="connsiteY45" fmla="*/ 256222 h 283844"/>
                    <a:gd name="connsiteX46" fmla="*/ 215265 w 521017"/>
                    <a:gd name="connsiteY46" fmla="*/ 269557 h 283844"/>
                    <a:gd name="connsiteX47" fmla="*/ 185738 w 521017"/>
                    <a:gd name="connsiteY47" fmla="*/ 261938 h 283844"/>
                    <a:gd name="connsiteX48" fmla="*/ 160972 w 521017"/>
                    <a:gd name="connsiteY48" fmla="*/ 271463 h 283844"/>
                    <a:gd name="connsiteX49" fmla="*/ 138113 w 521017"/>
                    <a:gd name="connsiteY49" fmla="*/ 276225 h 283844"/>
                    <a:gd name="connsiteX50" fmla="*/ 124778 w 521017"/>
                    <a:gd name="connsiteY50" fmla="*/ 269557 h 283844"/>
                    <a:gd name="connsiteX51" fmla="*/ 116205 w 521017"/>
                    <a:gd name="connsiteY51" fmla="*/ 256222 h 283844"/>
                    <a:gd name="connsiteX52" fmla="*/ 94297 w 521017"/>
                    <a:gd name="connsiteY52" fmla="*/ 234315 h 283844"/>
                    <a:gd name="connsiteX53" fmla="*/ 99060 w 521017"/>
                    <a:gd name="connsiteY53" fmla="*/ 218122 h 283844"/>
                    <a:gd name="connsiteX54" fmla="*/ 91440 w 521017"/>
                    <a:gd name="connsiteY54" fmla="*/ 197167 h 283844"/>
                    <a:gd name="connsiteX55" fmla="*/ 70485 w 521017"/>
                    <a:gd name="connsiteY55" fmla="*/ 194310 h 283844"/>
                    <a:gd name="connsiteX56" fmla="*/ 52388 w 521017"/>
                    <a:gd name="connsiteY56" fmla="*/ 195263 h 283844"/>
                    <a:gd name="connsiteX57" fmla="*/ 30480 w 521017"/>
                    <a:gd name="connsiteY57" fmla="*/ 209550 h 283844"/>
                    <a:gd name="connsiteX58" fmla="*/ 35243 w 521017"/>
                    <a:gd name="connsiteY58" fmla="*/ 221932 h 283844"/>
                    <a:gd name="connsiteX59" fmla="*/ 13335 w 521017"/>
                    <a:gd name="connsiteY59" fmla="*/ 237172 h 283844"/>
                    <a:gd name="connsiteX60" fmla="*/ 0 w 521017"/>
                    <a:gd name="connsiteY60" fmla="*/ 236220 h 283844"/>
                    <a:gd name="connsiteX61" fmla="*/ 0 w 521017"/>
                    <a:gd name="connsiteY61" fmla="*/ 226695 h 283844"/>
                    <a:gd name="connsiteX62" fmla="*/ 14288 w 521017"/>
                    <a:gd name="connsiteY62" fmla="*/ 217170 h 283844"/>
                    <a:gd name="connsiteX63" fmla="*/ 17145 w 521017"/>
                    <a:gd name="connsiteY63" fmla="*/ 202882 h 283844"/>
                    <a:gd name="connsiteX64" fmla="*/ 9525 w 521017"/>
                    <a:gd name="connsiteY64" fmla="*/ 196215 h 283844"/>
                    <a:gd name="connsiteX65" fmla="*/ 20003 w 521017"/>
                    <a:gd name="connsiteY65" fmla="*/ 168592 h 283844"/>
                    <a:gd name="connsiteX66" fmla="*/ 48578 w 521017"/>
                    <a:gd name="connsiteY66" fmla="*/ 147638 h 283844"/>
                    <a:gd name="connsiteX67" fmla="*/ 53340 w 521017"/>
                    <a:gd name="connsiteY67" fmla="*/ 120015 h 283844"/>
                    <a:gd name="connsiteX68" fmla="*/ 73343 w 521017"/>
                    <a:gd name="connsiteY68" fmla="*/ 111442 h 283844"/>
                    <a:gd name="connsiteX69" fmla="*/ 109538 w 521017"/>
                    <a:gd name="connsiteY69" fmla="*/ 73342 h 283844"/>
                    <a:gd name="connsiteX70" fmla="*/ 115253 w 521017"/>
                    <a:gd name="connsiteY70" fmla="*/ 64770 h 283844"/>
                    <a:gd name="connsiteX71" fmla="*/ 102870 w 521017"/>
                    <a:gd name="connsiteY71" fmla="*/ 54292 h 283844"/>
                    <a:gd name="connsiteX72" fmla="*/ 120015 w 521017"/>
                    <a:gd name="connsiteY72" fmla="*/ 40957 h 283844"/>
                    <a:gd name="connsiteX73" fmla="*/ 130493 w 521017"/>
                    <a:gd name="connsiteY73" fmla="*/ 40957 h 283844"/>
                    <a:gd name="connsiteX74" fmla="*/ 138113 w 521017"/>
                    <a:gd name="connsiteY74" fmla="*/ 48578 h 283844"/>
                    <a:gd name="connsiteX75" fmla="*/ 163830 w 521017"/>
                    <a:gd name="connsiteY75" fmla="*/ 45720 h 283844"/>
                    <a:gd name="connsiteX76" fmla="*/ 171450 w 521017"/>
                    <a:gd name="connsiteY76" fmla="*/ 32385 h 283844"/>
                    <a:gd name="connsiteX77" fmla="*/ 185738 w 521017"/>
                    <a:gd name="connsiteY77" fmla="*/ 25717 h 283844"/>
                    <a:gd name="connsiteX78" fmla="*/ 195263 w 521017"/>
                    <a:gd name="connsiteY78" fmla="*/ 28575 h 283844"/>
                    <a:gd name="connsiteX79" fmla="*/ 221932 w 521017"/>
                    <a:gd name="connsiteY79" fmla="*/ 29528 h 283844"/>
                    <a:gd name="connsiteX80" fmla="*/ 253365 w 521017"/>
                    <a:gd name="connsiteY80" fmla="*/ 23813 h 283844"/>
                    <a:gd name="connsiteX81" fmla="*/ 278130 w 521017"/>
                    <a:gd name="connsiteY81" fmla="*/ 25717 h 283844"/>
                    <a:gd name="connsiteX82" fmla="*/ 276225 w 521017"/>
                    <a:gd name="connsiteY82" fmla="*/ 11430 h 283844"/>
                    <a:gd name="connsiteX83" fmla="*/ 288607 w 521017"/>
                    <a:gd name="connsiteY83" fmla="*/ 0 h 283844"/>
                    <a:gd name="connsiteX84" fmla="*/ 300990 w 521017"/>
                    <a:gd name="connsiteY84" fmla="*/ 0 h 283844"/>
                    <a:gd name="connsiteX85" fmla="*/ 314325 w 521017"/>
                    <a:gd name="connsiteY85" fmla="*/ 9525 h 283844"/>
                    <a:gd name="connsiteX86" fmla="*/ 321945 w 521017"/>
                    <a:gd name="connsiteY86" fmla="*/ 7620 h 283844"/>
                    <a:gd name="connsiteX87" fmla="*/ 332422 w 521017"/>
                    <a:gd name="connsiteY87" fmla="*/ 16192 h 283844"/>
                    <a:gd name="connsiteX88" fmla="*/ 367665 w 521017"/>
                    <a:gd name="connsiteY88" fmla="*/ 14288 h 28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21017" h="283844">
                      <a:moveTo>
                        <a:pt x="367665" y="14288"/>
                      </a:moveTo>
                      <a:lnTo>
                        <a:pt x="375285" y="24765"/>
                      </a:lnTo>
                      <a:lnTo>
                        <a:pt x="400050" y="37147"/>
                      </a:lnTo>
                      <a:lnTo>
                        <a:pt x="411480" y="37147"/>
                      </a:lnTo>
                      <a:lnTo>
                        <a:pt x="420052" y="43815"/>
                      </a:lnTo>
                      <a:lnTo>
                        <a:pt x="410527" y="72390"/>
                      </a:lnTo>
                      <a:lnTo>
                        <a:pt x="405765" y="86678"/>
                      </a:lnTo>
                      <a:lnTo>
                        <a:pt x="406718" y="102870"/>
                      </a:lnTo>
                      <a:lnTo>
                        <a:pt x="418148" y="103822"/>
                      </a:lnTo>
                      <a:lnTo>
                        <a:pt x="449580" y="111442"/>
                      </a:lnTo>
                      <a:lnTo>
                        <a:pt x="453390" y="120967"/>
                      </a:lnTo>
                      <a:lnTo>
                        <a:pt x="467677" y="128588"/>
                      </a:lnTo>
                      <a:lnTo>
                        <a:pt x="489585" y="132397"/>
                      </a:lnTo>
                      <a:lnTo>
                        <a:pt x="508635" y="114300"/>
                      </a:lnTo>
                      <a:lnTo>
                        <a:pt x="516255" y="117157"/>
                      </a:lnTo>
                      <a:lnTo>
                        <a:pt x="521018" y="131445"/>
                      </a:lnTo>
                      <a:lnTo>
                        <a:pt x="516255" y="160972"/>
                      </a:lnTo>
                      <a:lnTo>
                        <a:pt x="521018" y="178117"/>
                      </a:lnTo>
                      <a:lnTo>
                        <a:pt x="502920" y="176213"/>
                      </a:lnTo>
                      <a:lnTo>
                        <a:pt x="493395" y="167640"/>
                      </a:lnTo>
                      <a:lnTo>
                        <a:pt x="481013" y="170497"/>
                      </a:lnTo>
                      <a:lnTo>
                        <a:pt x="475298" y="187642"/>
                      </a:lnTo>
                      <a:lnTo>
                        <a:pt x="489585" y="220980"/>
                      </a:lnTo>
                      <a:lnTo>
                        <a:pt x="478155" y="223838"/>
                      </a:lnTo>
                      <a:lnTo>
                        <a:pt x="464820" y="205740"/>
                      </a:lnTo>
                      <a:lnTo>
                        <a:pt x="458152" y="204788"/>
                      </a:lnTo>
                      <a:lnTo>
                        <a:pt x="430530" y="215265"/>
                      </a:lnTo>
                      <a:lnTo>
                        <a:pt x="411480" y="207645"/>
                      </a:lnTo>
                      <a:lnTo>
                        <a:pt x="403860" y="187642"/>
                      </a:lnTo>
                      <a:lnTo>
                        <a:pt x="384810" y="188595"/>
                      </a:lnTo>
                      <a:lnTo>
                        <a:pt x="384810" y="216217"/>
                      </a:lnTo>
                      <a:lnTo>
                        <a:pt x="380048" y="226695"/>
                      </a:lnTo>
                      <a:lnTo>
                        <a:pt x="359093" y="251460"/>
                      </a:lnTo>
                      <a:lnTo>
                        <a:pt x="357188" y="260985"/>
                      </a:lnTo>
                      <a:lnTo>
                        <a:pt x="363855" y="277178"/>
                      </a:lnTo>
                      <a:lnTo>
                        <a:pt x="352425" y="283845"/>
                      </a:lnTo>
                      <a:lnTo>
                        <a:pt x="343853" y="270510"/>
                      </a:lnTo>
                      <a:lnTo>
                        <a:pt x="331470" y="259080"/>
                      </a:lnTo>
                      <a:lnTo>
                        <a:pt x="335280" y="247650"/>
                      </a:lnTo>
                      <a:lnTo>
                        <a:pt x="314325" y="241935"/>
                      </a:lnTo>
                      <a:lnTo>
                        <a:pt x="291465" y="222885"/>
                      </a:lnTo>
                      <a:lnTo>
                        <a:pt x="289560" y="199072"/>
                      </a:lnTo>
                      <a:lnTo>
                        <a:pt x="280035" y="193357"/>
                      </a:lnTo>
                      <a:lnTo>
                        <a:pt x="247650" y="220980"/>
                      </a:lnTo>
                      <a:lnTo>
                        <a:pt x="253365" y="235267"/>
                      </a:lnTo>
                      <a:lnTo>
                        <a:pt x="238125" y="256222"/>
                      </a:lnTo>
                      <a:lnTo>
                        <a:pt x="215265" y="269557"/>
                      </a:lnTo>
                      <a:lnTo>
                        <a:pt x="185738" y="261938"/>
                      </a:lnTo>
                      <a:lnTo>
                        <a:pt x="160972" y="271463"/>
                      </a:lnTo>
                      <a:lnTo>
                        <a:pt x="138113" y="276225"/>
                      </a:lnTo>
                      <a:lnTo>
                        <a:pt x="124778" y="269557"/>
                      </a:lnTo>
                      <a:lnTo>
                        <a:pt x="116205" y="256222"/>
                      </a:lnTo>
                      <a:lnTo>
                        <a:pt x="94297" y="234315"/>
                      </a:lnTo>
                      <a:lnTo>
                        <a:pt x="99060" y="218122"/>
                      </a:lnTo>
                      <a:lnTo>
                        <a:pt x="91440" y="197167"/>
                      </a:lnTo>
                      <a:lnTo>
                        <a:pt x="70485" y="194310"/>
                      </a:lnTo>
                      <a:lnTo>
                        <a:pt x="52388" y="195263"/>
                      </a:lnTo>
                      <a:lnTo>
                        <a:pt x="30480" y="209550"/>
                      </a:lnTo>
                      <a:lnTo>
                        <a:pt x="35243" y="221932"/>
                      </a:lnTo>
                      <a:lnTo>
                        <a:pt x="13335" y="237172"/>
                      </a:lnTo>
                      <a:lnTo>
                        <a:pt x="0" y="236220"/>
                      </a:lnTo>
                      <a:lnTo>
                        <a:pt x="0" y="226695"/>
                      </a:lnTo>
                      <a:lnTo>
                        <a:pt x="14288" y="217170"/>
                      </a:lnTo>
                      <a:lnTo>
                        <a:pt x="17145" y="202882"/>
                      </a:lnTo>
                      <a:lnTo>
                        <a:pt x="9525" y="196215"/>
                      </a:lnTo>
                      <a:lnTo>
                        <a:pt x="20003" y="168592"/>
                      </a:lnTo>
                      <a:lnTo>
                        <a:pt x="48578" y="147638"/>
                      </a:lnTo>
                      <a:lnTo>
                        <a:pt x="53340" y="120015"/>
                      </a:lnTo>
                      <a:lnTo>
                        <a:pt x="73343" y="111442"/>
                      </a:lnTo>
                      <a:lnTo>
                        <a:pt x="109538" y="73342"/>
                      </a:lnTo>
                      <a:lnTo>
                        <a:pt x="115253" y="64770"/>
                      </a:lnTo>
                      <a:lnTo>
                        <a:pt x="102870" y="54292"/>
                      </a:lnTo>
                      <a:lnTo>
                        <a:pt x="120015" y="40957"/>
                      </a:lnTo>
                      <a:lnTo>
                        <a:pt x="130493" y="40957"/>
                      </a:lnTo>
                      <a:lnTo>
                        <a:pt x="138113" y="48578"/>
                      </a:lnTo>
                      <a:lnTo>
                        <a:pt x="163830" y="45720"/>
                      </a:lnTo>
                      <a:lnTo>
                        <a:pt x="171450" y="32385"/>
                      </a:lnTo>
                      <a:lnTo>
                        <a:pt x="185738" y="25717"/>
                      </a:lnTo>
                      <a:lnTo>
                        <a:pt x="195263" y="28575"/>
                      </a:lnTo>
                      <a:lnTo>
                        <a:pt x="221932" y="29528"/>
                      </a:lnTo>
                      <a:lnTo>
                        <a:pt x="253365" y="23813"/>
                      </a:lnTo>
                      <a:lnTo>
                        <a:pt x="278130" y="25717"/>
                      </a:lnTo>
                      <a:lnTo>
                        <a:pt x="276225" y="11430"/>
                      </a:lnTo>
                      <a:lnTo>
                        <a:pt x="288607" y="0"/>
                      </a:lnTo>
                      <a:lnTo>
                        <a:pt x="300990" y="0"/>
                      </a:lnTo>
                      <a:lnTo>
                        <a:pt x="314325" y="9525"/>
                      </a:lnTo>
                      <a:lnTo>
                        <a:pt x="321945" y="7620"/>
                      </a:lnTo>
                      <a:lnTo>
                        <a:pt x="332422" y="16192"/>
                      </a:lnTo>
                      <a:lnTo>
                        <a:pt x="367665" y="1428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0" name="Czech Republic" descr="{&quot;Key&quot;:&quot;czech republic&quot;,&quot;Name&quot;:&quot;Czech Republic&quot;,&quot;Value&quot;:1.0,&quot;Formula&quot;:&quot;&quot;,&quot;Text&quot;:&quot;&quot;,&quot;OfficeApplication&quot;:1,&quot;HasValue&quot;:true}">
                  <a:extLst>
                    <a:ext uri="{FF2B5EF4-FFF2-40B4-BE49-F238E27FC236}">
                      <a16:creationId xmlns:a16="http://schemas.microsoft.com/office/drawing/2014/main" id="{1EFE8794-919B-4029-00B9-414F0617E796}"/>
                    </a:ext>
                  </a:extLst>
                </p:cNvPr>
                <p:cNvSpPr/>
                <p:nvPr/>
              </p:nvSpPr>
              <p:spPr>
                <a:xfrm>
                  <a:off x="6543675" y="3986621"/>
                  <a:ext cx="782955" cy="356235"/>
                </a:xfrm>
                <a:custGeom>
                  <a:avLst/>
                  <a:gdLst>
                    <a:gd name="connsiteX0" fmla="*/ 303848 w 782955"/>
                    <a:gd name="connsiteY0" fmla="*/ 25718 h 356235"/>
                    <a:gd name="connsiteX1" fmla="*/ 323850 w 782955"/>
                    <a:gd name="connsiteY1" fmla="*/ 21908 h 356235"/>
                    <a:gd name="connsiteX2" fmla="*/ 322898 w 782955"/>
                    <a:gd name="connsiteY2" fmla="*/ 3810 h 356235"/>
                    <a:gd name="connsiteX3" fmla="*/ 354330 w 782955"/>
                    <a:gd name="connsiteY3" fmla="*/ 11430 h 356235"/>
                    <a:gd name="connsiteX4" fmla="*/ 357188 w 782955"/>
                    <a:gd name="connsiteY4" fmla="*/ 21908 h 356235"/>
                    <a:gd name="connsiteX5" fmla="*/ 366713 w 782955"/>
                    <a:gd name="connsiteY5" fmla="*/ 32385 h 356235"/>
                    <a:gd name="connsiteX6" fmla="*/ 410527 w 782955"/>
                    <a:gd name="connsiteY6" fmla="*/ 42863 h 356235"/>
                    <a:gd name="connsiteX7" fmla="*/ 436245 w 782955"/>
                    <a:gd name="connsiteY7" fmla="*/ 53340 h 356235"/>
                    <a:gd name="connsiteX8" fmla="*/ 443865 w 782955"/>
                    <a:gd name="connsiteY8" fmla="*/ 61913 h 356235"/>
                    <a:gd name="connsiteX9" fmla="*/ 474345 w 782955"/>
                    <a:gd name="connsiteY9" fmla="*/ 55245 h 356235"/>
                    <a:gd name="connsiteX10" fmla="*/ 491490 w 782955"/>
                    <a:gd name="connsiteY10" fmla="*/ 66675 h 356235"/>
                    <a:gd name="connsiteX11" fmla="*/ 484823 w 782955"/>
                    <a:gd name="connsiteY11" fmla="*/ 77153 h 356235"/>
                    <a:gd name="connsiteX12" fmla="*/ 469582 w 782955"/>
                    <a:gd name="connsiteY12" fmla="*/ 88583 h 356235"/>
                    <a:gd name="connsiteX13" fmla="*/ 484823 w 782955"/>
                    <a:gd name="connsiteY13" fmla="*/ 97155 h 356235"/>
                    <a:gd name="connsiteX14" fmla="*/ 503873 w 782955"/>
                    <a:gd name="connsiteY14" fmla="*/ 114300 h 356235"/>
                    <a:gd name="connsiteX15" fmla="*/ 518160 w 782955"/>
                    <a:gd name="connsiteY15" fmla="*/ 132398 h 356235"/>
                    <a:gd name="connsiteX16" fmla="*/ 527685 w 782955"/>
                    <a:gd name="connsiteY16" fmla="*/ 136208 h 356235"/>
                    <a:gd name="connsiteX17" fmla="*/ 561023 w 782955"/>
                    <a:gd name="connsiteY17" fmla="*/ 112395 h 356235"/>
                    <a:gd name="connsiteX18" fmla="*/ 544830 w 782955"/>
                    <a:gd name="connsiteY18" fmla="*/ 89535 h 356235"/>
                    <a:gd name="connsiteX19" fmla="*/ 557213 w 782955"/>
                    <a:gd name="connsiteY19" fmla="*/ 89535 h 356235"/>
                    <a:gd name="connsiteX20" fmla="*/ 578168 w 782955"/>
                    <a:gd name="connsiteY20" fmla="*/ 95250 h 356235"/>
                    <a:gd name="connsiteX21" fmla="*/ 609600 w 782955"/>
                    <a:gd name="connsiteY21" fmla="*/ 113348 h 356235"/>
                    <a:gd name="connsiteX22" fmla="*/ 643890 w 782955"/>
                    <a:gd name="connsiteY22" fmla="*/ 106680 h 356235"/>
                    <a:gd name="connsiteX23" fmla="*/ 643890 w 782955"/>
                    <a:gd name="connsiteY23" fmla="*/ 121920 h 356235"/>
                    <a:gd name="connsiteX24" fmla="*/ 630555 w 782955"/>
                    <a:gd name="connsiteY24" fmla="*/ 126683 h 356235"/>
                    <a:gd name="connsiteX25" fmla="*/ 656273 w 782955"/>
                    <a:gd name="connsiteY25" fmla="*/ 148590 h 356235"/>
                    <a:gd name="connsiteX26" fmla="*/ 665798 w 782955"/>
                    <a:gd name="connsiteY26" fmla="*/ 154305 h 356235"/>
                    <a:gd name="connsiteX27" fmla="*/ 682943 w 782955"/>
                    <a:gd name="connsiteY27" fmla="*/ 144780 h 356235"/>
                    <a:gd name="connsiteX28" fmla="*/ 716280 w 782955"/>
                    <a:gd name="connsiteY28" fmla="*/ 161925 h 356235"/>
                    <a:gd name="connsiteX29" fmla="*/ 721043 w 782955"/>
                    <a:gd name="connsiteY29" fmla="*/ 160020 h 356235"/>
                    <a:gd name="connsiteX30" fmla="*/ 746760 w 782955"/>
                    <a:gd name="connsiteY30" fmla="*/ 167640 h 356235"/>
                    <a:gd name="connsiteX31" fmla="*/ 751523 w 782955"/>
                    <a:gd name="connsiteY31" fmla="*/ 184785 h 356235"/>
                    <a:gd name="connsiteX32" fmla="*/ 778193 w 782955"/>
                    <a:gd name="connsiteY32" fmla="*/ 205740 h 356235"/>
                    <a:gd name="connsiteX33" fmla="*/ 782955 w 782955"/>
                    <a:gd name="connsiteY33" fmla="*/ 220980 h 356235"/>
                    <a:gd name="connsiteX34" fmla="*/ 756285 w 782955"/>
                    <a:gd name="connsiteY34" fmla="*/ 223838 h 356235"/>
                    <a:gd name="connsiteX35" fmla="*/ 737235 w 782955"/>
                    <a:gd name="connsiteY35" fmla="*/ 238125 h 356235"/>
                    <a:gd name="connsiteX36" fmla="*/ 731520 w 782955"/>
                    <a:gd name="connsiteY36" fmla="*/ 245745 h 356235"/>
                    <a:gd name="connsiteX37" fmla="*/ 709613 w 782955"/>
                    <a:gd name="connsiteY37" fmla="*/ 257175 h 356235"/>
                    <a:gd name="connsiteX38" fmla="*/ 702945 w 782955"/>
                    <a:gd name="connsiteY38" fmla="*/ 285750 h 356235"/>
                    <a:gd name="connsiteX39" fmla="*/ 687705 w 782955"/>
                    <a:gd name="connsiteY39" fmla="*/ 293370 h 356235"/>
                    <a:gd name="connsiteX40" fmla="*/ 667702 w 782955"/>
                    <a:gd name="connsiteY40" fmla="*/ 311468 h 356235"/>
                    <a:gd name="connsiteX41" fmla="*/ 653415 w 782955"/>
                    <a:gd name="connsiteY41" fmla="*/ 318135 h 356235"/>
                    <a:gd name="connsiteX42" fmla="*/ 637223 w 782955"/>
                    <a:gd name="connsiteY42" fmla="*/ 320040 h 356235"/>
                    <a:gd name="connsiteX43" fmla="*/ 602932 w 782955"/>
                    <a:gd name="connsiteY43" fmla="*/ 315278 h 356235"/>
                    <a:gd name="connsiteX44" fmla="*/ 589598 w 782955"/>
                    <a:gd name="connsiteY44" fmla="*/ 326708 h 356235"/>
                    <a:gd name="connsiteX45" fmla="*/ 579120 w 782955"/>
                    <a:gd name="connsiteY45" fmla="*/ 353378 h 356235"/>
                    <a:gd name="connsiteX46" fmla="*/ 569595 w 782955"/>
                    <a:gd name="connsiteY46" fmla="*/ 338138 h 356235"/>
                    <a:gd name="connsiteX47" fmla="*/ 521018 w 782955"/>
                    <a:gd name="connsiteY47" fmla="*/ 323850 h 356235"/>
                    <a:gd name="connsiteX48" fmla="*/ 509588 w 782955"/>
                    <a:gd name="connsiteY48" fmla="*/ 332423 h 356235"/>
                    <a:gd name="connsiteX49" fmla="*/ 473393 w 782955"/>
                    <a:gd name="connsiteY49" fmla="*/ 330518 h 356235"/>
                    <a:gd name="connsiteX50" fmla="*/ 444818 w 782955"/>
                    <a:gd name="connsiteY50" fmla="*/ 314325 h 356235"/>
                    <a:gd name="connsiteX51" fmla="*/ 430530 w 782955"/>
                    <a:gd name="connsiteY51" fmla="*/ 315278 h 356235"/>
                    <a:gd name="connsiteX52" fmla="*/ 384810 w 782955"/>
                    <a:gd name="connsiteY52" fmla="*/ 299085 h 356235"/>
                    <a:gd name="connsiteX53" fmla="*/ 371475 w 782955"/>
                    <a:gd name="connsiteY53" fmla="*/ 302895 h 356235"/>
                    <a:gd name="connsiteX54" fmla="*/ 356235 w 782955"/>
                    <a:gd name="connsiteY54" fmla="*/ 295275 h 356235"/>
                    <a:gd name="connsiteX55" fmla="*/ 344805 w 782955"/>
                    <a:gd name="connsiteY55" fmla="*/ 297180 h 356235"/>
                    <a:gd name="connsiteX56" fmla="*/ 341948 w 782955"/>
                    <a:gd name="connsiteY56" fmla="*/ 327660 h 356235"/>
                    <a:gd name="connsiteX57" fmla="*/ 330518 w 782955"/>
                    <a:gd name="connsiteY57" fmla="*/ 327660 h 356235"/>
                    <a:gd name="connsiteX58" fmla="*/ 318135 w 782955"/>
                    <a:gd name="connsiteY58" fmla="*/ 342900 h 356235"/>
                    <a:gd name="connsiteX59" fmla="*/ 317182 w 782955"/>
                    <a:gd name="connsiteY59" fmla="*/ 353378 h 356235"/>
                    <a:gd name="connsiteX60" fmla="*/ 293370 w 782955"/>
                    <a:gd name="connsiteY60" fmla="*/ 349568 h 356235"/>
                    <a:gd name="connsiteX61" fmla="*/ 280035 w 782955"/>
                    <a:gd name="connsiteY61" fmla="*/ 356235 h 356235"/>
                    <a:gd name="connsiteX62" fmla="*/ 242888 w 782955"/>
                    <a:gd name="connsiteY62" fmla="*/ 352425 h 356235"/>
                    <a:gd name="connsiteX63" fmla="*/ 235268 w 782955"/>
                    <a:gd name="connsiteY63" fmla="*/ 340043 h 356235"/>
                    <a:gd name="connsiteX64" fmla="*/ 214313 w 782955"/>
                    <a:gd name="connsiteY64" fmla="*/ 328613 h 356235"/>
                    <a:gd name="connsiteX65" fmla="*/ 208598 w 782955"/>
                    <a:gd name="connsiteY65" fmla="*/ 321945 h 356235"/>
                    <a:gd name="connsiteX66" fmla="*/ 180975 w 782955"/>
                    <a:gd name="connsiteY66" fmla="*/ 300990 h 356235"/>
                    <a:gd name="connsiteX67" fmla="*/ 168593 w 782955"/>
                    <a:gd name="connsiteY67" fmla="*/ 300990 h 356235"/>
                    <a:gd name="connsiteX68" fmla="*/ 156210 w 782955"/>
                    <a:gd name="connsiteY68" fmla="*/ 285750 h 356235"/>
                    <a:gd name="connsiteX69" fmla="*/ 132398 w 782955"/>
                    <a:gd name="connsiteY69" fmla="*/ 271463 h 356235"/>
                    <a:gd name="connsiteX70" fmla="*/ 104775 w 782955"/>
                    <a:gd name="connsiteY70" fmla="*/ 246698 h 356235"/>
                    <a:gd name="connsiteX71" fmla="*/ 92393 w 782955"/>
                    <a:gd name="connsiteY71" fmla="*/ 246698 h 356235"/>
                    <a:gd name="connsiteX72" fmla="*/ 70485 w 782955"/>
                    <a:gd name="connsiteY72" fmla="*/ 227648 h 356235"/>
                    <a:gd name="connsiteX73" fmla="*/ 53340 w 782955"/>
                    <a:gd name="connsiteY73" fmla="*/ 201930 h 356235"/>
                    <a:gd name="connsiteX74" fmla="*/ 40005 w 782955"/>
                    <a:gd name="connsiteY74" fmla="*/ 187643 h 356235"/>
                    <a:gd name="connsiteX75" fmla="*/ 51435 w 782955"/>
                    <a:gd name="connsiteY75" fmla="*/ 171450 h 356235"/>
                    <a:gd name="connsiteX76" fmla="*/ 45720 w 782955"/>
                    <a:gd name="connsiteY76" fmla="*/ 156210 h 356235"/>
                    <a:gd name="connsiteX77" fmla="*/ 23813 w 782955"/>
                    <a:gd name="connsiteY77" fmla="*/ 143828 h 356235"/>
                    <a:gd name="connsiteX78" fmla="*/ 0 w 782955"/>
                    <a:gd name="connsiteY78" fmla="*/ 111443 h 356235"/>
                    <a:gd name="connsiteX79" fmla="*/ 4763 w 782955"/>
                    <a:gd name="connsiteY79" fmla="*/ 104775 h 356235"/>
                    <a:gd name="connsiteX80" fmla="*/ 22860 w 782955"/>
                    <a:gd name="connsiteY80" fmla="*/ 123825 h 356235"/>
                    <a:gd name="connsiteX81" fmla="*/ 40957 w 782955"/>
                    <a:gd name="connsiteY81" fmla="*/ 99060 h 356235"/>
                    <a:gd name="connsiteX82" fmla="*/ 51435 w 782955"/>
                    <a:gd name="connsiteY82" fmla="*/ 93345 h 356235"/>
                    <a:gd name="connsiteX83" fmla="*/ 76200 w 782955"/>
                    <a:gd name="connsiteY83" fmla="*/ 87630 h 356235"/>
                    <a:gd name="connsiteX84" fmla="*/ 96202 w 782955"/>
                    <a:gd name="connsiteY84" fmla="*/ 91440 h 356235"/>
                    <a:gd name="connsiteX85" fmla="*/ 103823 w 782955"/>
                    <a:gd name="connsiteY85" fmla="*/ 79058 h 356235"/>
                    <a:gd name="connsiteX86" fmla="*/ 122873 w 782955"/>
                    <a:gd name="connsiteY86" fmla="*/ 76200 h 356235"/>
                    <a:gd name="connsiteX87" fmla="*/ 128588 w 782955"/>
                    <a:gd name="connsiteY87" fmla="*/ 66675 h 356235"/>
                    <a:gd name="connsiteX88" fmla="*/ 143827 w 782955"/>
                    <a:gd name="connsiteY88" fmla="*/ 60008 h 356235"/>
                    <a:gd name="connsiteX89" fmla="*/ 154305 w 782955"/>
                    <a:gd name="connsiteY89" fmla="*/ 60960 h 356235"/>
                    <a:gd name="connsiteX90" fmla="*/ 160020 w 782955"/>
                    <a:gd name="connsiteY90" fmla="*/ 49530 h 356235"/>
                    <a:gd name="connsiteX91" fmla="*/ 201930 w 782955"/>
                    <a:gd name="connsiteY91" fmla="*/ 40005 h 356235"/>
                    <a:gd name="connsiteX92" fmla="*/ 235268 w 782955"/>
                    <a:gd name="connsiteY92" fmla="*/ 25718 h 356235"/>
                    <a:gd name="connsiteX93" fmla="*/ 253365 w 782955"/>
                    <a:gd name="connsiteY93" fmla="*/ 20003 h 356235"/>
                    <a:gd name="connsiteX94" fmla="*/ 239077 w 782955"/>
                    <a:gd name="connsiteY94" fmla="*/ 5715 h 356235"/>
                    <a:gd name="connsiteX95" fmla="*/ 246698 w 782955"/>
                    <a:gd name="connsiteY95" fmla="*/ 0 h 356235"/>
                    <a:gd name="connsiteX96" fmla="*/ 267652 w 782955"/>
                    <a:gd name="connsiteY96" fmla="*/ 3810 h 356235"/>
                    <a:gd name="connsiteX97" fmla="*/ 281940 w 782955"/>
                    <a:gd name="connsiteY97" fmla="*/ 18098 h 356235"/>
                    <a:gd name="connsiteX98" fmla="*/ 281940 w 782955"/>
                    <a:gd name="connsiteY98" fmla="*/ 26670 h 356235"/>
                    <a:gd name="connsiteX99" fmla="*/ 295275 w 782955"/>
                    <a:gd name="connsiteY99" fmla="*/ 32385 h 356235"/>
                    <a:gd name="connsiteX100" fmla="*/ 303848 w 782955"/>
                    <a:gd name="connsiteY100" fmla="*/ 25718 h 356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782955" h="356235">
                      <a:moveTo>
                        <a:pt x="303848" y="25718"/>
                      </a:moveTo>
                      <a:lnTo>
                        <a:pt x="323850" y="21908"/>
                      </a:lnTo>
                      <a:lnTo>
                        <a:pt x="322898" y="3810"/>
                      </a:lnTo>
                      <a:lnTo>
                        <a:pt x="354330" y="11430"/>
                      </a:lnTo>
                      <a:lnTo>
                        <a:pt x="357188" y="21908"/>
                      </a:lnTo>
                      <a:lnTo>
                        <a:pt x="366713" y="32385"/>
                      </a:lnTo>
                      <a:lnTo>
                        <a:pt x="410527" y="42863"/>
                      </a:lnTo>
                      <a:lnTo>
                        <a:pt x="436245" y="53340"/>
                      </a:lnTo>
                      <a:lnTo>
                        <a:pt x="443865" y="61913"/>
                      </a:lnTo>
                      <a:lnTo>
                        <a:pt x="474345" y="55245"/>
                      </a:lnTo>
                      <a:lnTo>
                        <a:pt x="491490" y="66675"/>
                      </a:lnTo>
                      <a:lnTo>
                        <a:pt x="484823" y="77153"/>
                      </a:lnTo>
                      <a:lnTo>
                        <a:pt x="469582" y="88583"/>
                      </a:lnTo>
                      <a:lnTo>
                        <a:pt x="484823" y="97155"/>
                      </a:lnTo>
                      <a:lnTo>
                        <a:pt x="503873" y="114300"/>
                      </a:lnTo>
                      <a:lnTo>
                        <a:pt x="518160" y="132398"/>
                      </a:lnTo>
                      <a:lnTo>
                        <a:pt x="527685" y="136208"/>
                      </a:lnTo>
                      <a:lnTo>
                        <a:pt x="561023" y="112395"/>
                      </a:lnTo>
                      <a:lnTo>
                        <a:pt x="544830" y="89535"/>
                      </a:lnTo>
                      <a:lnTo>
                        <a:pt x="557213" y="89535"/>
                      </a:lnTo>
                      <a:lnTo>
                        <a:pt x="578168" y="95250"/>
                      </a:lnTo>
                      <a:lnTo>
                        <a:pt x="609600" y="113348"/>
                      </a:lnTo>
                      <a:lnTo>
                        <a:pt x="643890" y="106680"/>
                      </a:lnTo>
                      <a:lnTo>
                        <a:pt x="643890" y="121920"/>
                      </a:lnTo>
                      <a:lnTo>
                        <a:pt x="630555" y="126683"/>
                      </a:lnTo>
                      <a:lnTo>
                        <a:pt x="656273" y="148590"/>
                      </a:lnTo>
                      <a:lnTo>
                        <a:pt x="665798" y="154305"/>
                      </a:lnTo>
                      <a:lnTo>
                        <a:pt x="682943" y="144780"/>
                      </a:lnTo>
                      <a:lnTo>
                        <a:pt x="716280" y="161925"/>
                      </a:lnTo>
                      <a:lnTo>
                        <a:pt x="721043" y="160020"/>
                      </a:lnTo>
                      <a:lnTo>
                        <a:pt x="746760" y="167640"/>
                      </a:lnTo>
                      <a:lnTo>
                        <a:pt x="751523" y="184785"/>
                      </a:lnTo>
                      <a:lnTo>
                        <a:pt x="778193" y="205740"/>
                      </a:lnTo>
                      <a:lnTo>
                        <a:pt x="782955" y="220980"/>
                      </a:lnTo>
                      <a:lnTo>
                        <a:pt x="756285" y="223838"/>
                      </a:lnTo>
                      <a:lnTo>
                        <a:pt x="737235" y="238125"/>
                      </a:lnTo>
                      <a:lnTo>
                        <a:pt x="731520" y="245745"/>
                      </a:lnTo>
                      <a:lnTo>
                        <a:pt x="709613" y="257175"/>
                      </a:lnTo>
                      <a:lnTo>
                        <a:pt x="702945" y="285750"/>
                      </a:lnTo>
                      <a:lnTo>
                        <a:pt x="687705" y="293370"/>
                      </a:lnTo>
                      <a:lnTo>
                        <a:pt x="667702" y="311468"/>
                      </a:lnTo>
                      <a:lnTo>
                        <a:pt x="653415" y="318135"/>
                      </a:lnTo>
                      <a:lnTo>
                        <a:pt x="637223" y="320040"/>
                      </a:lnTo>
                      <a:lnTo>
                        <a:pt x="602932" y="315278"/>
                      </a:lnTo>
                      <a:lnTo>
                        <a:pt x="589598" y="326708"/>
                      </a:lnTo>
                      <a:lnTo>
                        <a:pt x="579120" y="353378"/>
                      </a:lnTo>
                      <a:lnTo>
                        <a:pt x="569595" y="338138"/>
                      </a:lnTo>
                      <a:lnTo>
                        <a:pt x="521018" y="323850"/>
                      </a:lnTo>
                      <a:lnTo>
                        <a:pt x="509588" y="332423"/>
                      </a:lnTo>
                      <a:lnTo>
                        <a:pt x="473393" y="330518"/>
                      </a:lnTo>
                      <a:lnTo>
                        <a:pt x="444818" y="314325"/>
                      </a:lnTo>
                      <a:lnTo>
                        <a:pt x="430530" y="315278"/>
                      </a:lnTo>
                      <a:lnTo>
                        <a:pt x="384810" y="299085"/>
                      </a:lnTo>
                      <a:lnTo>
                        <a:pt x="371475" y="302895"/>
                      </a:lnTo>
                      <a:lnTo>
                        <a:pt x="356235" y="295275"/>
                      </a:lnTo>
                      <a:lnTo>
                        <a:pt x="344805" y="297180"/>
                      </a:lnTo>
                      <a:lnTo>
                        <a:pt x="341948" y="327660"/>
                      </a:lnTo>
                      <a:lnTo>
                        <a:pt x="330518" y="327660"/>
                      </a:lnTo>
                      <a:lnTo>
                        <a:pt x="318135" y="342900"/>
                      </a:lnTo>
                      <a:lnTo>
                        <a:pt x="317182" y="353378"/>
                      </a:lnTo>
                      <a:lnTo>
                        <a:pt x="293370" y="349568"/>
                      </a:lnTo>
                      <a:lnTo>
                        <a:pt x="280035" y="356235"/>
                      </a:lnTo>
                      <a:lnTo>
                        <a:pt x="242888" y="352425"/>
                      </a:lnTo>
                      <a:lnTo>
                        <a:pt x="235268" y="340043"/>
                      </a:lnTo>
                      <a:lnTo>
                        <a:pt x="214313" y="328613"/>
                      </a:lnTo>
                      <a:lnTo>
                        <a:pt x="208598" y="321945"/>
                      </a:lnTo>
                      <a:lnTo>
                        <a:pt x="180975" y="300990"/>
                      </a:lnTo>
                      <a:lnTo>
                        <a:pt x="168593" y="300990"/>
                      </a:lnTo>
                      <a:lnTo>
                        <a:pt x="156210" y="285750"/>
                      </a:lnTo>
                      <a:lnTo>
                        <a:pt x="132398" y="271463"/>
                      </a:lnTo>
                      <a:lnTo>
                        <a:pt x="104775" y="246698"/>
                      </a:lnTo>
                      <a:lnTo>
                        <a:pt x="92393" y="246698"/>
                      </a:lnTo>
                      <a:lnTo>
                        <a:pt x="70485" y="227648"/>
                      </a:lnTo>
                      <a:lnTo>
                        <a:pt x="53340" y="201930"/>
                      </a:lnTo>
                      <a:lnTo>
                        <a:pt x="40005" y="187643"/>
                      </a:lnTo>
                      <a:lnTo>
                        <a:pt x="51435" y="171450"/>
                      </a:lnTo>
                      <a:lnTo>
                        <a:pt x="45720" y="156210"/>
                      </a:lnTo>
                      <a:lnTo>
                        <a:pt x="23813" y="143828"/>
                      </a:lnTo>
                      <a:lnTo>
                        <a:pt x="0" y="111443"/>
                      </a:lnTo>
                      <a:lnTo>
                        <a:pt x="4763" y="104775"/>
                      </a:lnTo>
                      <a:lnTo>
                        <a:pt x="22860" y="123825"/>
                      </a:lnTo>
                      <a:lnTo>
                        <a:pt x="40957" y="99060"/>
                      </a:lnTo>
                      <a:lnTo>
                        <a:pt x="51435" y="93345"/>
                      </a:lnTo>
                      <a:lnTo>
                        <a:pt x="76200" y="87630"/>
                      </a:lnTo>
                      <a:lnTo>
                        <a:pt x="96202" y="91440"/>
                      </a:lnTo>
                      <a:lnTo>
                        <a:pt x="103823" y="79058"/>
                      </a:lnTo>
                      <a:lnTo>
                        <a:pt x="122873" y="76200"/>
                      </a:lnTo>
                      <a:lnTo>
                        <a:pt x="128588" y="66675"/>
                      </a:lnTo>
                      <a:lnTo>
                        <a:pt x="143827" y="60008"/>
                      </a:lnTo>
                      <a:lnTo>
                        <a:pt x="154305" y="60960"/>
                      </a:lnTo>
                      <a:lnTo>
                        <a:pt x="160020" y="49530"/>
                      </a:lnTo>
                      <a:lnTo>
                        <a:pt x="201930" y="40005"/>
                      </a:lnTo>
                      <a:lnTo>
                        <a:pt x="235268" y="25718"/>
                      </a:lnTo>
                      <a:lnTo>
                        <a:pt x="253365" y="20003"/>
                      </a:lnTo>
                      <a:lnTo>
                        <a:pt x="239077" y="5715"/>
                      </a:lnTo>
                      <a:lnTo>
                        <a:pt x="246698" y="0"/>
                      </a:lnTo>
                      <a:lnTo>
                        <a:pt x="267652" y="3810"/>
                      </a:lnTo>
                      <a:lnTo>
                        <a:pt x="281940" y="18098"/>
                      </a:lnTo>
                      <a:lnTo>
                        <a:pt x="281940" y="26670"/>
                      </a:lnTo>
                      <a:lnTo>
                        <a:pt x="295275" y="32385"/>
                      </a:lnTo>
                      <a:lnTo>
                        <a:pt x="303848" y="25718"/>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01" name="Germany" descr="{&quot;Key&quot;:&quot;germany&quot;,&quot;Name&quot;:&quot;Germany&quot;,&quot;Value&quot;:1.0,&quot;Formula&quot;:&quot;&quot;,&quot;Text&quot;:&quot;&quot;,&quot;OfficeApplication&quot;:1,&quot;HasValue&quot;:true}">
                  <a:extLst>
                    <a:ext uri="{FF2B5EF4-FFF2-40B4-BE49-F238E27FC236}">
                      <a16:creationId xmlns:a16="http://schemas.microsoft.com/office/drawing/2014/main" id="{E788AC6A-813A-C7E2-B04D-998AFF0EEDFA}"/>
                    </a:ext>
                  </a:extLst>
                </p:cNvPr>
                <p:cNvSpPr/>
                <p:nvPr/>
              </p:nvSpPr>
              <p:spPr>
                <a:xfrm>
                  <a:off x="5832157" y="3435124"/>
                  <a:ext cx="1034415" cy="1097280"/>
                </a:xfrm>
                <a:custGeom>
                  <a:avLst/>
                  <a:gdLst>
                    <a:gd name="connsiteX0" fmla="*/ 910590 w 1034415"/>
                    <a:gd name="connsiteY0" fmla="*/ 145733 h 1097280"/>
                    <a:gd name="connsiteX1" fmla="*/ 878205 w 1034415"/>
                    <a:gd name="connsiteY1" fmla="*/ 144780 h 1097280"/>
                    <a:gd name="connsiteX2" fmla="*/ 876300 w 1034415"/>
                    <a:gd name="connsiteY2" fmla="*/ 128588 h 1097280"/>
                    <a:gd name="connsiteX3" fmla="*/ 865823 w 1034415"/>
                    <a:gd name="connsiteY3" fmla="*/ 119063 h 1097280"/>
                    <a:gd name="connsiteX4" fmla="*/ 864870 w 1034415"/>
                    <a:gd name="connsiteY4" fmla="*/ 109538 h 1097280"/>
                    <a:gd name="connsiteX5" fmla="*/ 909638 w 1034415"/>
                    <a:gd name="connsiteY5" fmla="*/ 134303 h 1097280"/>
                    <a:gd name="connsiteX6" fmla="*/ 910590 w 1034415"/>
                    <a:gd name="connsiteY6" fmla="*/ 145733 h 1097280"/>
                    <a:gd name="connsiteX7" fmla="*/ 579120 w 1034415"/>
                    <a:gd name="connsiteY7" fmla="*/ 68580 h 1097280"/>
                    <a:gd name="connsiteX8" fmla="*/ 561975 w 1034415"/>
                    <a:gd name="connsiteY8" fmla="*/ 68580 h 1097280"/>
                    <a:gd name="connsiteX9" fmla="*/ 548640 w 1034415"/>
                    <a:gd name="connsiteY9" fmla="*/ 61913 h 1097280"/>
                    <a:gd name="connsiteX10" fmla="*/ 556260 w 1034415"/>
                    <a:gd name="connsiteY10" fmla="*/ 52388 h 1097280"/>
                    <a:gd name="connsiteX11" fmla="*/ 572453 w 1034415"/>
                    <a:gd name="connsiteY11" fmla="*/ 56197 h 1097280"/>
                    <a:gd name="connsiteX12" fmla="*/ 579120 w 1034415"/>
                    <a:gd name="connsiteY12" fmla="*/ 68580 h 1097280"/>
                    <a:gd name="connsiteX13" fmla="*/ 848678 w 1034415"/>
                    <a:gd name="connsiteY13" fmla="*/ 73343 h 1097280"/>
                    <a:gd name="connsiteX14" fmla="*/ 836295 w 1034415"/>
                    <a:gd name="connsiteY14" fmla="*/ 80010 h 1097280"/>
                    <a:gd name="connsiteX15" fmla="*/ 823913 w 1034415"/>
                    <a:gd name="connsiteY15" fmla="*/ 80010 h 1097280"/>
                    <a:gd name="connsiteX16" fmla="*/ 811530 w 1034415"/>
                    <a:gd name="connsiteY16" fmla="*/ 92393 h 1097280"/>
                    <a:gd name="connsiteX17" fmla="*/ 791528 w 1034415"/>
                    <a:gd name="connsiteY17" fmla="*/ 81915 h 1097280"/>
                    <a:gd name="connsiteX18" fmla="*/ 786765 w 1034415"/>
                    <a:gd name="connsiteY18" fmla="*/ 71438 h 1097280"/>
                    <a:gd name="connsiteX19" fmla="*/ 787718 w 1034415"/>
                    <a:gd name="connsiteY19" fmla="*/ 50483 h 1097280"/>
                    <a:gd name="connsiteX20" fmla="*/ 793432 w 1034415"/>
                    <a:gd name="connsiteY20" fmla="*/ 37147 h 1097280"/>
                    <a:gd name="connsiteX21" fmla="*/ 812482 w 1034415"/>
                    <a:gd name="connsiteY21" fmla="*/ 28575 h 1097280"/>
                    <a:gd name="connsiteX22" fmla="*/ 821055 w 1034415"/>
                    <a:gd name="connsiteY22" fmla="*/ 40005 h 1097280"/>
                    <a:gd name="connsiteX23" fmla="*/ 837248 w 1034415"/>
                    <a:gd name="connsiteY23" fmla="*/ 45720 h 1097280"/>
                    <a:gd name="connsiteX24" fmla="*/ 832485 w 1034415"/>
                    <a:gd name="connsiteY24" fmla="*/ 61913 h 1097280"/>
                    <a:gd name="connsiteX25" fmla="*/ 848678 w 1034415"/>
                    <a:gd name="connsiteY25" fmla="*/ 73343 h 1097280"/>
                    <a:gd name="connsiteX26" fmla="*/ 404813 w 1034415"/>
                    <a:gd name="connsiteY26" fmla="*/ 10478 h 1097280"/>
                    <a:gd name="connsiteX27" fmla="*/ 421957 w 1034415"/>
                    <a:gd name="connsiteY27" fmla="*/ 17145 h 1097280"/>
                    <a:gd name="connsiteX28" fmla="*/ 437198 w 1034415"/>
                    <a:gd name="connsiteY28" fmla="*/ 32385 h 1097280"/>
                    <a:gd name="connsiteX29" fmla="*/ 438150 w 1034415"/>
                    <a:gd name="connsiteY29" fmla="*/ 45720 h 1097280"/>
                    <a:gd name="connsiteX30" fmla="*/ 421957 w 1034415"/>
                    <a:gd name="connsiteY30" fmla="*/ 60960 h 1097280"/>
                    <a:gd name="connsiteX31" fmla="*/ 452438 w 1034415"/>
                    <a:gd name="connsiteY31" fmla="*/ 58103 h 1097280"/>
                    <a:gd name="connsiteX32" fmla="*/ 460057 w 1034415"/>
                    <a:gd name="connsiteY32" fmla="*/ 69533 h 1097280"/>
                    <a:gd name="connsiteX33" fmla="*/ 476250 w 1034415"/>
                    <a:gd name="connsiteY33" fmla="*/ 65722 h 1097280"/>
                    <a:gd name="connsiteX34" fmla="*/ 519113 w 1034415"/>
                    <a:gd name="connsiteY34" fmla="*/ 82868 h 1097280"/>
                    <a:gd name="connsiteX35" fmla="*/ 549593 w 1034415"/>
                    <a:gd name="connsiteY35" fmla="*/ 74295 h 1097280"/>
                    <a:gd name="connsiteX36" fmla="*/ 556260 w 1034415"/>
                    <a:gd name="connsiteY36" fmla="*/ 87630 h 1097280"/>
                    <a:gd name="connsiteX37" fmla="*/ 550545 w 1034415"/>
                    <a:gd name="connsiteY37" fmla="*/ 101918 h 1097280"/>
                    <a:gd name="connsiteX38" fmla="*/ 529590 w 1034415"/>
                    <a:gd name="connsiteY38" fmla="*/ 117158 h 1097280"/>
                    <a:gd name="connsiteX39" fmla="*/ 542925 w 1034415"/>
                    <a:gd name="connsiteY39" fmla="*/ 128588 h 1097280"/>
                    <a:gd name="connsiteX40" fmla="*/ 562928 w 1034415"/>
                    <a:gd name="connsiteY40" fmla="*/ 126683 h 1097280"/>
                    <a:gd name="connsiteX41" fmla="*/ 597218 w 1034415"/>
                    <a:gd name="connsiteY41" fmla="*/ 135255 h 1097280"/>
                    <a:gd name="connsiteX42" fmla="*/ 628650 w 1034415"/>
                    <a:gd name="connsiteY42" fmla="*/ 111443 h 1097280"/>
                    <a:gd name="connsiteX43" fmla="*/ 639128 w 1034415"/>
                    <a:gd name="connsiteY43" fmla="*/ 106680 h 1097280"/>
                    <a:gd name="connsiteX44" fmla="*/ 673418 w 1034415"/>
                    <a:gd name="connsiteY44" fmla="*/ 103822 h 1097280"/>
                    <a:gd name="connsiteX45" fmla="*/ 721995 w 1034415"/>
                    <a:gd name="connsiteY45" fmla="*/ 60960 h 1097280"/>
                    <a:gd name="connsiteX46" fmla="*/ 772478 w 1034415"/>
                    <a:gd name="connsiteY46" fmla="*/ 69533 h 1097280"/>
                    <a:gd name="connsiteX47" fmla="*/ 786765 w 1034415"/>
                    <a:gd name="connsiteY47" fmla="*/ 87630 h 1097280"/>
                    <a:gd name="connsiteX48" fmla="*/ 822007 w 1034415"/>
                    <a:gd name="connsiteY48" fmla="*/ 107633 h 1097280"/>
                    <a:gd name="connsiteX49" fmla="*/ 852488 w 1034415"/>
                    <a:gd name="connsiteY49" fmla="*/ 105728 h 1097280"/>
                    <a:gd name="connsiteX50" fmla="*/ 864870 w 1034415"/>
                    <a:gd name="connsiteY50" fmla="*/ 124778 h 1097280"/>
                    <a:gd name="connsiteX51" fmla="*/ 872490 w 1034415"/>
                    <a:gd name="connsiteY51" fmla="*/ 148590 h 1097280"/>
                    <a:gd name="connsiteX52" fmla="*/ 890588 w 1034415"/>
                    <a:gd name="connsiteY52" fmla="*/ 160972 h 1097280"/>
                    <a:gd name="connsiteX53" fmla="*/ 917257 w 1034415"/>
                    <a:gd name="connsiteY53" fmla="*/ 165735 h 1097280"/>
                    <a:gd name="connsiteX54" fmla="*/ 923925 w 1034415"/>
                    <a:gd name="connsiteY54" fmla="*/ 190500 h 1097280"/>
                    <a:gd name="connsiteX55" fmla="*/ 941070 w 1034415"/>
                    <a:gd name="connsiteY55" fmla="*/ 229553 h 1097280"/>
                    <a:gd name="connsiteX56" fmla="*/ 938213 w 1034415"/>
                    <a:gd name="connsiteY56" fmla="*/ 255270 h 1097280"/>
                    <a:gd name="connsiteX57" fmla="*/ 920115 w 1034415"/>
                    <a:gd name="connsiteY57" fmla="*/ 272415 h 1097280"/>
                    <a:gd name="connsiteX58" fmla="*/ 913448 w 1034415"/>
                    <a:gd name="connsiteY58" fmla="*/ 287655 h 1097280"/>
                    <a:gd name="connsiteX59" fmla="*/ 928688 w 1034415"/>
                    <a:gd name="connsiteY59" fmla="*/ 300990 h 1097280"/>
                    <a:gd name="connsiteX60" fmla="*/ 960120 w 1034415"/>
                    <a:gd name="connsiteY60" fmla="*/ 320993 h 1097280"/>
                    <a:gd name="connsiteX61" fmla="*/ 973455 w 1034415"/>
                    <a:gd name="connsiteY61" fmla="*/ 337185 h 1097280"/>
                    <a:gd name="connsiteX62" fmla="*/ 967740 w 1034415"/>
                    <a:gd name="connsiteY62" fmla="*/ 361950 h 1097280"/>
                    <a:gd name="connsiteX63" fmla="*/ 986790 w 1034415"/>
                    <a:gd name="connsiteY63" fmla="*/ 383858 h 1097280"/>
                    <a:gd name="connsiteX64" fmla="*/ 994410 w 1034415"/>
                    <a:gd name="connsiteY64" fmla="*/ 401955 h 1097280"/>
                    <a:gd name="connsiteX65" fmla="*/ 987743 w 1034415"/>
                    <a:gd name="connsiteY65" fmla="*/ 426720 h 1097280"/>
                    <a:gd name="connsiteX66" fmla="*/ 980123 w 1034415"/>
                    <a:gd name="connsiteY66" fmla="*/ 437197 h 1097280"/>
                    <a:gd name="connsiteX67" fmla="*/ 998220 w 1034415"/>
                    <a:gd name="connsiteY67" fmla="*/ 466725 h 1097280"/>
                    <a:gd name="connsiteX68" fmla="*/ 998220 w 1034415"/>
                    <a:gd name="connsiteY68" fmla="*/ 481965 h 1097280"/>
                    <a:gd name="connsiteX69" fmla="*/ 1019175 w 1034415"/>
                    <a:gd name="connsiteY69" fmla="*/ 490538 h 1097280"/>
                    <a:gd name="connsiteX70" fmla="*/ 1034415 w 1034415"/>
                    <a:gd name="connsiteY70" fmla="*/ 521018 h 1097280"/>
                    <a:gd name="connsiteX71" fmla="*/ 1030605 w 1034415"/>
                    <a:gd name="connsiteY71" fmla="*/ 542925 h 1097280"/>
                    <a:gd name="connsiteX72" fmla="*/ 1015365 w 1034415"/>
                    <a:gd name="connsiteY72" fmla="*/ 577215 h 1097280"/>
                    <a:gd name="connsiteX73" fmla="*/ 1006793 w 1034415"/>
                    <a:gd name="connsiteY73" fmla="*/ 583883 h 1097280"/>
                    <a:gd name="connsiteX74" fmla="*/ 993457 w 1034415"/>
                    <a:gd name="connsiteY74" fmla="*/ 578168 h 1097280"/>
                    <a:gd name="connsiteX75" fmla="*/ 993457 w 1034415"/>
                    <a:gd name="connsiteY75" fmla="*/ 569595 h 1097280"/>
                    <a:gd name="connsiteX76" fmla="*/ 979170 w 1034415"/>
                    <a:gd name="connsiteY76" fmla="*/ 555308 h 1097280"/>
                    <a:gd name="connsiteX77" fmla="*/ 958215 w 1034415"/>
                    <a:gd name="connsiteY77" fmla="*/ 551497 h 1097280"/>
                    <a:gd name="connsiteX78" fmla="*/ 950595 w 1034415"/>
                    <a:gd name="connsiteY78" fmla="*/ 557213 h 1097280"/>
                    <a:gd name="connsiteX79" fmla="*/ 964882 w 1034415"/>
                    <a:gd name="connsiteY79" fmla="*/ 571500 h 1097280"/>
                    <a:gd name="connsiteX80" fmla="*/ 946785 w 1034415"/>
                    <a:gd name="connsiteY80" fmla="*/ 577215 h 1097280"/>
                    <a:gd name="connsiteX81" fmla="*/ 913448 w 1034415"/>
                    <a:gd name="connsiteY81" fmla="*/ 591503 h 1097280"/>
                    <a:gd name="connsiteX82" fmla="*/ 871538 w 1034415"/>
                    <a:gd name="connsiteY82" fmla="*/ 601028 h 1097280"/>
                    <a:gd name="connsiteX83" fmla="*/ 865823 w 1034415"/>
                    <a:gd name="connsiteY83" fmla="*/ 612458 h 1097280"/>
                    <a:gd name="connsiteX84" fmla="*/ 855345 w 1034415"/>
                    <a:gd name="connsiteY84" fmla="*/ 611505 h 1097280"/>
                    <a:gd name="connsiteX85" fmla="*/ 840105 w 1034415"/>
                    <a:gd name="connsiteY85" fmla="*/ 618172 h 1097280"/>
                    <a:gd name="connsiteX86" fmla="*/ 834390 w 1034415"/>
                    <a:gd name="connsiteY86" fmla="*/ 627697 h 1097280"/>
                    <a:gd name="connsiteX87" fmla="*/ 815340 w 1034415"/>
                    <a:gd name="connsiteY87" fmla="*/ 630555 h 1097280"/>
                    <a:gd name="connsiteX88" fmla="*/ 807720 w 1034415"/>
                    <a:gd name="connsiteY88" fmla="*/ 642938 h 1097280"/>
                    <a:gd name="connsiteX89" fmla="*/ 787718 w 1034415"/>
                    <a:gd name="connsiteY89" fmla="*/ 639128 h 1097280"/>
                    <a:gd name="connsiteX90" fmla="*/ 762953 w 1034415"/>
                    <a:gd name="connsiteY90" fmla="*/ 644843 h 1097280"/>
                    <a:gd name="connsiteX91" fmla="*/ 752475 w 1034415"/>
                    <a:gd name="connsiteY91" fmla="*/ 650558 h 1097280"/>
                    <a:gd name="connsiteX92" fmla="*/ 734378 w 1034415"/>
                    <a:gd name="connsiteY92" fmla="*/ 675322 h 1097280"/>
                    <a:gd name="connsiteX93" fmla="*/ 716280 w 1034415"/>
                    <a:gd name="connsiteY93" fmla="*/ 656272 h 1097280"/>
                    <a:gd name="connsiteX94" fmla="*/ 711518 w 1034415"/>
                    <a:gd name="connsiteY94" fmla="*/ 662940 h 1097280"/>
                    <a:gd name="connsiteX95" fmla="*/ 735330 w 1034415"/>
                    <a:gd name="connsiteY95" fmla="*/ 695325 h 1097280"/>
                    <a:gd name="connsiteX96" fmla="*/ 757238 w 1034415"/>
                    <a:gd name="connsiteY96" fmla="*/ 707708 h 1097280"/>
                    <a:gd name="connsiteX97" fmla="*/ 762953 w 1034415"/>
                    <a:gd name="connsiteY97" fmla="*/ 722947 h 1097280"/>
                    <a:gd name="connsiteX98" fmla="*/ 751523 w 1034415"/>
                    <a:gd name="connsiteY98" fmla="*/ 739140 h 1097280"/>
                    <a:gd name="connsiteX99" fmla="*/ 764857 w 1034415"/>
                    <a:gd name="connsiteY99" fmla="*/ 753428 h 1097280"/>
                    <a:gd name="connsiteX100" fmla="*/ 782003 w 1034415"/>
                    <a:gd name="connsiteY100" fmla="*/ 779145 h 1097280"/>
                    <a:gd name="connsiteX101" fmla="*/ 803910 w 1034415"/>
                    <a:gd name="connsiteY101" fmla="*/ 798195 h 1097280"/>
                    <a:gd name="connsiteX102" fmla="*/ 816293 w 1034415"/>
                    <a:gd name="connsiteY102" fmla="*/ 798195 h 1097280"/>
                    <a:gd name="connsiteX103" fmla="*/ 843915 w 1034415"/>
                    <a:gd name="connsiteY103" fmla="*/ 822960 h 1097280"/>
                    <a:gd name="connsiteX104" fmla="*/ 867728 w 1034415"/>
                    <a:gd name="connsiteY104" fmla="*/ 837247 h 1097280"/>
                    <a:gd name="connsiteX105" fmla="*/ 880110 w 1034415"/>
                    <a:gd name="connsiteY105" fmla="*/ 852488 h 1097280"/>
                    <a:gd name="connsiteX106" fmla="*/ 892493 w 1034415"/>
                    <a:gd name="connsiteY106" fmla="*/ 852488 h 1097280"/>
                    <a:gd name="connsiteX107" fmla="*/ 920115 w 1034415"/>
                    <a:gd name="connsiteY107" fmla="*/ 873443 h 1097280"/>
                    <a:gd name="connsiteX108" fmla="*/ 925830 w 1034415"/>
                    <a:gd name="connsiteY108" fmla="*/ 880110 h 1097280"/>
                    <a:gd name="connsiteX109" fmla="*/ 923925 w 1034415"/>
                    <a:gd name="connsiteY109" fmla="*/ 906780 h 1097280"/>
                    <a:gd name="connsiteX110" fmla="*/ 911543 w 1034415"/>
                    <a:gd name="connsiteY110" fmla="*/ 915353 h 1097280"/>
                    <a:gd name="connsiteX111" fmla="*/ 889635 w 1034415"/>
                    <a:gd name="connsiteY111" fmla="*/ 906780 h 1097280"/>
                    <a:gd name="connsiteX112" fmla="*/ 882968 w 1034415"/>
                    <a:gd name="connsiteY112" fmla="*/ 934403 h 1097280"/>
                    <a:gd name="connsiteX113" fmla="*/ 873443 w 1034415"/>
                    <a:gd name="connsiteY113" fmla="*/ 943928 h 1097280"/>
                    <a:gd name="connsiteX114" fmla="*/ 845820 w 1034415"/>
                    <a:gd name="connsiteY114" fmla="*/ 951547 h 1097280"/>
                    <a:gd name="connsiteX115" fmla="*/ 816293 w 1034415"/>
                    <a:gd name="connsiteY115" fmla="*/ 968693 h 1097280"/>
                    <a:gd name="connsiteX116" fmla="*/ 810578 w 1034415"/>
                    <a:gd name="connsiteY116" fmla="*/ 981075 h 1097280"/>
                    <a:gd name="connsiteX117" fmla="*/ 834390 w 1034415"/>
                    <a:gd name="connsiteY117" fmla="*/ 1007745 h 1097280"/>
                    <a:gd name="connsiteX118" fmla="*/ 835343 w 1034415"/>
                    <a:gd name="connsiteY118" fmla="*/ 1020128 h 1097280"/>
                    <a:gd name="connsiteX119" fmla="*/ 829628 w 1034415"/>
                    <a:gd name="connsiteY119" fmla="*/ 1032510 h 1097280"/>
                    <a:gd name="connsiteX120" fmla="*/ 845820 w 1034415"/>
                    <a:gd name="connsiteY120" fmla="*/ 1035368 h 1097280"/>
                    <a:gd name="connsiteX121" fmla="*/ 848678 w 1034415"/>
                    <a:gd name="connsiteY121" fmla="*/ 1053465 h 1097280"/>
                    <a:gd name="connsiteX122" fmla="*/ 845820 w 1034415"/>
                    <a:gd name="connsiteY122" fmla="*/ 1067753 h 1097280"/>
                    <a:gd name="connsiteX123" fmla="*/ 829628 w 1034415"/>
                    <a:gd name="connsiteY123" fmla="*/ 1063943 h 1097280"/>
                    <a:gd name="connsiteX124" fmla="*/ 818198 w 1034415"/>
                    <a:gd name="connsiteY124" fmla="*/ 1055370 h 1097280"/>
                    <a:gd name="connsiteX125" fmla="*/ 816293 w 1034415"/>
                    <a:gd name="connsiteY125" fmla="*/ 1044893 h 1097280"/>
                    <a:gd name="connsiteX126" fmla="*/ 805815 w 1034415"/>
                    <a:gd name="connsiteY126" fmla="*/ 1040130 h 1097280"/>
                    <a:gd name="connsiteX127" fmla="*/ 782003 w 1034415"/>
                    <a:gd name="connsiteY127" fmla="*/ 1044893 h 1097280"/>
                    <a:gd name="connsiteX128" fmla="*/ 767715 w 1034415"/>
                    <a:gd name="connsiteY128" fmla="*/ 1037272 h 1097280"/>
                    <a:gd name="connsiteX129" fmla="*/ 748665 w 1034415"/>
                    <a:gd name="connsiteY129" fmla="*/ 1034415 h 1097280"/>
                    <a:gd name="connsiteX130" fmla="*/ 747713 w 1034415"/>
                    <a:gd name="connsiteY130" fmla="*/ 1047750 h 1097280"/>
                    <a:gd name="connsiteX131" fmla="*/ 693420 w 1034415"/>
                    <a:gd name="connsiteY131" fmla="*/ 1052513 h 1097280"/>
                    <a:gd name="connsiteX132" fmla="*/ 656273 w 1034415"/>
                    <a:gd name="connsiteY132" fmla="*/ 1066800 h 1097280"/>
                    <a:gd name="connsiteX133" fmla="*/ 645795 w 1034415"/>
                    <a:gd name="connsiteY133" fmla="*/ 1075373 h 1097280"/>
                    <a:gd name="connsiteX134" fmla="*/ 609600 w 1034415"/>
                    <a:gd name="connsiteY134" fmla="*/ 1080135 h 1097280"/>
                    <a:gd name="connsiteX135" fmla="*/ 596265 w 1034415"/>
                    <a:gd name="connsiteY135" fmla="*/ 1062038 h 1097280"/>
                    <a:gd name="connsiteX136" fmla="*/ 570548 w 1034415"/>
                    <a:gd name="connsiteY136" fmla="*/ 1058228 h 1097280"/>
                    <a:gd name="connsiteX137" fmla="*/ 543878 w 1034415"/>
                    <a:gd name="connsiteY137" fmla="*/ 1059180 h 1097280"/>
                    <a:gd name="connsiteX138" fmla="*/ 541973 w 1034415"/>
                    <a:gd name="connsiteY138" fmla="*/ 1077278 h 1097280"/>
                    <a:gd name="connsiteX139" fmla="*/ 532448 w 1034415"/>
                    <a:gd name="connsiteY139" fmla="*/ 1092518 h 1097280"/>
                    <a:gd name="connsiteX140" fmla="*/ 517207 w 1034415"/>
                    <a:gd name="connsiteY140" fmla="*/ 1097280 h 1097280"/>
                    <a:gd name="connsiteX141" fmla="*/ 518160 w 1034415"/>
                    <a:gd name="connsiteY141" fmla="*/ 1084898 h 1097280"/>
                    <a:gd name="connsiteX142" fmla="*/ 506730 w 1034415"/>
                    <a:gd name="connsiteY142" fmla="*/ 1082040 h 1097280"/>
                    <a:gd name="connsiteX143" fmla="*/ 498157 w 1034415"/>
                    <a:gd name="connsiteY143" fmla="*/ 1068705 h 1097280"/>
                    <a:gd name="connsiteX144" fmla="*/ 464820 w 1034415"/>
                    <a:gd name="connsiteY144" fmla="*/ 1053465 h 1097280"/>
                    <a:gd name="connsiteX145" fmla="*/ 458153 w 1034415"/>
                    <a:gd name="connsiteY145" fmla="*/ 1058228 h 1097280"/>
                    <a:gd name="connsiteX146" fmla="*/ 437198 w 1034415"/>
                    <a:gd name="connsiteY146" fmla="*/ 1046797 h 1097280"/>
                    <a:gd name="connsiteX147" fmla="*/ 388620 w 1034415"/>
                    <a:gd name="connsiteY147" fmla="*/ 1024890 h 1097280"/>
                    <a:gd name="connsiteX148" fmla="*/ 398145 w 1034415"/>
                    <a:gd name="connsiteY148" fmla="*/ 1040130 h 1097280"/>
                    <a:gd name="connsiteX149" fmla="*/ 362903 w 1034415"/>
                    <a:gd name="connsiteY149" fmla="*/ 1042035 h 1097280"/>
                    <a:gd name="connsiteX150" fmla="*/ 352425 w 1034415"/>
                    <a:gd name="connsiteY150" fmla="*/ 1033463 h 1097280"/>
                    <a:gd name="connsiteX151" fmla="*/ 344805 w 1034415"/>
                    <a:gd name="connsiteY151" fmla="*/ 1035368 h 1097280"/>
                    <a:gd name="connsiteX152" fmla="*/ 331470 w 1034415"/>
                    <a:gd name="connsiteY152" fmla="*/ 1025843 h 1097280"/>
                    <a:gd name="connsiteX153" fmla="*/ 319088 w 1034415"/>
                    <a:gd name="connsiteY153" fmla="*/ 1025843 h 1097280"/>
                    <a:gd name="connsiteX154" fmla="*/ 306705 w 1034415"/>
                    <a:gd name="connsiteY154" fmla="*/ 1037272 h 1097280"/>
                    <a:gd name="connsiteX155" fmla="*/ 308610 w 1034415"/>
                    <a:gd name="connsiteY155" fmla="*/ 1051560 h 1097280"/>
                    <a:gd name="connsiteX156" fmla="*/ 283845 w 1034415"/>
                    <a:gd name="connsiteY156" fmla="*/ 1049655 h 1097280"/>
                    <a:gd name="connsiteX157" fmla="*/ 252413 w 1034415"/>
                    <a:gd name="connsiteY157" fmla="*/ 1055370 h 1097280"/>
                    <a:gd name="connsiteX158" fmla="*/ 225743 w 1034415"/>
                    <a:gd name="connsiteY158" fmla="*/ 1054418 h 1097280"/>
                    <a:gd name="connsiteX159" fmla="*/ 216218 w 1034415"/>
                    <a:gd name="connsiteY159" fmla="*/ 1051560 h 1097280"/>
                    <a:gd name="connsiteX160" fmla="*/ 205740 w 1034415"/>
                    <a:gd name="connsiteY160" fmla="*/ 1039178 h 1097280"/>
                    <a:gd name="connsiteX161" fmla="*/ 205740 w 1034415"/>
                    <a:gd name="connsiteY161" fmla="*/ 1024890 h 1097280"/>
                    <a:gd name="connsiteX162" fmla="*/ 211455 w 1034415"/>
                    <a:gd name="connsiteY162" fmla="*/ 1005840 h 1097280"/>
                    <a:gd name="connsiteX163" fmla="*/ 209550 w 1034415"/>
                    <a:gd name="connsiteY163" fmla="*/ 982980 h 1097280"/>
                    <a:gd name="connsiteX164" fmla="*/ 212408 w 1034415"/>
                    <a:gd name="connsiteY164" fmla="*/ 968693 h 1097280"/>
                    <a:gd name="connsiteX165" fmla="*/ 221933 w 1034415"/>
                    <a:gd name="connsiteY165" fmla="*/ 951547 h 1097280"/>
                    <a:gd name="connsiteX166" fmla="*/ 235268 w 1034415"/>
                    <a:gd name="connsiteY166" fmla="*/ 899160 h 1097280"/>
                    <a:gd name="connsiteX167" fmla="*/ 268605 w 1034415"/>
                    <a:gd name="connsiteY167" fmla="*/ 862965 h 1097280"/>
                    <a:gd name="connsiteX168" fmla="*/ 267653 w 1034415"/>
                    <a:gd name="connsiteY168" fmla="*/ 850583 h 1097280"/>
                    <a:gd name="connsiteX169" fmla="*/ 252413 w 1034415"/>
                    <a:gd name="connsiteY169" fmla="*/ 844868 h 1097280"/>
                    <a:gd name="connsiteX170" fmla="*/ 206693 w 1034415"/>
                    <a:gd name="connsiteY170" fmla="*/ 837247 h 1097280"/>
                    <a:gd name="connsiteX171" fmla="*/ 187643 w 1034415"/>
                    <a:gd name="connsiteY171" fmla="*/ 823913 h 1097280"/>
                    <a:gd name="connsiteX172" fmla="*/ 159068 w 1034415"/>
                    <a:gd name="connsiteY172" fmla="*/ 829628 h 1097280"/>
                    <a:gd name="connsiteX173" fmla="*/ 139065 w 1034415"/>
                    <a:gd name="connsiteY173" fmla="*/ 828675 h 1097280"/>
                    <a:gd name="connsiteX174" fmla="*/ 136208 w 1034415"/>
                    <a:gd name="connsiteY174" fmla="*/ 820103 h 1097280"/>
                    <a:gd name="connsiteX175" fmla="*/ 122873 w 1034415"/>
                    <a:gd name="connsiteY175" fmla="*/ 816293 h 1097280"/>
                    <a:gd name="connsiteX176" fmla="*/ 105728 w 1034415"/>
                    <a:gd name="connsiteY176" fmla="*/ 822960 h 1097280"/>
                    <a:gd name="connsiteX177" fmla="*/ 72390 w 1034415"/>
                    <a:gd name="connsiteY177" fmla="*/ 782003 h 1097280"/>
                    <a:gd name="connsiteX178" fmla="*/ 59055 w 1034415"/>
                    <a:gd name="connsiteY178" fmla="*/ 781050 h 1097280"/>
                    <a:gd name="connsiteX179" fmla="*/ 64770 w 1034415"/>
                    <a:gd name="connsiteY179" fmla="*/ 752475 h 1097280"/>
                    <a:gd name="connsiteX180" fmla="*/ 73343 w 1034415"/>
                    <a:gd name="connsiteY180" fmla="*/ 743903 h 1097280"/>
                    <a:gd name="connsiteX181" fmla="*/ 73343 w 1034415"/>
                    <a:gd name="connsiteY181" fmla="*/ 730568 h 1097280"/>
                    <a:gd name="connsiteX182" fmla="*/ 46673 w 1034415"/>
                    <a:gd name="connsiteY182" fmla="*/ 720090 h 1097280"/>
                    <a:gd name="connsiteX183" fmla="*/ 32385 w 1034415"/>
                    <a:gd name="connsiteY183" fmla="*/ 704850 h 1097280"/>
                    <a:gd name="connsiteX184" fmla="*/ 29528 w 1034415"/>
                    <a:gd name="connsiteY184" fmla="*/ 683895 h 1097280"/>
                    <a:gd name="connsiteX185" fmla="*/ 35243 w 1034415"/>
                    <a:gd name="connsiteY185" fmla="*/ 667703 h 1097280"/>
                    <a:gd name="connsiteX186" fmla="*/ 57150 w 1034415"/>
                    <a:gd name="connsiteY186" fmla="*/ 655320 h 1097280"/>
                    <a:gd name="connsiteX187" fmla="*/ 53340 w 1034415"/>
                    <a:gd name="connsiteY187" fmla="*/ 636270 h 1097280"/>
                    <a:gd name="connsiteX188" fmla="*/ 37148 w 1034415"/>
                    <a:gd name="connsiteY188" fmla="*/ 629603 h 1097280"/>
                    <a:gd name="connsiteX189" fmla="*/ 40958 w 1034415"/>
                    <a:gd name="connsiteY189" fmla="*/ 615315 h 1097280"/>
                    <a:gd name="connsiteX190" fmla="*/ 12383 w 1034415"/>
                    <a:gd name="connsiteY190" fmla="*/ 593408 h 1097280"/>
                    <a:gd name="connsiteX191" fmla="*/ 18098 w 1034415"/>
                    <a:gd name="connsiteY191" fmla="*/ 570547 h 1097280"/>
                    <a:gd name="connsiteX192" fmla="*/ 0 w 1034415"/>
                    <a:gd name="connsiteY192" fmla="*/ 559118 h 1097280"/>
                    <a:gd name="connsiteX193" fmla="*/ 4763 w 1034415"/>
                    <a:gd name="connsiteY193" fmla="*/ 551497 h 1097280"/>
                    <a:gd name="connsiteX194" fmla="*/ 25718 w 1034415"/>
                    <a:gd name="connsiteY194" fmla="*/ 536258 h 1097280"/>
                    <a:gd name="connsiteX195" fmla="*/ 19050 w 1034415"/>
                    <a:gd name="connsiteY195" fmla="*/ 524828 h 1097280"/>
                    <a:gd name="connsiteX196" fmla="*/ 31433 w 1034415"/>
                    <a:gd name="connsiteY196" fmla="*/ 498158 h 1097280"/>
                    <a:gd name="connsiteX197" fmla="*/ 31433 w 1034415"/>
                    <a:gd name="connsiteY197" fmla="*/ 486728 h 1097280"/>
                    <a:gd name="connsiteX198" fmla="*/ 1905 w 1034415"/>
                    <a:gd name="connsiteY198" fmla="*/ 447675 h 1097280"/>
                    <a:gd name="connsiteX199" fmla="*/ 8573 w 1034415"/>
                    <a:gd name="connsiteY199" fmla="*/ 437197 h 1097280"/>
                    <a:gd name="connsiteX200" fmla="*/ 25718 w 1034415"/>
                    <a:gd name="connsiteY200" fmla="*/ 430530 h 1097280"/>
                    <a:gd name="connsiteX201" fmla="*/ 47625 w 1034415"/>
                    <a:gd name="connsiteY201" fmla="*/ 438150 h 1097280"/>
                    <a:gd name="connsiteX202" fmla="*/ 90488 w 1034415"/>
                    <a:gd name="connsiteY202" fmla="*/ 425768 h 1097280"/>
                    <a:gd name="connsiteX203" fmla="*/ 97155 w 1034415"/>
                    <a:gd name="connsiteY203" fmla="*/ 416243 h 1097280"/>
                    <a:gd name="connsiteX204" fmla="*/ 87630 w 1034415"/>
                    <a:gd name="connsiteY204" fmla="*/ 407670 h 1097280"/>
                    <a:gd name="connsiteX205" fmla="*/ 90488 w 1034415"/>
                    <a:gd name="connsiteY205" fmla="*/ 399097 h 1097280"/>
                    <a:gd name="connsiteX206" fmla="*/ 115253 w 1034415"/>
                    <a:gd name="connsiteY206" fmla="*/ 383858 h 1097280"/>
                    <a:gd name="connsiteX207" fmla="*/ 120968 w 1034415"/>
                    <a:gd name="connsiteY207" fmla="*/ 359093 h 1097280"/>
                    <a:gd name="connsiteX208" fmla="*/ 113348 w 1034415"/>
                    <a:gd name="connsiteY208" fmla="*/ 349568 h 1097280"/>
                    <a:gd name="connsiteX209" fmla="*/ 88583 w 1034415"/>
                    <a:gd name="connsiteY209" fmla="*/ 346710 h 1097280"/>
                    <a:gd name="connsiteX210" fmla="*/ 81915 w 1034415"/>
                    <a:gd name="connsiteY210" fmla="*/ 337185 h 1097280"/>
                    <a:gd name="connsiteX211" fmla="*/ 87630 w 1034415"/>
                    <a:gd name="connsiteY211" fmla="*/ 321945 h 1097280"/>
                    <a:gd name="connsiteX212" fmla="*/ 117158 w 1034415"/>
                    <a:gd name="connsiteY212" fmla="*/ 322897 h 1097280"/>
                    <a:gd name="connsiteX213" fmla="*/ 127635 w 1034415"/>
                    <a:gd name="connsiteY213" fmla="*/ 286703 h 1097280"/>
                    <a:gd name="connsiteX214" fmla="*/ 134303 w 1034415"/>
                    <a:gd name="connsiteY214" fmla="*/ 270510 h 1097280"/>
                    <a:gd name="connsiteX215" fmla="*/ 133350 w 1034415"/>
                    <a:gd name="connsiteY215" fmla="*/ 229553 h 1097280"/>
                    <a:gd name="connsiteX216" fmla="*/ 117158 w 1034415"/>
                    <a:gd name="connsiteY216" fmla="*/ 216218 h 1097280"/>
                    <a:gd name="connsiteX217" fmla="*/ 121920 w 1034415"/>
                    <a:gd name="connsiteY217" fmla="*/ 190500 h 1097280"/>
                    <a:gd name="connsiteX218" fmla="*/ 132398 w 1034415"/>
                    <a:gd name="connsiteY218" fmla="*/ 177165 h 1097280"/>
                    <a:gd name="connsiteX219" fmla="*/ 140970 w 1034415"/>
                    <a:gd name="connsiteY219" fmla="*/ 173355 h 1097280"/>
                    <a:gd name="connsiteX220" fmla="*/ 179070 w 1034415"/>
                    <a:gd name="connsiteY220" fmla="*/ 170497 h 1097280"/>
                    <a:gd name="connsiteX221" fmla="*/ 221933 w 1034415"/>
                    <a:gd name="connsiteY221" fmla="*/ 171450 h 1097280"/>
                    <a:gd name="connsiteX222" fmla="*/ 240030 w 1034415"/>
                    <a:gd name="connsiteY222" fmla="*/ 192405 h 1097280"/>
                    <a:gd name="connsiteX223" fmla="*/ 234315 w 1034415"/>
                    <a:gd name="connsiteY223" fmla="*/ 203835 h 1097280"/>
                    <a:gd name="connsiteX224" fmla="*/ 249555 w 1034415"/>
                    <a:gd name="connsiteY224" fmla="*/ 206693 h 1097280"/>
                    <a:gd name="connsiteX225" fmla="*/ 258128 w 1034415"/>
                    <a:gd name="connsiteY225" fmla="*/ 183833 h 1097280"/>
                    <a:gd name="connsiteX226" fmla="*/ 271463 w 1034415"/>
                    <a:gd name="connsiteY226" fmla="*/ 191453 h 1097280"/>
                    <a:gd name="connsiteX227" fmla="*/ 281940 w 1034415"/>
                    <a:gd name="connsiteY227" fmla="*/ 190500 h 1097280"/>
                    <a:gd name="connsiteX228" fmla="*/ 277178 w 1034415"/>
                    <a:gd name="connsiteY228" fmla="*/ 174308 h 1097280"/>
                    <a:gd name="connsiteX229" fmla="*/ 279083 w 1034415"/>
                    <a:gd name="connsiteY229" fmla="*/ 159068 h 1097280"/>
                    <a:gd name="connsiteX230" fmla="*/ 287655 w 1034415"/>
                    <a:gd name="connsiteY230" fmla="*/ 145733 h 1097280"/>
                    <a:gd name="connsiteX231" fmla="*/ 319088 w 1034415"/>
                    <a:gd name="connsiteY231" fmla="*/ 151447 h 1097280"/>
                    <a:gd name="connsiteX232" fmla="*/ 353378 w 1034415"/>
                    <a:gd name="connsiteY232" fmla="*/ 148590 h 1097280"/>
                    <a:gd name="connsiteX233" fmla="*/ 354330 w 1034415"/>
                    <a:gd name="connsiteY233" fmla="*/ 142875 h 1097280"/>
                    <a:gd name="connsiteX234" fmla="*/ 327660 w 1034415"/>
                    <a:gd name="connsiteY234" fmla="*/ 138113 h 1097280"/>
                    <a:gd name="connsiteX235" fmla="*/ 319088 w 1034415"/>
                    <a:gd name="connsiteY235" fmla="*/ 127635 h 1097280"/>
                    <a:gd name="connsiteX236" fmla="*/ 317183 w 1034415"/>
                    <a:gd name="connsiteY236" fmla="*/ 90488 h 1097280"/>
                    <a:gd name="connsiteX237" fmla="*/ 302895 w 1034415"/>
                    <a:gd name="connsiteY237" fmla="*/ 82868 h 1097280"/>
                    <a:gd name="connsiteX238" fmla="*/ 287655 w 1034415"/>
                    <a:gd name="connsiteY238" fmla="*/ 85725 h 1097280"/>
                    <a:gd name="connsiteX239" fmla="*/ 287655 w 1034415"/>
                    <a:gd name="connsiteY239" fmla="*/ 71438 h 1097280"/>
                    <a:gd name="connsiteX240" fmla="*/ 320040 w 1034415"/>
                    <a:gd name="connsiteY240" fmla="*/ 60960 h 1097280"/>
                    <a:gd name="connsiteX241" fmla="*/ 320040 w 1034415"/>
                    <a:gd name="connsiteY241" fmla="*/ 51435 h 1097280"/>
                    <a:gd name="connsiteX242" fmla="*/ 287655 w 1034415"/>
                    <a:gd name="connsiteY242" fmla="*/ 15240 h 1097280"/>
                    <a:gd name="connsiteX243" fmla="*/ 285750 w 1034415"/>
                    <a:gd name="connsiteY243" fmla="*/ 0 h 1097280"/>
                    <a:gd name="connsiteX244" fmla="*/ 311468 w 1034415"/>
                    <a:gd name="connsiteY244" fmla="*/ 953 h 1097280"/>
                    <a:gd name="connsiteX245" fmla="*/ 360998 w 1034415"/>
                    <a:gd name="connsiteY245" fmla="*/ 13335 h 1097280"/>
                    <a:gd name="connsiteX246" fmla="*/ 390525 w 1034415"/>
                    <a:gd name="connsiteY246" fmla="*/ 6668 h 1097280"/>
                    <a:gd name="connsiteX247" fmla="*/ 404813 w 1034415"/>
                    <a:gd name="connsiteY247" fmla="*/ 10478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034415" h="1097280">
                      <a:moveTo>
                        <a:pt x="910590" y="145733"/>
                      </a:moveTo>
                      <a:lnTo>
                        <a:pt x="878205" y="144780"/>
                      </a:lnTo>
                      <a:lnTo>
                        <a:pt x="876300" y="128588"/>
                      </a:lnTo>
                      <a:lnTo>
                        <a:pt x="865823" y="119063"/>
                      </a:lnTo>
                      <a:lnTo>
                        <a:pt x="864870" y="109538"/>
                      </a:lnTo>
                      <a:lnTo>
                        <a:pt x="909638" y="134303"/>
                      </a:lnTo>
                      <a:lnTo>
                        <a:pt x="910590" y="145733"/>
                      </a:lnTo>
                      <a:close/>
                      <a:moveTo>
                        <a:pt x="579120" y="68580"/>
                      </a:moveTo>
                      <a:lnTo>
                        <a:pt x="561975" y="68580"/>
                      </a:lnTo>
                      <a:lnTo>
                        <a:pt x="548640" y="61913"/>
                      </a:lnTo>
                      <a:lnTo>
                        <a:pt x="556260" y="52388"/>
                      </a:lnTo>
                      <a:lnTo>
                        <a:pt x="572453" y="56197"/>
                      </a:lnTo>
                      <a:lnTo>
                        <a:pt x="579120" y="68580"/>
                      </a:lnTo>
                      <a:close/>
                      <a:moveTo>
                        <a:pt x="848678" y="73343"/>
                      </a:moveTo>
                      <a:lnTo>
                        <a:pt x="836295" y="80010"/>
                      </a:lnTo>
                      <a:lnTo>
                        <a:pt x="823913" y="80010"/>
                      </a:lnTo>
                      <a:lnTo>
                        <a:pt x="811530" y="92393"/>
                      </a:lnTo>
                      <a:lnTo>
                        <a:pt x="791528" y="81915"/>
                      </a:lnTo>
                      <a:lnTo>
                        <a:pt x="786765" y="71438"/>
                      </a:lnTo>
                      <a:lnTo>
                        <a:pt x="787718" y="50483"/>
                      </a:lnTo>
                      <a:lnTo>
                        <a:pt x="793432" y="37147"/>
                      </a:lnTo>
                      <a:lnTo>
                        <a:pt x="812482" y="28575"/>
                      </a:lnTo>
                      <a:lnTo>
                        <a:pt x="821055" y="40005"/>
                      </a:lnTo>
                      <a:lnTo>
                        <a:pt x="837248" y="45720"/>
                      </a:lnTo>
                      <a:lnTo>
                        <a:pt x="832485" y="61913"/>
                      </a:lnTo>
                      <a:lnTo>
                        <a:pt x="848678" y="73343"/>
                      </a:lnTo>
                      <a:close/>
                      <a:moveTo>
                        <a:pt x="404813" y="10478"/>
                      </a:moveTo>
                      <a:lnTo>
                        <a:pt x="421957" y="17145"/>
                      </a:lnTo>
                      <a:lnTo>
                        <a:pt x="437198" y="32385"/>
                      </a:lnTo>
                      <a:lnTo>
                        <a:pt x="438150" y="45720"/>
                      </a:lnTo>
                      <a:lnTo>
                        <a:pt x="421957" y="60960"/>
                      </a:lnTo>
                      <a:lnTo>
                        <a:pt x="452438" y="58103"/>
                      </a:lnTo>
                      <a:lnTo>
                        <a:pt x="460057" y="69533"/>
                      </a:lnTo>
                      <a:lnTo>
                        <a:pt x="476250" y="65722"/>
                      </a:lnTo>
                      <a:lnTo>
                        <a:pt x="519113" y="82868"/>
                      </a:lnTo>
                      <a:lnTo>
                        <a:pt x="549593" y="74295"/>
                      </a:lnTo>
                      <a:lnTo>
                        <a:pt x="556260" y="87630"/>
                      </a:lnTo>
                      <a:lnTo>
                        <a:pt x="550545" y="101918"/>
                      </a:lnTo>
                      <a:lnTo>
                        <a:pt x="529590" y="117158"/>
                      </a:lnTo>
                      <a:lnTo>
                        <a:pt x="542925" y="128588"/>
                      </a:lnTo>
                      <a:lnTo>
                        <a:pt x="562928" y="126683"/>
                      </a:lnTo>
                      <a:lnTo>
                        <a:pt x="597218" y="135255"/>
                      </a:lnTo>
                      <a:lnTo>
                        <a:pt x="628650" y="111443"/>
                      </a:lnTo>
                      <a:lnTo>
                        <a:pt x="639128" y="106680"/>
                      </a:lnTo>
                      <a:lnTo>
                        <a:pt x="673418" y="103822"/>
                      </a:lnTo>
                      <a:lnTo>
                        <a:pt x="721995" y="60960"/>
                      </a:lnTo>
                      <a:lnTo>
                        <a:pt x="772478" y="69533"/>
                      </a:lnTo>
                      <a:lnTo>
                        <a:pt x="786765" y="87630"/>
                      </a:lnTo>
                      <a:lnTo>
                        <a:pt x="822007" y="107633"/>
                      </a:lnTo>
                      <a:lnTo>
                        <a:pt x="852488" y="105728"/>
                      </a:lnTo>
                      <a:lnTo>
                        <a:pt x="864870" y="124778"/>
                      </a:lnTo>
                      <a:lnTo>
                        <a:pt x="872490" y="148590"/>
                      </a:lnTo>
                      <a:lnTo>
                        <a:pt x="890588" y="160972"/>
                      </a:lnTo>
                      <a:lnTo>
                        <a:pt x="917257" y="165735"/>
                      </a:lnTo>
                      <a:lnTo>
                        <a:pt x="923925" y="190500"/>
                      </a:lnTo>
                      <a:lnTo>
                        <a:pt x="941070" y="229553"/>
                      </a:lnTo>
                      <a:lnTo>
                        <a:pt x="938213" y="255270"/>
                      </a:lnTo>
                      <a:lnTo>
                        <a:pt x="920115" y="272415"/>
                      </a:lnTo>
                      <a:lnTo>
                        <a:pt x="913448" y="287655"/>
                      </a:lnTo>
                      <a:lnTo>
                        <a:pt x="928688" y="300990"/>
                      </a:lnTo>
                      <a:lnTo>
                        <a:pt x="960120" y="320993"/>
                      </a:lnTo>
                      <a:lnTo>
                        <a:pt x="973455" y="337185"/>
                      </a:lnTo>
                      <a:lnTo>
                        <a:pt x="967740" y="361950"/>
                      </a:lnTo>
                      <a:lnTo>
                        <a:pt x="986790" y="383858"/>
                      </a:lnTo>
                      <a:lnTo>
                        <a:pt x="994410" y="401955"/>
                      </a:lnTo>
                      <a:lnTo>
                        <a:pt x="987743" y="426720"/>
                      </a:lnTo>
                      <a:lnTo>
                        <a:pt x="980123" y="437197"/>
                      </a:lnTo>
                      <a:lnTo>
                        <a:pt x="998220" y="466725"/>
                      </a:lnTo>
                      <a:lnTo>
                        <a:pt x="998220" y="481965"/>
                      </a:lnTo>
                      <a:lnTo>
                        <a:pt x="1019175" y="490538"/>
                      </a:lnTo>
                      <a:lnTo>
                        <a:pt x="1034415" y="521018"/>
                      </a:lnTo>
                      <a:lnTo>
                        <a:pt x="1030605" y="542925"/>
                      </a:lnTo>
                      <a:lnTo>
                        <a:pt x="1015365" y="577215"/>
                      </a:lnTo>
                      <a:lnTo>
                        <a:pt x="1006793" y="583883"/>
                      </a:lnTo>
                      <a:lnTo>
                        <a:pt x="993457" y="578168"/>
                      </a:lnTo>
                      <a:lnTo>
                        <a:pt x="993457" y="569595"/>
                      </a:lnTo>
                      <a:lnTo>
                        <a:pt x="979170" y="555308"/>
                      </a:lnTo>
                      <a:lnTo>
                        <a:pt x="958215" y="551497"/>
                      </a:lnTo>
                      <a:lnTo>
                        <a:pt x="950595" y="557213"/>
                      </a:lnTo>
                      <a:lnTo>
                        <a:pt x="964882" y="571500"/>
                      </a:lnTo>
                      <a:lnTo>
                        <a:pt x="946785" y="577215"/>
                      </a:lnTo>
                      <a:lnTo>
                        <a:pt x="913448" y="591503"/>
                      </a:lnTo>
                      <a:lnTo>
                        <a:pt x="871538" y="601028"/>
                      </a:lnTo>
                      <a:lnTo>
                        <a:pt x="865823" y="612458"/>
                      </a:lnTo>
                      <a:lnTo>
                        <a:pt x="855345" y="611505"/>
                      </a:lnTo>
                      <a:lnTo>
                        <a:pt x="840105" y="618172"/>
                      </a:lnTo>
                      <a:lnTo>
                        <a:pt x="834390" y="627697"/>
                      </a:lnTo>
                      <a:lnTo>
                        <a:pt x="815340" y="630555"/>
                      </a:lnTo>
                      <a:lnTo>
                        <a:pt x="807720" y="642938"/>
                      </a:lnTo>
                      <a:lnTo>
                        <a:pt x="787718" y="639128"/>
                      </a:lnTo>
                      <a:lnTo>
                        <a:pt x="762953" y="644843"/>
                      </a:lnTo>
                      <a:lnTo>
                        <a:pt x="752475" y="650558"/>
                      </a:lnTo>
                      <a:lnTo>
                        <a:pt x="734378" y="675322"/>
                      </a:lnTo>
                      <a:lnTo>
                        <a:pt x="716280" y="656272"/>
                      </a:lnTo>
                      <a:lnTo>
                        <a:pt x="711518" y="662940"/>
                      </a:lnTo>
                      <a:lnTo>
                        <a:pt x="735330" y="695325"/>
                      </a:lnTo>
                      <a:lnTo>
                        <a:pt x="757238" y="707708"/>
                      </a:lnTo>
                      <a:lnTo>
                        <a:pt x="762953" y="722947"/>
                      </a:lnTo>
                      <a:lnTo>
                        <a:pt x="751523" y="739140"/>
                      </a:lnTo>
                      <a:lnTo>
                        <a:pt x="764857" y="753428"/>
                      </a:lnTo>
                      <a:lnTo>
                        <a:pt x="782003" y="779145"/>
                      </a:lnTo>
                      <a:lnTo>
                        <a:pt x="803910" y="798195"/>
                      </a:lnTo>
                      <a:lnTo>
                        <a:pt x="816293" y="798195"/>
                      </a:lnTo>
                      <a:lnTo>
                        <a:pt x="843915" y="822960"/>
                      </a:lnTo>
                      <a:lnTo>
                        <a:pt x="867728" y="837247"/>
                      </a:lnTo>
                      <a:lnTo>
                        <a:pt x="880110" y="852488"/>
                      </a:lnTo>
                      <a:lnTo>
                        <a:pt x="892493" y="852488"/>
                      </a:lnTo>
                      <a:lnTo>
                        <a:pt x="920115" y="873443"/>
                      </a:lnTo>
                      <a:lnTo>
                        <a:pt x="925830" y="880110"/>
                      </a:lnTo>
                      <a:lnTo>
                        <a:pt x="923925" y="906780"/>
                      </a:lnTo>
                      <a:lnTo>
                        <a:pt x="911543" y="915353"/>
                      </a:lnTo>
                      <a:lnTo>
                        <a:pt x="889635" y="906780"/>
                      </a:lnTo>
                      <a:lnTo>
                        <a:pt x="882968" y="934403"/>
                      </a:lnTo>
                      <a:lnTo>
                        <a:pt x="873443" y="943928"/>
                      </a:lnTo>
                      <a:lnTo>
                        <a:pt x="845820" y="951547"/>
                      </a:lnTo>
                      <a:lnTo>
                        <a:pt x="816293" y="968693"/>
                      </a:lnTo>
                      <a:lnTo>
                        <a:pt x="810578" y="981075"/>
                      </a:lnTo>
                      <a:lnTo>
                        <a:pt x="834390" y="1007745"/>
                      </a:lnTo>
                      <a:lnTo>
                        <a:pt x="835343" y="1020128"/>
                      </a:lnTo>
                      <a:lnTo>
                        <a:pt x="829628" y="1032510"/>
                      </a:lnTo>
                      <a:lnTo>
                        <a:pt x="845820" y="1035368"/>
                      </a:lnTo>
                      <a:lnTo>
                        <a:pt x="848678" y="1053465"/>
                      </a:lnTo>
                      <a:lnTo>
                        <a:pt x="845820" y="1067753"/>
                      </a:lnTo>
                      <a:lnTo>
                        <a:pt x="829628" y="1063943"/>
                      </a:lnTo>
                      <a:lnTo>
                        <a:pt x="818198" y="1055370"/>
                      </a:lnTo>
                      <a:lnTo>
                        <a:pt x="816293" y="1044893"/>
                      </a:lnTo>
                      <a:lnTo>
                        <a:pt x="805815" y="1040130"/>
                      </a:lnTo>
                      <a:lnTo>
                        <a:pt x="782003" y="1044893"/>
                      </a:lnTo>
                      <a:lnTo>
                        <a:pt x="767715" y="1037272"/>
                      </a:lnTo>
                      <a:lnTo>
                        <a:pt x="748665" y="1034415"/>
                      </a:lnTo>
                      <a:lnTo>
                        <a:pt x="747713" y="1047750"/>
                      </a:lnTo>
                      <a:lnTo>
                        <a:pt x="693420" y="1052513"/>
                      </a:lnTo>
                      <a:lnTo>
                        <a:pt x="656273" y="1066800"/>
                      </a:lnTo>
                      <a:lnTo>
                        <a:pt x="645795" y="1075373"/>
                      </a:lnTo>
                      <a:lnTo>
                        <a:pt x="609600" y="1080135"/>
                      </a:lnTo>
                      <a:lnTo>
                        <a:pt x="596265" y="1062038"/>
                      </a:lnTo>
                      <a:lnTo>
                        <a:pt x="570548" y="1058228"/>
                      </a:lnTo>
                      <a:lnTo>
                        <a:pt x="543878" y="1059180"/>
                      </a:lnTo>
                      <a:lnTo>
                        <a:pt x="541973" y="1077278"/>
                      </a:lnTo>
                      <a:lnTo>
                        <a:pt x="532448" y="1092518"/>
                      </a:lnTo>
                      <a:lnTo>
                        <a:pt x="517207" y="1097280"/>
                      </a:lnTo>
                      <a:lnTo>
                        <a:pt x="518160" y="1084898"/>
                      </a:lnTo>
                      <a:lnTo>
                        <a:pt x="506730" y="1082040"/>
                      </a:lnTo>
                      <a:lnTo>
                        <a:pt x="498157" y="1068705"/>
                      </a:lnTo>
                      <a:lnTo>
                        <a:pt x="464820" y="1053465"/>
                      </a:lnTo>
                      <a:lnTo>
                        <a:pt x="458153" y="1058228"/>
                      </a:lnTo>
                      <a:lnTo>
                        <a:pt x="437198" y="1046797"/>
                      </a:lnTo>
                      <a:lnTo>
                        <a:pt x="388620" y="1024890"/>
                      </a:lnTo>
                      <a:lnTo>
                        <a:pt x="398145" y="1040130"/>
                      </a:lnTo>
                      <a:lnTo>
                        <a:pt x="362903" y="1042035"/>
                      </a:lnTo>
                      <a:lnTo>
                        <a:pt x="352425" y="1033463"/>
                      </a:lnTo>
                      <a:lnTo>
                        <a:pt x="344805" y="1035368"/>
                      </a:lnTo>
                      <a:lnTo>
                        <a:pt x="331470" y="1025843"/>
                      </a:lnTo>
                      <a:lnTo>
                        <a:pt x="319088" y="1025843"/>
                      </a:lnTo>
                      <a:lnTo>
                        <a:pt x="306705" y="1037272"/>
                      </a:lnTo>
                      <a:lnTo>
                        <a:pt x="308610" y="1051560"/>
                      </a:lnTo>
                      <a:lnTo>
                        <a:pt x="283845" y="1049655"/>
                      </a:lnTo>
                      <a:lnTo>
                        <a:pt x="252413" y="1055370"/>
                      </a:lnTo>
                      <a:lnTo>
                        <a:pt x="225743" y="1054418"/>
                      </a:lnTo>
                      <a:lnTo>
                        <a:pt x="216218" y="1051560"/>
                      </a:lnTo>
                      <a:lnTo>
                        <a:pt x="205740" y="1039178"/>
                      </a:lnTo>
                      <a:lnTo>
                        <a:pt x="205740" y="1024890"/>
                      </a:lnTo>
                      <a:lnTo>
                        <a:pt x="211455" y="1005840"/>
                      </a:lnTo>
                      <a:lnTo>
                        <a:pt x="209550" y="982980"/>
                      </a:lnTo>
                      <a:lnTo>
                        <a:pt x="212408" y="968693"/>
                      </a:lnTo>
                      <a:lnTo>
                        <a:pt x="221933" y="951547"/>
                      </a:lnTo>
                      <a:lnTo>
                        <a:pt x="235268" y="899160"/>
                      </a:lnTo>
                      <a:lnTo>
                        <a:pt x="268605" y="862965"/>
                      </a:lnTo>
                      <a:lnTo>
                        <a:pt x="267653" y="850583"/>
                      </a:lnTo>
                      <a:lnTo>
                        <a:pt x="252413" y="844868"/>
                      </a:lnTo>
                      <a:lnTo>
                        <a:pt x="206693" y="837247"/>
                      </a:lnTo>
                      <a:lnTo>
                        <a:pt x="187643" y="823913"/>
                      </a:lnTo>
                      <a:lnTo>
                        <a:pt x="159068" y="829628"/>
                      </a:lnTo>
                      <a:lnTo>
                        <a:pt x="139065" y="828675"/>
                      </a:lnTo>
                      <a:lnTo>
                        <a:pt x="136208" y="820103"/>
                      </a:lnTo>
                      <a:lnTo>
                        <a:pt x="122873" y="816293"/>
                      </a:lnTo>
                      <a:lnTo>
                        <a:pt x="105728" y="822960"/>
                      </a:lnTo>
                      <a:lnTo>
                        <a:pt x="72390" y="782003"/>
                      </a:lnTo>
                      <a:lnTo>
                        <a:pt x="59055" y="781050"/>
                      </a:lnTo>
                      <a:lnTo>
                        <a:pt x="64770" y="752475"/>
                      </a:lnTo>
                      <a:lnTo>
                        <a:pt x="73343" y="743903"/>
                      </a:lnTo>
                      <a:lnTo>
                        <a:pt x="73343" y="730568"/>
                      </a:lnTo>
                      <a:lnTo>
                        <a:pt x="46673" y="720090"/>
                      </a:lnTo>
                      <a:lnTo>
                        <a:pt x="32385" y="704850"/>
                      </a:lnTo>
                      <a:lnTo>
                        <a:pt x="29528" y="683895"/>
                      </a:lnTo>
                      <a:lnTo>
                        <a:pt x="35243" y="667703"/>
                      </a:lnTo>
                      <a:lnTo>
                        <a:pt x="57150" y="655320"/>
                      </a:lnTo>
                      <a:lnTo>
                        <a:pt x="53340" y="636270"/>
                      </a:lnTo>
                      <a:lnTo>
                        <a:pt x="37148" y="629603"/>
                      </a:lnTo>
                      <a:lnTo>
                        <a:pt x="40958" y="615315"/>
                      </a:lnTo>
                      <a:lnTo>
                        <a:pt x="12383" y="593408"/>
                      </a:lnTo>
                      <a:lnTo>
                        <a:pt x="18098" y="570547"/>
                      </a:lnTo>
                      <a:lnTo>
                        <a:pt x="0" y="559118"/>
                      </a:lnTo>
                      <a:lnTo>
                        <a:pt x="4763" y="551497"/>
                      </a:lnTo>
                      <a:lnTo>
                        <a:pt x="25718" y="536258"/>
                      </a:lnTo>
                      <a:lnTo>
                        <a:pt x="19050" y="524828"/>
                      </a:lnTo>
                      <a:lnTo>
                        <a:pt x="31433" y="498158"/>
                      </a:lnTo>
                      <a:lnTo>
                        <a:pt x="31433" y="486728"/>
                      </a:lnTo>
                      <a:lnTo>
                        <a:pt x="1905" y="447675"/>
                      </a:lnTo>
                      <a:lnTo>
                        <a:pt x="8573" y="437197"/>
                      </a:lnTo>
                      <a:lnTo>
                        <a:pt x="25718" y="430530"/>
                      </a:lnTo>
                      <a:lnTo>
                        <a:pt x="47625" y="438150"/>
                      </a:lnTo>
                      <a:lnTo>
                        <a:pt x="90488" y="425768"/>
                      </a:lnTo>
                      <a:lnTo>
                        <a:pt x="97155" y="416243"/>
                      </a:lnTo>
                      <a:lnTo>
                        <a:pt x="87630" y="407670"/>
                      </a:lnTo>
                      <a:lnTo>
                        <a:pt x="90488" y="399097"/>
                      </a:lnTo>
                      <a:lnTo>
                        <a:pt x="115253" y="383858"/>
                      </a:lnTo>
                      <a:lnTo>
                        <a:pt x="120968" y="359093"/>
                      </a:lnTo>
                      <a:lnTo>
                        <a:pt x="113348" y="349568"/>
                      </a:lnTo>
                      <a:lnTo>
                        <a:pt x="88583" y="346710"/>
                      </a:lnTo>
                      <a:lnTo>
                        <a:pt x="81915" y="337185"/>
                      </a:lnTo>
                      <a:lnTo>
                        <a:pt x="87630" y="321945"/>
                      </a:lnTo>
                      <a:lnTo>
                        <a:pt x="117158" y="322897"/>
                      </a:lnTo>
                      <a:lnTo>
                        <a:pt x="127635" y="286703"/>
                      </a:lnTo>
                      <a:lnTo>
                        <a:pt x="134303" y="270510"/>
                      </a:lnTo>
                      <a:lnTo>
                        <a:pt x="133350" y="229553"/>
                      </a:lnTo>
                      <a:lnTo>
                        <a:pt x="117158" y="216218"/>
                      </a:lnTo>
                      <a:lnTo>
                        <a:pt x="121920" y="190500"/>
                      </a:lnTo>
                      <a:lnTo>
                        <a:pt x="132398" y="177165"/>
                      </a:lnTo>
                      <a:lnTo>
                        <a:pt x="140970" y="173355"/>
                      </a:lnTo>
                      <a:lnTo>
                        <a:pt x="179070" y="170497"/>
                      </a:lnTo>
                      <a:lnTo>
                        <a:pt x="221933" y="171450"/>
                      </a:lnTo>
                      <a:lnTo>
                        <a:pt x="240030" y="192405"/>
                      </a:lnTo>
                      <a:lnTo>
                        <a:pt x="234315" y="203835"/>
                      </a:lnTo>
                      <a:lnTo>
                        <a:pt x="249555" y="206693"/>
                      </a:lnTo>
                      <a:lnTo>
                        <a:pt x="258128" y="183833"/>
                      </a:lnTo>
                      <a:lnTo>
                        <a:pt x="271463" y="191453"/>
                      </a:lnTo>
                      <a:lnTo>
                        <a:pt x="281940" y="190500"/>
                      </a:lnTo>
                      <a:lnTo>
                        <a:pt x="277178" y="174308"/>
                      </a:lnTo>
                      <a:lnTo>
                        <a:pt x="279083" y="159068"/>
                      </a:lnTo>
                      <a:lnTo>
                        <a:pt x="287655" y="145733"/>
                      </a:lnTo>
                      <a:lnTo>
                        <a:pt x="319088" y="151447"/>
                      </a:lnTo>
                      <a:lnTo>
                        <a:pt x="353378" y="148590"/>
                      </a:lnTo>
                      <a:lnTo>
                        <a:pt x="354330" y="142875"/>
                      </a:lnTo>
                      <a:lnTo>
                        <a:pt x="327660" y="138113"/>
                      </a:lnTo>
                      <a:lnTo>
                        <a:pt x="319088" y="127635"/>
                      </a:lnTo>
                      <a:lnTo>
                        <a:pt x="317183" y="90488"/>
                      </a:lnTo>
                      <a:lnTo>
                        <a:pt x="302895" y="82868"/>
                      </a:lnTo>
                      <a:lnTo>
                        <a:pt x="287655" y="85725"/>
                      </a:lnTo>
                      <a:lnTo>
                        <a:pt x="287655" y="71438"/>
                      </a:lnTo>
                      <a:lnTo>
                        <a:pt x="320040" y="60960"/>
                      </a:lnTo>
                      <a:lnTo>
                        <a:pt x="320040" y="51435"/>
                      </a:lnTo>
                      <a:lnTo>
                        <a:pt x="287655" y="15240"/>
                      </a:lnTo>
                      <a:lnTo>
                        <a:pt x="285750" y="0"/>
                      </a:lnTo>
                      <a:lnTo>
                        <a:pt x="311468" y="953"/>
                      </a:lnTo>
                      <a:lnTo>
                        <a:pt x="360998" y="13335"/>
                      </a:lnTo>
                      <a:lnTo>
                        <a:pt x="390525" y="6668"/>
                      </a:lnTo>
                      <a:lnTo>
                        <a:pt x="404813" y="10478"/>
                      </a:lnTo>
                      <a:close/>
                    </a:path>
                  </a:pathLst>
                </a:custGeom>
                <a:solidFill>
                  <a:srgbClr val="3E7994"/>
                </a:solidFill>
                <a:ln w="953" cap="rnd">
                  <a:solidFill>
                    <a:srgbClr val="B5C1B5"/>
                  </a:solidFill>
                  <a:prstDash val="solid"/>
                  <a:round/>
                </a:ln>
              </p:spPr>
              <p:txBody>
                <a:bodyPr rtlCol="0" anchor="ctr"/>
                <a:lstStyle/>
                <a:p>
                  <a:endParaRPr lang="en-US" sz="600"/>
                </a:p>
              </p:txBody>
            </p:sp>
            <p:sp>
              <p:nvSpPr>
                <p:cNvPr id="3102" name="Denmark" descr="{&quot;Key&quot;:&quot;denmark&quot;,&quot;Name&quot;:&quot;Denmark&quot;,&quot;Value&quot;:1.0,&quot;Formula&quot;:&quot;&quot;,&quot;Text&quot;:&quot;&quot;,&quot;OfficeApplication&quot;:1,&quot;HasValue&quot;:true}">
                  <a:extLst>
                    <a:ext uri="{FF2B5EF4-FFF2-40B4-BE49-F238E27FC236}">
                      <a16:creationId xmlns:a16="http://schemas.microsoft.com/office/drawing/2014/main" id="{F50D5CB0-5E0C-008F-0497-8A9AECCF8BEC}"/>
                    </a:ext>
                  </a:extLst>
                </p:cNvPr>
                <p:cNvSpPr/>
                <p:nvPr/>
              </p:nvSpPr>
              <p:spPr>
                <a:xfrm>
                  <a:off x="6048375" y="3037932"/>
                  <a:ext cx="779144" cy="435292"/>
                </a:xfrm>
                <a:custGeom>
                  <a:avLst/>
                  <a:gdLst>
                    <a:gd name="connsiteX0" fmla="*/ 366713 w 779144"/>
                    <a:gd name="connsiteY0" fmla="*/ 398145 h 435292"/>
                    <a:gd name="connsiteX1" fmla="*/ 386715 w 779144"/>
                    <a:gd name="connsiteY1" fmla="*/ 407670 h 435292"/>
                    <a:gd name="connsiteX2" fmla="*/ 409575 w 779144"/>
                    <a:gd name="connsiteY2" fmla="*/ 410527 h 435292"/>
                    <a:gd name="connsiteX3" fmla="*/ 413385 w 779144"/>
                    <a:gd name="connsiteY3" fmla="*/ 428625 h 435292"/>
                    <a:gd name="connsiteX4" fmla="*/ 380048 w 779144"/>
                    <a:gd name="connsiteY4" fmla="*/ 435292 h 435292"/>
                    <a:gd name="connsiteX5" fmla="*/ 331470 w 779144"/>
                    <a:gd name="connsiteY5" fmla="*/ 415290 h 435292"/>
                    <a:gd name="connsiteX6" fmla="*/ 332423 w 779144"/>
                    <a:gd name="connsiteY6" fmla="*/ 391477 h 435292"/>
                    <a:gd name="connsiteX7" fmla="*/ 354330 w 779144"/>
                    <a:gd name="connsiteY7" fmla="*/ 389572 h 435292"/>
                    <a:gd name="connsiteX8" fmla="*/ 366713 w 779144"/>
                    <a:gd name="connsiteY8" fmla="*/ 398145 h 435292"/>
                    <a:gd name="connsiteX9" fmla="*/ 497205 w 779144"/>
                    <a:gd name="connsiteY9" fmla="*/ 387667 h 435292"/>
                    <a:gd name="connsiteX10" fmla="*/ 475298 w 779144"/>
                    <a:gd name="connsiteY10" fmla="*/ 388620 h 435292"/>
                    <a:gd name="connsiteX11" fmla="*/ 457200 w 779144"/>
                    <a:gd name="connsiteY11" fmla="*/ 398145 h 435292"/>
                    <a:gd name="connsiteX12" fmla="*/ 454343 w 779144"/>
                    <a:gd name="connsiteY12" fmla="*/ 386715 h 435292"/>
                    <a:gd name="connsiteX13" fmla="*/ 469582 w 779144"/>
                    <a:gd name="connsiteY13" fmla="*/ 377190 h 435292"/>
                    <a:gd name="connsiteX14" fmla="*/ 481013 w 779144"/>
                    <a:gd name="connsiteY14" fmla="*/ 379095 h 435292"/>
                    <a:gd name="connsiteX15" fmla="*/ 497205 w 779144"/>
                    <a:gd name="connsiteY15" fmla="*/ 387667 h 435292"/>
                    <a:gd name="connsiteX16" fmla="*/ 222885 w 779144"/>
                    <a:gd name="connsiteY16" fmla="*/ 399097 h 435292"/>
                    <a:gd name="connsiteX17" fmla="*/ 211455 w 779144"/>
                    <a:gd name="connsiteY17" fmla="*/ 401002 h 435292"/>
                    <a:gd name="connsiteX18" fmla="*/ 195263 w 779144"/>
                    <a:gd name="connsiteY18" fmla="*/ 396240 h 435292"/>
                    <a:gd name="connsiteX19" fmla="*/ 189548 w 779144"/>
                    <a:gd name="connsiteY19" fmla="*/ 374332 h 435292"/>
                    <a:gd name="connsiteX20" fmla="*/ 215265 w 779144"/>
                    <a:gd name="connsiteY20" fmla="*/ 384810 h 435292"/>
                    <a:gd name="connsiteX21" fmla="*/ 222885 w 779144"/>
                    <a:gd name="connsiteY21" fmla="*/ 399097 h 435292"/>
                    <a:gd name="connsiteX22" fmla="*/ 299085 w 779144"/>
                    <a:gd name="connsiteY22" fmla="*/ 418147 h 435292"/>
                    <a:gd name="connsiteX23" fmla="*/ 285750 w 779144"/>
                    <a:gd name="connsiteY23" fmla="*/ 403860 h 435292"/>
                    <a:gd name="connsiteX24" fmla="*/ 309563 w 779144"/>
                    <a:gd name="connsiteY24" fmla="*/ 376238 h 435292"/>
                    <a:gd name="connsiteX25" fmla="*/ 316230 w 779144"/>
                    <a:gd name="connsiteY25" fmla="*/ 374332 h 435292"/>
                    <a:gd name="connsiteX26" fmla="*/ 299085 w 779144"/>
                    <a:gd name="connsiteY26" fmla="*/ 418147 h 435292"/>
                    <a:gd name="connsiteX27" fmla="*/ 776288 w 779144"/>
                    <a:gd name="connsiteY27" fmla="*/ 380047 h 435292"/>
                    <a:gd name="connsiteX28" fmla="*/ 753427 w 779144"/>
                    <a:gd name="connsiteY28" fmla="*/ 378142 h 435292"/>
                    <a:gd name="connsiteX29" fmla="*/ 730568 w 779144"/>
                    <a:gd name="connsiteY29" fmla="*/ 368617 h 435292"/>
                    <a:gd name="connsiteX30" fmla="*/ 731520 w 779144"/>
                    <a:gd name="connsiteY30" fmla="*/ 349567 h 435292"/>
                    <a:gd name="connsiteX31" fmla="*/ 736282 w 779144"/>
                    <a:gd name="connsiteY31" fmla="*/ 340995 h 435292"/>
                    <a:gd name="connsiteX32" fmla="*/ 779145 w 779144"/>
                    <a:gd name="connsiteY32" fmla="*/ 362902 h 435292"/>
                    <a:gd name="connsiteX33" fmla="*/ 776288 w 779144"/>
                    <a:gd name="connsiteY33" fmla="*/ 380047 h 435292"/>
                    <a:gd name="connsiteX34" fmla="*/ 280035 w 779144"/>
                    <a:gd name="connsiteY34" fmla="*/ 297180 h 435292"/>
                    <a:gd name="connsiteX35" fmla="*/ 301943 w 779144"/>
                    <a:gd name="connsiteY35" fmla="*/ 338138 h 435292"/>
                    <a:gd name="connsiteX36" fmla="*/ 300990 w 779144"/>
                    <a:gd name="connsiteY36" fmla="*/ 364807 h 435292"/>
                    <a:gd name="connsiteX37" fmla="*/ 283845 w 779144"/>
                    <a:gd name="connsiteY37" fmla="*/ 376238 h 435292"/>
                    <a:gd name="connsiteX38" fmla="*/ 263843 w 779144"/>
                    <a:gd name="connsiteY38" fmla="*/ 376238 h 435292"/>
                    <a:gd name="connsiteX39" fmla="*/ 212407 w 779144"/>
                    <a:gd name="connsiteY39" fmla="*/ 360045 h 435292"/>
                    <a:gd name="connsiteX40" fmla="*/ 196215 w 779144"/>
                    <a:gd name="connsiteY40" fmla="*/ 332422 h 435292"/>
                    <a:gd name="connsiteX41" fmla="*/ 195263 w 779144"/>
                    <a:gd name="connsiteY41" fmla="*/ 310515 h 435292"/>
                    <a:gd name="connsiteX42" fmla="*/ 240982 w 779144"/>
                    <a:gd name="connsiteY42" fmla="*/ 297180 h 435292"/>
                    <a:gd name="connsiteX43" fmla="*/ 265748 w 779144"/>
                    <a:gd name="connsiteY43" fmla="*/ 304800 h 435292"/>
                    <a:gd name="connsiteX44" fmla="*/ 280035 w 779144"/>
                    <a:gd name="connsiteY44" fmla="*/ 297180 h 435292"/>
                    <a:gd name="connsiteX45" fmla="*/ 501968 w 779144"/>
                    <a:gd name="connsiteY45" fmla="*/ 299085 h 435292"/>
                    <a:gd name="connsiteX46" fmla="*/ 492443 w 779144"/>
                    <a:gd name="connsiteY46" fmla="*/ 304800 h 435292"/>
                    <a:gd name="connsiteX47" fmla="*/ 485775 w 779144"/>
                    <a:gd name="connsiteY47" fmla="*/ 296227 h 435292"/>
                    <a:gd name="connsiteX48" fmla="*/ 494348 w 779144"/>
                    <a:gd name="connsiteY48" fmla="*/ 287655 h 435292"/>
                    <a:gd name="connsiteX49" fmla="*/ 501968 w 779144"/>
                    <a:gd name="connsiteY49" fmla="*/ 299085 h 435292"/>
                    <a:gd name="connsiteX50" fmla="*/ 274320 w 779144"/>
                    <a:gd name="connsiteY50" fmla="*/ 272415 h 435292"/>
                    <a:gd name="connsiteX51" fmla="*/ 265748 w 779144"/>
                    <a:gd name="connsiteY51" fmla="*/ 272415 h 435292"/>
                    <a:gd name="connsiteX52" fmla="*/ 265748 w 779144"/>
                    <a:gd name="connsiteY52" fmla="*/ 243840 h 435292"/>
                    <a:gd name="connsiteX53" fmla="*/ 280035 w 779144"/>
                    <a:gd name="connsiteY53" fmla="*/ 259080 h 435292"/>
                    <a:gd name="connsiteX54" fmla="*/ 274320 w 779144"/>
                    <a:gd name="connsiteY54" fmla="*/ 272415 h 435292"/>
                    <a:gd name="connsiteX55" fmla="*/ 489585 w 779144"/>
                    <a:gd name="connsiteY55" fmla="*/ 272415 h 435292"/>
                    <a:gd name="connsiteX56" fmla="*/ 490538 w 779144"/>
                    <a:gd name="connsiteY56" fmla="*/ 286702 h 435292"/>
                    <a:gd name="connsiteX57" fmla="*/ 483870 w 779144"/>
                    <a:gd name="connsiteY57" fmla="*/ 293370 h 435292"/>
                    <a:gd name="connsiteX58" fmla="*/ 464820 w 779144"/>
                    <a:gd name="connsiteY58" fmla="*/ 300038 h 435292"/>
                    <a:gd name="connsiteX59" fmla="*/ 454343 w 779144"/>
                    <a:gd name="connsiteY59" fmla="*/ 317182 h 435292"/>
                    <a:gd name="connsiteX60" fmla="*/ 473393 w 779144"/>
                    <a:gd name="connsiteY60" fmla="*/ 328613 h 435292"/>
                    <a:gd name="connsiteX61" fmla="*/ 478155 w 779144"/>
                    <a:gd name="connsiteY61" fmla="*/ 342900 h 435292"/>
                    <a:gd name="connsiteX62" fmla="*/ 468630 w 779144"/>
                    <a:gd name="connsiteY62" fmla="*/ 349567 h 435292"/>
                    <a:gd name="connsiteX63" fmla="*/ 443865 w 779144"/>
                    <a:gd name="connsiteY63" fmla="*/ 356235 h 435292"/>
                    <a:gd name="connsiteX64" fmla="*/ 443865 w 779144"/>
                    <a:gd name="connsiteY64" fmla="*/ 409575 h 435292"/>
                    <a:gd name="connsiteX65" fmla="*/ 422910 w 779144"/>
                    <a:gd name="connsiteY65" fmla="*/ 415290 h 435292"/>
                    <a:gd name="connsiteX66" fmla="*/ 408623 w 779144"/>
                    <a:gd name="connsiteY66" fmla="*/ 395288 h 435292"/>
                    <a:gd name="connsiteX67" fmla="*/ 407670 w 779144"/>
                    <a:gd name="connsiteY67" fmla="*/ 386715 h 435292"/>
                    <a:gd name="connsiteX68" fmla="*/ 395288 w 779144"/>
                    <a:gd name="connsiteY68" fmla="*/ 357188 h 435292"/>
                    <a:gd name="connsiteX69" fmla="*/ 376238 w 779144"/>
                    <a:gd name="connsiteY69" fmla="*/ 353377 h 435292"/>
                    <a:gd name="connsiteX70" fmla="*/ 355282 w 779144"/>
                    <a:gd name="connsiteY70" fmla="*/ 354330 h 435292"/>
                    <a:gd name="connsiteX71" fmla="*/ 340995 w 779144"/>
                    <a:gd name="connsiteY71" fmla="*/ 337185 h 435292"/>
                    <a:gd name="connsiteX72" fmla="*/ 341948 w 779144"/>
                    <a:gd name="connsiteY72" fmla="*/ 317182 h 435292"/>
                    <a:gd name="connsiteX73" fmla="*/ 332423 w 779144"/>
                    <a:gd name="connsiteY73" fmla="*/ 298132 h 435292"/>
                    <a:gd name="connsiteX74" fmla="*/ 320040 w 779144"/>
                    <a:gd name="connsiteY74" fmla="*/ 292417 h 435292"/>
                    <a:gd name="connsiteX75" fmla="*/ 323850 w 779144"/>
                    <a:gd name="connsiteY75" fmla="*/ 279082 h 435292"/>
                    <a:gd name="connsiteX76" fmla="*/ 353377 w 779144"/>
                    <a:gd name="connsiteY76" fmla="*/ 277177 h 435292"/>
                    <a:gd name="connsiteX77" fmla="*/ 367665 w 779144"/>
                    <a:gd name="connsiteY77" fmla="*/ 259080 h 435292"/>
                    <a:gd name="connsiteX78" fmla="*/ 367665 w 779144"/>
                    <a:gd name="connsiteY78" fmla="*/ 250507 h 435292"/>
                    <a:gd name="connsiteX79" fmla="*/ 384810 w 779144"/>
                    <a:gd name="connsiteY79" fmla="*/ 248602 h 435292"/>
                    <a:gd name="connsiteX80" fmla="*/ 392430 w 779144"/>
                    <a:gd name="connsiteY80" fmla="*/ 255270 h 435292"/>
                    <a:gd name="connsiteX81" fmla="*/ 393382 w 779144"/>
                    <a:gd name="connsiteY81" fmla="*/ 280035 h 435292"/>
                    <a:gd name="connsiteX82" fmla="*/ 408623 w 779144"/>
                    <a:gd name="connsiteY82" fmla="*/ 284797 h 435292"/>
                    <a:gd name="connsiteX83" fmla="*/ 419100 w 779144"/>
                    <a:gd name="connsiteY83" fmla="*/ 257175 h 435292"/>
                    <a:gd name="connsiteX84" fmla="*/ 410527 w 779144"/>
                    <a:gd name="connsiteY84" fmla="*/ 246697 h 435292"/>
                    <a:gd name="connsiteX85" fmla="*/ 447675 w 779144"/>
                    <a:gd name="connsiteY85" fmla="*/ 225742 h 435292"/>
                    <a:gd name="connsiteX86" fmla="*/ 458152 w 779144"/>
                    <a:gd name="connsiteY86" fmla="*/ 224790 h 435292"/>
                    <a:gd name="connsiteX87" fmla="*/ 486727 w 779144"/>
                    <a:gd name="connsiteY87" fmla="*/ 233363 h 435292"/>
                    <a:gd name="connsiteX88" fmla="*/ 482918 w 779144"/>
                    <a:gd name="connsiteY88" fmla="*/ 253365 h 435292"/>
                    <a:gd name="connsiteX89" fmla="*/ 489585 w 779144"/>
                    <a:gd name="connsiteY89" fmla="*/ 272415 h 435292"/>
                    <a:gd name="connsiteX90" fmla="*/ 188595 w 779144"/>
                    <a:gd name="connsiteY90" fmla="*/ 407670 h 435292"/>
                    <a:gd name="connsiteX91" fmla="*/ 174307 w 779144"/>
                    <a:gd name="connsiteY91" fmla="*/ 403860 h 435292"/>
                    <a:gd name="connsiteX92" fmla="*/ 144780 w 779144"/>
                    <a:gd name="connsiteY92" fmla="*/ 410527 h 435292"/>
                    <a:gd name="connsiteX93" fmla="*/ 95250 w 779144"/>
                    <a:gd name="connsiteY93" fmla="*/ 398145 h 435292"/>
                    <a:gd name="connsiteX94" fmla="*/ 69532 w 779144"/>
                    <a:gd name="connsiteY94" fmla="*/ 397192 h 435292"/>
                    <a:gd name="connsiteX95" fmla="*/ 64770 w 779144"/>
                    <a:gd name="connsiteY95" fmla="*/ 377190 h 435292"/>
                    <a:gd name="connsiteX96" fmla="*/ 57150 w 779144"/>
                    <a:gd name="connsiteY96" fmla="*/ 363855 h 435292"/>
                    <a:gd name="connsiteX97" fmla="*/ 67628 w 779144"/>
                    <a:gd name="connsiteY97" fmla="*/ 360997 h 435292"/>
                    <a:gd name="connsiteX98" fmla="*/ 59055 w 779144"/>
                    <a:gd name="connsiteY98" fmla="*/ 323850 h 435292"/>
                    <a:gd name="connsiteX99" fmla="*/ 28575 w 779144"/>
                    <a:gd name="connsiteY99" fmla="*/ 311467 h 435292"/>
                    <a:gd name="connsiteX100" fmla="*/ 4763 w 779144"/>
                    <a:gd name="connsiteY100" fmla="*/ 298132 h 435292"/>
                    <a:gd name="connsiteX101" fmla="*/ 9525 w 779144"/>
                    <a:gd name="connsiteY101" fmla="*/ 244792 h 435292"/>
                    <a:gd name="connsiteX102" fmla="*/ 0 w 779144"/>
                    <a:gd name="connsiteY102" fmla="*/ 222885 h 435292"/>
                    <a:gd name="connsiteX103" fmla="*/ 953 w 779144"/>
                    <a:gd name="connsiteY103" fmla="*/ 157163 h 435292"/>
                    <a:gd name="connsiteX104" fmla="*/ 13335 w 779144"/>
                    <a:gd name="connsiteY104" fmla="*/ 156210 h 435292"/>
                    <a:gd name="connsiteX105" fmla="*/ 42863 w 779144"/>
                    <a:gd name="connsiteY105" fmla="*/ 163830 h 435292"/>
                    <a:gd name="connsiteX106" fmla="*/ 57150 w 779144"/>
                    <a:gd name="connsiteY106" fmla="*/ 172402 h 435292"/>
                    <a:gd name="connsiteX107" fmla="*/ 62865 w 779144"/>
                    <a:gd name="connsiteY107" fmla="*/ 154305 h 435292"/>
                    <a:gd name="connsiteX108" fmla="*/ 78105 w 779144"/>
                    <a:gd name="connsiteY108" fmla="*/ 139065 h 435292"/>
                    <a:gd name="connsiteX109" fmla="*/ 97155 w 779144"/>
                    <a:gd name="connsiteY109" fmla="*/ 131445 h 435292"/>
                    <a:gd name="connsiteX110" fmla="*/ 112395 w 779144"/>
                    <a:gd name="connsiteY110" fmla="*/ 143827 h 435292"/>
                    <a:gd name="connsiteX111" fmla="*/ 115253 w 779144"/>
                    <a:gd name="connsiteY111" fmla="*/ 100965 h 435292"/>
                    <a:gd name="connsiteX112" fmla="*/ 100013 w 779144"/>
                    <a:gd name="connsiteY112" fmla="*/ 96202 h 435292"/>
                    <a:gd name="connsiteX113" fmla="*/ 87630 w 779144"/>
                    <a:gd name="connsiteY113" fmla="*/ 100013 h 435292"/>
                    <a:gd name="connsiteX114" fmla="*/ 75247 w 779144"/>
                    <a:gd name="connsiteY114" fmla="*/ 118110 h 435292"/>
                    <a:gd name="connsiteX115" fmla="*/ 65722 w 779144"/>
                    <a:gd name="connsiteY115" fmla="*/ 140970 h 435292"/>
                    <a:gd name="connsiteX116" fmla="*/ 47625 w 779144"/>
                    <a:gd name="connsiteY116" fmla="*/ 142875 h 435292"/>
                    <a:gd name="connsiteX117" fmla="*/ 33338 w 779144"/>
                    <a:gd name="connsiteY117" fmla="*/ 149542 h 435292"/>
                    <a:gd name="connsiteX118" fmla="*/ 10478 w 779144"/>
                    <a:gd name="connsiteY118" fmla="*/ 136207 h 435292"/>
                    <a:gd name="connsiteX119" fmla="*/ 11430 w 779144"/>
                    <a:gd name="connsiteY119" fmla="*/ 122872 h 435292"/>
                    <a:gd name="connsiteX120" fmla="*/ 26670 w 779144"/>
                    <a:gd name="connsiteY120" fmla="*/ 104775 h 435292"/>
                    <a:gd name="connsiteX121" fmla="*/ 45720 w 779144"/>
                    <a:gd name="connsiteY121" fmla="*/ 86677 h 435292"/>
                    <a:gd name="connsiteX122" fmla="*/ 66675 w 779144"/>
                    <a:gd name="connsiteY122" fmla="*/ 86677 h 435292"/>
                    <a:gd name="connsiteX123" fmla="*/ 81915 w 779144"/>
                    <a:gd name="connsiteY123" fmla="*/ 80963 h 435292"/>
                    <a:gd name="connsiteX124" fmla="*/ 119063 w 779144"/>
                    <a:gd name="connsiteY124" fmla="*/ 81915 h 435292"/>
                    <a:gd name="connsiteX125" fmla="*/ 145732 w 779144"/>
                    <a:gd name="connsiteY125" fmla="*/ 69532 h 435292"/>
                    <a:gd name="connsiteX126" fmla="*/ 172402 w 779144"/>
                    <a:gd name="connsiteY126" fmla="*/ 35242 h 435292"/>
                    <a:gd name="connsiteX127" fmla="*/ 186690 w 779144"/>
                    <a:gd name="connsiteY127" fmla="*/ 20955 h 435292"/>
                    <a:gd name="connsiteX128" fmla="*/ 218123 w 779144"/>
                    <a:gd name="connsiteY128" fmla="*/ 16192 h 435292"/>
                    <a:gd name="connsiteX129" fmla="*/ 246698 w 779144"/>
                    <a:gd name="connsiteY129" fmla="*/ 0 h 435292"/>
                    <a:gd name="connsiteX130" fmla="*/ 239077 w 779144"/>
                    <a:gd name="connsiteY130" fmla="*/ 23813 h 435292"/>
                    <a:gd name="connsiteX131" fmla="*/ 250507 w 779144"/>
                    <a:gd name="connsiteY131" fmla="*/ 40005 h 435292"/>
                    <a:gd name="connsiteX132" fmla="*/ 250507 w 779144"/>
                    <a:gd name="connsiteY132" fmla="*/ 68580 h 435292"/>
                    <a:gd name="connsiteX133" fmla="*/ 241935 w 779144"/>
                    <a:gd name="connsiteY133" fmla="*/ 78105 h 435292"/>
                    <a:gd name="connsiteX134" fmla="*/ 228600 w 779144"/>
                    <a:gd name="connsiteY134" fmla="*/ 101917 h 435292"/>
                    <a:gd name="connsiteX135" fmla="*/ 230505 w 779144"/>
                    <a:gd name="connsiteY135" fmla="*/ 155257 h 435292"/>
                    <a:gd name="connsiteX136" fmla="*/ 254318 w 779144"/>
                    <a:gd name="connsiteY136" fmla="*/ 169545 h 435292"/>
                    <a:gd name="connsiteX137" fmla="*/ 293370 w 779144"/>
                    <a:gd name="connsiteY137" fmla="*/ 169545 h 435292"/>
                    <a:gd name="connsiteX138" fmla="*/ 302895 w 779144"/>
                    <a:gd name="connsiteY138" fmla="*/ 180022 h 435292"/>
                    <a:gd name="connsiteX139" fmla="*/ 296227 w 779144"/>
                    <a:gd name="connsiteY139" fmla="*/ 200977 h 435292"/>
                    <a:gd name="connsiteX140" fmla="*/ 271463 w 779144"/>
                    <a:gd name="connsiteY140" fmla="*/ 214313 h 435292"/>
                    <a:gd name="connsiteX141" fmla="*/ 262890 w 779144"/>
                    <a:gd name="connsiteY141" fmla="*/ 214313 h 435292"/>
                    <a:gd name="connsiteX142" fmla="*/ 249555 w 779144"/>
                    <a:gd name="connsiteY142" fmla="*/ 203835 h 435292"/>
                    <a:gd name="connsiteX143" fmla="*/ 239077 w 779144"/>
                    <a:gd name="connsiteY143" fmla="*/ 212407 h 435292"/>
                    <a:gd name="connsiteX144" fmla="*/ 227648 w 779144"/>
                    <a:gd name="connsiteY144" fmla="*/ 260985 h 435292"/>
                    <a:gd name="connsiteX145" fmla="*/ 208598 w 779144"/>
                    <a:gd name="connsiteY145" fmla="*/ 260032 h 435292"/>
                    <a:gd name="connsiteX146" fmla="*/ 197168 w 779144"/>
                    <a:gd name="connsiteY146" fmla="*/ 264795 h 435292"/>
                    <a:gd name="connsiteX147" fmla="*/ 210502 w 779144"/>
                    <a:gd name="connsiteY147" fmla="*/ 276225 h 435292"/>
                    <a:gd name="connsiteX148" fmla="*/ 198120 w 779144"/>
                    <a:gd name="connsiteY148" fmla="*/ 283845 h 435292"/>
                    <a:gd name="connsiteX149" fmla="*/ 165735 w 779144"/>
                    <a:gd name="connsiteY149" fmla="*/ 313372 h 435292"/>
                    <a:gd name="connsiteX150" fmla="*/ 176213 w 779144"/>
                    <a:gd name="connsiteY150" fmla="*/ 345757 h 435292"/>
                    <a:gd name="connsiteX151" fmla="*/ 174307 w 779144"/>
                    <a:gd name="connsiteY151" fmla="*/ 354330 h 435292"/>
                    <a:gd name="connsiteX152" fmla="*/ 160020 w 779144"/>
                    <a:gd name="connsiteY152" fmla="*/ 366713 h 435292"/>
                    <a:gd name="connsiteX153" fmla="*/ 154305 w 779144"/>
                    <a:gd name="connsiteY153" fmla="*/ 377190 h 435292"/>
                    <a:gd name="connsiteX154" fmla="*/ 176213 w 779144"/>
                    <a:gd name="connsiteY154" fmla="*/ 380047 h 435292"/>
                    <a:gd name="connsiteX155" fmla="*/ 188595 w 779144"/>
                    <a:gd name="connsiteY155" fmla="*/ 407670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779144" h="435292">
                      <a:moveTo>
                        <a:pt x="366713" y="398145"/>
                      </a:moveTo>
                      <a:lnTo>
                        <a:pt x="386715" y="407670"/>
                      </a:lnTo>
                      <a:lnTo>
                        <a:pt x="409575" y="410527"/>
                      </a:lnTo>
                      <a:lnTo>
                        <a:pt x="413385" y="428625"/>
                      </a:lnTo>
                      <a:lnTo>
                        <a:pt x="380048" y="435292"/>
                      </a:lnTo>
                      <a:lnTo>
                        <a:pt x="331470" y="415290"/>
                      </a:lnTo>
                      <a:lnTo>
                        <a:pt x="332423" y="391477"/>
                      </a:lnTo>
                      <a:lnTo>
                        <a:pt x="354330" y="389572"/>
                      </a:lnTo>
                      <a:lnTo>
                        <a:pt x="366713" y="398145"/>
                      </a:lnTo>
                      <a:close/>
                      <a:moveTo>
                        <a:pt x="497205" y="387667"/>
                      </a:moveTo>
                      <a:lnTo>
                        <a:pt x="475298" y="388620"/>
                      </a:lnTo>
                      <a:lnTo>
                        <a:pt x="457200" y="398145"/>
                      </a:lnTo>
                      <a:lnTo>
                        <a:pt x="454343" y="386715"/>
                      </a:lnTo>
                      <a:lnTo>
                        <a:pt x="469582" y="377190"/>
                      </a:lnTo>
                      <a:lnTo>
                        <a:pt x="481013" y="379095"/>
                      </a:lnTo>
                      <a:lnTo>
                        <a:pt x="497205" y="387667"/>
                      </a:lnTo>
                      <a:close/>
                      <a:moveTo>
                        <a:pt x="222885" y="399097"/>
                      </a:moveTo>
                      <a:lnTo>
                        <a:pt x="211455" y="401002"/>
                      </a:lnTo>
                      <a:lnTo>
                        <a:pt x="195263" y="396240"/>
                      </a:lnTo>
                      <a:lnTo>
                        <a:pt x="189548" y="374332"/>
                      </a:lnTo>
                      <a:lnTo>
                        <a:pt x="215265" y="384810"/>
                      </a:lnTo>
                      <a:lnTo>
                        <a:pt x="222885" y="399097"/>
                      </a:lnTo>
                      <a:close/>
                      <a:moveTo>
                        <a:pt x="299085" y="418147"/>
                      </a:moveTo>
                      <a:lnTo>
                        <a:pt x="285750" y="403860"/>
                      </a:lnTo>
                      <a:lnTo>
                        <a:pt x="309563" y="376238"/>
                      </a:lnTo>
                      <a:lnTo>
                        <a:pt x="316230" y="374332"/>
                      </a:lnTo>
                      <a:lnTo>
                        <a:pt x="299085" y="418147"/>
                      </a:lnTo>
                      <a:close/>
                      <a:moveTo>
                        <a:pt x="776288" y="380047"/>
                      </a:moveTo>
                      <a:lnTo>
                        <a:pt x="753427" y="378142"/>
                      </a:lnTo>
                      <a:lnTo>
                        <a:pt x="730568" y="368617"/>
                      </a:lnTo>
                      <a:lnTo>
                        <a:pt x="731520" y="349567"/>
                      </a:lnTo>
                      <a:lnTo>
                        <a:pt x="736282" y="340995"/>
                      </a:lnTo>
                      <a:lnTo>
                        <a:pt x="779145" y="362902"/>
                      </a:lnTo>
                      <a:lnTo>
                        <a:pt x="776288" y="380047"/>
                      </a:lnTo>
                      <a:close/>
                      <a:moveTo>
                        <a:pt x="280035" y="297180"/>
                      </a:moveTo>
                      <a:lnTo>
                        <a:pt x="301943" y="338138"/>
                      </a:lnTo>
                      <a:lnTo>
                        <a:pt x="300990" y="364807"/>
                      </a:lnTo>
                      <a:lnTo>
                        <a:pt x="283845" y="376238"/>
                      </a:lnTo>
                      <a:lnTo>
                        <a:pt x="263843" y="376238"/>
                      </a:lnTo>
                      <a:lnTo>
                        <a:pt x="212407" y="360045"/>
                      </a:lnTo>
                      <a:lnTo>
                        <a:pt x="196215" y="332422"/>
                      </a:lnTo>
                      <a:lnTo>
                        <a:pt x="195263" y="310515"/>
                      </a:lnTo>
                      <a:lnTo>
                        <a:pt x="240982" y="297180"/>
                      </a:lnTo>
                      <a:lnTo>
                        <a:pt x="265748" y="304800"/>
                      </a:lnTo>
                      <a:lnTo>
                        <a:pt x="280035" y="297180"/>
                      </a:lnTo>
                      <a:close/>
                      <a:moveTo>
                        <a:pt x="501968" y="299085"/>
                      </a:moveTo>
                      <a:lnTo>
                        <a:pt x="492443" y="304800"/>
                      </a:lnTo>
                      <a:lnTo>
                        <a:pt x="485775" y="296227"/>
                      </a:lnTo>
                      <a:lnTo>
                        <a:pt x="494348" y="287655"/>
                      </a:lnTo>
                      <a:lnTo>
                        <a:pt x="501968" y="299085"/>
                      </a:lnTo>
                      <a:close/>
                      <a:moveTo>
                        <a:pt x="274320" y="272415"/>
                      </a:moveTo>
                      <a:lnTo>
                        <a:pt x="265748" y="272415"/>
                      </a:lnTo>
                      <a:lnTo>
                        <a:pt x="265748" y="243840"/>
                      </a:lnTo>
                      <a:lnTo>
                        <a:pt x="280035" y="259080"/>
                      </a:lnTo>
                      <a:lnTo>
                        <a:pt x="274320" y="272415"/>
                      </a:lnTo>
                      <a:close/>
                      <a:moveTo>
                        <a:pt x="489585" y="272415"/>
                      </a:moveTo>
                      <a:lnTo>
                        <a:pt x="490538" y="286702"/>
                      </a:lnTo>
                      <a:lnTo>
                        <a:pt x="483870" y="293370"/>
                      </a:lnTo>
                      <a:lnTo>
                        <a:pt x="464820" y="300038"/>
                      </a:lnTo>
                      <a:lnTo>
                        <a:pt x="454343" y="317182"/>
                      </a:lnTo>
                      <a:lnTo>
                        <a:pt x="473393" y="328613"/>
                      </a:lnTo>
                      <a:lnTo>
                        <a:pt x="478155" y="342900"/>
                      </a:lnTo>
                      <a:lnTo>
                        <a:pt x="468630" y="349567"/>
                      </a:lnTo>
                      <a:lnTo>
                        <a:pt x="443865" y="356235"/>
                      </a:lnTo>
                      <a:lnTo>
                        <a:pt x="443865" y="409575"/>
                      </a:lnTo>
                      <a:lnTo>
                        <a:pt x="422910" y="415290"/>
                      </a:lnTo>
                      <a:lnTo>
                        <a:pt x="408623" y="395288"/>
                      </a:lnTo>
                      <a:lnTo>
                        <a:pt x="407670" y="386715"/>
                      </a:lnTo>
                      <a:lnTo>
                        <a:pt x="395288" y="357188"/>
                      </a:lnTo>
                      <a:lnTo>
                        <a:pt x="376238" y="353377"/>
                      </a:lnTo>
                      <a:lnTo>
                        <a:pt x="355282" y="354330"/>
                      </a:lnTo>
                      <a:lnTo>
                        <a:pt x="340995" y="337185"/>
                      </a:lnTo>
                      <a:lnTo>
                        <a:pt x="341948" y="317182"/>
                      </a:lnTo>
                      <a:lnTo>
                        <a:pt x="332423" y="298132"/>
                      </a:lnTo>
                      <a:lnTo>
                        <a:pt x="320040" y="292417"/>
                      </a:lnTo>
                      <a:lnTo>
                        <a:pt x="323850" y="279082"/>
                      </a:lnTo>
                      <a:lnTo>
                        <a:pt x="353377" y="277177"/>
                      </a:lnTo>
                      <a:lnTo>
                        <a:pt x="367665" y="259080"/>
                      </a:lnTo>
                      <a:lnTo>
                        <a:pt x="367665" y="250507"/>
                      </a:lnTo>
                      <a:lnTo>
                        <a:pt x="384810" y="248602"/>
                      </a:lnTo>
                      <a:lnTo>
                        <a:pt x="392430" y="255270"/>
                      </a:lnTo>
                      <a:lnTo>
                        <a:pt x="393382" y="280035"/>
                      </a:lnTo>
                      <a:lnTo>
                        <a:pt x="408623" y="284797"/>
                      </a:lnTo>
                      <a:lnTo>
                        <a:pt x="419100" y="257175"/>
                      </a:lnTo>
                      <a:lnTo>
                        <a:pt x="410527" y="246697"/>
                      </a:lnTo>
                      <a:lnTo>
                        <a:pt x="447675" y="225742"/>
                      </a:lnTo>
                      <a:lnTo>
                        <a:pt x="458152" y="224790"/>
                      </a:lnTo>
                      <a:lnTo>
                        <a:pt x="486727" y="233363"/>
                      </a:lnTo>
                      <a:lnTo>
                        <a:pt x="482918" y="253365"/>
                      </a:lnTo>
                      <a:lnTo>
                        <a:pt x="489585" y="272415"/>
                      </a:lnTo>
                      <a:close/>
                      <a:moveTo>
                        <a:pt x="188595" y="407670"/>
                      </a:moveTo>
                      <a:lnTo>
                        <a:pt x="174307" y="403860"/>
                      </a:lnTo>
                      <a:lnTo>
                        <a:pt x="144780" y="410527"/>
                      </a:lnTo>
                      <a:lnTo>
                        <a:pt x="95250" y="398145"/>
                      </a:lnTo>
                      <a:lnTo>
                        <a:pt x="69532" y="397192"/>
                      </a:lnTo>
                      <a:lnTo>
                        <a:pt x="64770" y="377190"/>
                      </a:lnTo>
                      <a:lnTo>
                        <a:pt x="57150" y="363855"/>
                      </a:lnTo>
                      <a:lnTo>
                        <a:pt x="67628" y="360997"/>
                      </a:lnTo>
                      <a:lnTo>
                        <a:pt x="59055" y="323850"/>
                      </a:lnTo>
                      <a:lnTo>
                        <a:pt x="28575" y="311467"/>
                      </a:lnTo>
                      <a:lnTo>
                        <a:pt x="4763" y="298132"/>
                      </a:lnTo>
                      <a:lnTo>
                        <a:pt x="9525" y="244792"/>
                      </a:lnTo>
                      <a:lnTo>
                        <a:pt x="0" y="222885"/>
                      </a:lnTo>
                      <a:lnTo>
                        <a:pt x="953" y="157163"/>
                      </a:lnTo>
                      <a:lnTo>
                        <a:pt x="13335" y="156210"/>
                      </a:lnTo>
                      <a:lnTo>
                        <a:pt x="42863" y="163830"/>
                      </a:lnTo>
                      <a:lnTo>
                        <a:pt x="57150" y="172402"/>
                      </a:lnTo>
                      <a:lnTo>
                        <a:pt x="62865" y="154305"/>
                      </a:lnTo>
                      <a:lnTo>
                        <a:pt x="78105" y="139065"/>
                      </a:lnTo>
                      <a:lnTo>
                        <a:pt x="97155" y="131445"/>
                      </a:lnTo>
                      <a:lnTo>
                        <a:pt x="112395" y="143827"/>
                      </a:lnTo>
                      <a:lnTo>
                        <a:pt x="115253" y="100965"/>
                      </a:lnTo>
                      <a:lnTo>
                        <a:pt x="100013" y="96202"/>
                      </a:lnTo>
                      <a:lnTo>
                        <a:pt x="87630" y="100013"/>
                      </a:lnTo>
                      <a:lnTo>
                        <a:pt x="75247" y="118110"/>
                      </a:lnTo>
                      <a:lnTo>
                        <a:pt x="65722" y="140970"/>
                      </a:lnTo>
                      <a:lnTo>
                        <a:pt x="47625" y="142875"/>
                      </a:lnTo>
                      <a:lnTo>
                        <a:pt x="33338" y="149542"/>
                      </a:lnTo>
                      <a:lnTo>
                        <a:pt x="10478" y="136207"/>
                      </a:lnTo>
                      <a:lnTo>
                        <a:pt x="11430" y="122872"/>
                      </a:lnTo>
                      <a:lnTo>
                        <a:pt x="26670" y="104775"/>
                      </a:lnTo>
                      <a:lnTo>
                        <a:pt x="45720" y="86677"/>
                      </a:lnTo>
                      <a:lnTo>
                        <a:pt x="66675" y="86677"/>
                      </a:lnTo>
                      <a:lnTo>
                        <a:pt x="81915" y="80963"/>
                      </a:lnTo>
                      <a:lnTo>
                        <a:pt x="119063" y="81915"/>
                      </a:lnTo>
                      <a:lnTo>
                        <a:pt x="145732" y="69532"/>
                      </a:lnTo>
                      <a:lnTo>
                        <a:pt x="172402" y="35242"/>
                      </a:lnTo>
                      <a:lnTo>
                        <a:pt x="186690" y="20955"/>
                      </a:lnTo>
                      <a:lnTo>
                        <a:pt x="218123" y="16192"/>
                      </a:lnTo>
                      <a:lnTo>
                        <a:pt x="246698" y="0"/>
                      </a:lnTo>
                      <a:lnTo>
                        <a:pt x="239077" y="23813"/>
                      </a:lnTo>
                      <a:lnTo>
                        <a:pt x="250507" y="40005"/>
                      </a:lnTo>
                      <a:lnTo>
                        <a:pt x="250507" y="68580"/>
                      </a:lnTo>
                      <a:lnTo>
                        <a:pt x="241935" y="78105"/>
                      </a:lnTo>
                      <a:lnTo>
                        <a:pt x="228600" y="101917"/>
                      </a:lnTo>
                      <a:lnTo>
                        <a:pt x="230505" y="155257"/>
                      </a:lnTo>
                      <a:lnTo>
                        <a:pt x="254318" y="169545"/>
                      </a:lnTo>
                      <a:lnTo>
                        <a:pt x="293370" y="169545"/>
                      </a:lnTo>
                      <a:lnTo>
                        <a:pt x="302895" y="180022"/>
                      </a:lnTo>
                      <a:lnTo>
                        <a:pt x="296227" y="200977"/>
                      </a:lnTo>
                      <a:lnTo>
                        <a:pt x="271463" y="214313"/>
                      </a:lnTo>
                      <a:lnTo>
                        <a:pt x="262890" y="214313"/>
                      </a:lnTo>
                      <a:lnTo>
                        <a:pt x="249555" y="203835"/>
                      </a:lnTo>
                      <a:lnTo>
                        <a:pt x="239077" y="212407"/>
                      </a:lnTo>
                      <a:lnTo>
                        <a:pt x="227648" y="260985"/>
                      </a:lnTo>
                      <a:lnTo>
                        <a:pt x="208598" y="260032"/>
                      </a:lnTo>
                      <a:lnTo>
                        <a:pt x="197168" y="264795"/>
                      </a:lnTo>
                      <a:lnTo>
                        <a:pt x="210502" y="276225"/>
                      </a:lnTo>
                      <a:lnTo>
                        <a:pt x="198120" y="283845"/>
                      </a:lnTo>
                      <a:lnTo>
                        <a:pt x="165735" y="313372"/>
                      </a:lnTo>
                      <a:lnTo>
                        <a:pt x="176213" y="345757"/>
                      </a:lnTo>
                      <a:lnTo>
                        <a:pt x="174307" y="354330"/>
                      </a:lnTo>
                      <a:lnTo>
                        <a:pt x="160020" y="366713"/>
                      </a:lnTo>
                      <a:lnTo>
                        <a:pt x="154305" y="377190"/>
                      </a:lnTo>
                      <a:lnTo>
                        <a:pt x="176213" y="380047"/>
                      </a:lnTo>
                      <a:lnTo>
                        <a:pt x="188595" y="40767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3" name="Estonia" descr="{&quot;Key&quot;:&quot;estonia&quot;,&quot;Name&quot;:&quot;Estonia&quot;,&quot;Value&quot;:1.0,&quot;Formula&quot;:&quot;&quot;,&quot;Text&quot;:&quot;&quot;,&quot;OfficeApplication&quot;:1,&quot;HasValue&quot;:true}">
                  <a:extLst>
                    <a:ext uri="{FF2B5EF4-FFF2-40B4-BE49-F238E27FC236}">
                      <a16:creationId xmlns:a16="http://schemas.microsoft.com/office/drawing/2014/main" id="{F204FF94-E43F-03C0-45DF-A6EABA112E9C}"/>
                    </a:ext>
                  </a:extLst>
                </p:cNvPr>
                <p:cNvSpPr/>
                <p:nvPr/>
              </p:nvSpPr>
              <p:spPr>
                <a:xfrm>
                  <a:off x="7499032" y="2775042"/>
                  <a:ext cx="647700" cy="291465"/>
                </a:xfrm>
                <a:custGeom>
                  <a:avLst/>
                  <a:gdLst>
                    <a:gd name="connsiteX0" fmla="*/ 78105 w 647700"/>
                    <a:gd name="connsiteY0" fmla="*/ 140017 h 291465"/>
                    <a:gd name="connsiteX1" fmla="*/ 115253 w 647700"/>
                    <a:gd name="connsiteY1" fmla="*/ 141922 h 291465"/>
                    <a:gd name="connsiteX2" fmla="*/ 153353 w 647700"/>
                    <a:gd name="connsiteY2" fmla="*/ 159067 h 291465"/>
                    <a:gd name="connsiteX3" fmla="*/ 136207 w 647700"/>
                    <a:gd name="connsiteY3" fmla="*/ 165735 h 291465"/>
                    <a:gd name="connsiteX4" fmla="*/ 100965 w 647700"/>
                    <a:gd name="connsiteY4" fmla="*/ 189547 h 291465"/>
                    <a:gd name="connsiteX5" fmla="*/ 98107 w 647700"/>
                    <a:gd name="connsiteY5" fmla="*/ 194310 h 291465"/>
                    <a:gd name="connsiteX6" fmla="*/ 73343 w 647700"/>
                    <a:gd name="connsiteY6" fmla="*/ 193357 h 291465"/>
                    <a:gd name="connsiteX7" fmla="*/ 60007 w 647700"/>
                    <a:gd name="connsiteY7" fmla="*/ 195263 h 291465"/>
                    <a:gd name="connsiteX8" fmla="*/ 50482 w 647700"/>
                    <a:gd name="connsiteY8" fmla="*/ 203835 h 291465"/>
                    <a:gd name="connsiteX9" fmla="*/ 41910 w 647700"/>
                    <a:gd name="connsiteY9" fmla="*/ 230505 h 291465"/>
                    <a:gd name="connsiteX10" fmla="*/ 26670 w 647700"/>
                    <a:gd name="connsiteY10" fmla="*/ 235267 h 291465"/>
                    <a:gd name="connsiteX11" fmla="*/ 23813 w 647700"/>
                    <a:gd name="connsiteY11" fmla="*/ 226695 h 291465"/>
                    <a:gd name="connsiteX12" fmla="*/ 39053 w 647700"/>
                    <a:gd name="connsiteY12" fmla="*/ 209550 h 291465"/>
                    <a:gd name="connsiteX13" fmla="*/ 24765 w 647700"/>
                    <a:gd name="connsiteY13" fmla="*/ 196215 h 291465"/>
                    <a:gd name="connsiteX14" fmla="*/ 6668 w 647700"/>
                    <a:gd name="connsiteY14" fmla="*/ 189547 h 291465"/>
                    <a:gd name="connsiteX15" fmla="*/ 15240 w 647700"/>
                    <a:gd name="connsiteY15" fmla="*/ 172403 h 291465"/>
                    <a:gd name="connsiteX16" fmla="*/ 0 w 647700"/>
                    <a:gd name="connsiteY16" fmla="*/ 157163 h 291465"/>
                    <a:gd name="connsiteX17" fmla="*/ 14288 w 647700"/>
                    <a:gd name="connsiteY17" fmla="*/ 155257 h 291465"/>
                    <a:gd name="connsiteX18" fmla="*/ 23813 w 647700"/>
                    <a:gd name="connsiteY18" fmla="*/ 160020 h 291465"/>
                    <a:gd name="connsiteX19" fmla="*/ 42863 w 647700"/>
                    <a:gd name="connsiteY19" fmla="*/ 155257 h 291465"/>
                    <a:gd name="connsiteX20" fmla="*/ 47625 w 647700"/>
                    <a:gd name="connsiteY20" fmla="*/ 145732 h 291465"/>
                    <a:gd name="connsiteX21" fmla="*/ 78105 w 647700"/>
                    <a:gd name="connsiteY21" fmla="*/ 140017 h 291465"/>
                    <a:gd name="connsiteX22" fmla="*/ 157163 w 647700"/>
                    <a:gd name="connsiteY22" fmla="*/ 149542 h 291465"/>
                    <a:gd name="connsiteX23" fmla="*/ 148590 w 647700"/>
                    <a:gd name="connsiteY23" fmla="*/ 151447 h 291465"/>
                    <a:gd name="connsiteX24" fmla="*/ 125730 w 647700"/>
                    <a:gd name="connsiteY24" fmla="*/ 140970 h 291465"/>
                    <a:gd name="connsiteX25" fmla="*/ 135255 w 647700"/>
                    <a:gd name="connsiteY25" fmla="*/ 131445 h 291465"/>
                    <a:gd name="connsiteX26" fmla="*/ 153353 w 647700"/>
                    <a:gd name="connsiteY26" fmla="*/ 136207 h 291465"/>
                    <a:gd name="connsiteX27" fmla="*/ 157163 w 647700"/>
                    <a:gd name="connsiteY27" fmla="*/ 149542 h 291465"/>
                    <a:gd name="connsiteX28" fmla="*/ 105728 w 647700"/>
                    <a:gd name="connsiteY28" fmla="*/ 111442 h 291465"/>
                    <a:gd name="connsiteX29" fmla="*/ 98107 w 647700"/>
                    <a:gd name="connsiteY29" fmla="*/ 118110 h 291465"/>
                    <a:gd name="connsiteX30" fmla="*/ 89535 w 647700"/>
                    <a:gd name="connsiteY30" fmla="*/ 112395 h 291465"/>
                    <a:gd name="connsiteX31" fmla="*/ 80963 w 647700"/>
                    <a:gd name="connsiteY31" fmla="*/ 127635 h 291465"/>
                    <a:gd name="connsiteX32" fmla="*/ 68580 w 647700"/>
                    <a:gd name="connsiteY32" fmla="*/ 130492 h 291465"/>
                    <a:gd name="connsiteX33" fmla="*/ 50482 w 647700"/>
                    <a:gd name="connsiteY33" fmla="*/ 106680 h 291465"/>
                    <a:gd name="connsiteX34" fmla="*/ 22860 w 647700"/>
                    <a:gd name="connsiteY34" fmla="*/ 101917 h 291465"/>
                    <a:gd name="connsiteX35" fmla="*/ 10478 w 647700"/>
                    <a:gd name="connsiteY35" fmla="*/ 95250 h 291465"/>
                    <a:gd name="connsiteX36" fmla="*/ 53340 w 647700"/>
                    <a:gd name="connsiteY36" fmla="*/ 91440 h 291465"/>
                    <a:gd name="connsiteX37" fmla="*/ 64770 w 647700"/>
                    <a:gd name="connsiteY37" fmla="*/ 76200 h 291465"/>
                    <a:gd name="connsiteX38" fmla="*/ 77153 w 647700"/>
                    <a:gd name="connsiteY38" fmla="*/ 77153 h 291465"/>
                    <a:gd name="connsiteX39" fmla="*/ 80963 w 647700"/>
                    <a:gd name="connsiteY39" fmla="*/ 85725 h 291465"/>
                    <a:gd name="connsiteX40" fmla="*/ 100965 w 647700"/>
                    <a:gd name="connsiteY40" fmla="*/ 88582 h 291465"/>
                    <a:gd name="connsiteX41" fmla="*/ 109538 w 647700"/>
                    <a:gd name="connsiteY41" fmla="*/ 98107 h 291465"/>
                    <a:gd name="connsiteX42" fmla="*/ 105728 w 647700"/>
                    <a:gd name="connsiteY42" fmla="*/ 111442 h 291465"/>
                    <a:gd name="connsiteX43" fmla="*/ 612457 w 647700"/>
                    <a:gd name="connsiteY43" fmla="*/ 291465 h 291465"/>
                    <a:gd name="connsiteX44" fmla="*/ 594360 w 647700"/>
                    <a:gd name="connsiteY44" fmla="*/ 289560 h 291465"/>
                    <a:gd name="connsiteX45" fmla="*/ 561975 w 647700"/>
                    <a:gd name="connsiteY45" fmla="*/ 280035 h 291465"/>
                    <a:gd name="connsiteX46" fmla="*/ 523875 w 647700"/>
                    <a:gd name="connsiteY46" fmla="*/ 291465 h 291465"/>
                    <a:gd name="connsiteX47" fmla="*/ 497205 w 647700"/>
                    <a:gd name="connsiteY47" fmla="*/ 280988 h 291465"/>
                    <a:gd name="connsiteX48" fmla="*/ 463868 w 647700"/>
                    <a:gd name="connsiteY48" fmla="*/ 255270 h 291465"/>
                    <a:gd name="connsiteX49" fmla="*/ 458153 w 647700"/>
                    <a:gd name="connsiteY49" fmla="*/ 248603 h 291465"/>
                    <a:gd name="connsiteX50" fmla="*/ 436245 w 647700"/>
                    <a:gd name="connsiteY50" fmla="*/ 243840 h 291465"/>
                    <a:gd name="connsiteX51" fmla="*/ 382905 w 647700"/>
                    <a:gd name="connsiteY51" fmla="*/ 220028 h 291465"/>
                    <a:gd name="connsiteX52" fmla="*/ 372428 w 647700"/>
                    <a:gd name="connsiteY52" fmla="*/ 226695 h 291465"/>
                    <a:gd name="connsiteX53" fmla="*/ 358140 w 647700"/>
                    <a:gd name="connsiteY53" fmla="*/ 217170 h 291465"/>
                    <a:gd name="connsiteX54" fmla="*/ 278130 w 647700"/>
                    <a:gd name="connsiteY54" fmla="*/ 243840 h 291465"/>
                    <a:gd name="connsiteX55" fmla="*/ 287655 w 647700"/>
                    <a:gd name="connsiteY55" fmla="*/ 211455 h 291465"/>
                    <a:gd name="connsiteX56" fmla="*/ 288607 w 647700"/>
                    <a:gd name="connsiteY56" fmla="*/ 177165 h 291465"/>
                    <a:gd name="connsiteX57" fmla="*/ 266700 w 647700"/>
                    <a:gd name="connsiteY57" fmla="*/ 173355 h 291465"/>
                    <a:gd name="connsiteX58" fmla="*/ 258128 w 647700"/>
                    <a:gd name="connsiteY58" fmla="*/ 185738 h 291465"/>
                    <a:gd name="connsiteX59" fmla="*/ 245745 w 647700"/>
                    <a:gd name="connsiteY59" fmla="*/ 188595 h 291465"/>
                    <a:gd name="connsiteX60" fmla="*/ 206693 w 647700"/>
                    <a:gd name="connsiteY60" fmla="*/ 176213 h 291465"/>
                    <a:gd name="connsiteX61" fmla="*/ 195263 w 647700"/>
                    <a:gd name="connsiteY61" fmla="*/ 156210 h 291465"/>
                    <a:gd name="connsiteX62" fmla="*/ 180023 w 647700"/>
                    <a:gd name="connsiteY62" fmla="*/ 145732 h 291465"/>
                    <a:gd name="connsiteX63" fmla="*/ 172403 w 647700"/>
                    <a:gd name="connsiteY63" fmla="*/ 134303 h 291465"/>
                    <a:gd name="connsiteX64" fmla="*/ 172403 w 647700"/>
                    <a:gd name="connsiteY64" fmla="*/ 117157 h 291465"/>
                    <a:gd name="connsiteX65" fmla="*/ 158115 w 647700"/>
                    <a:gd name="connsiteY65" fmla="*/ 98107 h 291465"/>
                    <a:gd name="connsiteX66" fmla="*/ 164782 w 647700"/>
                    <a:gd name="connsiteY66" fmla="*/ 87630 h 291465"/>
                    <a:gd name="connsiteX67" fmla="*/ 158115 w 647700"/>
                    <a:gd name="connsiteY67" fmla="*/ 60960 h 291465"/>
                    <a:gd name="connsiteX68" fmla="*/ 186690 w 647700"/>
                    <a:gd name="connsiteY68" fmla="*/ 49530 h 291465"/>
                    <a:gd name="connsiteX69" fmla="*/ 218123 w 647700"/>
                    <a:gd name="connsiteY69" fmla="*/ 47625 h 291465"/>
                    <a:gd name="connsiteX70" fmla="*/ 226695 w 647700"/>
                    <a:gd name="connsiteY70" fmla="*/ 35242 h 291465"/>
                    <a:gd name="connsiteX71" fmla="*/ 245745 w 647700"/>
                    <a:gd name="connsiteY71" fmla="*/ 22860 h 291465"/>
                    <a:gd name="connsiteX72" fmla="*/ 267653 w 647700"/>
                    <a:gd name="connsiteY72" fmla="*/ 24765 h 291465"/>
                    <a:gd name="connsiteX73" fmla="*/ 297180 w 647700"/>
                    <a:gd name="connsiteY73" fmla="*/ 15240 h 291465"/>
                    <a:gd name="connsiteX74" fmla="*/ 357188 w 647700"/>
                    <a:gd name="connsiteY74" fmla="*/ 16192 h 291465"/>
                    <a:gd name="connsiteX75" fmla="*/ 360998 w 647700"/>
                    <a:gd name="connsiteY75" fmla="*/ 0 h 291465"/>
                    <a:gd name="connsiteX76" fmla="*/ 391478 w 647700"/>
                    <a:gd name="connsiteY76" fmla="*/ 0 h 291465"/>
                    <a:gd name="connsiteX77" fmla="*/ 463868 w 647700"/>
                    <a:gd name="connsiteY77" fmla="*/ 11430 h 291465"/>
                    <a:gd name="connsiteX78" fmla="*/ 481013 w 647700"/>
                    <a:gd name="connsiteY78" fmla="*/ 11430 h 291465"/>
                    <a:gd name="connsiteX79" fmla="*/ 507682 w 647700"/>
                    <a:gd name="connsiteY79" fmla="*/ 22860 h 291465"/>
                    <a:gd name="connsiteX80" fmla="*/ 521018 w 647700"/>
                    <a:gd name="connsiteY80" fmla="*/ 25717 h 291465"/>
                    <a:gd name="connsiteX81" fmla="*/ 559118 w 647700"/>
                    <a:gd name="connsiteY81" fmla="*/ 25717 h 291465"/>
                    <a:gd name="connsiteX82" fmla="*/ 619125 w 647700"/>
                    <a:gd name="connsiteY82" fmla="*/ 30480 h 291465"/>
                    <a:gd name="connsiteX83" fmla="*/ 630555 w 647700"/>
                    <a:gd name="connsiteY83" fmla="*/ 20955 h 291465"/>
                    <a:gd name="connsiteX84" fmla="*/ 644843 w 647700"/>
                    <a:gd name="connsiteY84" fmla="*/ 32385 h 291465"/>
                    <a:gd name="connsiteX85" fmla="*/ 635318 w 647700"/>
                    <a:gd name="connsiteY85" fmla="*/ 45720 h 291465"/>
                    <a:gd name="connsiteX86" fmla="*/ 623888 w 647700"/>
                    <a:gd name="connsiteY86" fmla="*/ 49530 h 291465"/>
                    <a:gd name="connsiteX87" fmla="*/ 615315 w 647700"/>
                    <a:gd name="connsiteY87" fmla="*/ 80010 h 291465"/>
                    <a:gd name="connsiteX88" fmla="*/ 607695 w 647700"/>
                    <a:gd name="connsiteY88" fmla="*/ 89535 h 291465"/>
                    <a:gd name="connsiteX89" fmla="*/ 591503 w 647700"/>
                    <a:gd name="connsiteY89" fmla="*/ 86678 h 291465"/>
                    <a:gd name="connsiteX90" fmla="*/ 567690 w 647700"/>
                    <a:gd name="connsiteY90" fmla="*/ 88582 h 291465"/>
                    <a:gd name="connsiteX91" fmla="*/ 548640 w 647700"/>
                    <a:gd name="connsiteY91" fmla="*/ 93345 h 291465"/>
                    <a:gd name="connsiteX92" fmla="*/ 536257 w 647700"/>
                    <a:gd name="connsiteY92" fmla="*/ 103822 h 291465"/>
                    <a:gd name="connsiteX93" fmla="*/ 537210 w 647700"/>
                    <a:gd name="connsiteY93" fmla="*/ 114300 h 291465"/>
                    <a:gd name="connsiteX94" fmla="*/ 561975 w 647700"/>
                    <a:gd name="connsiteY94" fmla="*/ 136207 h 291465"/>
                    <a:gd name="connsiteX95" fmla="*/ 575310 w 647700"/>
                    <a:gd name="connsiteY95" fmla="*/ 162878 h 291465"/>
                    <a:gd name="connsiteX96" fmla="*/ 600075 w 647700"/>
                    <a:gd name="connsiteY96" fmla="*/ 183832 h 291465"/>
                    <a:gd name="connsiteX97" fmla="*/ 607695 w 647700"/>
                    <a:gd name="connsiteY97" fmla="*/ 196215 h 291465"/>
                    <a:gd name="connsiteX98" fmla="*/ 630555 w 647700"/>
                    <a:gd name="connsiteY98" fmla="*/ 223838 h 291465"/>
                    <a:gd name="connsiteX99" fmla="*/ 647700 w 647700"/>
                    <a:gd name="connsiteY99" fmla="*/ 247650 h 291465"/>
                    <a:gd name="connsiteX100" fmla="*/ 625793 w 647700"/>
                    <a:gd name="connsiteY100" fmla="*/ 253365 h 291465"/>
                    <a:gd name="connsiteX101" fmla="*/ 614363 w 647700"/>
                    <a:gd name="connsiteY101" fmla="*/ 272415 h 291465"/>
                    <a:gd name="connsiteX102" fmla="*/ 612457 w 647700"/>
                    <a:gd name="connsiteY102" fmla="*/ 291465 h 29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47700" h="291465">
                      <a:moveTo>
                        <a:pt x="78105" y="140017"/>
                      </a:moveTo>
                      <a:lnTo>
                        <a:pt x="115253" y="141922"/>
                      </a:lnTo>
                      <a:lnTo>
                        <a:pt x="153353" y="159067"/>
                      </a:lnTo>
                      <a:lnTo>
                        <a:pt x="136207" y="165735"/>
                      </a:lnTo>
                      <a:lnTo>
                        <a:pt x="100965" y="189547"/>
                      </a:lnTo>
                      <a:lnTo>
                        <a:pt x="98107" y="194310"/>
                      </a:lnTo>
                      <a:lnTo>
                        <a:pt x="73343" y="193357"/>
                      </a:lnTo>
                      <a:lnTo>
                        <a:pt x="60007" y="195263"/>
                      </a:lnTo>
                      <a:lnTo>
                        <a:pt x="50482" y="203835"/>
                      </a:lnTo>
                      <a:lnTo>
                        <a:pt x="41910" y="230505"/>
                      </a:lnTo>
                      <a:lnTo>
                        <a:pt x="26670" y="235267"/>
                      </a:lnTo>
                      <a:lnTo>
                        <a:pt x="23813" y="226695"/>
                      </a:lnTo>
                      <a:lnTo>
                        <a:pt x="39053" y="209550"/>
                      </a:lnTo>
                      <a:lnTo>
                        <a:pt x="24765" y="196215"/>
                      </a:lnTo>
                      <a:lnTo>
                        <a:pt x="6668" y="189547"/>
                      </a:lnTo>
                      <a:lnTo>
                        <a:pt x="15240" y="172403"/>
                      </a:lnTo>
                      <a:lnTo>
                        <a:pt x="0" y="157163"/>
                      </a:lnTo>
                      <a:lnTo>
                        <a:pt x="14288" y="155257"/>
                      </a:lnTo>
                      <a:lnTo>
                        <a:pt x="23813" y="160020"/>
                      </a:lnTo>
                      <a:lnTo>
                        <a:pt x="42863" y="155257"/>
                      </a:lnTo>
                      <a:lnTo>
                        <a:pt x="47625" y="145732"/>
                      </a:lnTo>
                      <a:lnTo>
                        <a:pt x="78105" y="140017"/>
                      </a:lnTo>
                      <a:close/>
                      <a:moveTo>
                        <a:pt x="157163" y="149542"/>
                      </a:moveTo>
                      <a:lnTo>
                        <a:pt x="148590" y="151447"/>
                      </a:lnTo>
                      <a:lnTo>
                        <a:pt x="125730" y="140970"/>
                      </a:lnTo>
                      <a:lnTo>
                        <a:pt x="135255" y="131445"/>
                      </a:lnTo>
                      <a:lnTo>
                        <a:pt x="153353" y="136207"/>
                      </a:lnTo>
                      <a:lnTo>
                        <a:pt x="157163" y="149542"/>
                      </a:lnTo>
                      <a:close/>
                      <a:moveTo>
                        <a:pt x="105728" y="111442"/>
                      </a:moveTo>
                      <a:lnTo>
                        <a:pt x="98107" y="118110"/>
                      </a:lnTo>
                      <a:lnTo>
                        <a:pt x="89535" y="112395"/>
                      </a:lnTo>
                      <a:lnTo>
                        <a:pt x="80963" y="127635"/>
                      </a:lnTo>
                      <a:lnTo>
                        <a:pt x="68580" y="130492"/>
                      </a:lnTo>
                      <a:lnTo>
                        <a:pt x="50482" y="106680"/>
                      </a:lnTo>
                      <a:lnTo>
                        <a:pt x="22860" y="101917"/>
                      </a:lnTo>
                      <a:lnTo>
                        <a:pt x="10478" y="95250"/>
                      </a:lnTo>
                      <a:lnTo>
                        <a:pt x="53340" y="91440"/>
                      </a:lnTo>
                      <a:lnTo>
                        <a:pt x="64770" y="76200"/>
                      </a:lnTo>
                      <a:lnTo>
                        <a:pt x="77153" y="77153"/>
                      </a:lnTo>
                      <a:lnTo>
                        <a:pt x="80963" y="85725"/>
                      </a:lnTo>
                      <a:lnTo>
                        <a:pt x="100965" y="88582"/>
                      </a:lnTo>
                      <a:lnTo>
                        <a:pt x="109538" y="98107"/>
                      </a:lnTo>
                      <a:lnTo>
                        <a:pt x="105728" y="111442"/>
                      </a:lnTo>
                      <a:close/>
                      <a:moveTo>
                        <a:pt x="612457" y="291465"/>
                      </a:moveTo>
                      <a:lnTo>
                        <a:pt x="594360" y="289560"/>
                      </a:lnTo>
                      <a:lnTo>
                        <a:pt x="561975" y="280035"/>
                      </a:lnTo>
                      <a:lnTo>
                        <a:pt x="523875" y="291465"/>
                      </a:lnTo>
                      <a:lnTo>
                        <a:pt x="497205" y="280988"/>
                      </a:lnTo>
                      <a:lnTo>
                        <a:pt x="463868" y="255270"/>
                      </a:lnTo>
                      <a:lnTo>
                        <a:pt x="458153" y="248603"/>
                      </a:lnTo>
                      <a:lnTo>
                        <a:pt x="436245" y="243840"/>
                      </a:lnTo>
                      <a:lnTo>
                        <a:pt x="382905" y="220028"/>
                      </a:lnTo>
                      <a:lnTo>
                        <a:pt x="372428" y="226695"/>
                      </a:lnTo>
                      <a:lnTo>
                        <a:pt x="358140" y="217170"/>
                      </a:lnTo>
                      <a:lnTo>
                        <a:pt x="278130" y="243840"/>
                      </a:lnTo>
                      <a:lnTo>
                        <a:pt x="287655" y="211455"/>
                      </a:lnTo>
                      <a:lnTo>
                        <a:pt x="288607" y="177165"/>
                      </a:lnTo>
                      <a:lnTo>
                        <a:pt x="266700" y="173355"/>
                      </a:lnTo>
                      <a:lnTo>
                        <a:pt x="258128" y="185738"/>
                      </a:lnTo>
                      <a:lnTo>
                        <a:pt x="245745" y="188595"/>
                      </a:lnTo>
                      <a:lnTo>
                        <a:pt x="206693" y="176213"/>
                      </a:lnTo>
                      <a:lnTo>
                        <a:pt x="195263" y="156210"/>
                      </a:lnTo>
                      <a:lnTo>
                        <a:pt x="180023" y="145732"/>
                      </a:lnTo>
                      <a:lnTo>
                        <a:pt x="172403" y="134303"/>
                      </a:lnTo>
                      <a:lnTo>
                        <a:pt x="172403" y="117157"/>
                      </a:lnTo>
                      <a:lnTo>
                        <a:pt x="158115" y="98107"/>
                      </a:lnTo>
                      <a:lnTo>
                        <a:pt x="164782" y="87630"/>
                      </a:lnTo>
                      <a:lnTo>
                        <a:pt x="158115" y="60960"/>
                      </a:lnTo>
                      <a:lnTo>
                        <a:pt x="186690" y="49530"/>
                      </a:lnTo>
                      <a:lnTo>
                        <a:pt x="218123" y="47625"/>
                      </a:lnTo>
                      <a:lnTo>
                        <a:pt x="226695" y="35242"/>
                      </a:lnTo>
                      <a:lnTo>
                        <a:pt x="245745" y="22860"/>
                      </a:lnTo>
                      <a:lnTo>
                        <a:pt x="267653" y="24765"/>
                      </a:lnTo>
                      <a:lnTo>
                        <a:pt x="297180" y="15240"/>
                      </a:lnTo>
                      <a:lnTo>
                        <a:pt x="357188" y="16192"/>
                      </a:lnTo>
                      <a:lnTo>
                        <a:pt x="360998" y="0"/>
                      </a:lnTo>
                      <a:lnTo>
                        <a:pt x="391478" y="0"/>
                      </a:lnTo>
                      <a:lnTo>
                        <a:pt x="463868" y="11430"/>
                      </a:lnTo>
                      <a:lnTo>
                        <a:pt x="481013" y="11430"/>
                      </a:lnTo>
                      <a:lnTo>
                        <a:pt x="507682" y="22860"/>
                      </a:lnTo>
                      <a:lnTo>
                        <a:pt x="521018" y="25717"/>
                      </a:lnTo>
                      <a:lnTo>
                        <a:pt x="559118" y="25717"/>
                      </a:lnTo>
                      <a:lnTo>
                        <a:pt x="619125" y="30480"/>
                      </a:lnTo>
                      <a:lnTo>
                        <a:pt x="630555" y="20955"/>
                      </a:lnTo>
                      <a:lnTo>
                        <a:pt x="644843" y="32385"/>
                      </a:lnTo>
                      <a:lnTo>
                        <a:pt x="635318" y="45720"/>
                      </a:lnTo>
                      <a:lnTo>
                        <a:pt x="623888" y="49530"/>
                      </a:lnTo>
                      <a:lnTo>
                        <a:pt x="615315" y="80010"/>
                      </a:lnTo>
                      <a:lnTo>
                        <a:pt x="607695" y="89535"/>
                      </a:lnTo>
                      <a:lnTo>
                        <a:pt x="591503" y="86678"/>
                      </a:lnTo>
                      <a:lnTo>
                        <a:pt x="567690" y="88582"/>
                      </a:lnTo>
                      <a:lnTo>
                        <a:pt x="548640" y="93345"/>
                      </a:lnTo>
                      <a:lnTo>
                        <a:pt x="536257" y="103822"/>
                      </a:lnTo>
                      <a:lnTo>
                        <a:pt x="537210" y="114300"/>
                      </a:lnTo>
                      <a:lnTo>
                        <a:pt x="561975" y="136207"/>
                      </a:lnTo>
                      <a:lnTo>
                        <a:pt x="575310" y="162878"/>
                      </a:lnTo>
                      <a:lnTo>
                        <a:pt x="600075" y="183832"/>
                      </a:lnTo>
                      <a:lnTo>
                        <a:pt x="607695" y="196215"/>
                      </a:lnTo>
                      <a:lnTo>
                        <a:pt x="630555" y="223838"/>
                      </a:lnTo>
                      <a:lnTo>
                        <a:pt x="647700" y="247650"/>
                      </a:lnTo>
                      <a:lnTo>
                        <a:pt x="625793" y="253365"/>
                      </a:lnTo>
                      <a:lnTo>
                        <a:pt x="614363" y="272415"/>
                      </a:lnTo>
                      <a:lnTo>
                        <a:pt x="612457" y="29146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4" name="Finland" descr="{&quot;Key&quot;:&quot;finland&quot;,&quot;Name&quot;:&quot;Finland&quot;,&quot;Value&quot;:1.0,&quot;Formula&quot;:&quot;&quot;,&quot;Text&quot;:&quot;&quot;,&quot;OfficeApplication&quot;:1,&quot;HasValue&quot;:true}">
                  <a:extLst>
                    <a:ext uri="{FF2B5EF4-FFF2-40B4-BE49-F238E27FC236}">
                      <a16:creationId xmlns:a16="http://schemas.microsoft.com/office/drawing/2014/main" id="{F7414285-D999-2106-CD65-D3943EE3915B}"/>
                    </a:ext>
                  </a:extLst>
                </p:cNvPr>
                <p:cNvSpPr/>
                <p:nvPr/>
              </p:nvSpPr>
              <p:spPr>
                <a:xfrm>
                  <a:off x="7139939" y="1403441"/>
                  <a:ext cx="1253490" cy="1346835"/>
                </a:xfrm>
                <a:custGeom>
                  <a:avLst/>
                  <a:gdLst>
                    <a:gd name="connsiteX0" fmla="*/ 351473 w 1253490"/>
                    <a:gd name="connsiteY0" fmla="*/ 1270635 h 1346835"/>
                    <a:gd name="connsiteX1" fmla="*/ 370523 w 1253490"/>
                    <a:gd name="connsiteY1" fmla="*/ 1272540 h 1346835"/>
                    <a:gd name="connsiteX2" fmla="*/ 364808 w 1253490"/>
                    <a:gd name="connsiteY2" fmla="*/ 1299210 h 1346835"/>
                    <a:gd name="connsiteX3" fmla="*/ 342900 w 1253490"/>
                    <a:gd name="connsiteY3" fmla="*/ 1282065 h 1346835"/>
                    <a:gd name="connsiteX4" fmla="*/ 351473 w 1253490"/>
                    <a:gd name="connsiteY4" fmla="*/ 1270635 h 1346835"/>
                    <a:gd name="connsiteX5" fmla="*/ 333375 w 1253490"/>
                    <a:gd name="connsiteY5" fmla="*/ 1275398 h 1346835"/>
                    <a:gd name="connsiteX6" fmla="*/ 313373 w 1253490"/>
                    <a:gd name="connsiteY6" fmla="*/ 1269683 h 1346835"/>
                    <a:gd name="connsiteX7" fmla="*/ 321945 w 1253490"/>
                    <a:gd name="connsiteY7" fmla="*/ 1262063 h 1346835"/>
                    <a:gd name="connsiteX8" fmla="*/ 333375 w 1253490"/>
                    <a:gd name="connsiteY8" fmla="*/ 1275398 h 1346835"/>
                    <a:gd name="connsiteX9" fmla="*/ 271463 w 1253490"/>
                    <a:gd name="connsiteY9" fmla="*/ 1249680 h 1346835"/>
                    <a:gd name="connsiteX10" fmla="*/ 257175 w 1253490"/>
                    <a:gd name="connsiteY10" fmla="*/ 1256348 h 1346835"/>
                    <a:gd name="connsiteX11" fmla="*/ 254318 w 1253490"/>
                    <a:gd name="connsiteY11" fmla="*/ 1240155 h 1346835"/>
                    <a:gd name="connsiteX12" fmla="*/ 271463 w 1253490"/>
                    <a:gd name="connsiteY12" fmla="*/ 1249680 h 1346835"/>
                    <a:gd name="connsiteX13" fmla="*/ 514350 w 1253490"/>
                    <a:gd name="connsiteY13" fmla="*/ 650557 h 1346835"/>
                    <a:gd name="connsiteX14" fmla="*/ 500063 w 1253490"/>
                    <a:gd name="connsiteY14" fmla="*/ 655320 h 1346835"/>
                    <a:gd name="connsiteX15" fmla="*/ 487680 w 1253490"/>
                    <a:gd name="connsiteY15" fmla="*/ 652463 h 1346835"/>
                    <a:gd name="connsiteX16" fmla="*/ 485775 w 1253490"/>
                    <a:gd name="connsiteY16" fmla="*/ 643890 h 1346835"/>
                    <a:gd name="connsiteX17" fmla="*/ 504825 w 1253490"/>
                    <a:gd name="connsiteY17" fmla="*/ 638175 h 1346835"/>
                    <a:gd name="connsiteX18" fmla="*/ 514350 w 1253490"/>
                    <a:gd name="connsiteY18" fmla="*/ 650557 h 1346835"/>
                    <a:gd name="connsiteX19" fmla="*/ 801053 w 1253490"/>
                    <a:gd name="connsiteY19" fmla="*/ 130493 h 1346835"/>
                    <a:gd name="connsiteX20" fmla="*/ 765810 w 1253490"/>
                    <a:gd name="connsiteY20" fmla="*/ 142875 h 1346835"/>
                    <a:gd name="connsiteX21" fmla="*/ 781050 w 1253490"/>
                    <a:gd name="connsiteY21" fmla="*/ 150495 h 1346835"/>
                    <a:gd name="connsiteX22" fmla="*/ 788670 w 1253490"/>
                    <a:gd name="connsiteY22" fmla="*/ 161925 h 1346835"/>
                    <a:gd name="connsiteX23" fmla="*/ 769620 w 1253490"/>
                    <a:gd name="connsiteY23" fmla="*/ 192405 h 1346835"/>
                    <a:gd name="connsiteX24" fmla="*/ 770573 w 1253490"/>
                    <a:gd name="connsiteY24" fmla="*/ 198120 h 1346835"/>
                    <a:gd name="connsiteX25" fmla="*/ 800100 w 1253490"/>
                    <a:gd name="connsiteY25" fmla="*/ 236220 h 1346835"/>
                    <a:gd name="connsiteX26" fmla="*/ 868680 w 1253490"/>
                    <a:gd name="connsiteY26" fmla="*/ 252413 h 1346835"/>
                    <a:gd name="connsiteX27" fmla="*/ 890588 w 1253490"/>
                    <a:gd name="connsiteY27" fmla="*/ 269557 h 1346835"/>
                    <a:gd name="connsiteX28" fmla="*/ 924878 w 1253490"/>
                    <a:gd name="connsiteY28" fmla="*/ 291465 h 1346835"/>
                    <a:gd name="connsiteX29" fmla="*/ 942023 w 1253490"/>
                    <a:gd name="connsiteY29" fmla="*/ 300038 h 1346835"/>
                    <a:gd name="connsiteX30" fmla="*/ 942975 w 1253490"/>
                    <a:gd name="connsiteY30" fmla="*/ 318135 h 1346835"/>
                    <a:gd name="connsiteX31" fmla="*/ 914400 w 1253490"/>
                    <a:gd name="connsiteY31" fmla="*/ 346710 h 1346835"/>
                    <a:gd name="connsiteX32" fmla="*/ 889635 w 1253490"/>
                    <a:gd name="connsiteY32" fmla="*/ 376238 h 1346835"/>
                    <a:gd name="connsiteX33" fmla="*/ 878205 w 1253490"/>
                    <a:gd name="connsiteY33" fmla="*/ 392430 h 1346835"/>
                    <a:gd name="connsiteX34" fmla="*/ 882015 w 1253490"/>
                    <a:gd name="connsiteY34" fmla="*/ 408623 h 1346835"/>
                    <a:gd name="connsiteX35" fmla="*/ 906780 w 1253490"/>
                    <a:gd name="connsiteY35" fmla="*/ 428625 h 1346835"/>
                    <a:gd name="connsiteX36" fmla="*/ 928688 w 1253490"/>
                    <a:gd name="connsiteY36" fmla="*/ 449580 h 1346835"/>
                    <a:gd name="connsiteX37" fmla="*/ 957263 w 1253490"/>
                    <a:gd name="connsiteY37" fmla="*/ 482918 h 1346835"/>
                    <a:gd name="connsiteX38" fmla="*/ 985838 w 1253490"/>
                    <a:gd name="connsiteY38" fmla="*/ 506730 h 1346835"/>
                    <a:gd name="connsiteX39" fmla="*/ 1014413 w 1253490"/>
                    <a:gd name="connsiteY39" fmla="*/ 546735 h 1346835"/>
                    <a:gd name="connsiteX40" fmla="*/ 1018223 w 1253490"/>
                    <a:gd name="connsiteY40" fmla="*/ 560070 h 1346835"/>
                    <a:gd name="connsiteX41" fmla="*/ 982980 w 1253490"/>
                    <a:gd name="connsiteY41" fmla="*/ 566738 h 1346835"/>
                    <a:gd name="connsiteX42" fmla="*/ 994410 w 1253490"/>
                    <a:gd name="connsiteY42" fmla="*/ 575310 h 1346835"/>
                    <a:gd name="connsiteX43" fmla="*/ 988695 w 1253490"/>
                    <a:gd name="connsiteY43" fmla="*/ 587693 h 1346835"/>
                    <a:gd name="connsiteX44" fmla="*/ 991553 w 1253490"/>
                    <a:gd name="connsiteY44" fmla="*/ 605790 h 1346835"/>
                    <a:gd name="connsiteX45" fmla="*/ 986790 w 1253490"/>
                    <a:gd name="connsiteY45" fmla="*/ 620078 h 1346835"/>
                    <a:gd name="connsiteX46" fmla="*/ 1004888 w 1253490"/>
                    <a:gd name="connsiteY46" fmla="*/ 622935 h 1346835"/>
                    <a:gd name="connsiteX47" fmla="*/ 1007745 w 1253490"/>
                    <a:gd name="connsiteY47" fmla="*/ 635318 h 1346835"/>
                    <a:gd name="connsiteX48" fmla="*/ 991553 w 1253490"/>
                    <a:gd name="connsiteY48" fmla="*/ 644843 h 1346835"/>
                    <a:gd name="connsiteX49" fmla="*/ 991553 w 1253490"/>
                    <a:gd name="connsiteY49" fmla="*/ 653415 h 1346835"/>
                    <a:gd name="connsiteX50" fmla="*/ 1004888 w 1253490"/>
                    <a:gd name="connsiteY50" fmla="*/ 669607 h 1346835"/>
                    <a:gd name="connsiteX51" fmla="*/ 1014413 w 1253490"/>
                    <a:gd name="connsiteY51" fmla="*/ 675323 h 1346835"/>
                    <a:gd name="connsiteX52" fmla="*/ 1044893 w 1253490"/>
                    <a:gd name="connsiteY52" fmla="*/ 681038 h 1346835"/>
                    <a:gd name="connsiteX53" fmla="*/ 1053465 w 1253490"/>
                    <a:gd name="connsiteY53" fmla="*/ 696278 h 1346835"/>
                    <a:gd name="connsiteX54" fmla="*/ 1043940 w 1253490"/>
                    <a:gd name="connsiteY54" fmla="*/ 712470 h 1346835"/>
                    <a:gd name="connsiteX55" fmla="*/ 1061085 w 1253490"/>
                    <a:gd name="connsiteY55" fmla="*/ 733425 h 1346835"/>
                    <a:gd name="connsiteX56" fmla="*/ 1103948 w 1253490"/>
                    <a:gd name="connsiteY56" fmla="*/ 750570 h 1346835"/>
                    <a:gd name="connsiteX57" fmla="*/ 1110615 w 1253490"/>
                    <a:gd name="connsiteY57" fmla="*/ 762953 h 1346835"/>
                    <a:gd name="connsiteX58" fmla="*/ 1112521 w 1253490"/>
                    <a:gd name="connsiteY58" fmla="*/ 779145 h 1346835"/>
                    <a:gd name="connsiteX59" fmla="*/ 1089660 w 1253490"/>
                    <a:gd name="connsiteY59" fmla="*/ 807720 h 1346835"/>
                    <a:gd name="connsiteX60" fmla="*/ 1070610 w 1253490"/>
                    <a:gd name="connsiteY60" fmla="*/ 815340 h 1346835"/>
                    <a:gd name="connsiteX61" fmla="*/ 1077278 w 1253490"/>
                    <a:gd name="connsiteY61" fmla="*/ 822960 h 1346835"/>
                    <a:gd name="connsiteX62" fmla="*/ 1120140 w 1253490"/>
                    <a:gd name="connsiteY62" fmla="*/ 847725 h 1346835"/>
                    <a:gd name="connsiteX63" fmla="*/ 1183005 w 1253490"/>
                    <a:gd name="connsiteY63" fmla="*/ 875348 h 1346835"/>
                    <a:gd name="connsiteX64" fmla="*/ 1207771 w 1253490"/>
                    <a:gd name="connsiteY64" fmla="*/ 887730 h 1346835"/>
                    <a:gd name="connsiteX65" fmla="*/ 1227773 w 1253490"/>
                    <a:gd name="connsiteY65" fmla="*/ 905828 h 1346835"/>
                    <a:gd name="connsiteX66" fmla="*/ 1248728 w 1253490"/>
                    <a:gd name="connsiteY66" fmla="*/ 921068 h 1346835"/>
                    <a:gd name="connsiteX67" fmla="*/ 1253490 w 1253490"/>
                    <a:gd name="connsiteY67" fmla="*/ 930593 h 1346835"/>
                    <a:gd name="connsiteX68" fmla="*/ 1238250 w 1253490"/>
                    <a:gd name="connsiteY68" fmla="*/ 973455 h 1346835"/>
                    <a:gd name="connsiteX69" fmla="*/ 1231583 w 1253490"/>
                    <a:gd name="connsiteY69" fmla="*/ 984885 h 1346835"/>
                    <a:gd name="connsiteX70" fmla="*/ 1210628 w 1253490"/>
                    <a:gd name="connsiteY70" fmla="*/ 1005840 h 1346835"/>
                    <a:gd name="connsiteX71" fmla="*/ 1178243 w 1253490"/>
                    <a:gd name="connsiteY71" fmla="*/ 1032510 h 1346835"/>
                    <a:gd name="connsiteX72" fmla="*/ 1156335 w 1253490"/>
                    <a:gd name="connsiteY72" fmla="*/ 1054418 h 1346835"/>
                    <a:gd name="connsiteX73" fmla="*/ 1105853 w 1253490"/>
                    <a:gd name="connsiteY73" fmla="*/ 1110615 h 1346835"/>
                    <a:gd name="connsiteX74" fmla="*/ 1087755 w 1253490"/>
                    <a:gd name="connsiteY74" fmla="*/ 1124903 h 1346835"/>
                    <a:gd name="connsiteX75" fmla="*/ 1067753 w 1253490"/>
                    <a:gd name="connsiteY75" fmla="*/ 1145858 h 1346835"/>
                    <a:gd name="connsiteX76" fmla="*/ 1021080 w 1253490"/>
                    <a:gd name="connsiteY76" fmla="*/ 1177290 h 1346835"/>
                    <a:gd name="connsiteX77" fmla="*/ 1014413 w 1253490"/>
                    <a:gd name="connsiteY77" fmla="*/ 1184910 h 1346835"/>
                    <a:gd name="connsiteX78" fmla="*/ 990600 w 1253490"/>
                    <a:gd name="connsiteY78" fmla="*/ 1199198 h 1346835"/>
                    <a:gd name="connsiteX79" fmla="*/ 937260 w 1253490"/>
                    <a:gd name="connsiteY79" fmla="*/ 1248728 h 1346835"/>
                    <a:gd name="connsiteX80" fmla="*/ 903923 w 1253490"/>
                    <a:gd name="connsiteY80" fmla="*/ 1258253 h 1346835"/>
                    <a:gd name="connsiteX81" fmla="*/ 879158 w 1253490"/>
                    <a:gd name="connsiteY81" fmla="*/ 1247775 h 1346835"/>
                    <a:gd name="connsiteX82" fmla="*/ 862013 w 1253490"/>
                    <a:gd name="connsiteY82" fmla="*/ 1249680 h 1346835"/>
                    <a:gd name="connsiteX83" fmla="*/ 850583 w 1253490"/>
                    <a:gd name="connsiteY83" fmla="*/ 1257300 h 1346835"/>
                    <a:gd name="connsiteX84" fmla="*/ 826770 w 1253490"/>
                    <a:gd name="connsiteY84" fmla="*/ 1259205 h 1346835"/>
                    <a:gd name="connsiteX85" fmla="*/ 807720 w 1253490"/>
                    <a:gd name="connsiteY85" fmla="*/ 1264920 h 1346835"/>
                    <a:gd name="connsiteX86" fmla="*/ 798195 w 1253490"/>
                    <a:gd name="connsiteY86" fmla="*/ 1258253 h 1346835"/>
                    <a:gd name="connsiteX87" fmla="*/ 791528 w 1253490"/>
                    <a:gd name="connsiteY87" fmla="*/ 1263967 h 1346835"/>
                    <a:gd name="connsiteX88" fmla="*/ 773430 w 1253490"/>
                    <a:gd name="connsiteY88" fmla="*/ 1265873 h 1346835"/>
                    <a:gd name="connsiteX89" fmla="*/ 754380 w 1253490"/>
                    <a:gd name="connsiteY89" fmla="*/ 1256348 h 1346835"/>
                    <a:gd name="connsiteX90" fmla="*/ 757238 w 1253490"/>
                    <a:gd name="connsiteY90" fmla="*/ 1270635 h 1346835"/>
                    <a:gd name="connsiteX91" fmla="*/ 725805 w 1253490"/>
                    <a:gd name="connsiteY91" fmla="*/ 1284923 h 1346835"/>
                    <a:gd name="connsiteX92" fmla="*/ 718185 w 1253490"/>
                    <a:gd name="connsiteY92" fmla="*/ 1276350 h 1346835"/>
                    <a:gd name="connsiteX93" fmla="*/ 699135 w 1253490"/>
                    <a:gd name="connsiteY93" fmla="*/ 1285875 h 1346835"/>
                    <a:gd name="connsiteX94" fmla="*/ 679133 w 1253490"/>
                    <a:gd name="connsiteY94" fmla="*/ 1287780 h 1346835"/>
                    <a:gd name="connsiteX95" fmla="*/ 668655 w 1253490"/>
                    <a:gd name="connsiteY95" fmla="*/ 1295400 h 1346835"/>
                    <a:gd name="connsiteX96" fmla="*/ 612458 w 1253490"/>
                    <a:gd name="connsiteY96" fmla="*/ 1305878 h 1346835"/>
                    <a:gd name="connsiteX97" fmla="*/ 598170 w 1253490"/>
                    <a:gd name="connsiteY97" fmla="*/ 1318260 h 1346835"/>
                    <a:gd name="connsiteX98" fmla="*/ 586740 w 1253490"/>
                    <a:gd name="connsiteY98" fmla="*/ 1315403 h 1346835"/>
                    <a:gd name="connsiteX99" fmla="*/ 522923 w 1253490"/>
                    <a:gd name="connsiteY99" fmla="*/ 1325880 h 1346835"/>
                    <a:gd name="connsiteX100" fmla="*/ 495300 w 1253490"/>
                    <a:gd name="connsiteY100" fmla="*/ 1323975 h 1346835"/>
                    <a:gd name="connsiteX101" fmla="*/ 469583 w 1253490"/>
                    <a:gd name="connsiteY101" fmla="*/ 1343025 h 1346835"/>
                    <a:gd name="connsiteX102" fmla="*/ 452438 w 1253490"/>
                    <a:gd name="connsiteY102" fmla="*/ 1346835 h 1346835"/>
                    <a:gd name="connsiteX103" fmla="*/ 466725 w 1253490"/>
                    <a:gd name="connsiteY103" fmla="*/ 1318260 h 1346835"/>
                    <a:gd name="connsiteX104" fmla="*/ 443865 w 1253490"/>
                    <a:gd name="connsiteY104" fmla="*/ 1307783 h 1346835"/>
                    <a:gd name="connsiteX105" fmla="*/ 432435 w 1253490"/>
                    <a:gd name="connsiteY105" fmla="*/ 1292542 h 1346835"/>
                    <a:gd name="connsiteX106" fmla="*/ 425768 w 1253490"/>
                    <a:gd name="connsiteY106" fmla="*/ 1296353 h 1346835"/>
                    <a:gd name="connsiteX107" fmla="*/ 422910 w 1253490"/>
                    <a:gd name="connsiteY107" fmla="*/ 1310640 h 1346835"/>
                    <a:gd name="connsiteX108" fmla="*/ 408623 w 1253490"/>
                    <a:gd name="connsiteY108" fmla="*/ 1318260 h 1346835"/>
                    <a:gd name="connsiteX109" fmla="*/ 389573 w 1253490"/>
                    <a:gd name="connsiteY109" fmla="*/ 1317308 h 1346835"/>
                    <a:gd name="connsiteX110" fmla="*/ 385763 w 1253490"/>
                    <a:gd name="connsiteY110" fmla="*/ 1294448 h 1346835"/>
                    <a:gd name="connsiteX111" fmla="*/ 393383 w 1253490"/>
                    <a:gd name="connsiteY111" fmla="*/ 1272540 h 1346835"/>
                    <a:gd name="connsiteX112" fmla="*/ 359093 w 1253490"/>
                    <a:gd name="connsiteY112" fmla="*/ 1266825 h 1346835"/>
                    <a:gd name="connsiteX113" fmla="*/ 322898 w 1253490"/>
                    <a:gd name="connsiteY113" fmla="*/ 1253490 h 1346835"/>
                    <a:gd name="connsiteX114" fmla="*/ 314325 w 1253490"/>
                    <a:gd name="connsiteY114" fmla="*/ 1252538 h 1346835"/>
                    <a:gd name="connsiteX115" fmla="*/ 307658 w 1253490"/>
                    <a:gd name="connsiteY115" fmla="*/ 1240155 h 1346835"/>
                    <a:gd name="connsiteX116" fmla="*/ 288608 w 1253490"/>
                    <a:gd name="connsiteY116" fmla="*/ 1248728 h 1346835"/>
                    <a:gd name="connsiteX117" fmla="*/ 268605 w 1253490"/>
                    <a:gd name="connsiteY117" fmla="*/ 1240155 h 1346835"/>
                    <a:gd name="connsiteX118" fmla="*/ 252413 w 1253490"/>
                    <a:gd name="connsiteY118" fmla="*/ 1189673 h 1346835"/>
                    <a:gd name="connsiteX119" fmla="*/ 252413 w 1253490"/>
                    <a:gd name="connsiteY119" fmla="*/ 1177290 h 1346835"/>
                    <a:gd name="connsiteX120" fmla="*/ 260985 w 1253490"/>
                    <a:gd name="connsiteY120" fmla="*/ 1162050 h 1346835"/>
                    <a:gd name="connsiteX121" fmla="*/ 260033 w 1253490"/>
                    <a:gd name="connsiteY121" fmla="*/ 1129665 h 1346835"/>
                    <a:gd name="connsiteX122" fmla="*/ 254318 w 1253490"/>
                    <a:gd name="connsiteY122" fmla="*/ 1110615 h 1346835"/>
                    <a:gd name="connsiteX123" fmla="*/ 264795 w 1253490"/>
                    <a:gd name="connsiteY123" fmla="*/ 1104900 h 1346835"/>
                    <a:gd name="connsiteX124" fmla="*/ 256223 w 1253490"/>
                    <a:gd name="connsiteY124" fmla="*/ 1089660 h 1346835"/>
                    <a:gd name="connsiteX125" fmla="*/ 235268 w 1253490"/>
                    <a:gd name="connsiteY125" fmla="*/ 1061085 h 1346835"/>
                    <a:gd name="connsiteX126" fmla="*/ 220028 w 1253490"/>
                    <a:gd name="connsiteY126" fmla="*/ 1050608 h 1346835"/>
                    <a:gd name="connsiteX127" fmla="*/ 224790 w 1253490"/>
                    <a:gd name="connsiteY127" fmla="*/ 1019175 h 1346835"/>
                    <a:gd name="connsiteX128" fmla="*/ 219075 w 1253490"/>
                    <a:gd name="connsiteY128" fmla="*/ 1003935 h 1346835"/>
                    <a:gd name="connsiteX129" fmla="*/ 200978 w 1253490"/>
                    <a:gd name="connsiteY129" fmla="*/ 993457 h 1346835"/>
                    <a:gd name="connsiteX130" fmla="*/ 190500 w 1253490"/>
                    <a:gd name="connsiteY130" fmla="*/ 965835 h 1346835"/>
                    <a:gd name="connsiteX131" fmla="*/ 196215 w 1253490"/>
                    <a:gd name="connsiteY131" fmla="*/ 942975 h 1346835"/>
                    <a:gd name="connsiteX132" fmla="*/ 219075 w 1253490"/>
                    <a:gd name="connsiteY132" fmla="*/ 922020 h 1346835"/>
                    <a:gd name="connsiteX133" fmla="*/ 219075 w 1253490"/>
                    <a:gd name="connsiteY133" fmla="*/ 910590 h 1346835"/>
                    <a:gd name="connsiteX134" fmla="*/ 227648 w 1253490"/>
                    <a:gd name="connsiteY134" fmla="*/ 900113 h 1346835"/>
                    <a:gd name="connsiteX135" fmla="*/ 222885 w 1253490"/>
                    <a:gd name="connsiteY135" fmla="*/ 887730 h 1346835"/>
                    <a:gd name="connsiteX136" fmla="*/ 248603 w 1253490"/>
                    <a:gd name="connsiteY136" fmla="*/ 882968 h 1346835"/>
                    <a:gd name="connsiteX137" fmla="*/ 258128 w 1253490"/>
                    <a:gd name="connsiteY137" fmla="*/ 886778 h 1346835"/>
                    <a:gd name="connsiteX138" fmla="*/ 280988 w 1253490"/>
                    <a:gd name="connsiteY138" fmla="*/ 882968 h 1346835"/>
                    <a:gd name="connsiteX139" fmla="*/ 299085 w 1253490"/>
                    <a:gd name="connsiteY139" fmla="*/ 873443 h 1346835"/>
                    <a:gd name="connsiteX140" fmla="*/ 288608 w 1253490"/>
                    <a:gd name="connsiteY140" fmla="*/ 856298 h 1346835"/>
                    <a:gd name="connsiteX141" fmla="*/ 302895 w 1253490"/>
                    <a:gd name="connsiteY141" fmla="*/ 849630 h 1346835"/>
                    <a:gd name="connsiteX142" fmla="*/ 314325 w 1253490"/>
                    <a:gd name="connsiteY142" fmla="*/ 838200 h 1346835"/>
                    <a:gd name="connsiteX143" fmla="*/ 313373 w 1253490"/>
                    <a:gd name="connsiteY143" fmla="*/ 828675 h 1346835"/>
                    <a:gd name="connsiteX144" fmla="*/ 335280 w 1253490"/>
                    <a:gd name="connsiteY144" fmla="*/ 823913 h 1346835"/>
                    <a:gd name="connsiteX145" fmla="*/ 358140 w 1253490"/>
                    <a:gd name="connsiteY145" fmla="*/ 805815 h 1346835"/>
                    <a:gd name="connsiteX146" fmla="*/ 380048 w 1253490"/>
                    <a:gd name="connsiteY146" fmla="*/ 795338 h 1346835"/>
                    <a:gd name="connsiteX147" fmla="*/ 401955 w 1253490"/>
                    <a:gd name="connsiteY147" fmla="*/ 777240 h 1346835"/>
                    <a:gd name="connsiteX148" fmla="*/ 412433 w 1253490"/>
                    <a:gd name="connsiteY148" fmla="*/ 776288 h 1346835"/>
                    <a:gd name="connsiteX149" fmla="*/ 415290 w 1253490"/>
                    <a:gd name="connsiteY149" fmla="*/ 763905 h 1346835"/>
                    <a:gd name="connsiteX150" fmla="*/ 439103 w 1253490"/>
                    <a:gd name="connsiteY150" fmla="*/ 745807 h 1346835"/>
                    <a:gd name="connsiteX151" fmla="*/ 446723 w 1253490"/>
                    <a:gd name="connsiteY151" fmla="*/ 730568 h 1346835"/>
                    <a:gd name="connsiteX152" fmla="*/ 468630 w 1253490"/>
                    <a:gd name="connsiteY152" fmla="*/ 713423 h 1346835"/>
                    <a:gd name="connsiteX153" fmla="*/ 489585 w 1253490"/>
                    <a:gd name="connsiteY153" fmla="*/ 676275 h 1346835"/>
                    <a:gd name="connsiteX154" fmla="*/ 525780 w 1253490"/>
                    <a:gd name="connsiteY154" fmla="*/ 664845 h 1346835"/>
                    <a:gd name="connsiteX155" fmla="*/ 561975 w 1253490"/>
                    <a:gd name="connsiteY155" fmla="*/ 667703 h 1346835"/>
                    <a:gd name="connsiteX156" fmla="*/ 556260 w 1253490"/>
                    <a:gd name="connsiteY156" fmla="*/ 651510 h 1346835"/>
                    <a:gd name="connsiteX157" fmla="*/ 565785 w 1253490"/>
                    <a:gd name="connsiteY157" fmla="*/ 648653 h 1346835"/>
                    <a:gd name="connsiteX158" fmla="*/ 560070 w 1253490"/>
                    <a:gd name="connsiteY158" fmla="*/ 636270 h 1346835"/>
                    <a:gd name="connsiteX159" fmla="*/ 550545 w 1253490"/>
                    <a:gd name="connsiteY159" fmla="*/ 630555 h 1346835"/>
                    <a:gd name="connsiteX160" fmla="*/ 550545 w 1253490"/>
                    <a:gd name="connsiteY160" fmla="*/ 586740 h 1346835"/>
                    <a:gd name="connsiteX161" fmla="*/ 538163 w 1253490"/>
                    <a:gd name="connsiteY161" fmla="*/ 578168 h 1346835"/>
                    <a:gd name="connsiteX162" fmla="*/ 495300 w 1253490"/>
                    <a:gd name="connsiteY162" fmla="*/ 562928 h 1346835"/>
                    <a:gd name="connsiteX163" fmla="*/ 479108 w 1253490"/>
                    <a:gd name="connsiteY163" fmla="*/ 561975 h 1346835"/>
                    <a:gd name="connsiteX164" fmla="*/ 467678 w 1253490"/>
                    <a:gd name="connsiteY164" fmla="*/ 550545 h 1346835"/>
                    <a:gd name="connsiteX165" fmla="*/ 423863 w 1253490"/>
                    <a:gd name="connsiteY165" fmla="*/ 543878 h 1346835"/>
                    <a:gd name="connsiteX166" fmla="*/ 408623 w 1253490"/>
                    <a:gd name="connsiteY166" fmla="*/ 520065 h 1346835"/>
                    <a:gd name="connsiteX167" fmla="*/ 390525 w 1253490"/>
                    <a:gd name="connsiteY167" fmla="*/ 499110 h 1346835"/>
                    <a:gd name="connsiteX168" fmla="*/ 373380 w 1253490"/>
                    <a:gd name="connsiteY168" fmla="*/ 493395 h 1346835"/>
                    <a:gd name="connsiteX169" fmla="*/ 360998 w 1253490"/>
                    <a:gd name="connsiteY169" fmla="*/ 468630 h 1346835"/>
                    <a:gd name="connsiteX170" fmla="*/ 360998 w 1253490"/>
                    <a:gd name="connsiteY170" fmla="*/ 456248 h 1346835"/>
                    <a:gd name="connsiteX171" fmla="*/ 375285 w 1253490"/>
                    <a:gd name="connsiteY171" fmla="*/ 443865 h 1346835"/>
                    <a:gd name="connsiteX172" fmla="*/ 374333 w 1253490"/>
                    <a:gd name="connsiteY172" fmla="*/ 426720 h 1346835"/>
                    <a:gd name="connsiteX173" fmla="*/ 381000 w 1253490"/>
                    <a:gd name="connsiteY173" fmla="*/ 413385 h 1346835"/>
                    <a:gd name="connsiteX174" fmla="*/ 375285 w 1253490"/>
                    <a:gd name="connsiteY174" fmla="*/ 404813 h 1346835"/>
                    <a:gd name="connsiteX175" fmla="*/ 343853 w 1253490"/>
                    <a:gd name="connsiteY175" fmla="*/ 380048 h 1346835"/>
                    <a:gd name="connsiteX176" fmla="*/ 336233 w 1253490"/>
                    <a:gd name="connsiteY176" fmla="*/ 364807 h 1346835"/>
                    <a:gd name="connsiteX177" fmla="*/ 337185 w 1253490"/>
                    <a:gd name="connsiteY177" fmla="*/ 354330 h 1346835"/>
                    <a:gd name="connsiteX178" fmla="*/ 346710 w 1253490"/>
                    <a:gd name="connsiteY178" fmla="*/ 346710 h 1346835"/>
                    <a:gd name="connsiteX179" fmla="*/ 340995 w 1253490"/>
                    <a:gd name="connsiteY179" fmla="*/ 334328 h 1346835"/>
                    <a:gd name="connsiteX180" fmla="*/ 314325 w 1253490"/>
                    <a:gd name="connsiteY180" fmla="*/ 330518 h 1346835"/>
                    <a:gd name="connsiteX181" fmla="*/ 317183 w 1253490"/>
                    <a:gd name="connsiteY181" fmla="*/ 312420 h 1346835"/>
                    <a:gd name="connsiteX182" fmla="*/ 310515 w 1253490"/>
                    <a:gd name="connsiteY182" fmla="*/ 299085 h 1346835"/>
                    <a:gd name="connsiteX183" fmla="*/ 306705 w 1253490"/>
                    <a:gd name="connsiteY183" fmla="*/ 276225 h 1346835"/>
                    <a:gd name="connsiteX184" fmla="*/ 317183 w 1253490"/>
                    <a:gd name="connsiteY184" fmla="*/ 266700 h 1346835"/>
                    <a:gd name="connsiteX185" fmla="*/ 300038 w 1253490"/>
                    <a:gd name="connsiteY185" fmla="*/ 258127 h 1346835"/>
                    <a:gd name="connsiteX186" fmla="*/ 281940 w 1253490"/>
                    <a:gd name="connsiteY186" fmla="*/ 243840 h 1346835"/>
                    <a:gd name="connsiteX187" fmla="*/ 268605 w 1253490"/>
                    <a:gd name="connsiteY187" fmla="*/ 242888 h 1346835"/>
                    <a:gd name="connsiteX188" fmla="*/ 257175 w 1253490"/>
                    <a:gd name="connsiteY188" fmla="*/ 227648 h 1346835"/>
                    <a:gd name="connsiteX189" fmla="*/ 223838 w 1253490"/>
                    <a:gd name="connsiteY189" fmla="*/ 210502 h 1346835"/>
                    <a:gd name="connsiteX190" fmla="*/ 144780 w 1253490"/>
                    <a:gd name="connsiteY190" fmla="*/ 194310 h 1346835"/>
                    <a:gd name="connsiteX191" fmla="*/ 104775 w 1253490"/>
                    <a:gd name="connsiteY191" fmla="*/ 177165 h 1346835"/>
                    <a:gd name="connsiteX192" fmla="*/ 59055 w 1253490"/>
                    <a:gd name="connsiteY192" fmla="*/ 155257 h 1346835"/>
                    <a:gd name="connsiteX193" fmla="*/ 31433 w 1253490"/>
                    <a:gd name="connsiteY193" fmla="*/ 144780 h 1346835"/>
                    <a:gd name="connsiteX194" fmla="*/ 27623 w 1253490"/>
                    <a:gd name="connsiteY194" fmla="*/ 136207 h 1346835"/>
                    <a:gd name="connsiteX195" fmla="*/ 0 w 1253490"/>
                    <a:gd name="connsiteY195" fmla="*/ 128588 h 1346835"/>
                    <a:gd name="connsiteX196" fmla="*/ 4763 w 1253490"/>
                    <a:gd name="connsiteY196" fmla="*/ 124777 h 1346835"/>
                    <a:gd name="connsiteX197" fmla="*/ 24765 w 1253490"/>
                    <a:gd name="connsiteY197" fmla="*/ 124777 h 1346835"/>
                    <a:gd name="connsiteX198" fmla="*/ 42863 w 1253490"/>
                    <a:gd name="connsiteY198" fmla="*/ 128588 h 1346835"/>
                    <a:gd name="connsiteX199" fmla="*/ 47625 w 1253490"/>
                    <a:gd name="connsiteY199" fmla="*/ 122873 h 1346835"/>
                    <a:gd name="connsiteX200" fmla="*/ 38100 w 1253490"/>
                    <a:gd name="connsiteY200" fmla="*/ 109538 h 1346835"/>
                    <a:gd name="connsiteX201" fmla="*/ 56198 w 1253490"/>
                    <a:gd name="connsiteY201" fmla="*/ 99060 h 1346835"/>
                    <a:gd name="connsiteX202" fmla="*/ 90488 w 1253490"/>
                    <a:gd name="connsiteY202" fmla="*/ 99060 h 1346835"/>
                    <a:gd name="connsiteX203" fmla="*/ 165735 w 1253490"/>
                    <a:gd name="connsiteY203" fmla="*/ 151448 h 1346835"/>
                    <a:gd name="connsiteX204" fmla="*/ 179070 w 1253490"/>
                    <a:gd name="connsiteY204" fmla="*/ 168593 h 1346835"/>
                    <a:gd name="connsiteX205" fmla="*/ 244793 w 1253490"/>
                    <a:gd name="connsiteY205" fmla="*/ 174307 h 1346835"/>
                    <a:gd name="connsiteX206" fmla="*/ 252413 w 1253490"/>
                    <a:gd name="connsiteY206" fmla="*/ 179070 h 1346835"/>
                    <a:gd name="connsiteX207" fmla="*/ 269558 w 1253490"/>
                    <a:gd name="connsiteY207" fmla="*/ 178118 h 1346835"/>
                    <a:gd name="connsiteX208" fmla="*/ 304800 w 1253490"/>
                    <a:gd name="connsiteY208" fmla="*/ 169545 h 1346835"/>
                    <a:gd name="connsiteX209" fmla="*/ 316230 w 1253490"/>
                    <a:gd name="connsiteY209" fmla="*/ 158115 h 1346835"/>
                    <a:gd name="connsiteX210" fmla="*/ 330518 w 1253490"/>
                    <a:gd name="connsiteY210" fmla="*/ 159068 h 1346835"/>
                    <a:gd name="connsiteX211" fmla="*/ 364808 w 1253490"/>
                    <a:gd name="connsiteY211" fmla="*/ 169545 h 1346835"/>
                    <a:gd name="connsiteX212" fmla="*/ 401955 w 1253490"/>
                    <a:gd name="connsiteY212" fmla="*/ 177165 h 1346835"/>
                    <a:gd name="connsiteX213" fmla="*/ 426720 w 1253490"/>
                    <a:gd name="connsiteY213" fmla="*/ 184785 h 1346835"/>
                    <a:gd name="connsiteX214" fmla="*/ 439103 w 1253490"/>
                    <a:gd name="connsiteY214" fmla="*/ 179070 h 1346835"/>
                    <a:gd name="connsiteX215" fmla="*/ 443865 w 1253490"/>
                    <a:gd name="connsiteY215" fmla="*/ 162877 h 1346835"/>
                    <a:gd name="connsiteX216" fmla="*/ 459105 w 1253490"/>
                    <a:gd name="connsiteY216" fmla="*/ 150495 h 1346835"/>
                    <a:gd name="connsiteX217" fmla="*/ 479108 w 1253490"/>
                    <a:gd name="connsiteY217" fmla="*/ 147638 h 1346835"/>
                    <a:gd name="connsiteX218" fmla="*/ 493395 w 1253490"/>
                    <a:gd name="connsiteY218" fmla="*/ 134302 h 1346835"/>
                    <a:gd name="connsiteX219" fmla="*/ 486728 w 1253490"/>
                    <a:gd name="connsiteY219" fmla="*/ 103823 h 1346835"/>
                    <a:gd name="connsiteX220" fmla="*/ 492443 w 1253490"/>
                    <a:gd name="connsiteY220" fmla="*/ 87630 h 1346835"/>
                    <a:gd name="connsiteX221" fmla="*/ 499110 w 1253490"/>
                    <a:gd name="connsiteY221" fmla="*/ 51435 h 1346835"/>
                    <a:gd name="connsiteX222" fmla="*/ 523875 w 1253490"/>
                    <a:gd name="connsiteY222" fmla="*/ 35243 h 1346835"/>
                    <a:gd name="connsiteX223" fmla="*/ 540068 w 1253490"/>
                    <a:gd name="connsiteY223" fmla="*/ 18098 h 1346835"/>
                    <a:gd name="connsiteX224" fmla="*/ 560070 w 1253490"/>
                    <a:gd name="connsiteY224" fmla="*/ 16193 h 1346835"/>
                    <a:gd name="connsiteX225" fmla="*/ 596265 w 1253490"/>
                    <a:gd name="connsiteY225" fmla="*/ 20002 h 1346835"/>
                    <a:gd name="connsiteX226" fmla="*/ 604838 w 1253490"/>
                    <a:gd name="connsiteY226" fmla="*/ 18098 h 1346835"/>
                    <a:gd name="connsiteX227" fmla="*/ 638175 w 1253490"/>
                    <a:gd name="connsiteY227" fmla="*/ 2858 h 1346835"/>
                    <a:gd name="connsiteX228" fmla="*/ 665798 w 1253490"/>
                    <a:gd name="connsiteY228" fmla="*/ 0 h 1346835"/>
                    <a:gd name="connsiteX229" fmla="*/ 682943 w 1253490"/>
                    <a:gd name="connsiteY229" fmla="*/ 11430 h 1346835"/>
                    <a:gd name="connsiteX230" fmla="*/ 722948 w 1253490"/>
                    <a:gd name="connsiteY230" fmla="*/ 30480 h 1346835"/>
                    <a:gd name="connsiteX231" fmla="*/ 762953 w 1253490"/>
                    <a:gd name="connsiteY231" fmla="*/ 40957 h 1346835"/>
                    <a:gd name="connsiteX232" fmla="*/ 797243 w 1253490"/>
                    <a:gd name="connsiteY232" fmla="*/ 48577 h 1346835"/>
                    <a:gd name="connsiteX233" fmla="*/ 822008 w 1253490"/>
                    <a:gd name="connsiteY233" fmla="*/ 74295 h 1346835"/>
                    <a:gd name="connsiteX234" fmla="*/ 815340 w 1253490"/>
                    <a:gd name="connsiteY234" fmla="*/ 83820 h 1346835"/>
                    <a:gd name="connsiteX235" fmla="*/ 784860 w 1253490"/>
                    <a:gd name="connsiteY235" fmla="*/ 111443 h 1346835"/>
                    <a:gd name="connsiteX236" fmla="*/ 784860 w 1253490"/>
                    <a:gd name="connsiteY236" fmla="*/ 118110 h 1346835"/>
                    <a:gd name="connsiteX237" fmla="*/ 801053 w 1253490"/>
                    <a:gd name="connsiteY237" fmla="*/ 130493 h 134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253490" h="1346835">
                      <a:moveTo>
                        <a:pt x="351473" y="1270635"/>
                      </a:moveTo>
                      <a:lnTo>
                        <a:pt x="370523" y="1272540"/>
                      </a:lnTo>
                      <a:lnTo>
                        <a:pt x="364808" y="1299210"/>
                      </a:lnTo>
                      <a:lnTo>
                        <a:pt x="342900" y="1282065"/>
                      </a:lnTo>
                      <a:lnTo>
                        <a:pt x="351473" y="1270635"/>
                      </a:lnTo>
                      <a:close/>
                      <a:moveTo>
                        <a:pt x="333375" y="1275398"/>
                      </a:moveTo>
                      <a:lnTo>
                        <a:pt x="313373" y="1269683"/>
                      </a:lnTo>
                      <a:lnTo>
                        <a:pt x="321945" y="1262063"/>
                      </a:lnTo>
                      <a:lnTo>
                        <a:pt x="333375" y="1275398"/>
                      </a:lnTo>
                      <a:close/>
                      <a:moveTo>
                        <a:pt x="271463" y="1249680"/>
                      </a:moveTo>
                      <a:lnTo>
                        <a:pt x="257175" y="1256348"/>
                      </a:lnTo>
                      <a:lnTo>
                        <a:pt x="254318" y="1240155"/>
                      </a:lnTo>
                      <a:lnTo>
                        <a:pt x="271463" y="1249680"/>
                      </a:lnTo>
                      <a:close/>
                      <a:moveTo>
                        <a:pt x="514350" y="650557"/>
                      </a:moveTo>
                      <a:lnTo>
                        <a:pt x="500063" y="655320"/>
                      </a:lnTo>
                      <a:lnTo>
                        <a:pt x="487680" y="652463"/>
                      </a:lnTo>
                      <a:lnTo>
                        <a:pt x="485775" y="643890"/>
                      </a:lnTo>
                      <a:lnTo>
                        <a:pt x="504825" y="638175"/>
                      </a:lnTo>
                      <a:lnTo>
                        <a:pt x="514350" y="650557"/>
                      </a:lnTo>
                      <a:close/>
                      <a:moveTo>
                        <a:pt x="801053" y="130493"/>
                      </a:moveTo>
                      <a:lnTo>
                        <a:pt x="765810" y="142875"/>
                      </a:lnTo>
                      <a:lnTo>
                        <a:pt x="781050" y="150495"/>
                      </a:lnTo>
                      <a:lnTo>
                        <a:pt x="788670" y="161925"/>
                      </a:lnTo>
                      <a:lnTo>
                        <a:pt x="769620" y="192405"/>
                      </a:lnTo>
                      <a:lnTo>
                        <a:pt x="770573" y="198120"/>
                      </a:lnTo>
                      <a:lnTo>
                        <a:pt x="800100" y="236220"/>
                      </a:lnTo>
                      <a:lnTo>
                        <a:pt x="868680" y="252413"/>
                      </a:lnTo>
                      <a:lnTo>
                        <a:pt x="890588" y="269557"/>
                      </a:lnTo>
                      <a:lnTo>
                        <a:pt x="924878" y="291465"/>
                      </a:lnTo>
                      <a:lnTo>
                        <a:pt x="942023" y="300038"/>
                      </a:lnTo>
                      <a:lnTo>
                        <a:pt x="942975" y="318135"/>
                      </a:lnTo>
                      <a:lnTo>
                        <a:pt x="914400" y="346710"/>
                      </a:lnTo>
                      <a:lnTo>
                        <a:pt x="889635" y="376238"/>
                      </a:lnTo>
                      <a:lnTo>
                        <a:pt x="878205" y="392430"/>
                      </a:lnTo>
                      <a:lnTo>
                        <a:pt x="882015" y="408623"/>
                      </a:lnTo>
                      <a:lnTo>
                        <a:pt x="906780" y="428625"/>
                      </a:lnTo>
                      <a:lnTo>
                        <a:pt x="928688" y="449580"/>
                      </a:lnTo>
                      <a:lnTo>
                        <a:pt x="957263" y="482918"/>
                      </a:lnTo>
                      <a:lnTo>
                        <a:pt x="985838" y="506730"/>
                      </a:lnTo>
                      <a:lnTo>
                        <a:pt x="1014413" y="546735"/>
                      </a:lnTo>
                      <a:lnTo>
                        <a:pt x="1018223" y="560070"/>
                      </a:lnTo>
                      <a:lnTo>
                        <a:pt x="982980" y="566738"/>
                      </a:lnTo>
                      <a:lnTo>
                        <a:pt x="994410" y="575310"/>
                      </a:lnTo>
                      <a:lnTo>
                        <a:pt x="988695" y="587693"/>
                      </a:lnTo>
                      <a:lnTo>
                        <a:pt x="991553" y="605790"/>
                      </a:lnTo>
                      <a:lnTo>
                        <a:pt x="986790" y="620078"/>
                      </a:lnTo>
                      <a:lnTo>
                        <a:pt x="1004888" y="622935"/>
                      </a:lnTo>
                      <a:lnTo>
                        <a:pt x="1007745" y="635318"/>
                      </a:lnTo>
                      <a:lnTo>
                        <a:pt x="991553" y="644843"/>
                      </a:lnTo>
                      <a:lnTo>
                        <a:pt x="991553" y="653415"/>
                      </a:lnTo>
                      <a:lnTo>
                        <a:pt x="1004888" y="669607"/>
                      </a:lnTo>
                      <a:lnTo>
                        <a:pt x="1014413" y="675323"/>
                      </a:lnTo>
                      <a:lnTo>
                        <a:pt x="1044893" y="681038"/>
                      </a:lnTo>
                      <a:lnTo>
                        <a:pt x="1053465" y="696278"/>
                      </a:lnTo>
                      <a:lnTo>
                        <a:pt x="1043940" y="712470"/>
                      </a:lnTo>
                      <a:lnTo>
                        <a:pt x="1061085" y="733425"/>
                      </a:lnTo>
                      <a:lnTo>
                        <a:pt x="1103948" y="750570"/>
                      </a:lnTo>
                      <a:lnTo>
                        <a:pt x="1110615" y="762953"/>
                      </a:lnTo>
                      <a:lnTo>
                        <a:pt x="1112521" y="779145"/>
                      </a:lnTo>
                      <a:lnTo>
                        <a:pt x="1089660" y="807720"/>
                      </a:lnTo>
                      <a:lnTo>
                        <a:pt x="1070610" y="815340"/>
                      </a:lnTo>
                      <a:lnTo>
                        <a:pt x="1077278" y="822960"/>
                      </a:lnTo>
                      <a:lnTo>
                        <a:pt x="1120140" y="847725"/>
                      </a:lnTo>
                      <a:lnTo>
                        <a:pt x="1183005" y="875348"/>
                      </a:lnTo>
                      <a:lnTo>
                        <a:pt x="1207771" y="887730"/>
                      </a:lnTo>
                      <a:lnTo>
                        <a:pt x="1227773" y="905828"/>
                      </a:lnTo>
                      <a:lnTo>
                        <a:pt x="1248728" y="921068"/>
                      </a:lnTo>
                      <a:lnTo>
                        <a:pt x="1253490" y="930593"/>
                      </a:lnTo>
                      <a:lnTo>
                        <a:pt x="1238250" y="973455"/>
                      </a:lnTo>
                      <a:lnTo>
                        <a:pt x="1231583" y="984885"/>
                      </a:lnTo>
                      <a:lnTo>
                        <a:pt x="1210628" y="1005840"/>
                      </a:lnTo>
                      <a:lnTo>
                        <a:pt x="1178243" y="1032510"/>
                      </a:lnTo>
                      <a:lnTo>
                        <a:pt x="1156335" y="1054418"/>
                      </a:lnTo>
                      <a:lnTo>
                        <a:pt x="1105853" y="1110615"/>
                      </a:lnTo>
                      <a:lnTo>
                        <a:pt x="1087755" y="1124903"/>
                      </a:lnTo>
                      <a:lnTo>
                        <a:pt x="1067753" y="1145858"/>
                      </a:lnTo>
                      <a:lnTo>
                        <a:pt x="1021080" y="1177290"/>
                      </a:lnTo>
                      <a:lnTo>
                        <a:pt x="1014413" y="1184910"/>
                      </a:lnTo>
                      <a:lnTo>
                        <a:pt x="990600" y="1199198"/>
                      </a:lnTo>
                      <a:lnTo>
                        <a:pt x="937260" y="1248728"/>
                      </a:lnTo>
                      <a:lnTo>
                        <a:pt x="903923" y="1258253"/>
                      </a:lnTo>
                      <a:lnTo>
                        <a:pt x="879158" y="1247775"/>
                      </a:lnTo>
                      <a:lnTo>
                        <a:pt x="862013" y="1249680"/>
                      </a:lnTo>
                      <a:lnTo>
                        <a:pt x="850583" y="1257300"/>
                      </a:lnTo>
                      <a:lnTo>
                        <a:pt x="826770" y="1259205"/>
                      </a:lnTo>
                      <a:lnTo>
                        <a:pt x="807720" y="1264920"/>
                      </a:lnTo>
                      <a:lnTo>
                        <a:pt x="798195" y="1258253"/>
                      </a:lnTo>
                      <a:lnTo>
                        <a:pt x="791528" y="1263967"/>
                      </a:lnTo>
                      <a:lnTo>
                        <a:pt x="773430" y="1265873"/>
                      </a:lnTo>
                      <a:lnTo>
                        <a:pt x="754380" y="1256348"/>
                      </a:lnTo>
                      <a:lnTo>
                        <a:pt x="757238" y="1270635"/>
                      </a:lnTo>
                      <a:lnTo>
                        <a:pt x="725805" y="1284923"/>
                      </a:lnTo>
                      <a:lnTo>
                        <a:pt x="718185" y="1276350"/>
                      </a:lnTo>
                      <a:lnTo>
                        <a:pt x="699135" y="1285875"/>
                      </a:lnTo>
                      <a:lnTo>
                        <a:pt x="679133" y="1287780"/>
                      </a:lnTo>
                      <a:lnTo>
                        <a:pt x="668655" y="1295400"/>
                      </a:lnTo>
                      <a:lnTo>
                        <a:pt x="612458" y="1305878"/>
                      </a:lnTo>
                      <a:lnTo>
                        <a:pt x="598170" y="1318260"/>
                      </a:lnTo>
                      <a:lnTo>
                        <a:pt x="586740" y="1315403"/>
                      </a:lnTo>
                      <a:lnTo>
                        <a:pt x="522923" y="1325880"/>
                      </a:lnTo>
                      <a:lnTo>
                        <a:pt x="495300" y="1323975"/>
                      </a:lnTo>
                      <a:lnTo>
                        <a:pt x="469583" y="1343025"/>
                      </a:lnTo>
                      <a:lnTo>
                        <a:pt x="452438" y="1346835"/>
                      </a:lnTo>
                      <a:lnTo>
                        <a:pt x="466725" y="1318260"/>
                      </a:lnTo>
                      <a:lnTo>
                        <a:pt x="443865" y="1307783"/>
                      </a:lnTo>
                      <a:lnTo>
                        <a:pt x="432435" y="1292542"/>
                      </a:lnTo>
                      <a:lnTo>
                        <a:pt x="425768" y="1296353"/>
                      </a:lnTo>
                      <a:lnTo>
                        <a:pt x="422910" y="1310640"/>
                      </a:lnTo>
                      <a:lnTo>
                        <a:pt x="408623" y="1318260"/>
                      </a:lnTo>
                      <a:lnTo>
                        <a:pt x="389573" y="1317308"/>
                      </a:lnTo>
                      <a:lnTo>
                        <a:pt x="385763" y="1294448"/>
                      </a:lnTo>
                      <a:lnTo>
                        <a:pt x="393383" y="1272540"/>
                      </a:lnTo>
                      <a:lnTo>
                        <a:pt x="359093" y="1266825"/>
                      </a:lnTo>
                      <a:lnTo>
                        <a:pt x="322898" y="1253490"/>
                      </a:lnTo>
                      <a:lnTo>
                        <a:pt x="314325" y="1252538"/>
                      </a:lnTo>
                      <a:lnTo>
                        <a:pt x="307658" y="1240155"/>
                      </a:lnTo>
                      <a:lnTo>
                        <a:pt x="288608" y="1248728"/>
                      </a:lnTo>
                      <a:lnTo>
                        <a:pt x="268605" y="1240155"/>
                      </a:lnTo>
                      <a:lnTo>
                        <a:pt x="252413" y="1189673"/>
                      </a:lnTo>
                      <a:lnTo>
                        <a:pt x="252413" y="1177290"/>
                      </a:lnTo>
                      <a:lnTo>
                        <a:pt x="260985" y="1162050"/>
                      </a:lnTo>
                      <a:lnTo>
                        <a:pt x="260033" y="1129665"/>
                      </a:lnTo>
                      <a:lnTo>
                        <a:pt x="254318" y="1110615"/>
                      </a:lnTo>
                      <a:lnTo>
                        <a:pt x="264795" y="1104900"/>
                      </a:lnTo>
                      <a:lnTo>
                        <a:pt x="256223" y="1089660"/>
                      </a:lnTo>
                      <a:lnTo>
                        <a:pt x="235268" y="1061085"/>
                      </a:lnTo>
                      <a:lnTo>
                        <a:pt x="220028" y="1050608"/>
                      </a:lnTo>
                      <a:lnTo>
                        <a:pt x="224790" y="1019175"/>
                      </a:lnTo>
                      <a:lnTo>
                        <a:pt x="219075" y="1003935"/>
                      </a:lnTo>
                      <a:lnTo>
                        <a:pt x="200978" y="993457"/>
                      </a:lnTo>
                      <a:lnTo>
                        <a:pt x="190500" y="965835"/>
                      </a:lnTo>
                      <a:lnTo>
                        <a:pt x="196215" y="942975"/>
                      </a:lnTo>
                      <a:lnTo>
                        <a:pt x="219075" y="922020"/>
                      </a:lnTo>
                      <a:lnTo>
                        <a:pt x="219075" y="910590"/>
                      </a:lnTo>
                      <a:lnTo>
                        <a:pt x="227648" y="900113"/>
                      </a:lnTo>
                      <a:lnTo>
                        <a:pt x="222885" y="887730"/>
                      </a:lnTo>
                      <a:lnTo>
                        <a:pt x="248603" y="882968"/>
                      </a:lnTo>
                      <a:lnTo>
                        <a:pt x="258128" y="886778"/>
                      </a:lnTo>
                      <a:lnTo>
                        <a:pt x="280988" y="882968"/>
                      </a:lnTo>
                      <a:lnTo>
                        <a:pt x="299085" y="873443"/>
                      </a:lnTo>
                      <a:lnTo>
                        <a:pt x="288608" y="856298"/>
                      </a:lnTo>
                      <a:lnTo>
                        <a:pt x="302895" y="849630"/>
                      </a:lnTo>
                      <a:lnTo>
                        <a:pt x="314325" y="838200"/>
                      </a:lnTo>
                      <a:lnTo>
                        <a:pt x="313373" y="828675"/>
                      </a:lnTo>
                      <a:lnTo>
                        <a:pt x="335280" y="823913"/>
                      </a:lnTo>
                      <a:lnTo>
                        <a:pt x="358140" y="805815"/>
                      </a:lnTo>
                      <a:lnTo>
                        <a:pt x="380048" y="795338"/>
                      </a:lnTo>
                      <a:lnTo>
                        <a:pt x="401955" y="777240"/>
                      </a:lnTo>
                      <a:lnTo>
                        <a:pt x="412433" y="776288"/>
                      </a:lnTo>
                      <a:lnTo>
                        <a:pt x="415290" y="763905"/>
                      </a:lnTo>
                      <a:lnTo>
                        <a:pt x="439103" y="745807"/>
                      </a:lnTo>
                      <a:lnTo>
                        <a:pt x="446723" y="730568"/>
                      </a:lnTo>
                      <a:lnTo>
                        <a:pt x="468630" y="713423"/>
                      </a:lnTo>
                      <a:lnTo>
                        <a:pt x="489585" y="676275"/>
                      </a:lnTo>
                      <a:lnTo>
                        <a:pt x="525780" y="664845"/>
                      </a:lnTo>
                      <a:lnTo>
                        <a:pt x="561975" y="667703"/>
                      </a:lnTo>
                      <a:lnTo>
                        <a:pt x="556260" y="651510"/>
                      </a:lnTo>
                      <a:lnTo>
                        <a:pt x="565785" y="648653"/>
                      </a:lnTo>
                      <a:lnTo>
                        <a:pt x="560070" y="636270"/>
                      </a:lnTo>
                      <a:lnTo>
                        <a:pt x="550545" y="630555"/>
                      </a:lnTo>
                      <a:lnTo>
                        <a:pt x="550545" y="586740"/>
                      </a:lnTo>
                      <a:lnTo>
                        <a:pt x="538163" y="578168"/>
                      </a:lnTo>
                      <a:lnTo>
                        <a:pt x="495300" y="562928"/>
                      </a:lnTo>
                      <a:lnTo>
                        <a:pt x="479108" y="561975"/>
                      </a:lnTo>
                      <a:lnTo>
                        <a:pt x="467678" y="550545"/>
                      </a:lnTo>
                      <a:lnTo>
                        <a:pt x="423863" y="543878"/>
                      </a:lnTo>
                      <a:lnTo>
                        <a:pt x="408623" y="520065"/>
                      </a:lnTo>
                      <a:lnTo>
                        <a:pt x="390525" y="499110"/>
                      </a:lnTo>
                      <a:lnTo>
                        <a:pt x="373380" y="493395"/>
                      </a:lnTo>
                      <a:lnTo>
                        <a:pt x="360998" y="468630"/>
                      </a:lnTo>
                      <a:lnTo>
                        <a:pt x="360998" y="456248"/>
                      </a:lnTo>
                      <a:lnTo>
                        <a:pt x="375285" y="443865"/>
                      </a:lnTo>
                      <a:lnTo>
                        <a:pt x="374333" y="426720"/>
                      </a:lnTo>
                      <a:lnTo>
                        <a:pt x="381000" y="413385"/>
                      </a:lnTo>
                      <a:lnTo>
                        <a:pt x="375285" y="404813"/>
                      </a:lnTo>
                      <a:lnTo>
                        <a:pt x="343853" y="380048"/>
                      </a:lnTo>
                      <a:lnTo>
                        <a:pt x="336233" y="364807"/>
                      </a:lnTo>
                      <a:lnTo>
                        <a:pt x="337185" y="354330"/>
                      </a:lnTo>
                      <a:lnTo>
                        <a:pt x="346710" y="346710"/>
                      </a:lnTo>
                      <a:lnTo>
                        <a:pt x="340995" y="334328"/>
                      </a:lnTo>
                      <a:lnTo>
                        <a:pt x="314325" y="330518"/>
                      </a:lnTo>
                      <a:lnTo>
                        <a:pt x="317183" y="312420"/>
                      </a:lnTo>
                      <a:lnTo>
                        <a:pt x="310515" y="299085"/>
                      </a:lnTo>
                      <a:lnTo>
                        <a:pt x="306705" y="276225"/>
                      </a:lnTo>
                      <a:lnTo>
                        <a:pt x="317183" y="266700"/>
                      </a:lnTo>
                      <a:lnTo>
                        <a:pt x="300038" y="258127"/>
                      </a:lnTo>
                      <a:lnTo>
                        <a:pt x="281940" y="243840"/>
                      </a:lnTo>
                      <a:lnTo>
                        <a:pt x="268605" y="242888"/>
                      </a:lnTo>
                      <a:lnTo>
                        <a:pt x="257175" y="227648"/>
                      </a:lnTo>
                      <a:lnTo>
                        <a:pt x="223838" y="210502"/>
                      </a:lnTo>
                      <a:lnTo>
                        <a:pt x="144780" y="194310"/>
                      </a:lnTo>
                      <a:lnTo>
                        <a:pt x="104775" y="177165"/>
                      </a:lnTo>
                      <a:lnTo>
                        <a:pt x="59055" y="155257"/>
                      </a:lnTo>
                      <a:lnTo>
                        <a:pt x="31433" y="144780"/>
                      </a:lnTo>
                      <a:lnTo>
                        <a:pt x="27623" y="136207"/>
                      </a:lnTo>
                      <a:lnTo>
                        <a:pt x="0" y="128588"/>
                      </a:lnTo>
                      <a:lnTo>
                        <a:pt x="4763" y="124777"/>
                      </a:lnTo>
                      <a:lnTo>
                        <a:pt x="24765" y="124777"/>
                      </a:lnTo>
                      <a:lnTo>
                        <a:pt x="42863" y="128588"/>
                      </a:lnTo>
                      <a:lnTo>
                        <a:pt x="47625" y="122873"/>
                      </a:lnTo>
                      <a:lnTo>
                        <a:pt x="38100" y="109538"/>
                      </a:lnTo>
                      <a:lnTo>
                        <a:pt x="56198" y="99060"/>
                      </a:lnTo>
                      <a:lnTo>
                        <a:pt x="90488" y="99060"/>
                      </a:lnTo>
                      <a:lnTo>
                        <a:pt x="165735" y="151448"/>
                      </a:lnTo>
                      <a:lnTo>
                        <a:pt x="179070" y="168593"/>
                      </a:lnTo>
                      <a:lnTo>
                        <a:pt x="244793" y="174307"/>
                      </a:lnTo>
                      <a:lnTo>
                        <a:pt x="252413" y="179070"/>
                      </a:lnTo>
                      <a:lnTo>
                        <a:pt x="269558" y="178118"/>
                      </a:lnTo>
                      <a:lnTo>
                        <a:pt x="304800" y="169545"/>
                      </a:lnTo>
                      <a:lnTo>
                        <a:pt x="316230" y="158115"/>
                      </a:lnTo>
                      <a:lnTo>
                        <a:pt x="330518" y="159068"/>
                      </a:lnTo>
                      <a:lnTo>
                        <a:pt x="364808" y="169545"/>
                      </a:lnTo>
                      <a:lnTo>
                        <a:pt x="401955" y="177165"/>
                      </a:lnTo>
                      <a:lnTo>
                        <a:pt x="426720" y="184785"/>
                      </a:lnTo>
                      <a:lnTo>
                        <a:pt x="439103" y="179070"/>
                      </a:lnTo>
                      <a:lnTo>
                        <a:pt x="443865" y="162877"/>
                      </a:lnTo>
                      <a:lnTo>
                        <a:pt x="459105" y="150495"/>
                      </a:lnTo>
                      <a:lnTo>
                        <a:pt x="479108" y="147638"/>
                      </a:lnTo>
                      <a:lnTo>
                        <a:pt x="493395" y="134302"/>
                      </a:lnTo>
                      <a:lnTo>
                        <a:pt x="486728" y="103823"/>
                      </a:lnTo>
                      <a:lnTo>
                        <a:pt x="492443" y="87630"/>
                      </a:lnTo>
                      <a:lnTo>
                        <a:pt x="499110" y="51435"/>
                      </a:lnTo>
                      <a:lnTo>
                        <a:pt x="523875" y="35243"/>
                      </a:lnTo>
                      <a:lnTo>
                        <a:pt x="540068" y="18098"/>
                      </a:lnTo>
                      <a:lnTo>
                        <a:pt x="560070" y="16193"/>
                      </a:lnTo>
                      <a:lnTo>
                        <a:pt x="596265" y="20002"/>
                      </a:lnTo>
                      <a:lnTo>
                        <a:pt x="604838" y="18098"/>
                      </a:lnTo>
                      <a:lnTo>
                        <a:pt x="638175" y="2858"/>
                      </a:lnTo>
                      <a:lnTo>
                        <a:pt x="665798" y="0"/>
                      </a:lnTo>
                      <a:lnTo>
                        <a:pt x="682943" y="11430"/>
                      </a:lnTo>
                      <a:lnTo>
                        <a:pt x="722948" y="30480"/>
                      </a:lnTo>
                      <a:lnTo>
                        <a:pt x="762953" y="40957"/>
                      </a:lnTo>
                      <a:lnTo>
                        <a:pt x="797243" y="48577"/>
                      </a:lnTo>
                      <a:lnTo>
                        <a:pt x="822008" y="74295"/>
                      </a:lnTo>
                      <a:lnTo>
                        <a:pt x="815340" y="83820"/>
                      </a:lnTo>
                      <a:lnTo>
                        <a:pt x="784860" y="111443"/>
                      </a:lnTo>
                      <a:lnTo>
                        <a:pt x="784860" y="118110"/>
                      </a:lnTo>
                      <a:lnTo>
                        <a:pt x="801053" y="13049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5" name="Great Britain" descr="{&quot;Key&quot;:&quot;great britain&quot;,&quot;Name&quot;:&quot;Great Britain&quot;,&quot;Value&quot;:1.0,&quot;Formula&quot;:&quot;&quot;,&quot;Text&quot;:&quot;&quot;,&quot;OfficeApplication&quot;:1,&quot;HasValue&quot;:true}">
                  <a:extLst>
                    <a:ext uri="{FF2B5EF4-FFF2-40B4-BE49-F238E27FC236}">
                      <a16:creationId xmlns:a16="http://schemas.microsoft.com/office/drawing/2014/main" id="{2F890160-EEBB-A0A8-D190-CAE32F5B7666}"/>
                    </a:ext>
                  </a:extLst>
                </p:cNvPr>
                <p:cNvSpPr/>
                <p:nvPr/>
              </p:nvSpPr>
              <p:spPr>
                <a:xfrm>
                  <a:off x="4261484" y="2636929"/>
                  <a:ext cx="1096327" cy="1496377"/>
                </a:xfrm>
                <a:custGeom>
                  <a:avLst/>
                  <a:gdLst>
                    <a:gd name="connsiteX0" fmla="*/ 778193 w 1096327"/>
                    <a:gd name="connsiteY0" fmla="*/ 1400175 h 1496377"/>
                    <a:gd name="connsiteX1" fmla="*/ 762953 w 1096327"/>
                    <a:gd name="connsiteY1" fmla="*/ 1412557 h 1496377"/>
                    <a:gd name="connsiteX2" fmla="*/ 750570 w 1096327"/>
                    <a:gd name="connsiteY2" fmla="*/ 1414463 h 1496377"/>
                    <a:gd name="connsiteX3" fmla="*/ 726758 w 1096327"/>
                    <a:gd name="connsiteY3" fmla="*/ 1403032 h 1496377"/>
                    <a:gd name="connsiteX4" fmla="*/ 726758 w 1096327"/>
                    <a:gd name="connsiteY4" fmla="*/ 1398270 h 1496377"/>
                    <a:gd name="connsiteX5" fmla="*/ 750570 w 1096327"/>
                    <a:gd name="connsiteY5" fmla="*/ 1387792 h 1496377"/>
                    <a:gd name="connsiteX6" fmla="*/ 769620 w 1096327"/>
                    <a:gd name="connsiteY6" fmla="*/ 1393507 h 1496377"/>
                    <a:gd name="connsiteX7" fmla="*/ 778193 w 1096327"/>
                    <a:gd name="connsiteY7" fmla="*/ 1400175 h 1496377"/>
                    <a:gd name="connsiteX8" fmla="*/ 430530 w 1096327"/>
                    <a:gd name="connsiteY8" fmla="*/ 1022032 h 1496377"/>
                    <a:gd name="connsiteX9" fmla="*/ 442913 w 1096327"/>
                    <a:gd name="connsiteY9" fmla="*/ 1030605 h 1496377"/>
                    <a:gd name="connsiteX10" fmla="*/ 410528 w 1096327"/>
                    <a:gd name="connsiteY10" fmla="*/ 1048703 h 1496377"/>
                    <a:gd name="connsiteX11" fmla="*/ 399097 w 1096327"/>
                    <a:gd name="connsiteY11" fmla="*/ 1042988 h 1496377"/>
                    <a:gd name="connsiteX12" fmla="*/ 390525 w 1096327"/>
                    <a:gd name="connsiteY12" fmla="*/ 1031557 h 1496377"/>
                    <a:gd name="connsiteX13" fmla="*/ 389572 w 1096327"/>
                    <a:gd name="connsiteY13" fmla="*/ 1013460 h 1496377"/>
                    <a:gd name="connsiteX14" fmla="*/ 401003 w 1096327"/>
                    <a:gd name="connsiteY14" fmla="*/ 1008697 h 1496377"/>
                    <a:gd name="connsiteX15" fmla="*/ 418147 w 1096327"/>
                    <a:gd name="connsiteY15" fmla="*/ 1008697 h 1496377"/>
                    <a:gd name="connsiteX16" fmla="*/ 430530 w 1096327"/>
                    <a:gd name="connsiteY16" fmla="*/ 1022032 h 1496377"/>
                    <a:gd name="connsiteX17" fmla="*/ 208597 w 1096327"/>
                    <a:gd name="connsiteY17" fmla="*/ 913447 h 1496377"/>
                    <a:gd name="connsiteX18" fmla="*/ 188595 w 1096327"/>
                    <a:gd name="connsiteY18" fmla="*/ 917257 h 1496377"/>
                    <a:gd name="connsiteX19" fmla="*/ 160972 w 1096327"/>
                    <a:gd name="connsiteY19" fmla="*/ 917257 h 1496377"/>
                    <a:gd name="connsiteX20" fmla="*/ 161925 w 1096327"/>
                    <a:gd name="connsiteY20" fmla="*/ 902970 h 1496377"/>
                    <a:gd name="connsiteX21" fmla="*/ 148590 w 1096327"/>
                    <a:gd name="connsiteY21" fmla="*/ 898207 h 1496377"/>
                    <a:gd name="connsiteX22" fmla="*/ 131445 w 1096327"/>
                    <a:gd name="connsiteY22" fmla="*/ 872490 h 1496377"/>
                    <a:gd name="connsiteX23" fmla="*/ 119063 w 1096327"/>
                    <a:gd name="connsiteY23" fmla="*/ 867728 h 1496377"/>
                    <a:gd name="connsiteX24" fmla="*/ 100965 w 1096327"/>
                    <a:gd name="connsiteY24" fmla="*/ 882967 h 1496377"/>
                    <a:gd name="connsiteX25" fmla="*/ 105728 w 1096327"/>
                    <a:gd name="connsiteY25" fmla="*/ 891540 h 1496377"/>
                    <a:gd name="connsiteX26" fmla="*/ 82868 w 1096327"/>
                    <a:gd name="connsiteY26" fmla="*/ 908685 h 1496377"/>
                    <a:gd name="connsiteX27" fmla="*/ 55245 w 1096327"/>
                    <a:gd name="connsiteY27" fmla="*/ 905828 h 1496377"/>
                    <a:gd name="connsiteX28" fmla="*/ 47625 w 1096327"/>
                    <a:gd name="connsiteY28" fmla="*/ 899160 h 1496377"/>
                    <a:gd name="connsiteX29" fmla="*/ 27622 w 1096327"/>
                    <a:gd name="connsiteY29" fmla="*/ 895350 h 1496377"/>
                    <a:gd name="connsiteX30" fmla="*/ 25718 w 1096327"/>
                    <a:gd name="connsiteY30" fmla="*/ 885825 h 1496377"/>
                    <a:gd name="connsiteX31" fmla="*/ 0 w 1096327"/>
                    <a:gd name="connsiteY31" fmla="*/ 866775 h 1496377"/>
                    <a:gd name="connsiteX32" fmla="*/ 9525 w 1096327"/>
                    <a:gd name="connsiteY32" fmla="*/ 853440 h 1496377"/>
                    <a:gd name="connsiteX33" fmla="*/ 37147 w 1096327"/>
                    <a:gd name="connsiteY33" fmla="*/ 844867 h 1496377"/>
                    <a:gd name="connsiteX34" fmla="*/ 27622 w 1096327"/>
                    <a:gd name="connsiteY34" fmla="*/ 831532 h 1496377"/>
                    <a:gd name="connsiteX35" fmla="*/ 29528 w 1096327"/>
                    <a:gd name="connsiteY35" fmla="*/ 823913 h 1496377"/>
                    <a:gd name="connsiteX36" fmla="*/ 44768 w 1096327"/>
                    <a:gd name="connsiteY36" fmla="*/ 824865 h 1496377"/>
                    <a:gd name="connsiteX37" fmla="*/ 65722 w 1096327"/>
                    <a:gd name="connsiteY37" fmla="*/ 817245 h 1496377"/>
                    <a:gd name="connsiteX38" fmla="*/ 77153 w 1096327"/>
                    <a:gd name="connsiteY38" fmla="*/ 802005 h 1496377"/>
                    <a:gd name="connsiteX39" fmla="*/ 86678 w 1096327"/>
                    <a:gd name="connsiteY39" fmla="*/ 780097 h 1496377"/>
                    <a:gd name="connsiteX40" fmla="*/ 104775 w 1096327"/>
                    <a:gd name="connsiteY40" fmla="*/ 771525 h 1496377"/>
                    <a:gd name="connsiteX41" fmla="*/ 117158 w 1096327"/>
                    <a:gd name="connsiteY41" fmla="*/ 777240 h 1496377"/>
                    <a:gd name="connsiteX42" fmla="*/ 135255 w 1096327"/>
                    <a:gd name="connsiteY42" fmla="*/ 758190 h 1496377"/>
                    <a:gd name="connsiteX43" fmla="*/ 161925 w 1096327"/>
                    <a:gd name="connsiteY43" fmla="*/ 757238 h 1496377"/>
                    <a:gd name="connsiteX44" fmla="*/ 187643 w 1096327"/>
                    <a:gd name="connsiteY44" fmla="*/ 750570 h 1496377"/>
                    <a:gd name="connsiteX45" fmla="*/ 224790 w 1096327"/>
                    <a:gd name="connsiteY45" fmla="*/ 753428 h 1496377"/>
                    <a:gd name="connsiteX46" fmla="*/ 235268 w 1096327"/>
                    <a:gd name="connsiteY46" fmla="*/ 763905 h 1496377"/>
                    <a:gd name="connsiteX47" fmla="*/ 240030 w 1096327"/>
                    <a:gd name="connsiteY47" fmla="*/ 780097 h 1496377"/>
                    <a:gd name="connsiteX48" fmla="*/ 252413 w 1096327"/>
                    <a:gd name="connsiteY48" fmla="*/ 796290 h 1496377"/>
                    <a:gd name="connsiteX49" fmla="*/ 268605 w 1096327"/>
                    <a:gd name="connsiteY49" fmla="*/ 809625 h 1496377"/>
                    <a:gd name="connsiteX50" fmla="*/ 268605 w 1096327"/>
                    <a:gd name="connsiteY50" fmla="*/ 818197 h 1496377"/>
                    <a:gd name="connsiteX51" fmla="*/ 249555 w 1096327"/>
                    <a:gd name="connsiteY51" fmla="*/ 828675 h 1496377"/>
                    <a:gd name="connsiteX52" fmla="*/ 282893 w 1096327"/>
                    <a:gd name="connsiteY52" fmla="*/ 831532 h 1496377"/>
                    <a:gd name="connsiteX53" fmla="*/ 294322 w 1096327"/>
                    <a:gd name="connsiteY53" fmla="*/ 855345 h 1496377"/>
                    <a:gd name="connsiteX54" fmla="*/ 274320 w 1096327"/>
                    <a:gd name="connsiteY54" fmla="*/ 858203 h 1496377"/>
                    <a:gd name="connsiteX55" fmla="*/ 273368 w 1096327"/>
                    <a:gd name="connsiteY55" fmla="*/ 871538 h 1496377"/>
                    <a:gd name="connsiteX56" fmla="*/ 283845 w 1096327"/>
                    <a:gd name="connsiteY56" fmla="*/ 873442 h 1496377"/>
                    <a:gd name="connsiteX57" fmla="*/ 278130 w 1096327"/>
                    <a:gd name="connsiteY57" fmla="*/ 886778 h 1496377"/>
                    <a:gd name="connsiteX58" fmla="*/ 253365 w 1096327"/>
                    <a:gd name="connsiteY58" fmla="*/ 892492 h 1496377"/>
                    <a:gd name="connsiteX59" fmla="*/ 240030 w 1096327"/>
                    <a:gd name="connsiteY59" fmla="*/ 913447 h 1496377"/>
                    <a:gd name="connsiteX60" fmla="*/ 230505 w 1096327"/>
                    <a:gd name="connsiteY60" fmla="*/ 918210 h 1496377"/>
                    <a:gd name="connsiteX61" fmla="*/ 208597 w 1096327"/>
                    <a:gd name="connsiteY61" fmla="*/ 913447 h 1496377"/>
                    <a:gd name="connsiteX62" fmla="*/ 339090 w 1096327"/>
                    <a:gd name="connsiteY62" fmla="*/ 721042 h 1496377"/>
                    <a:gd name="connsiteX63" fmla="*/ 314325 w 1096327"/>
                    <a:gd name="connsiteY63" fmla="*/ 716280 h 1496377"/>
                    <a:gd name="connsiteX64" fmla="*/ 308610 w 1096327"/>
                    <a:gd name="connsiteY64" fmla="*/ 697230 h 1496377"/>
                    <a:gd name="connsiteX65" fmla="*/ 317183 w 1096327"/>
                    <a:gd name="connsiteY65" fmla="*/ 683895 h 1496377"/>
                    <a:gd name="connsiteX66" fmla="*/ 334328 w 1096327"/>
                    <a:gd name="connsiteY66" fmla="*/ 690563 h 1496377"/>
                    <a:gd name="connsiteX67" fmla="*/ 340043 w 1096327"/>
                    <a:gd name="connsiteY67" fmla="*/ 702945 h 1496377"/>
                    <a:gd name="connsiteX68" fmla="*/ 339090 w 1096327"/>
                    <a:gd name="connsiteY68" fmla="*/ 721042 h 1496377"/>
                    <a:gd name="connsiteX69" fmla="*/ 229553 w 1096327"/>
                    <a:gd name="connsiteY69" fmla="*/ 653415 h 1496377"/>
                    <a:gd name="connsiteX70" fmla="*/ 236220 w 1096327"/>
                    <a:gd name="connsiteY70" fmla="*/ 685800 h 1496377"/>
                    <a:gd name="connsiteX71" fmla="*/ 213360 w 1096327"/>
                    <a:gd name="connsiteY71" fmla="*/ 698182 h 1496377"/>
                    <a:gd name="connsiteX72" fmla="*/ 205740 w 1096327"/>
                    <a:gd name="connsiteY72" fmla="*/ 675322 h 1496377"/>
                    <a:gd name="connsiteX73" fmla="*/ 192405 w 1096327"/>
                    <a:gd name="connsiteY73" fmla="*/ 684847 h 1496377"/>
                    <a:gd name="connsiteX74" fmla="*/ 194310 w 1096327"/>
                    <a:gd name="connsiteY74" fmla="*/ 666750 h 1496377"/>
                    <a:gd name="connsiteX75" fmla="*/ 208597 w 1096327"/>
                    <a:gd name="connsiteY75" fmla="*/ 663892 h 1496377"/>
                    <a:gd name="connsiteX76" fmla="*/ 229553 w 1096327"/>
                    <a:gd name="connsiteY76" fmla="*/ 653415 h 1496377"/>
                    <a:gd name="connsiteX77" fmla="*/ 245745 w 1096327"/>
                    <a:gd name="connsiteY77" fmla="*/ 669607 h 1496377"/>
                    <a:gd name="connsiteX78" fmla="*/ 235268 w 1096327"/>
                    <a:gd name="connsiteY78" fmla="*/ 658178 h 1496377"/>
                    <a:gd name="connsiteX79" fmla="*/ 250508 w 1096327"/>
                    <a:gd name="connsiteY79" fmla="*/ 637222 h 1496377"/>
                    <a:gd name="connsiteX80" fmla="*/ 266700 w 1096327"/>
                    <a:gd name="connsiteY80" fmla="*/ 627697 h 1496377"/>
                    <a:gd name="connsiteX81" fmla="*/ 265747 w 1096327"/>
                    <a:gd name="connsiteY81" fmla="*/ 642938 h 1496377"/>
                    <a:gd name="connsiteX82" fmla="*/ 245745 w 1096327"/>
                    <a:gd name="connsiteY82" fmla="*/ 669607 h 1496377"/>
                    <a:gd name="connsiteX83" fmla="*/ 269558 w 1096327"/>
                    <a:gd name="connsiteY83" fmla="*/ 595313 h 1496377"/>
                    <a:gd name="connsiteX84" fmla="*/ 225743 w 1096327"/>
                    <a:gd name="connsiteY84" fmla="*/ 602932 h 1496377"/>
                    <a:gd name="connsiteX85" fmla="*/ 231458 w 1096327"/>
                    <a:gd name="connsiteY85" fmla="*/ 574357 h 1496377"/>
                    <a:gd name="connsiteX86" fmla="*/ 213360 w 1096327"/>
                    <a:gd name="connsiteY86" fmla="*/ 565785 h 1496377"/>
                    <a:gd name="connsiteX87" fmla="*/ 216218 w 1096327"/>
                    <a:gd name="connsiteY87" fmla="*/ 557213 h 1496377"/>
                    <a:gd name="connsiteX88" fmla="*/ 236220 w 1096327"/>
                    <a:gd name="connsiteY88" fmla="*/ 552450 h 1496377"/>
                    <a:gd name="connsiteX89" fmla="*/ 252413 w 1096327"/>
                    <a:gd name="connsiteY89" fmla="*/ 568642 h 1496377"/>
                    <a:gd name="connsiteX90" fmla="*/ 272415 w 1096327"/>
                    <a:gd name="connsiteY90" fmla="*/ 574357 h 1496377"/>
                    <a:gd name="connsiteX91" fmla="*/ 269558 w 1096327"/>
                    <a:gd name="connsiteY91" fmla="*/ 595313 h 1496377"/>
                    <a:gd name="connsiteX92" fmla="*/ 115253 w 1096327"/>
                    <a:gd name="connsiteY92" fmla="*/ 486728 h 1496377"/>
                    <a:gd name="connsiteX93" fmla="*/ 100965 w 1096327"/>
                    <a:gd name="connsiteY93" fmla="*/ 484822 h 1496377"/>
                    <a:gd name="connsiteX94" fmla="*/ 97155 w 1096327"/>
                    <a:gd name="connsiteY94" fmla="*/ 471488 h 1496377"/>
                    <a:gd name="connsiteX95" fmla="*/ 99060 w 1096327"/>
                    <a:gd name="connsiteY95" fmla="*/ 449580 h 1496377"/>
                    <a:gd name="connsiteX96" fmla="*/ 114300 w 1096327"/>
                    <a:gd name="connsiteY96" fmla="*/ 451485 h 1496377"/>
                    <a:gd name="connsiteX97" fmla="*/ 115253 w 1096327"/>
                    <a:gd name="connsiteY97" fmla="*/ 486728 h 1496377"/>
                    <a:gd name="connsiteX98" fmla="*/ 237172 w 1096327"/>
                    <a:gd name="connsiteY98" fmla="*/ 432435 h 1496377"/>
                    <a:gd name="connsiteX99" fmla="*/ 236220 w 1096327"/>
                    <a:gd name="connsiteY99" fmla="*/ 459105 h 1496377"/>
                    <a:gd name="connsiteX100" fmla="*/ 263843 w 1096327"/>
                    <a:gd name="connsiteY100" fmla="*/ 466725 h 1496377"/>
                    <a:gd name="connsiteX101" fmla="*/ 282893 w 1096327"/>
                    <a:gd name="connsiteY101" fmla="*/ 465772 h 1496377"/>
                    <a:gd name="connsiteX102" fmla="*/ 286703 w 1096327"/>
                    <a:gd name="connsiteY102" fmla="*/ 471488 h 1496377"/>
                    <a:gd name="connsiteX103" fmla="*/ 255270 w 1096327"/>
                    <a:gd name="connsiteY103" fmla="*/ 497205 h 1496377"/>
                    <a:gd name="connsiteX104" fmla="*/ 248603 w 1096327"/>
                    <a:gd name="connsiteY104" fmla="*/ 496253 h 1496377"/>
                    <a:gd name="connsiteX105" fmla="*/ 246697 w 1096327"/>
                    <a:gd name="connsiteY105" fmla="*/ 475297 h 1496377"/>
                    <a:gd name="connsiteX106" fmla="*/ 233363 w 1096327"/>
                    <a:gd name="connsiteY106" fmla="*/ 478155 h 1496377"/>
                    <a:gd name="connsiteX107" fmla="*/ 215265 w 1096327"/>
                    <a:gd name="connsiteY107" fmla="*/ 475297 h 1496377"/>
                    <a:gd name="connsiteX108" fmla="*/ 203835 w 1096327"/>
                    <a:gd name="connsiteY108" fmla="*/ 457200 h 1496377"/>
                    <a:gd name="connsiteX109" fmla="*/ 178118 w 1096327"/>
                    <a:gd name="connsiteY109" fmla="*/ 452438 h 1496377"/>
                    <a:gd name="connsiteX110" fmla="*/ 169545 w 1096327"/>
                    <a:gd name="connsiteY110" fmla="*/ 441960 h 1496377"/>
                    <a:gd name="connsiteX111" fmla="*/ 182880 w 1096327"/>
                    <a:gd name="connsiteY111" fmla="*/ 436245 h 1496377"/>
                    <a:gd name="connsiteX112" fmla="*/ 185738 w 1096327"/>
                    <a:gd name="connsiteY112" fmla="*/ 424815 h 1496377"/>
                    <a:gd name="connsiteX113" fmla="*/ 212408 w 1096327"/>
                    <a:gd name="connsiteY113" fmla="*/ 419100 h 1496377"/>
                    <a:gd name="connsiteX114" fmla="*/ 226695 w 1096327"/>
                    <a:gd name="connsiteY114" fmla="*/ 412432 h 1496377"/>
                    <a:gd name="connsiteX115" fmla="*/ 235268 w 1096327"/>
                    <a:gd name="connsiteY115" fmla="*/ 421957 h 1496377"/>
                    <a:gd name="connsiteX116" fmla="*/ 237172 w 1096327"/>
                    <a:gd name="connsiteY116" fmla="*/ 432435 h 1496377"/>
                    <a:gd name="connsiteX117" fmla="*/ 123825 w 1096327"/>
                    <a:gd name="connsiteY117" fmla="*/ 407670 h 1496377"/>
                    <a:gd name="connsiteX118" fmla="*/ 135255 w 1096327"/>
                    <a:gd name="connsiteY118" fmla="*/ 416242 h 1496377"/>
                    <a:gd name="connsiteX119" fmla="*/ 124778 w 1096327"/>
                    <a:gd name="connsiteY119" fmla="*/ 428625 h 1496377"/>
                    <a:gd name="connsiteX120" fmla="*/ 110490 w 1096327"/>
                    <a:gd name="connsiteY120" fmla="*/ 428625 h 1496377"/>
                    <a:gd name="connsiteX121" fmla="*/ 89535 w 1096327"/>
                    <a:gd name="connsiteY121" fmla="*/ 419100 h 1496377"/>
                    <a:gd name="connsiteX122" fmla="*/ 91440 w 1096327"/>
                    <a:gd name="connsiteY122" fmla="*/ 414338 h 1496377"/>
                    <a:gd name="connsiteX123" fmla="*/ 123825 w 1096327"/>
                    <a:gd name="connsiteY123" fmla="*/ 407670 h 1496377"/>
                    <a:gd name="connsiteX124" fmla="*/ 236220 w 1096327"/>
                    <a:gd name="connsiteY124" fmla="*/ 313372 h 1496377"/>
                    <a:gd name="connsiteX125" fmla="*/ 220980 w 1096327"/>
                    <a:gd name="connsiteY125" fmla="*/ 338138 h 1496377"/>
                    <a:gd name="connsiteX126" fmla="*/ 211455 w 1096327"/>
                    <a:gd name="connsiteY126" fmla="*/ 344805 h 1496377"/>
                    <a:gd name="connsiteX127" fmla="*/ 209550 w 1096327"/>
                    <a:gd name="connsiteY127" fmla="*/ 360997 h 1496377"/>
                    <a:gd name="connsiteX128" fmla="*/ 180975 w 1096327"/>
                    <a:gd name="connsiteY128" fmla="*/ 376238 h 1496377"/>
                    <a:gd name="connsiteX129" fmla="*/ 150495 w 1096327"/>
                    <a:gd name="connsiteY129" fmla="*/ 399097 h 1496377"/>
                    <a:gd name="connsiteX130" fmla="*/ 137160 w 1096327"/>
                    <a:gd name="connsiteY130" fmla="*/ 389572 h 1496377"/>
                    <a:gd name="connsiteX131" fmla="*/ 161925 w 1096327"/>
                    <a:gd name="connsiteY131" fmla="*/ 373380 h 1496377"/>
                    <a:gd name="connsiteX132" fmla="*/ 141922 w 1096327"/>
                    <a:gd name="connsiteY132" fmla="*/ 363855 h 1496377"/>
                    <a:gd name="connsiteX133" fmla="*/ 140018 w 1096327"/>
                    <a:gd name="connsiteY133" fmla="*/ 339090 h 1496377"/>
                    <a:gd name="connsiteX134" fmla="*/ 147638 w 1096327"/>
                    <a:gd name="connsiteY134" fmla="*/ 332422 h 1496377"/>
                    <a:gd name="connsiteX135" fmla="*/ 160972 w 1096327"/>
                    <a:gd name="connsiteY135" fmla="*/ 339090 h 1496377"/>
                    <a:gd name="connsiteX136" fmla="*/ 179070 w 1096327"/>
                    <a:gd name="connsiteY136" fmla="*/ 336232 h 1496377"/>
                    <a:gd name="connsiteX137" fmla="*/ 172403 w 1096327"/>
                    <a:gd name="connsiteY137" fmla="*/ 324803 h 1496377"/>
                    <a:gd name="connsiteX138" fmla="*/ 232410 w 1096327"/>
                    <a:gd name="connsiteY138" fmla="*/ 294322 h 1496377"/>
                    <a:gd name="connsiteX139" fmla="*/ 236220 w 1096327"/>
                    <a:gd name="connsiteY139" fmla="*/ 313372 h 1496377"/>
                    <a:gd name="connsiteX140" fmla="*/ 567690 w 1096327"/>
                    <a:gd name="connsiteY140" fmla="*/ 292417 h 1496377"/>
                    <a:gd name="connsiteX141" fmla="*/ 567690 w 1096327"/>
                    <a:gd name="connsiteY141" fmla="*/ 303847 h 1496377"/>
                    <a:gd name="connsiteX142" fmla="*/ 555308 w 1096327"/>
                    <a:gd name="connsiteY142" fmla="*/ 319088 h 1496377"/>
                    <a:gd name="connsiteX143" fmla="*/ 534353 w 1096327"/>
                    <a:gd name="connsiteY143" fmla="*/ 330517 h 1496377"/>
                    <a:gd name="connsiteX144" fmla="*/ 494347 w 1096327"/>
                    <a:gd name="connsiteY144" fmla="*/ 357188 h 1496377"/>
                    <a:gd name="connsiteX145" fmla="*/ 470535 w 1096327"/>
                    <a:gd name="connsiteY145" fmla="*/ 369570 h 1496377"/>
                    <a:gd name="connsiteX146" fmla="*/ 465772 w 1096327"/>
                    <a:gd name="connsiteY146" fmla="*/ 384810 h 1496377"/>
                    <a:gd name="connsiteX147" fmla="*/ 479108 w 1096327"/>
                    <a:gd name="connsiteY147" fmla="*/ 385763 h 1496377"/>
                    <a:gd name="connsiteX148" fmla="*/ 481013 w 1096327"/>
                    <a:gd name="connsiteY148" fmla="*/ 393382 h 1496377"/>
                    <a:gd name="connsiteX149" fmla="*/ 460058 w 1096327"/>
                    <a:gd name="connsiteY149" fmla="*/ 408622 h 1496377"/>
                    <a:gd name="connsiteX150" fmla="*/ 454343 w 1096327"/>
                    <a:gd name="connsiteY150" fmla="*/ 422910 h 1496377"/>
                    <a:gd name="connsiteX151" fmla="*/ 482918 w 1096327"/>
                    <a:gd name="connsiteY151" fmla="*/ 419100 h 1496377"/>
                    <a:gd name="connsiteX152" fmla="*/ 533400 w 1096327"/>
                    <a:gd name="connsiteY152" fmla="*/ 404813 h 1496377"/>
                    <a:gd name="connsiteX153" fmla="*/ 567690 w 1096327"/>
                    <a:gd name="connsiteY153" fmla="*/ 409575 h 1496377"/>
                    <a:gd name="connsiteX154" fmla="*/ 592455 w 1096327"/>
                    <a:gd name="connsiteY154" fmla="*/ 406717 h 1496377"/>
                    <a:gd name="connsiteX155" fmla="*/ 658178 w 1096327"/>
                    <a:gd name="connsiteY155" fmla="*/ 408622 h 1496377"/>
                    <a:gd name="connsiteX156" fmla="*/ 676275 w 1096327"/>
                    <a:gd name="connsiteY156" fmla="*/ 405765 h 1496377"/>
                    <a:gd name="connsiteX157" fmla="*/ 698183 w 1096327"/>
                    <a:gd name="connsiteY157" fmla="*/ 418147 h 1496377"/>
                    <a:gd name="connsiteX158" fmla="*/ 707708 w 1096327"/>
                    <a:gd name="connsiteY158" fmla="*/ 434340 h 1496377"/>
                    <a:gd name="connsiteX159" fmla="*/ 681038 w 1096327"/>
                    <a:gd name="connsiteY159" fmla="*/ 466725 h 1496377"/>
                    <a:gd name="connsiteX160" fmla="*/ 673418 w 1096327"/>
                    <a:gd name="connsiteY160" fmla="*/ 488632 h 1496377"/>
                    <a:gd name="connsiteX161" fmla="*/ 654368 w 1096327"/>
                    <a:gd name="connsiteY161" fmla="*/ 521970 h 1496377"/>
                    <a:gd name="connsiteX162" fmla="*/ 636270 w 1096327"/>
                    <a:gd name="connsiteY162" fmla="*/ 541020 h 1496377"/>
                    <a:gd name="connsiteX163" fmla="*/ 617220 w 1096327"/>
                    <a:gd name="connsiteY163" fmla="*/ 564832 h 1496377"/>
                    <a:gd name="connsiteX164" fmla="*/ 597218 w 1096327"/>
                    <a:gd name="connsiteY164" fmla="*/ 575310 h 1496377"/>
                    <a:gd name="connsiteX165" fmla="*/ 567690 w 1096327"/>
                    <a:gd name="connsiteY165" fmla="*/ 580072 h 1496377"/>
                    <a:gd name="connsiteX166" fmla="*/ 610553 w 1096327"/>
                    <a:gd name="connsiteY166" fmla="*/ 598170 h 1496377"/>
                    <a:gd name="connsiteX167" fmla="*/ 597218 w 1096327"/>
                    <a:gd name="connsiteY167" fmla="*/ 615315 h 1496377"/>
                    <a:gd name="connsiteX168" fmla="*/ 574358 w 1096327"/>
                    <a:gd name="connsiteY168" fmla="*/ 616267 h 1496377"/>
                    <a:gd name="connsiteX169" fmla="*/ 552450 w 1096327"/>
                    <a:gd name="connsiteY169" fmla="*/ 632460 h 1496377"/>
                    <a:gd name="connsiteX170" fmla="*/ 532447 w 1096327"/>
                    <a:gd name="connsiteY170" fmla="*/ 639128 h 1496377"/>
                    <a:gd name="connsiteX171" fmla="*/ 566738 w 1096327"/>
                    <a:gd name="connsiteY171" fmla="*/ 649605 h 1496377"/>
                    <a:gd name="connsiteX172" fmla="*/ 589597 w 1096327"/>
                    <a:gd name="connsiteY172" fmla="*/ 640080 h 1496377"/>
                    <a:gd name="connsiteX173" fmla="*/ 615315 w 1096327"/>
                    <a:gd name="connsiteY173" fmla="*/ 639128 h 1496377"/>
                    <a:gd name="connsiteX174" fmla="*/ 664845 w 1096327"/>
                    <a:gd name="connsiteY174" fmla="*/ 657225 h 1496377"/>
                    <a:gd name="connsiteX175" fmla="*/ 699135 w 1096327"/>
                    <a:gd name="connsiteY175" fmla="*/ 689610 h 1496377"/>
                    <a:gd name="connsiteX176" fmla="*/ 718185 w 1096327"/>
                    <a:gd name="connsiteY176" fmla="*/ 703897 h 1496377"/>
                    <a:gd name="connsiteX177" fmla="*/ 722947 w 1096327"/>
                    <a:gd name="connsiteY177" fmla="*/ 714375 h 1496377"/>
                    <a:gd name="connsiteX178" fmla="*/ 742950 w 1096327"/>
                    <a:gd name="connsiteY178" fmla="*/ 780097 h 1496377"/>
                    <a:gd name="connsiteX179" fmla="*/ 757238 w 1096327"/>
                    <a:gd name="connsiteY179" fmla="*/ 816292 h 1496377"/>
                    <a:gd name="connsiteX180" fmla="*/ 772478 w 1096327"/>
                    <a:gd name="connsiteY180" fmla="*/ 833438 h 1496377"/>
                    <a:gd name="connsiteX181" fmla="*/ 815340 w 1096327"/>
                    <a:gd name="connsiteY181" fmla="*/ 848678 h 1496377"/>
                    <a:gd name="connsiteX182" fmla="*/ 825818 w 1096327"/>
                    <a:gd name="connsiteY182" fmla="*/ 854392 h 1496377"/>
                    <a:gd name="connsiteX183" fmla="*/ 858203 w 1096327"/>
                    <a:gd name="connsiteY183" fmla="*/ 885825 h 1496377"/>
                    <a:gd name="connsiteX184" fmla="*/ 890588 w 1096327"/>
                    <a:gd name="connsiteY184" fmla="*/ 908685 h 1496377"/>
                    <a:gd name="connsiteX185" fmla="*/ 877253 w 1096327"/>
                    <a:gd name="connsiteY185" fmla="*/ 922972 h 1496377"/>
                    <a:gd name="connsiteX186" fmla="*/ 881063 w 1096327"/>
                    <a:gd name="connsiteY186" fmla="*/ 934403 h 1496377"/>
                    <a:gd name="connsiteX187" fmla="*/ 901065 w 1096327"/>
                    <a:gd name="connsiteY187" fmla="*/ 962025 h 1496377"/>
                    <a:gd name="connsiteX188" fmla="*/ 903922 w 1096327"/>
                    <a:gd name="connsiteY188" fmla="*/ 977265 h 1496377"/>
                    <a:gd name="connsiteX189" fmla="*/ 891540 w 1096327"/>
                    <a:gd name="connsiteY189" fmla="*/ 976313 h 1496377"/>
                    <a:gd name="connsiteX190" fmla="*/ 869633 w 1096327"/>
                    <a:gd name="connsiteY190" fmla="*/ 962978 h 1496377"/>
                    <a:gd name="connsiteX191" fmla="*/ 866775 w 1096327"/>
                    <a:gd name="connsiteY191" fmla="*/ 969645 h 1496377"/>
                    <a:gd name="connsiteX192" fmla="*/ 914400 w 1096327"/>
                    <a:gd name="connsiteY192" fmla="*/ 1001078 h 1496377"/>
                    <a:gd name="connsiteX193" fmla="*/ 929640 w 1096327"/>
                    <a:gd name="connsiteY193" fmla="*/ 1020128 h 1496377"/>
                    <a:gd name="connsiteX194" fmla="*/ 939165 w 1096327"/>
                    <a:gd name="connsiteY194" fmla="*/ 1045845 h 1496377"/>
                    <a:gd name="connsiteX195" fmla="*/ 933450 w 1096327"/>
                    <a:gd name="connsiteY195" fmla="*/ 1056323 h 1496377"/>
                    <a:gd name="connsiteX196" fmla="*/ 904875 w 1096327"/>
                    <a:gd name="connsiteY196" fmla="*/ 1082040 h 1496377"/>
                    <a:gd name="connsiteX197" fmla="*/ 931545 w 1096327"/>
                    <a:gd name="connsiteY197" fmla="*/ 1095375 h 1496377"/>
                    <a:gd name="connsiteX198" fmla="*/ 942975 w 1096327"/>
                    <a:gd name="connsiteY198" fmla="*/ 1093470 h 1496377"/>
                    <a:gd name="connsiteX199" fmla="*/ 962025 w 1096327"/>
                    <a:gd name="connsiteY199" fmla="*/ 1073467 h 1496377"/>
                    <a:gd name="connsiteX200" fmla="*/ 978218 w 1096327"/>
                    <a:gd name="connsiteY200" fmla="*/ 1071563 h 1496377"/>
                    <a:gd name="connsiteX201" fmla="*/ 1018222 w 1096327"/>
                    <a:gd name="connsiteY201" fmla="*/ 1074420 h 1496377"/>
                    <a:gd name="connsiteX202" fmla="*/ 1054418 w 1096327"/>
                    <a:gd name="connsiteY202" fmla="*/ 1083945 h 1496377"/>
                    <a:gd name="connsiteX203" fmla="*/ 1085850 w 1096327"/>
                    <a:gd name="connsiteY203" fmla="*/ 1103948 h 1496377"/>
                    <a:gd name="connsiteX204" fmla="*/ 1092518 w 1096327"/>
                    <a:gd name="connsiteY204" fmla="*/ 1114425 h 1496377"/>
                    <a:gd name="connsiteX205" fmla="*/ 1096328 w 1096327"/>
                    <a:gd name="connsiteY205" fmla="*/ 1143953 h 1496377"/>
                    <a:gd name="connsiteX206" fmla="*/ 1075373 w 1096327"/>
                    <a:gd name="connsiteY206" fmla="*/ 1199198 h 1496377"/>
                    <a:gd name="connsiteX207" fmla="*/ 1048703 w 1096327"/>
                    <a:gd name="connsiteY207" fmla="*/ 1217295 h 1496377"/>
                    <a:gd name="connsiteX208" fmla="*/ 1043940 w 1096327"/>
                    <a:gd name="connsiteY208" fmla="*/ 1233488 h 1496377"/>
                    <a:gd name="connsiteX209" fmla="*/ 1023938 w 1096327"/>
                    <a:gd name="connsiteY209" fmla="*/ 1242060 h 1496377"/>
                    <a:gd name="connsiteX210" fmla="*/ 1007745 w 1096327"/>
                    <a:gd name="connsiteY210" fmla="*/ 1239203 h 1496377"/>
                    <a:gd name="connsiteX211" fmla="*/ 984885 w 1096327"/>
                    <a:gd name="connsiteY211" fmla="*/ 1250632 h 1496377"/>
                    <a:gd name="connsiteX212" fmla="*/ 1001078 w 1096327"/>
                    <a:gd name="connsiteY212" fmla="*/ 1256348 h 1496377"/>
                    <a:gd name="connsiteX213" fmla="*/ 1001078 w 1096327"/>
                    <a:gd name="connsiteY213" fmla="*/ 1272540 h 1496377"/>
                    <a:gd name="connsiteX214" fmla="*/ 990600 w 1096327"/>
                    <a:gd name="connsiteY214" fmla="*/ 1278255 h 1496377"/>
                    <a:gd name="connsiteX215" fmla="*/ 966788 w 1096327"/>
                    <a:gd name="connsiteY215" fmla="*/ 1280160 h 1496377"/>
                    <a:gd name="connsiteX216" fmla="*/ 977265 w 1096327"/>
                    <a:gd name="connsiteY216" fmla="*/ 1299210 h 1496377"/>
                    <a:gd name="connsiteX217" fmla="*/ 1001078 w 1096327"/>
                    <a:gd name="connsiteY217" fmla="*/ 1303020 h 1496377"/>
                    <a:gd name="connsiteX218" fmla="*/ 1042035 w 1096327"/>
                    <a:gd name="connsiteY218" fmla="*/ 1301115 h 1496377"/>
                    <a:gd name="connsiteX219" fmla="*/ 1060133 w 1096327"/>
                    <a:gd name="connsiteY219" fmla="*/ 1303020 h 1496377"/>
                    <a:gd name="connsiteX220" fmla="*/ 1058228 w 1096327"/>
                    <a:gd name="connsiteY220" fmla="*/ 1328738 h 1496377"/>
                    <a:gd name="connsiteX221" fmla="*/ 1054418 w 1096327"/>
                    <a:gd name="connsiteY221" fmla="*/ 1332548 h 1496377"/>
                    <a:gd name="connsiteX222" fmla="*/ 1018222 w 1096327"/>
                    <a:gd name="connsiteY222" fmla="*/ 1348740 h 1496377"/>
                    <a:gd name="connsiteX223" fmla="*/ 1008697 w 1096327"/>
                    <a:gd name="connsiteY223" fmla="*/ 1365885 h 1496377"/>
                    <a:gd name="connsiteX224" fmla="*/ 987743 w 1096327"/>
                    <a:gd name="connsiteY224" fmla="*/ 1364932 h 1496377"/>
                    <a:gd name="connsiteX225" fmla="*/ 977265 w 1096327"/>
                    <a:gd name="connsiteY225" fmla="*/ 1371600 h 1496377"/>
                    <a:gd name="connsiteX226" fmla="*/ 922972 w 1096327"/>
                    <a:gd name="connsiteY226" fmla="*/ 1389698 h 1496377"/>
                    <a:gd name="connsiteX227" fmla="*/ 876300 w 1096327"/>
                    <a:gd name="connsiteY227" fmla="*/ 1382078 h 1496377"/>
                    <a:gd name="connsiteX228" fmla="*/ 848678 w 1096327"/>
                    <a:gd name="connsiteY228" fmla="*/ 1383030 h 1496377"/>
                    <a:gd name="connsiteX229" fmla="*/ 810578 w 1096327"/>
                    <a:gd name="connsiteY229" fmla="*/ 1388745 h 1496377"/>
                    <a:gd name="connsiteX230" fmla="*/ 770572 w 1096327"/>
                    <a:gd name="connsiteY230" fmla="*/ 1377315 h 1496377"/>
                    <a:gd name="connsiteX231" fmla="*/ 753428 w 1096327"/>
                    <a:gd name="connsiteY231" fmla="*/ 1375410 h 1496377"/>
                    <a:gd name="connsiteX232" fmla="*/ 726758 w 1096327"/>
                    <a:gd name="connsiteY232" fmla="*/ 1391603 h 1496377"/>
                    <a:gd name="connsiteX233" fmla="*/ 686753 w 1096327"/>
                    <a:gd name="connsiteY233" fmla="*/ 1396365 h 1496377"/>
                    <a:gd name="connsiteX234" fmla="*/ 667703 w 1096327"/>
                    <a:gd name="connsiteY234" fmla="*/ 1394460 h 1496377"/>
                    <a:gd name="connsiteX235" fmla="*/ 676275 w 1096327"/>
                    <a:gd name="connsiteY235" fmla="*/ 1408748 h 1496377"/>
                    <a:gd name="connsiteX236" fmla="*/ 667703 w 1096327"/>
                    <a:gd name="connsiteY236" fmla="*/ 1412557 h 1496377"/>
                    <a:gd name="connsiteX237" fmla="*/ 631508 w 1096327"/>
                    <a:gd name="connsiteY237" fmla="*/ 1407795 h 1496377"/>
                    <a:gd name="connsiteX238" fmla="*/ 621983 w 1096327"/>
                    <a:gd name="connsiteY238" fmla="*/ 1412557 h 1496377"/>
                    <a:gd name="connsiteX239" fmla="*/ 608647 w 1096327"/>
                    <a:gd name="connsiteY239" fmla="*/ 1410653 h 1496377"/>
                    <a:gd name="connsiteX240" fmla="*/ 582930 w 1096327"/>
                    <a:gd name="connsiteY240" fmla="*/ 1397317 h 1496377"/>
                    <a:gd name="connsiteX241" fmla="*/ 558165 w 1096327"/>
                    <a:gd name="connsiteY241" fmla="*/ 1396365 h 1496377"/>
                    <a:gd name="connsiteX242" fmla="*/ 511493 w 1096327"/>
                    <a:gd name="connsiteY242" fmla="*/ 1407795 h 1496377"/>
                    <a:gd name="connsiteX243" fmla="*/ 501968 w 1096327"/>
                    <a:gd name="connsiteY243" fmla="*/ 1420178 h 1496377"/>
                    <a:gd name="connsiteX244" fmla="*/ 489585 w 1096327"/>
                    <a:gd name="connsiteY244" fmla="*/ 1453515 h 1496377"/>
                    <a:gd name="connsiteX245" fmla="*/ 479108 w 1096327"/>
                    <a:gd name="connsiteY245" fmla="*/ 1464945 h 1496377"/>
                    <a:gd name="connsiteX246" fmla="*/ 465772 w 1096327"/>
                    <a:gd name="connsiteY246" fmla="*/ 1466850 h 1496377"/>
                    <a:gd name="connsiteX247" fmla="*/ 422910 w 1096327"/>
                    <a:gd name="connsiteY247" fmla="*/ 1443038 h 1496377"/>
                    <a:gd name="connsiteX248" fmla="*/ 408622 w 1096327"/>
                    <a:gd name="connsiteY248" fmla="*/ 1447800 h 1496377"/>
                    <a:gd name="connsiteX249" fmla="*/ 384810 w 1096327"/>
                    <a:gd name="connsiteY249" fmla="*/ 1450657 h 1496377"/>
                    <a:gd name="connsiteX250" fmla="*/ 359093 w 1096327"/>
                    <a:gd name="connsiteY250" fmla="*/ 1457325 h 1496377"/>
                    <a:gd name="connsiteX251" fmla="*/ 321945 w 1096327"/>
                    <a:gd name="connsiteY251" fmla="*/ 1480185 h 1496377"/>
                    <a:gd name="connsiteX252" fmla="*/ 313372 w 1096327"/>
                    <a:gd name="connsiteY252" fmla="*/ 1494473 h 1496377"/>
                    <a:gd name="connsiteX253" fmla="*/ 300990 w 1096327"/>
                    <a:gd name="connsiteY253" fmla="*/ 1496378 h 1496377"/>
                    <a:gd name="connsiteX254" fmla="*/ 290513 w 1096327"/>
                    <a:gd name="connsiteY254" fmla="*/ 1487805 h 1496377"/>
                    <a:gd name="connsiteX255" fmla="*/ 277178 w 1096327"/>
                    <a:gd name="connsiteY255" fmla="*/ 1484948 h 1496377"/>
                    <a:gd name="connsiteX256" fmla="*/ 255270 w 1096327"/>
                    <a:gd name="connsiteY256" fmla="*/ 1492567 h 1496377"/>
                    <a:gd name="connsiteX257" fmla="*/ 252413 w 1096327"/>
                    <a:gd name="connsiteY257" fmla="*/ 1480185 h 1496377"/>
                    <a:gd name="connsiteX258" fmla="*/ 261938 w 1096327"/>
                    <a:gd name="connsiteY258" fmla="*/ 1470660 h 1496377"/>
                    <a:gd name="connsiteX259" fmla="*/ 288608 w 1096327"/>
                    <a:gd name="connsiteY259" fmla="*/ 1463992 h 1496377"/>
                    <a:gd name="connsiteX260" fmla="*/ 312420 w 1096327"/>
                    <a:gd name="connsiteY260" fmla="*/ 1445895 h 1496377"/>
                    <a:gd name="connsiteX261" fmla="*/ 333375 w 1096327"/>
                    <a:gd name="connsiteY261" fmla="*/ 1423988 h 1496377"/>
                    <a:gd name="connsiteX262" fmla="*/ 377190 w 1096327"/>
                    <a:gd name="connsiteY262" fmla="*/ 1387792 h 1496377"/>
                    <a:gd name="connsiteX263" fmla="*/ 384810 w 1096327"/>
                    <a:gd name="connsiteY263" fmla="*/ 1358265 h 1496377"/>
                    <a:gd name="connsiteX264" fmla="*/ 410528 w 1096327"/>
                    <a:gd name="connsiteY264" fmla="*/ 1351598 h 1496377"/>
                    <a:gd name="connsiteX265" fmla="*/ 423863 w 1096327"/>
                    <a:gd name="connsiteY265" fmla="*/ 1327785 h 1496377"/>
                    <a:gd name="connsiteX266" fmla="*/ 462915 w 1096327"/>
                    <a:gd name="connsiteY266" fmla="*/ 1322070 h 1496377"/>
                    <a:gd name="connsiteX267" fmla="*/ 489585 w 1096327"/>
                    <a:gd name="connsiteY267" fmla="*/ 1322070 h 1496377"/>
                    <a:gd name="connsiteX268" fmla="*/ 516255 w 1096327"/>
                    <a:gd name="connsiteY268" fmla="*/ 1326832 h 1496377"/>
                    <a:gd name="connsiteX269" fmla="*/ 543878 w 1096327"/>
                    <a:gd name="connsiteY269" fmla="*/ 1325880 h 1496377"/>
                    <a:gd name="connsiteX270" fmla="*/ 554355 w 1096327"/>
                    <a:gd name="connsiteY270" fmla="*/ 1319213 h 1496377"/>
                    <a:gd name="connsiteX271" fmla="*/ 572453 w 1096327"/>
                    <a:gd name="connsiteY271" fmla="*/ 1296353 h 1496377"/>
                    <a:gd name="connsiteX272" fmla="*/ 606743 w 1096327"/>
                    <a:gd name="connsiteY272" fmla="*/ 1267778 h 1496377"/>
                    <a:gd name="connsiteX273" fmla="*/ 561975 w 1096327"/>
                    <a:gd name="connsiteY273" fmla="*/ 1277303 h 1496377"/>
                    <a:gd name="connsiteX274" fmla="*/ 525780 w 1096327"/>
                    <a:gd name="connsiteY274" fmla="*/ 1299210 h 1496377"/>
                    <a:gd name="connsiteX275" fmla="*/ 495300 w 1096327"/>
                    <a:gd name="connsiteY275" fmla="*/ 1295400 h 1496377"/>
                    <a:gd name="connsiteX276" fmla="*/ 473393 w 1096327"/>
                    <a:gd name="connsiteY276" fmla="*/ 1277303 h 1496377"/>
                    <a:gd name="connsiteX277" fmla="*/ 453390 w 1096327"/>
                    <a:gd name="connsiteY277" fmla="*/ 1269682 h 1496377"/>
                    <a:gd name="connsiteX278" fmla="*/ 433388 w 1096327"/>
                    <a:gd name="connsiteY278" fmla="*/ 1273492 h 1496377"/>
                    <a:gd name="connsiteX279" fmla="*/ 426720 w 1096327"/>
                    <a:gd name="connsiteY279" fmla="*/ 1264920 h 1496377"/>
                    <a:gd name="connsiteX280" fmla="*/ 403860 w 1096327"/>
                    <a:gd name="connsiteY280" fmla="*/ 1248728 h 1496377"/>
                    <a:gd name="connsiteX281" fmla="*/ 379095 w 1096327"/>
                    <a:gd name="connsiteY281" fmla="*/ 1248728 h 1496377"/>
                    <a:gd name="connsiteX282" fmla="*/ 344805 w 1096327"/>
                    <a:gd name="connsiteY282" fmla="*/ 1264920 h 1496377"/>
                    <a:gd name="connsiteX283" fmla="*/ 320040 w 1096327"/>
                    <a:gd name="connsiteY283" fmla="*/ 1253490 h 1496377"/>
                    <a:gd name="connsiteX284" fmla="*/ 311468 w 1096327"/>
                    <a:gd name="connsiteY284" fmla="*/ 1231582 h 1496377"/>
                    <a:gd name="connsiteX285" fmla="*/ 314325 w 1096327"/>
                    <a:gd name="connsiteY285" fmla="*/ 1218248 h 1496377"/>
                    <a:gd name="connsiteX286" fmla="*/ 324803 w 1096327"/>
                    <a:gd name="connsiteY286" fmla="*/ 1211580 h 1496377"/>
                    <a:gd name="connsiteX287" fmla="*/ 348615 w 1096327"/>
                    <a:gd name="connsiteY287" fmla="*/ 1205865 h 1496377"/>
                    <a:gd name="connsiteX288" fmla="*/ 384810 w 1096327"/>
                    <a:gd name="connsiteY288" fmla="*/ 1189673 h 1496377"/>
                    <a:gd name="connsiteX289" fmla="*/ 405765 w 1096327"/>
                    <a:gd name="connsiteY289" fmla="*/ 1183005 h 1496377"/>
                    <a:gd name="connsiteX290" fmla="*/ 432435 w 1096327"/>
                    <a:gd name="connsiteY290" fmla="*/ 1164907 h 1496377"/>
                    <a:gd name="connsiteX291" fmla="*/ 443865 w 1096327"/>
                    <a:gd name="connsiteY291" fmla="*/ 1143000 h 1496377"/>
                    <a:gd name="connsiteX292" fmla="*/ 441008 w 1096327"/>
                    <a:gd name="connsiteY292" fmla="*/ 1123950 h 1496377"/>
                    <a:gd name="connsiteX293" fmla="*/ 445770 w 1096327"/>
                    <a:gd name="connsiteY293" fmla="*/ 1110615 h 1496377"/>
                    <a:gd name="connsiteX294" fmla="*/ 437197 w 1096327"/>
                    <a:gd name="connsiteY294" fmla="*/ 1094423 h 1496377"/>
                    <a:gd name="connsiteX295" fmla="*/ 440055 w 1096327"/>
                    <a:gd name="connsiteY295" fmla="*/ 1080135 h 1496377"/>
                    <a:gd name="connsiteX296" fmla="*/ 411480 w 1096327"/>
                    <a:gd name="connsiteY296" fmla="*/ 1082992 h 1496377"/>
                    <a:gd name="connsiteX297" fmla="*/ 385763 w 1096327"/>
                    <a:gd name="connsiteY297" fmla="*/ 1094423 h 1496377"/>
                    <a:gd name="connsiteX298" fmla="*/ 379095 w 1096327"/>
                    <a:gd name="connsiteY298" fmla="*/ 1083945 h 1496377"/>
                    <a:gd name="connsiteX299" fmla="*/ 405765 w 1096327"/>
                    <a:gd name="connsiteY299" fmla="*/ 1066800 h 1496377"/>
                    <a:gd name="connsiteX300" fmla="*/ 415290 w 1096327"/>
                    <a:gd name="connsiteY300" fmla="*/ 1053465 h 1496377"/>
                    <a:gd name="connsiteX301" fmla="*/ 440055 w 1096327"/>
                    <a:gd name="connsiteY301" fmla="*/ 1037272 h 1496377"/>
                    <a:gd name="connsiteX302" fmla="*/ 474345 w 1096327"/>
                    <a:gd name="connsiteY302" fmla="*/ 1024890 h 1496377"/>
                    <a:gd name="connsiteX303" fmla="*/ 492443 w 1096327"/>
                    <a:gd name="connsiteY303" fmla="*/ 1025842 h 1496377"/>
                    <a:gd name="connsiteX304" fmla="*/ 527685 w 1096327"/>
                    <a:gd name="connsiteY304" fmla="*/ 1019175 h 1496377"/>
                    <a:gd name="connsiteX305" fmla="*/ 553403 w 1096327"/>
                    <a:gd name="connsiteY305" fmla="*/ 1031557 h 1496377"/>
                    <a:gd name="connsiteX306" fmla="*/ 545783 w 1096327"/>
                    <a:gd name="connsiteY306" fmla="*/ 1011555 h 1496377"/>
                    <a:gd name="connsiteX307" fmla="*/ 557213 w 1096327"/>
                    <a:gd name="connsiteY307" fmla="*/ 1007745 h 1496377"/>
                    <a:gd name="connsiteX308" fmla="*/ 558165 w 1096327"/>
                    <a:gd name="connsiteY308" fmla="*/ 984885 h 1496377"/>
                    <a:gd name="connsiteX309" fmla="*/ 573405 w 1096327"/>
                    <a:gd name="connsiteY309" fmla="*/ 963930 h 1496377"/>
                    <a:gd name="connsiteX310" fmla="*/ 561975 w 1096327"/>
                    <a:gd name="connsiteY310" fmla="*/ 958215 h 1496377"/>
                    <a:gd name="connsiteX311" fmla="*/ 562928 w 1096327"/>
                    <a:gd name="connsiteY311" fmla="*/ 939165 h 1496377"/>
                    <a:gd name="connsiteX312" fmla="*/ 577215 w 1096327"/>
                    <a:gd name="connsiteY312" fmla="*/ 931545 h 1496377"/>
                    <a:gd name="connsiteX313" fmla="*/ 583883 w 1096327"/>
                    <a:gd name="connsiteY313" fmla="*/ 906780 h 1496377"/>
                    <a:gd name="connsiteX314" fmla="*/ 567690 w 1096327"/>
                    <a:gd name="connsiteY314" fmla="*/ 902017 h 1496377"/>
                    <a:gd name="connsiteX315" fmla="*/ 547688 w 1096327"/>
                    <a:gd name="connsiteY315" fmla="*/ 907732 h 1496377"/>
                    <a:gd name="connsiteX316" fmla="*/ 531495 w 1096327"/>
                    <a:gd name="connsiteY316" fmla="*/ 893445 h 1496377"/>
                    <a:gd name="connsiteX317" fmla="*/ 504825 w 1096327"/>
                    <a:gd name="connsiteY317" fmla="*/ 859155 h 1496377"/>
                    <a:gd name="connsiteX318" fmla="*/ 501968 w 1096327"/>
                    <a:gd name="connsiteY318" fmla="*/ 845820 h 1496377"/>
                    <a:gd name="connsiteX319" fmla="*/ 517208 w 1096327"/>
                    <a:gd name="connsiteY319" fmla="*/ 816292 h 1496377"/>
                    <a:gd name="connsiteX320" fmla="*/ 539115 w 1096327"/>
                    <a:gd name="connsiteY320" fmla="*/ 797242 h 1496377"/>
                    <a:gd name="connsiteX321" fmla="*/ 521018 w 1096327"/>
                    <a:gd name="connsiteY321" fmla="*/ 789622 h 1496377"/>
                    <a:gd name="connsiteX322" fmla="*/ 507683 w 1096327"/>
                    <a:gd name="connsiteY322" fmla="*/ 791528 h 1496377"/>
                    <a:gd name="connsiteX323" fmla="*/ 481965 w 1096327"/>
                    <a:gd name="connsiteY323" fmla="*/ 802957 h 1496377"/>
                    <a:gd name="connsiteX324" fmla="*/ 462915 w 1096327"/>
                    <a:gd name="connsiteY324" fmla="*/ 815340 h 1496377"/>
                    <a:gd name="connsiteX325" fmla="*/ 442913 w 1096327"/>
                    <a:gd name="connsiteY325" fmla="*/ 815340 h 1496377"/>
                    <a:gd name="connsiteX326" fmla="*/ 435293 w 1096327"/>
                    <a:gd name="connsiteY326" fmla="*/ 806767 h 1496377"/>
                    <a:gd name="connsiteX327" fmla="*/ 424815 w 1096327"/>
                    <a:gd name="connsiteY327" fmla="*/ 807720 h 1496377"/>
                    <a:gd name="connsiteX328" fmla="*/ 401003 w 1096327"/>
                    <a:gd name="connsiteY328" fmla="*/ 818197 h 1496377"/>
                    <a:gd name="connsiteX329" fmla="*/ 367665 w 1096327"/>
                    <a:gd name="connsiteY329" fmla="*/ 805815 h 1496377"/>
                    <a:gd name="connsiteX330" fmla="*/ 357188 w 1096327"/>
                    <a:gd name="connsiteY330" fmla="*/ 827722 h 1496377"/>
                    <a:gd name="connsiteX331" fmla="*/ 332422 w 1096327"/>
                    <a:gd name="connsiteY331" fmla="*/ 803910 h 1496377"/>
                    <a:gd name="connsiteX332" fmla="*/ 329565 w 1096327"/>
                    <a:gd name="connsiteY332" fmla="*/ 785813 h 1496377"/>
                    <a:gd name="connsiteX333" fmla="*/ 341947 w 1096327"/>
                    <a:gd name="connsiteY333" fmla="*/ 785813 h 1496377"/>
                    <a:gd name="connsiteX334" fmla="*/ 353378 w 1096327"/>
                    <a:gd name="connsiteY334" fmla="*/ 762953 h 1496377"/>
                    <a:gd name="connsiteX335" fmla="*/ 381000 w 1096327"/>
                    <a:gd name="connsiteY335" fmla="*/ 724853 h 1496377"/>
                    <a:gd name="connsiteX336" fmla="*/ 386715 w 1096327"/>
                    <a:gd name="connsiteY336" fmla="*/ 713422 h 1496377"/>
                    <a:gd name="connsiteX337" fmla="*/ 381953 w 1096327"/>
                    <a:gd name="connsiteY337" fmla="*/ 700088 h 1496377"/>
                    <a:gd name="connsiteX338" fmla="*/ 363855 w 1096327"/>
                    <a:gd name="connsiteY338" fmla="*/ 685800 h 1496377"/>
                    <a:gd name="connsiteX339" fmla="*/ 366713 w 1096327"/>
                    <a:gd name="connsiteY339" fmla="*/ 661035 h 1496377"/>
                    <a:gd name="connsiteX340" fmla="*/ 374333 w 1096327"/>
                    <a:gd name="connsiteY340" fmla="*/ 651510 h 1496377"/>
                    <a:gd name="connsiteX341" fmla="*/ 388620 w 1096327"/>
                    <a:gd name="connsiteY341" fmla="*/ 647700 h 1496377"/>
                    <a:gd name="connsiteX342" fmla="*/ 370522 w 1096327"/>
                    <a:gd name="connsiteY342" fmla="*/ 636270 h 1496377"/>
                    <a:gd name="connsiteX343" fmla="*/ 342900 w 1096327"/>
                    <a:gd name="connsiteY343" fmla="*/ 644842 h 1496377"/>
                    <a:gd name="connsiteX344" fmla="*/ 325755 w 1096327"/>
                    <a:gd name="connsiteY344" fmla="*/ 653415 h 1496377"/>
                    <a:gd name="connsiteX345" fmla="*/ 328613 w 1096327"/>
                    <a:gd name="connsiteY345" fmla="*/ 634365 h 1496377"/>
                    <a:gd name="connsiteX346" fmla="*/ 322897 w 1096327"/>
                    <a:gd name="connsiteY346" fmla="*/ 630555 h 1496377"/>
                    <a:gd name="connsiteX347" fmla="*/ 308610 w 1096327"/>
                    <a:gd name="connsiteY347" fmla="*/ 643890 h 1496377"/>
                    <a:gd name="connsiteX348" fmla="*/ 309563 w 1096327"/>
                    <a:gd name="connsiteY348" fmla="*/ 675322 h 1496377"/>
                    <a:gd name="connsiteX349" fmla="*/ 289560 w 1096327"/>
                    <a:gd name="connsiteY349" fmla="*/ 729615 h 1496377"/>
                    <a:gd name="connsiteX350" fmla="*/ 279083 w 1096327"/>
                    <a:gd name="connsiteY350" fmla="*/ 738188 h 1496377"/>
                    <a:gd name="connsiteX351" fmla="*/ 265747 w 1096327"/>
                    <a:gd name="connsiteY351" fmla="*/ 733425 h 1496377"/>
                    <a:gd name="connsiteX352" fmla="*/ 276225 w 1096327"/>
                    <a:gd name="connsiteY352" fmla="*/ 696278 h 1496377"/>
                    <a:gd name="connsiteX353" fmla="*/ 289560 w 1096327"/>
                    <a:gd name="connsiteY353" fmla="*/ 672465 h 1496377"/>
                    <a:gd name="connsiteX354" fmla="*/ 283845 w 1096327"/>
                    <a:gd name="connsiteY354" fmla="*/ 669607 h 1496377"/>
                    <a:gd name="connsiteX355" fmla="*/ 286703 w 1096327"/>
                    <a:gd name="connsiteY355" fmla="*/ 635317 h 1496377"/>
                    <a:gd name="connsiteX356" fmla="*/ 296228 w 1096327"/>
                    <a:gd name="connsiteY356" fmla="*/ 607695 h 1496377"/>
                    <a:gd name="connsiteX357" fmla="*/ 312420 w 1096327"/>
                    <a:gd name="connsiteY357" fmla="*/ 571500 h 1496377"/>
                    <a:gd name="connsiteX358" fmla="*/ 333375 w 1096327"/>
                    <a:gd name="connsiteY358" fmla="*/ 538163 h 1496377"/>
                    <a:gd name="connsiteX359" fmla="*/ 294322 w 1096327"/>
                    <a:gd name="connsiteY359" fmla="*/ 563880 h 1496377"/>
                    <a:gd name="connsiteX360" fmla="*/ 284797 w 1096327"/>
                    <a:gd name="connsiteY360" fmla="*/ 568642 h 1496377"/>
                    <a:gd name="connsiteX361" fmla="*/ 261938 w 1096327"/>
                    <a:gd name="connsiteY361" fmla="*/ 564832 h 1496377"/>
                    <a:gd name="connsiteX362" fmla="*/ 254318 w 1096327"/>
                    <a:gd name="connsiteY362" fmla="*/ 558165 h 1496377"/>
                    <a:gd name="connsiteX363" fmla="*/ 244793 w 1096327"/>
                    <a:gd name="connsiteY363" fmla="*/ 536257 h 1496377"/>
                    <a:gd name="connsiteX364" fmla="*/ 261938 w 1096327"/>
                    <a:gd name="connsiteY364" fmla="*/ 534353 h 1496377"/>
                    <a:gd name="connsiteX365" fmla="*/ 278130 w 1096327"/>
                    <a:gd name="connsiteY365" fmla="*/ 523875 h 1496377"/>
                    <a:gd name="connsiteX366" fmla="*/ 263843 w 1096327"/>
                    <a:gd name="connsiteY366" fmla="*/ 517207 h 1496377"/>
                    <a:gd name="connsiteX367" fmla="*/ 278130 w 1096327"/>
                    <a:gd name="connsiteY367" fmla="*/ 508635 h 1496377"/>
                    <a:gd name="connsiteX368" fmla="*/ 294322 w 1096327"/>
                    <a:gd name="connsiteY368" fmla="*/ 488632 h 1496377"/>
                    <a:gd name="connsiteX369" fmla="*/ 298133 w 1096327"/>
                    <a:gd name="connsiteY369" fmla="*/ 470535 h 1496377"/>
                    <a:gd name="connsiteX370" fmla="*/ 288608 w 1096327"/>
                    <a:gd name="connsiteY370" fmla="*/ 456247 h 1496377"/>
                    <a:gd name="connsiteX371" fmla="*/ 273368 w 1096327"/>
                    <a:gd name="connsiteY371" fmla="*/ 450532 h 1496377"/>
                    <a:gd name="connsiteX372" fmla="*/ 271463 w 1096327"/>
                    <a:gd name="connsiteY372" fmla="*/ 441960 h 1496377"/>
                    <a:gd name="connsiteX373" fmla="*/ 287655 w 1096327"/>
                    <a:gd name="connsiteY373" fmla="*/ 423863 h 1496377"/>
                    <a:gd name="connsiteX374" fmla="*/ 280988 w 1096327"/>
                    <a:gd name="connsiteY374" fmla="*/ 409575 h 1496377"/>
                    <a:gd name="connsiteX375" fmla="*/ 296228 w 1096327"/>
                    <a:gd name="connsiteY375" fmla="*/ 380047 h 1496377"/>
                    <a:gd name="connsiteX376" fmla="*/ 324803 w 1096327"/>
                    <a:gd name="connsiteY376" fmla="*/ 381000 h 1496377"/>
                    <a:gd name="connsiteX377" fmla="*/ 342900 w 1096327"/>
                    <a:gd name="connsiteY377" fmla="*/ 377190 h 1496377"/>
                    <a:gd name="connsiteX378" fmla="*/ 320993 w 1096327"/>
                    <a:gd name="connsiteY378" fmla="*/ 358140 h 1496377"/>
                    <a:gd name="connsiteX379" fmla="*/ 327660 w 1096327"/>
                    <a:gd name="connsiteY379" fmla="*/ 330517 h 1496377"/>
                    <a:gd name="connsiteX380" fmla="*/ 362903 w 1096327"/>
                    <a:gd name="connsiteY380" fmla="*/ 327660 h 1496377"/>
                    <a:gd name="connsiteX381" fmla="*/ 355283 w 1096327"/>
                    <a:gd name="connsiteY381" fmla="*/ 310515 h 1496377"/>
                    <a:gd name="connsiteX382" fmla="*/ 358140 w 1096327"/>
                    <a:gd name="connsiteY382" fmla="*/ 291465 h 1496377"/>
                    <a:gd name="connsiteX383" fmla="*/ 373380 w 1096327"/>
                    <a:gd name="connsiteY383" fmla="*/ 282892 h 1496377"/>
                    <a:gd name="connsiteX384" fmla="*/ 385763 w 1096327"/>
                    <a:gd name="connsiteY384" fmla="*/ 284797 h 1496377"/>
                    <a:gd name="connsiteX385" fmla="*/ 395288 w 1096327"/>
                    <a:gd name="connsiteY385" fmla="*/ 293370 h 1496377"/>
                    <a:gd name="connsiteX386" fmla="*/ 420053 w 1096327"/>
                    <a:gd name="connsiteY386" fmla="*/ 284797 h 1496377"/>
                    <a:gd name="connsiteX387" fmla="*/ 425768 w 1096327"/>
                    <a:gd name="connsiteY387" fmla="*/ 292417 h 1496377"/>
                    <a:gd name="connsiteX388" fmla="*/ 452438 w 1096327"/>
                    <a:gd name="connsiteY388" fmla="*/ 286703 h 1496377"/>
                    <a:gd name="connsiteX389" fmla="*/ 487680 w 1096327"/>
                    <a:gd name="connsiteY389" fmla="*/ 283845 h 1496377"/>
                    <a:gd name="connsiteX390" fmla="*/ 530543 w 1096327"/>
                    <a:gd name="connsiteY390" fmla="*/ 278130 h 1496377"/>
                    <a:gd name="connsiteX391" fmla="*/ 551497 w 1096327"/>
                    <a:gd name="connsiteY391" fmla="*/ 274320 h 1496377"/>
                    <a:gd name="connsiteX392" fmla="*/ 573405 w 1096327"/>
                    <a:gd name="connsiteY392" fmla="*/ 276225 h 1496377"/>
                    <a:gd name="connsiteX393" fmla="*/ 567690 w 1096327"/>
                    <a:gd name="connsiteY393" fmla="*/ 292417 h 1496377"/>
                    <a:gd name="connsiteX394" fmla="*/ 561975 w 1096327"/>
                    <a:gd name="connsiteY394" fmla="*/ 254317 h 1496377"/>
                    <a:gd name="connsiteX395" fmla="*/ 549593 w 1096327"/>
                    <a:gd name="connsiteY395" fmla="*/ 255270 h 1496377"/>
                    <a:gd name="connsiteX396" fmla="*/ 537210 w 1096327"/>
                    <a:gd name="connsiteY396" fmla="*/ 241935 h 1496377"/>
                    <a:gd name="connsiteX397" fmla="*/ 551497 w 1096327"/>
                    <a:gd name="connsiteY397" fmla="*/ 239078 h 1496377"/>
                    <a:gd name="connsiteX398" fmla="*/ 561975 w 1096327"/>
                    <a:gd name="connsiteY398" fmla="*/ 254317 h 1496377"/>
                    <a:gd name="connsiteX399" fmla="*/ 574358 w 1096327"/>
                    <a:gd name="connsiteY399" fmla="*/ 221932 h 1496377"/>
                    <a:gd name="connsiteX400" fmla="*/ 600075 w 1096327"/>
                    <a:gd name="connsiteY400" fmla="*/ 227647 h 1496377"/>
                    <a:gd name="connsiteX401" fmla="*/ 594360 w 1096327"/>
                    <a:gd name="connsiteY401" fmla="*/ 240982 h 1496377"/>
                    <a:gd name="connsiteX402" fmla="*/ 581025 w 1096327"/>
                    <a:gd name="connsiteY402" fmla="*/ 234315 h 1496377"/>
                    <a:gd name="connsiteX403" fmla="*/ 561975 w 1096327"/>
                    <a:gd name="connsiteY403" fmla="*/ 237172 h 1496377"/>
                    <a:gd name="connsiteX404" fmla="*/ 543878 w 1096327"/>
                    <a:gd name="connsiteY404" fmla="*/ 227647 h 1496377"/>
                    <a:gd name="connsiteX405" fmla="*/ 547688 w 1096327"/>
                    <a:gd name="connsiteY405" fmla="*/ 207645 h 1496377"/>
                    <a:gd name="connsiteX406" fmla="*/ 563880 w 1096327"/>
                    <a:gd name="connsiteY406" fmla="*/ 206692 h 1496377"/>
                    <a:gd name="connsiteX407" fmla="*/ 575310 w 1096327"/>
                    <a:gd name="connsiteY407" fmla="*/ 211455 h 1496377"/>
                    <a:gd name="connsiteX408" fmla="*/ 574358 w 1096327"/>
                    <a:gd name="connsiteY408" fmla="*/ 221932 h 1496377"/>
                    <a:gd name="connsiteX409" fmla="*/ 609600 w 1096327"/>
                    <a:gd name="connsiteY409" fmla="*/ 200025 h 1496377"/>
                    <a:gd name="connsiteX410" fmla="*/ 600075 w 1096327"/>
                    <a:gd name="connsiteY410" fmla="*/ 202882 h 1496377"/>
                    <a:gd name="connsiteX411" fmla="*/ 596265 w 1096327"/>
                    <a:gd name="connsiteY411" fmla="*/ 191453 h 1496377"/>
                    <a:gd name="connsiteX412" fmla="*/ 580072 w 1096327"/>
                    <a:gd name="connsiteY412" fmla="*/ 185738 h 1496377"/>
                    <a:gd name="connsiteX413" fmla="*/ 583883 w 1096327"/>
                    <a:gd name="connsiteY413" fmla="*/ 178117 h 1496377"/>
                    <a:gd name="connsiteX414" fmla="*/ 609600 w 1096327"/>
                    <a:gd name="connsiteY414" fmla="*/ 200025 h 1496377"/>
                    <a:gd name="connsiteX415" fmla="*/ 762953 w 1096327"/>
                    <a:gd name="connsiteY415" fmla="*/ 14288 h 1496377"/>
                    <a:gd name="connsiteX416" fmla="*/ 778193 w 1096327"/>
                    <a:gd name="connsiteY416" fmla="*/ 31432 h 1496377"/>
                    <a:gd name="connsiteX417" fmla="*/ 787718 w 1096327"/>
                    <a:gd name="connsiteY417" fmla="*/ 36195 h 1496377"/>
                    <a:gd name="connsiteX418" fmla="*/ 775335 w 1096327"/>
                    <a:gd name="connsiteY418" fmla="*/ 72390 h 1496377"/>
                    <a:gd name="connsiteX419" fmla="*/ 773430 w 1096327"/>
                    <a:gd name="connsiteY419" fmla="*/ 87630 h 1496377"/>
                    <a:gd name="connsiteX420" fmla="*/ 763905 w 1096327"/>
                    <a:gd name="connsiteY420" fmla="*/ 103822 h 1496377"/>
                    <a:gd name="connsiteX421" fmla="*/ 756285 w 1096327"/>
                    <a:gd name="connsiteY421" fmla="*/ 100013 h 1496377"/>
                    <a:gd name="connsiteX422" fmla="*/ 764858 w 1096327"/>
                    <a:gd name="connsiteY422" fmla="*/ 72390 h 1496377"/>
                    <a:gd name="connsiteX423" fmla="*/ 760095 w 1096327"/>
                    <a:gd name="connsiteY423" fmla="*/ 61913 h 1496377"/>
                    <a:gd name="connsiteX424" fmla="*/ 743903 w 1096327"/>
                    <a:gd name="connsiteY424" fmla="*/ 64770 h 1496377"/>
                    <a:gd name="connsiteX425" fmla="*/ 740093 w 1096327"/>
                    <a:gd name="connsiteY425" fmla="*/ 56197 h 1496377"/>
                    <a:gd name="connsiteX426" fmla="*/ 755333 w 1096327"/>
                    <a:gd name="connsiteY426" fmla="*/ 42863 h 1496377"/>
                    <a:gd name="connsiteX427" fmla="*/ 747713 w 1096327"/>
                    <a:gd name="connsiteY427" fmla="*/ 23813 h 1496377"/>
                    <a:gd name="connsiteX428" fmla="*/ 737235 w 1096327"/>
                    <a:gd name="connsiteY428" fmla="*/ 21907 h 1496377"/>
                    <a:gd name="connsiteX429" fmla="*/ 751522 w 1096327"/>
                    <a:gd name="connsiteY429" fmla="*/ 6667 h 1496377"/>
                    <a:gd name="connsiteX430" fmla="*/ 762953 w 1096327"/>
                    <a:gd name="connsiteY430" fmla="*/ 14288 h 1496377"/>
                    <a:gd name="connsiteX431" fmla="*/ 790575 w 1096327"/>
                    <a:gd name="connsiteY431" fmla="*/ 18097 h 1496377"/>
                    <a:gd name="connsiteX432" fmla="*/ 777240 w 1096327"/>
                    <a:gd name="connsiteY432" fmla="*/ 5715 h 1496377"/>
                    <a:gd name="connsiteX433" fmla="*/ 789622 w 1096327"/>
                    <a:gd name="connsiteY433" fmla="*/ 0 h 1496377"/>
                    <a:gd name="connsiteX434" fmla="*/ 790575 w 1096327"/>
                    <a:gd name="connsiteY434" fmla="*/ 18097 h 14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096327" h="1496377">
                      <a:moveTo>
                        <a:pt x="778193" y="1400175"/>
                      </a:moveTo>
                      <a:lnTo>
                        <a:pt x="762953" y="1412557"/>
                      </a:lnTo>
                      <a:lnTo>
                        <a:pt x="750570" y="1414463"/>
                      </a:lnTo>
                      <a:lnTo>
                        <a:pt x="726758" y="1403032"/>
                      </a:lnTo>
                      <a:lnTo>
                        <a:pt x="726758" y="1398270"/>
                      </a:lnTo>
                      <a:lnTo>
                        <a:pt x="750570" y="1387792"/>
                      </a:lnTo>
                      <a:lnTo>
                        <a:pt x="769620" y="1393507"/>
                      </a:lnTo>
                      <a:lnTo>
                        <a:pt x="778193" y="1400175"/>
                      </a:lnTo>
                      <a:close/>
                      <a:moveTo>
                        <a:pt x="430530" y="1022032"/>
                      </a:moveTo>
                      <a:lnTo>
                        <a:pt x="442913" y="1030605"/>
                      </a:lnTo>
                      <a:lnTo>
                        <a:pt x="410528" y="1048703"/>
                      </a:lnTo>
                      <a:lnTo>
                        <a:pt x="399097" y="1042988"/>
                      </a:lnTo>
                      <a:lnTo>
                        <a:pt x="390525" y="1031557"/>
                      </a:lnTo>
                      <a:lnTo>
                        <a:pt x="389572" y="1013460"/>
                      </a:lnTo>
                      <a:lnTo>
                        <a:pt x="401003" y="1008697"/>
                      </a:lnTo>
                      <a:lnTo>
                        <a:pt x="418147" y="1008697"/>
                      </a:lnTo>
                      <a:lnTo>
                        <a:pt x="430530" y="1022032"/>
                      </a:lnTo>
                      <a:close/>
                      <a:moveTo>
                        <a:pt x="208597" y="913447"/>
                      </a:moveTo>
                      <a:lnTo>
                        <a:pt x="188595" y="917257"/>
                      </a:lnTo>
                      <a:lnTo>
                        <a:pt x="160972" y="917257"/>
                      </a:lnTo>
                      <a:lnTo>
                        <a:pt x="161925" y="902970"/>
                      </a:lnTo>
                      <a:lnTo>
                        <a:pt x="148590" y="898207"/>
                      </a:lnTo>
                      <a:lnTo>
                        <a:pt x="131445" y="872490"/>
                      </a:lnTo>
                      <a:lnTo>
                        <a:pt x="119063" y="867728"/>
                      </a:lnTo>
                      <a:lnTo>
                        <a:pt x="100965" y="882967"/>
                      </a:lnTo>
                      <a:lnTo>
                        <a:pt x="105728" y="891540"/>
                      </a:lnTo>
                      <a:lnTo>
                        <a:pt x="82868" y="908685"/>
                      </a:lnTo>
                      <a:lnTo>
                        <a:pt x="55245" y="905828"/>
                      </a:lnTo>
                      <a:lnTo>
                        <a:pt x="47625" y="899160"/>
                      </a:lnTo>
                      <a:lnTo>
                        <a:pt x="27622" y="895350"/>
                      </a:lnTo>
                      <a:lnTo>
                        <a:pt x="25718" y="885825"/>
                      </a:lnTo>
                      <a:lnTo>
                        <a:pt x="0" y="866775"/>
                      </a:lnTo>
                      <a:lnTo>
                        <a:pt x="9525" y="853440"/>
                      </a:lnTo>
                      <a:lnTo>
                        <a:pt x="37147" y="844867"/>
                      </a:lnTo>
                      <a:lnTo>
                        <a:pt x="27622" y="831532"/>
                      </a:lnTo>
                      <a:lnTo>
                        <a:pt x="29528" y="823913"/>
                      </a:lnTo>
                      <a:lnTo>
                        <a:pt x="44768" y="824865"/>
                      </a:lnTo>
                      <a:lnTo>
                        <a:pt x="65722" y="817245"/>
                      </a:lnTo>
                      <a:lnTo>
                        <a:pt x="77153" y="802005"/>
                      </a:lnTo>
                      <a:lnTo>
                        <a:pt x="86678" y="780097"/>
                      </a:lnTo>
                      <a:lnTo>
                        <a:pt x="104775" y="771525"/>
                      </a:lnTo>
                      <a:lnTo>
                        <a:pt x="117158" y="777240"/>
                      </a:lnTo>
                      <a:lnTo>
                        <a:pt x="135255" y="758190"/>
                      </a:lnTo>
                      <a:lnTo>
                        <a:pt x="161925" y="757238"/>
                      </a:lnTo>
                      <a:lnTo>
                        <a:pt x="187643" y="750570"/>
                      </a:lnTo>
                      <a:lnTo>
                        <a:pt x="224790" y="753428"/>
                      </a:lnTo>
                      <a:lnTo>
                        <a:pt x="235268" y="763905"/>
                      </a:lnTo>
                      <a:lnTo>
                        <a:pt x="240030" y="780097"/>
                      </a:lnTo>
                      <a:lnTo>
                        <a:pt x="252413" y="796290"/>
                      </a:lnTo>
                      <a:lnTo>
                        <a:pt x="268605" y="809625"/>
                      </a:lnTo>
                      <a:lnTo>
                        <a:pt x="268605" y="818197"/>
                      </a:lnTo>
                      <a:lnTo>
                        <a:pt x="249555" y="828675"/>
                      </a:lnTo>
                      <a:lnTo>
                        <a:pt x="282893" y="831532"/>
                      </a:lnTo>
                      <a:lnTo>
                        <a:pt x="294322" y="855345"/>
                      </a:lnTo>
                      <a:lnTo>
                        <a:pt x="274320" y="858203"/>
                      </a:lnTo>
                      <a:lnTo>
                        <a:pt x="273368" y="871538"/>
                      </a:lnTo>
                      <a:lnTo>
                        <a:pt x="283845" y="873442"/>
                      </a:lnTo>
                      <a:lnTo>
                        <a:pt x="278130" y="886778"/>
                      </a:lnTo>
                      <a:lnTo>
                        <a:pt x="253365" y="892492"/>
                      </a:lnTo>
                      <a:lnTo>
                        <a:pt x="240030" y="913447"/>
                      </a:lnTo>
                      <a:lnTo>
                        <a:pt x="230505" y="918210"/>
                      </a:lnTo>
                      <a:lnTo>
                        <a:pt x="208597" y="913447"/>
                      </a:lnTo>
                      <a:close/>
                      <a:moveTo>
                        <a:pt x="339090" y="721042"/>
                      </a:moveTo>
                      <a:lnTo>
                        <a:pt x="314325" y="716280"/>
                      </a:lnTo>
                      <a:lnTo>
                        <a:pt x="308610" y="697230"/>
                      </a:lnTo>
                      <a:lnTo>
                        <a:pt x="317183" y="683895"/>
                      </a:lnTo>
                      <a:lnTo>
                        <a:pt x="334328" y="690563"/>
                      </a:lnTo>
                      <a:lnTo>
                        <a:pt x="340043" y="702945"/>
                      </a:lnTo>
                      <a:lnTo>
                        <a:pt x="339090" y="721042"/>
                      </a:lnTo>
                      <a:close/>
                      <a:moveTo>
                        <a:pt x="229553" y="653415"/>
                      </a:moveTo>
                      <a:lnTo>
                        <a:pt x="236220" y="685800"/>
                      </a:lnTo>
                      <a:lnTo>
                        <a:pt x="213360" y="698182"/>
                      </a:lnTo>
                      <a:lnTo>
                        <a:pt x="205740" y="675322"/>
                      </a:lnTo>
                      <a:lnTo>
                        <a:pt x="192405" y="684847"/>
                      </a:lnTo>
                      <a:lnTo>
                        <a:pt x="194310" y="666750"/>
                      </a:lnTo>
                      <a:lnTo>
                        <a:pt x="208597" y="663892"/>
                      </a:lnTo>
                      <a:lnTo>
                        <a:pt x="229553" y="653415"/>
                      </a:lnTo>
                      <a:close/>
                      <a:moveTo>
                        <a:pt x="245745" y="669607"/>
                      </a:moveTo>
                      <a:lnTo>
                        <a:pt x="235268" y="658178"/>
                      </a:lnTo>
                      <a:lnTo>
                        <a:pt x="250508" y="637222"/>
                      </a:lnTo>
                      <a:lnTo>
                        <a:pt x="266700" y="627697"/>
                      </a:lnTo>
                      <a:lnTo>
                        <a:pt x="265747" y="642938"/>
                      </a:lnTo>
                      <a:lnTo>
                        <a:pt x="245745" y="669607"/>
                      </a:lnTo>
                      <a:close/>
                      <a:moveTo>
                        <a:pt x="269558" y="595313"/>
                      </a:moveTo>
                      <a:lnTo>
                        <a:pt x="225743" y="602932"/>
                      </a:lnTo>
                      <a:lnTo>
                        <a:pt x="231458" y="574357"/>
                      </a:lnTo>
                      <a:lnTo>
                        <a:pt x="213360" y="565785"/>
                      </a:lnTo>
                      <a:lnTo>
                        <a:pt x="216218" y="557213"/>
                      </a:lnTo>
                      <a:lnTo>
                        <a:pt x="236220" y="552450"/>
                      </a:lnTo>
                      <a:lnTo>
                        <a:pt x="252413" y="568642"/>
                      </a:lnTo>
                      <a:lnTo>
                        <a:pt x="272415" y="574357"/>
                      </a:lnTo>
                      <a:lnTo>
                        <a:pt x="269558" y="595313"/>
                      </a:lnTo>
                      <a:close/>
                      <a:moveTo>
                        <a:pt x="115253" y="486728"/>
                      </a:moveTo>
                      <a:lnTo>
                        <a:pt x="100965" y="484822"/>
                      </a:lnTo>
                      <a:lnTo>
                        <a:pt x="97155" y="471488"/>
                      </a:lnTo>
                      <a:lnTo>
                        <a:pt x="99060" y="449580"/>
                      </a:lnTo>
                      <a:lnTo>
                        <a:pt x="114300" y="451485"/>
                      </a:lnTo>
                      <a:lnTo>
                        <a:pt x="115253" y="486728"/>
                      </a:lnTo>
                      <a:close/>
                      <a:moveTo>
                        <a:pt x="237172" y="432435"/>
                      </a:moveTo>
                      <a:lnTo>
                        <a:pt x="236220" y="459105"/>
                      </a:lnTo>
                      <a:lnTo>
                        <a:pt x="263843" y="466725"/>
                      </a:lnTo>
                      <a:lnTo>
                        <a:pt x="282893" y="465772"/>
                      </a:lnTo>
                      <a:lnTo>
                        <a:pt x="286703" y="471488"/>
                      </a:lnTo>
                      <a:lnTo>
                        <a:pt x="255270" y="497205"/>
                      </a:lnTo>
                      <a:lnTo>
                        <a:pt x="248603" y="496253"/>
                      </a:lnTo>
                      <a:lnTo>
                        <a:pt x="246697" y="475297"/>
                      </a:lnTo>
                      <a:lnTo>
                        <a:pt x="233363" y="478155"/>
                      </a:lnTo>
                      <a:lnTo>
                        <a:pt x="215265" y="475297"/>
                      </a:lnTo>
                      <a:lnTo>
                        <a:pt x="203835" y="457200"/>
                      </a:lnTo>
                      <a:lnTo>
                        <a:pt x="178118" y="452438"/>
                      </a:lnTo>
                      <a:lnTo>
                        <a:pt x="169545" y="441960"/>
                      </a:lnTo>
                      <a:lnTo>
                        <a:pt x="182880" y="436245"/>
                      </a:lnTo>
                      <a:lnTo>
                        <a:pt x="185738" y="424815"/>
                      </a:lnTo>
                      <a:lnTo>
                        <a:pt x="212408" y="419100"/>
                      </a:lnTo>
                      <a:lnTo>
                        <a:pt x="226695" y="412432"/>
                      </a:lnTo>
                      <a:lnTo>
                        <a:pt x="235268" y="421957"/>
                      </a:lnTo>
                      <a:lnTo>
                        <a:pt x="237172" y="432435"/>
                      </a:lnTo>
                      <a:close/>
                      <a:moveTo>
                        <a:pt x="123825" y="407670"/>
                      </a:moveTo>
                      <a:lnTo>
                        <a:pt x="135255" y="416242"/>
                      </a:lnTo>
                      <a:lnTo>
                        <a:pt x="124778" y="428625"/>
                      </a:lnTo>
                      <a:lnTo>
                        <a:pt x="110490" y="428625"/>
                      </a:lnTo>
                      <a:lnTo>
                        <a:pt x="89535" y="419100"/>
                      </a:lnTo>
                      <a:lnTo>
                        <a:pt x="91440" y="414338"/>
                      </a:lnTo>
                      <a:lnTo>
                        <a:pt x="123825" y="407670"/>
                      </a:lnTo>
                      <a:close/>
                      <a:moveTo>
                        <a:pt x="236220" y="313372"/>
                      </a:moveTo>
                      <a:lnTo>
                        <a:pt x="220980" y="338138"/>
                      </a:lnTo>
                      <a:lnTo>
                        <a:pt x="211455" y="344805"/>
                      </a:lnTo>
                      <a:lnTo>
                        <a:pt x="209550" y="360997"/>
                      </a:lnTo>
                      <a:lnTo>
                        <a:pt x="180975" y="376238"/>
                      </a:lnTo>
                      <a:lnTo>
                        <a:pt x="150495" y="399097"/>
                      </a:lnTo>
                      <a:lnTo>
                        <a:pt x="137160" y="389572"/>
                      </a:lnTo>
                      <a:lnTo>
                        <a:pt x="161925" y="373380"/>
                      </a:lnTo>
                      <a:lnTo>
                        <a:pt x="141922" y="363855"/>
                      </a:lnTo>
                      <a:lnTo>
                        <a:pt x="140018" y="339090"/>
                      </a:lnTo>
                      <a:lnTo>
                        <a:pt x="147638" y="332422"/>
                      </a:lnTo>
                      <a:lnTo>
                        <a:pt x="160972" y="339090"/>
                      </a:lnTo>
                      <a:lnTo>
                        <a:pt x="179070" y="336232"/>
                      </a:lnTo>
                      <a:lnTo>
                        <a:pt x="172403" y="324803"/>
                      </a:lnTo>
                      <a:lnTo>
                        <a:pt x="232410" y="294322"/>
                      </a:lnTo>
                      <a:lnTo>
                        <a:pt x="236220" y="313372"/>
                      </a:lnTo>
                      <a:close/>
                      <a:moveTo>
                        <a:pt x="567690" y="292417"/>
                      </a:moveTo>
                      <a:lnTo>
                        <a:pt x="567690" y="303847"/>
                      </a:lnTo>
                      <a:lnTo>
                        <a:pt x="555308" y="319088"/>
                      </a:lnTo>
                      <a:lnTo>
                        <a:pt x="534353" y="330517"/>
                      </a:lnTo>
                      <a:lnTo>
                        <a:pt x="494347" y="357188"/>
                      </a:lnTo>
                      <a:lnTo>
                        <a:pt x="470535" y="369570"/>
                      </a:lnTo>
                      <a:lnTo>
                        <a:pt x="465772" y="384810"/>
                      </a:lnTo>
                      <a:lnTo>
                        <a:pt x="479108" y="385763"/>
                      </a:lnTo>
                      <a:lnTo>
                        <a:pt x="481013" y="393382"/>
                      </a:lnTo>
                      <a:lnTo>
                        <a:pt x="460058" y="408622"/>
                      </a:lnTo>
                      <a:lnTo>
                        <a:pt x="454343" y="422910"/>
                      </a:lnTo>
                      <a:lnTo>
                        <a:pt x="482918" y="419100"/>
                      </a:lnTo>
                      <a:lnTo>
                        <a:pt x="533400" y="404813"/>
                      </a:lnTo>
                      <a:lnTo>
                        <a:pt x="567690" y="409575"/>
                      </a:lnTo>
                      <a:lnTo>
                        <a:pt x="592455" y="406717"/>
                      </a:lnTo>
                      <a:lnTo>
                        <a:pt x="658178" y="408622"/>
                      </a:lnTo>
                      <a:lnTo>
                        <a:pt x="676275" y="405765"/>
                      </a:lnTo>
                      <a:lnTo>
                        <a:pt x="698183" y="418147"/>
                      </a:lnTo>
                      <a:lnTo>
                        <a:pt x="707708" y="434340"/>
                      </a:lnTo>
                      <a:lnTo>
                        <a:pt x="681038" y="466725"/>
                      </a:lnTo>
                      <a:lnTo>
                        <a:pt x="673418" y="488632"/>
                      </a:lnTo>
                      <a:lnTo>
                        <a:pt x="654368" y="521970"/>
                      </a:lnTo>
                      <a:lnTo>
                        <a:pt x="636270" y="541020"/>
                      </a:lnTo>
                      <a:lnTo>
                        <a:pt x="617220" y="564832"/>
                      </a:lnTo>
                      <a:lnTo>
                        <a:pt x="597218" y="575310"/>
                      </a:lnTo>
                      <a:lnTo>
                        <a:pt x="567690" y="580072"/>
                      </a:lnTo>
                      <a:lnTo>
                        <a:pt x="610553" y="598170"/>
                      </a:lnTo>
                      <a:lnTo>
                        <a:pt x="597218" y="615315"/>
                      </a:lnTo>
                      <a:lnTo>
                        <a:pt x="574358" y="616267"/>
                      </a:lnTo>
                      <a:lnTo>
                        <a:pt x="552450" y="632460"/>
                      </a:lnTo>
                      <a:lnTo>
                        <a:pt x="532447" y="639128"/>
                      </a:lnTo>
                      <a:lnTo>
                        <a:pt x="566738" y="649605"/>
                      </a:lnTo>
                      <a:lnTo>
                        <a:pt x="589597" y="640080"/>
                      </a:lnTo>
                      <a:lnTo>
                        <a:pt x="615315" y="639128"/>
                      </a:lnTo>
                      <a:lnTo>
                        <a:pt x="664845" y="657225"/>
                      </a:lnTo>
                      <a:lnTo>
                        <a:pt x="699135" y="689610"/>
                      </a:lnTo>
                      <a:lnTo>
                        <a:pt x="718185" y="703897"/>
                      </a:lnTo>
                      <a:lnTo>
                        <a:pt x="722947" y="714375"/>
                      </a:lnTo>
                      <a:lnTo>
                        <a:pt x="742950" y="780097"/>
                      </a:lnTo>
                      <a:lnTo>
                        <a:pt x="757238" y="816292"/>
                      </a:lnTo>
                      <a:lnTo>
                        <a:pt x="772478" y="833438"/>
                      </a:lnTo>
                      <a:lnTo>
                        <a:pt x="815340" y="848678"/>
                      </a:lnTo>
                      <a:lnTo>
                        <a:pt x="825818" y="854392"/>
                      </a:lnTo>
                      <a:lnTo>
                        <a:pt x="858203" y="885825"/>
                      </a:lnTo>
                      <a:lnTo>
                        <a:pt x="890588" y="908685"/>
                      </a:lnTo>
                      <a:lnTo>
                        <a:pt x="877253" y="922972"/>
                      </a:lnTo>
                      <a:lnTo>
                        <a:pt x="881063" y="934403"/>
                      </a:lnTo>
                      <a:lnTo>
                        <a:pt x="901065" y="962025"/>
                      </a:lnTo>
                      <a:lnTo>
                        <a:pt x="903922" y="977265"/>
                      </a:lnTo>
                      <a:lnTo>
                        <a:pt x="891540" y="976313"/>
                      </a:lnTo>
                      <a:lnTo>
                        <a:pt x="869633" y="962978"/>
                      </a:lnTo>
                      <a:lnTo>
                        <a:pt x="866775" y="969645"/>
                      </a:lnTo>
                      <a:lnTo>
                        <a:pt x="914400" y="1001078"/>
                      </a:lnTo>
                      <a:lnTo>
                        <a:pt x="929640" y="1020128"/>
                      </a:lnTo>
                      <a:lnTo>
                        <a:pt x="939165" y="1045845"/>
                      </a:lnTo>
                      <a:lnTo>
                        <a:pt x="933450" y="1056323"/>
                      </a:lnTo>
                      <a:lnTo>
                        <a:pt x="904875" y="1082040"/>
                      </a:lnTo>
                      <a:lnTo>
                        <a:pt x="931545" y="1095375"/>
                      </a:lnTo>
                      <a:lnTo>
                        <a:pt x="942975" y="1093470"/>
                      </a:lnTo>
                      <a:lnTo>
                        <a:pt x="962025" y="1073467"/>
                      </a:lnTo>
                      <a:lnTo>
                        <a:pt x="978218" y="1071563"/>
                      </a:lnTo>
                      <a:lnTo>
                        <a:pt x="1018222" y="1074420"/>
                      </a:lnTo>
                      <a:lnTo>
                        <a:pt x="1054418" y="1083945"/>
                      </a:lnTo>
                      <a:lnTo>
                        <a:pt x="1085850" y="1103948"/>
                      </a:lnTo>
                      <a:lnTo>
                        <a:pt x="1092518" y="1114425"/>
                      </a:lnTo>
                      <a:lnTo>
                        <a:pt x="1096328" y="1143953"/>
                      </a:lnTo>
                      <a:lnTo>
                        <a:pt x="1075373" y="1199198"/>
                      </a:lnTo>
                      <a:lnTo>
                        <a:pt x="1048703" y="1217295"/>
                      </a:lnTo>
                      <a:lnTo>
                        <a:pt x="1043940" y="1233488"/>
                      </a:lnTo>
                      <a:lnTo>
                        <a:pt x="1023938" y="1242060"/>
                      </a:lnTo>
                      <a:lnTo>
                        <a:pt x="1007745" y="1239203"/>
                      </a:lnTo>
                      <a:lnTo>
                        <a:pt x="984885" y="1250632"/>
                      </a:lnTo>
                      <a:lnTo>
                        <a:pt x="1001078" y="1256348"/>
                      </a:lnTo>
                      <a:lnTo>
                        <a:pt x="1001078" y="1272540"/>
                      </a:lnTo>
                      <a:lnTo>
                        <a:pt x="990600" y="1278255"/>
                      </a:lnTo>
                      <a:lnTo>
                        <a:pt x="966788" y="1280160"/>
                      </a:lnTo>
                      <a:lnTo>
                        <a:pt x="977265" y="1299210"/>
                      </a:lnTo>
                      <a:lnTo>
                        <a:pt x="1001078" y="1303020"/>
                      </a:lnTo>
                      <a:lnTo>
                        <a:pt x="1042035" y="1301115"/>
                      </a:lnTo>
                      <a:lnTo>
                        <a:pt x="1060133" y="1303020"/>
                      </a:lnTo>
                      <a:lnTo>
                        <a:pt x="1058228" y="1328738"/>
                      </a:lnTo>
                      <a:lnTo>
                        <a:pt x="1054418" y="1332548"/>
                      </a:lnTo>
                      <a:lnTo>
                        <a:pt x="1018222" y="1348740"/>
                      </a:lnTo>
                      <a:lnTo>
                        <a:pt x="1008697" y="1365885"/>
                      </a:lnTo>
                      <a:lnTo>
                        <a:pt x="987743" y="1364932"/>
                      </a:lnTo>
                      <a:lnTo>
                        <a:pt x="977265" y="1371600"/>
                      </a:lnTo>
                      <a:lnTo>
                        <a:pt x="922972" y="1389698"/>
                      </a:lnTo>
                      <a:lnTo>
                        <a:pt x="876300" y="1382078"/>
                      </a:lnTo>
                      <a:lnTo>
                        <a:pt x="848678" y="1383030"/>
                      </a:lnTo>
                      <a:lnTo>
                        <a:pt x="810578" y="1388745"/>
                      </a:lnTo>
                      <a:lnTo>
                        <a:pt x="770572" y="1377315"/>
                      </a:lnTo>
                      <a:lnTo>
                        <a:pt x="753428" y="1375410"/>
                      </a:lnTo>
                      <a:lnTo>
                        <a:pt x="726758" y="1391603"/>
                      </a:lnTo>
                      <a:lnTo>
                        <a:pt x="686753" y="1396365"/>
                      </a:lnTo>
                      <a:lnTo>
                        <a:pt x="667703" y="1394460"/>
                      </a:lnTo>
                      <a:lnTo>
                        <a:pt x="676275" y="1408748"/>
                      </a:lnTo>
                      <a:lnTo>
                        <a:pt x="667703" y="1412557"/>
                      </a:lnTo>
                      <a:lnTo>
                        <a:pt x="631508" y="1407795"/>
                      </a:lnTo>
                      <a:lnTo>
                        <a:pt x="621983" y="1412557"/>
                      </a:lnTo>
                      <a:lnTo>
                        <a:pt x="608647" y="1410653"/>
                      </a:lnTo>
                      <a:lnTo>
                        <a:pt x="582930" y="1397317"/>
                      </a:lnTo>
                      <a:lnTo>
                        <a:pt x="558165" y="1396365"/>
                      </a:lnTo>
                      <a:lnTo>
                        <a:pt x="511493" y="1407795"/>
                      </a:lnTo>
                      <a:lnTo>
                        <a:pt x="501968" y="1420178"/>
                      </a:lnTo>
                      <a:lnTo>
                        <a:pt x="489585" y="1453515"/>
                      </a:lnTo>
                      <a:lnTo>
                        <a:pt x="479108" y="1464945"/>
                      </a:lnTo>
                      <a:lnTo>
                        <a:pt x="465772" y="1466850"/>
                      </a:lnTo>
                      <a:lnTo>
                        <a:pt x="422910" y="1443038"/>
                      </a:lnTo>
                      <a:lnTo>
                        <a:pt x="408622" y="1447800"/>
                      </a:lnTo>
                      <a:lnTo>
                        <a:pt x="384810" y="1450657"/>
                      </a:lnTo>
                      <a:lnTo>
                        <a:pt x="359093" y="1457325"/>
                      </a:lnTo>
                      <a:lnTo>
                        <a:pt x="321945" y="1480185"/>
                      </a:lnTo>
                      <a:lnTo>
                        <a:pt x="313372" y="1494473"/>
                      </a:lnTo>
                      <a:lnTo>
                        <a:pt x="300990" y="1496378"/>
                      </a:lnTo>
                      <a:lnTo>
                        <a:pt x="290513" y="1487805"/>
                      </a:lnTo>
                      <a:lnTo>
                        <a:pt x="277178" y="1484948"/>
                      </a:lnTo>
                      <a:lnTo>
                        <a:pt x="255270" y="1492567"/>
                      </a:lnTo>
                      <a:lnTo>
                        <a:pt x="252413" y="1480185"/>
                      </a:lnTo>
                      <a:lnTo>
                        <a:pt x="261938" y="1470660"/>
                      </a:lnTo>
                      <a:lnTo>
                        <a:pt x="288608" y="1463992"/>
                      </a:lnTo>
                      <a:lnTo>
                        <a:pt x="312420" y="1445895"/>
                      </a:lnTo>
                      <a:lnTo>
                        <a:pt x="333375" y="1423988"/>
                      </a:lnTo>
                      <a:lnTo>
                        <a:pt x="377190" y="1387792"/>
                      </a:lnTo>
                      <a:lnTo>
                        <a:pt x="384810" y="1358265"/>
                      </a:lnTo>
                      <a:lnTo>
                        <a:pt x="410528" y="1351598"/>
                      </a:lnTo>
                      <a:lnTo>
                        <a:pt x="423863" y="1327785"/>
                      </a:lnTo>
                      <a:lnTo>
                        <a:pt x="462915" y="1322070"/>
                      </a:lnTo>
                      <a:lnTo>
                        <a:pt x="489585" y="1322070"/>
                      </a:lnTo>
                      <a:lnTo>
                        <a:pt x="516255" y="1326832"/>
                      </a:lnTo>
                      <a:lnTo>
                        <a:pt x="543878" y="1325880"/>
                      </a:lnTo>
                      <a:lnTo>
                        <a:pt x="554355" y="1319213"/>
                      </a:lnTo>
                      <a:lnTo>
                        <a:pt x="572453" y="1296353"/>
                      </a:lnTo>
                      <a:lnTo>
                        <a:pt x="606743" y="1267778"/>
                      </a:lnTo>
                      <a:lnTo>
                        <a:pt x="561975" y="1277303"/>
                      </a:lnTo>
                      <a:lnTo>
                        <a:pt x="525780" y="1299210"/>
                      </a:lnTo>
                      <a:lnTo>
                        <a:pt x="495300" y="1295400"/>
                      </a:lnTo>
                      <a:lnTo>
                        <a:pt x="473393" y="1277303"/>
                      </a:lnTo>
                      <a:lnTo>
                        <a:pt x="453390" y="1269682"/>
                      </a:lnTo>
                      <a:lnTo>
                        <a:pt x="433388" y="1273492"/>
                      </a:lnTo>
                      <a:lnTo>
                        <a:pt x="426720" y="1264920"/>
                      </a:lnTo>
                      <a:lnTo>
                        <a:pt x="403860" y="1248728"/>
                      </a:lnTo>
                      <a:lnTo>
                        <a:pt x="379095" y="1248728"/>
                      </a:lnTo>
                      <a:lnTo>
                        <a:pt x="344805" y="1264920"/>
                      </a:lnTo>
                      <a:lnTo>
                        <a:pt x="320040" y="1253490"/>
                      </a:lnTo>
                      <a:lnTo>
                        <a:pt x="311468" y="1231582"/>
                      </a:lnTo>
                      <a:lnTo>
                        <a:pt x="314325" y="1218248"/>
                      </a:lnTo>
                      <a:lnTo>
                        <a:pt x="324803" y="1211580"/>
                      </a:lnTo>
                      <a:lnTo>
                        <a:pt x="348615" y="1205865"/>
                      </a:lnTo>
                      <a:lnTo>
                        <a:pt x="384810" y="1189673"/>
                      </a:lnTo>
                      <a:lnTo>
                        <a:pt x="405765" y="1183005"/>
                      </a:lnTo>
                      <a:lnTo>
                        <a:pt x="432435" y="1164907"/>
                      </a:lnTo>
                      <a:lnTo>
                        <a:pt x="443865" y="1143000"/>
                      </a:lnTo>
                      <a:lnTo>
                        <a:pt x="441008" y="1123950"/>
                      </a:lnTo>
                      <a:lnTo>
                        <a:pt x="445770" y="1110615"/>
                      </a:lnTo>
                      <a:lnTo>
                        <a:pt x="437197" y="1094423"/>
                      </a:lnTo>
                      <a:lnTo>
                        <a:pt x="440055" y="1080135"/>
                      </a:lnTo>
                      <a:lnTo>
                        <a:pt x="411480" y="1082992"/>
                      </a:lnTo>
                      <a:lnTo>
                        <a:pt x="385763" y="1094423"/>
                      </a:lnTo>
                      <a:lnTo>
                        <a:pt x="379095" y="1083945"/>
                      </a:lnTo>
                      <a:lnTo>
                        <a:pt x="405765" y="1066800"/>
                      </a:lnTo>
                      <a:lnTo>
                        <a:pt x="415290" y="1053465"/>
                      </a:lnTo>
                      <a:lnTo>
                        <a:pt x="440055" y="1037272"/>
                      </a:lnTo>
                      <a:lnTo>
                        <a:pt x="474345" y="1024890"/>
                      </a:lnTo>
                      <a:lnTo>
                        <a:pt x="492443" y="1025842"/>
                      </a:lnTo>
                      <a:lnTo>
                        <a:pt x="527685" y="1019175"/>
                      </a:lnTo>
                      <a:lnTo>
                        <a:pt x="553403" y="1031557"/>
                      </a:lnTo>
                      <a:lnTo>
                        <a:pt x="545783" y="1011555"/>
                      </a:lnTo>
                      <a:lnTo>
                        <a:pt x="557213" y="1007745"/>
                      </a:lnTo>
                      <a:lnTo>
                        <a:pt x="558165" y="984885"/>
                      </a:lnTo>
                      <a:lnTo>
                        <a:pt x="573405" y="963930"/>
                      </a:lnTo>
                      <a:lnTo>
                        <a:pt x="561975" y="958215"/>
                      </a:lnTo>
                      <a:lnTo>
                        <a:pt x="562928" y="939165"/>
                      </a:lnTo>
                      <a:lnTo>
                        <a:pt x="577215" y="931545"/>
                      </a:lnTo>
                      <a:lnTo>
                        <a:pt x="583883" y="906780"/>
                      </a:lnTo>
                      <a:lnTo>
                        <a:pt x="567690" y="902017"/>
                      </a:lnTo>
                      <a:lnTo>
                        <a:pt x="547688" y="907732"/>
                      </a:lnTo>
                      <a:lnTo>
                        <a:pt x="531495" y="893445"/>
                      </a:lnTo>
                      <a:lnTo>
                        <a:pt x="504825" y="859155"/>
                      </a:lnTo>
                      <a:lnTo>
                        <a:pt x="501968" y="845820"/>
                      </a:lnTo>
                      <a:lnTo>
                        <a:pt x="517208" y="816292"/>
                      </a:lnTo>
                      <a:lnTo>
                        <a:pt x="539115" y="797242"/>
                      </a:lnTo>
                      <a:lnTo>
                        <a:pt x="521018" y="789622"/>
                      </a:lnTo>
                      <a:lnTo>
                        <a:pt x="507683" y="791528"/>
                      </a:lnTo>
                      <a:lnTo>
                        <a:pt x="481965" y="802957"/>
                      </a:lnTo>
                      <a:lnTo>
                        <a:pt x="462915" y="815340"/>
                      </a:lnTo>
                      <a:lnTo>
                        <a:pt x="442913" y="815340"/>
                      </a:lnTo>
                      <a:lnTo>
                        <a:pt x="435293" y="806767"/>
                      </a:lnTo>
                      <a:lnTo>
                        <a:pt x="424815" y="807720"/>
                      </a:lnTo>
                      <a:lnTo>
                        <a:pt x="401003" y="818197"/>
                      </a:lnTo>
                      <a:lnTo>
                        <a:pt x="367665" y="805815"/>
                      </a:lnTo>
                      <a:lnTo>
                        <a:pt x="357188" y="827722"/>
                      </a:lnTo>
                      <a:lnTo>
                        <a:pt x="332422" y="803910"/>
                      </a:lnTo>
                      <a:lnTo>
                        <a:pt x="329565" y="785813"/>
                      </a:lnTo>
                      <a:lnTo>
                        <a:pt x="341947" y="785813"/>
                      </a:lnTo>
                      <a:lnTo>
                        <a:pt x="353378" y="762953"/>
                      </a:lnTo>
                      <a:lnTo>
                        <a:pt x="381000" y="724853"/>
                      </a:lnTo>
                      <a:lnTo>
                        <a:pt x="386715" y="713422"/>
                      </a:lnTo>
                      <a:lnTo>
                        <a:pt x="381953" y="700088"/>
                      </a:lnTo>
                      <a:lnTo>
                        <a:pt x="363855" y="685800"/>
                      </a:lnTo>
                      <a:lnTo>
                        <a:pt x="366713" y="661035"/>
                      </a:lnTo>
                      <a:lnTo>
                        <a:pt x="374333" y="651510"/>
                      </a:lnTo>
                      <a:lnTo>
                        <a:pt x="388620" y="647700"/>
                      </a:lnTo>
                      <a:lnTo>
                        <a:pt x="370522" y="636270"/>
                      </a:lnTo>
                      <a:lnTo>
                        <a:pt x="342900" y="644842"/>
                      </a:lnTo>
                      <a:lnTo>
                        <a:pt x="325755" y="653415"/>
                      </a:lnTo>
                      <a:lnTo>
                        <a:pt x="328613" y="634365"/>
                      </a:lnTo>
                      <a:lnTo>
                        <a:pt x="322897" y="630555"/>
                      </a:lnTo>
                      <a:lnTo>
                        <a:pt x="308610" y="643890"/>
                      </a:lnTo>
                      <a:lnTo>
                        <a:pt x="309563" y="675322"/>
                      </a:lnTo>
                      <a:lnTo>
                        <a:pt x="289560" y="729615"/>
                      </a:lnTo>
                      <a:lnTo>
                        <a:pt x="279083" y="738188"/>
                      </a:lnTo>
                      <a:lnTo>
                        <a:pt x="265747" y="733425"/>
                      </a:lnTo>
                      <a:lnTo>
                        <a:pt x="276225" y="696278"/>
                      </a:lnTo>
                      <a:lnTo>
                        <a:pt x="289560" y="672465"/>
                      </a:lnTo>
                      <a:lnTo>
                        <a:pt x="283845" y="669607"/>
                      </a:lnTo>
                      <a:lnTo>
                        <a:pt x="286703" y="635317"/>
                      </a:lnTo>
                      <a:lnTo>
                        <a:pt x="296228" y="607695"/>
                      </a:lnTo>
                      <a:lnTo>
                        <a:pt x="312420" y="571500"/>
                      </a:lnTo>
                      <a:lnTo>
                        <a:pt x="333375" y="538163"/>
                      </a:lnTo>
                      <a:lnTo>
                        <a:pt x="294322" y="563880"/>
                      </a:lnTo>
                      <a:lnTo>
                        <a:pt x="284797" y="568642"/>
                      </a:lnTo>
                      <a:lnTo>
                        <a:pt x="261938" y="564832"/>
                      </a:lnTo>
                      <a:lnTo>
                        <a:pt x="254318" y="558165"/>
                      </a:lnTo>
                      <a:lnTo>
                        <a:pt x="244793" y="536257"/>
                      </a:lnTo>
                      <a:lnTo>
                        <a:pt x="261938" y="534353"/>
                      </a:lnTo>
                      <a:lnTo>
                        <a:pt x="278130" y="523875"/>
                      </a:lnTo>
                      <a:lnTo>
                        <a:pt x="263843" y="517207"/>
                      </a:lnTo>
                      <a:lnTo>
                        <a:pt x="278130" y="508635"/>
                      </a:lnTo>
                      <a:lnTo>
                        <a:pt x="294322" y="488632"/>
                      </a:lnTo>
                      <a:lnTo>
                        <a:pt x="298133" y="470535"/>
                      </a:lnTo>
                      <a:lnTo>
                        <a:pt x="288608" y="456247"/>
                      </a:lnTo>
                      <a:lnTo>
                        <a:pt x="273368" y="450532"/>
                      </a:lnTo>
                      <a:lnTo>
                        <a:pt x="271463" y="441960"/>
                      </a:lnTo>
                      <a:lnTo>
                        <a:pt x="287655" y="423863"/>
                      </a:lnTo>
                      <a:lnTo>
                        <a:pt x="280988" y="409575"/>
                      </a:lnTo>
                      <a:lnTo>
                        <a:pt x="296228" y="380047"/>
                      </a:lnTo>
                      <a:lnTo>
                        <a:pt x="324803" y="381000"/>
                      </a:lnTo>
                      <a:lnTo>
                        <a:pt x="342900" y="377190"/>
                      </a:lnTo>
                      <a:lnTo>
                        <a:pt x="320993" y="358140"/>
                      </a:lnTo>
                      <a:lnTo>
                        <a:pt x="327660" y="330517"/>
                      </a:lnTo>
                      <a:lnTo>
                        <a:pt x="362903" y="327660"/>
                      </a:lnTo>
                      <a:lnTo>
                        <a:pt x="355283" y="310515"/>
                      </a:lnTo>
                      <a:lnTo>
                        <a:pt x="358140" y="291465"/>
                      </a:lnTo>
                      <a:lnTo>
                        <a:pt x="373380" y="282892"/>
                      </a:lnTo>
                      <a:lnTo>
                        <a:pt x="385763" y="284797"/>
                      </a:lnTo>
                      <a:lnTo>
                        <a:pt x="395288" y="293370"/>
                      </a:lnTo>
                      <a:lnTo>
                        <a:pt x="420053" y="284797"/>
                      </a:lnTo>
                      <a:lnTo>
                        <a:pt x="425768" y="292417"/>
                      </a:lnTo>
                      <a:lnTo>
                        <a:pt x="452438" y="286703"/>
                      </a:lnTo>
                      <a:lnTo>
                        <a:pt x="487680" y="283845"/>
                      </a:lnTo>
                      <a:lnTo>
                        <a:pt x="530543" y="278130"/>
                      </a:lnTo>
                      <a:lnTo>
                        <a:pt x="551497" y="274320"/>
                      </a:lnTo>
                      <a:lnTo>
                        <a:pt x="573405" y="276225"/>
                      </a:lnTo>
                      <a:lnTo>
                        <a:pt x="567690" y="292417"/>
                      </a:lnTo>
                      <a:close/>
                      <a:moveTo>
                        <a:pt x="561975" y="254317"/>
                      </a:moveTo>
                      <a:lnTo>
                        <a:pt x="549593" y="255270"/>
                      </a:lnTo>
                      <a:lnTo>
                        <a:pt x="537210" y="241935"/>
                      </a:lnTo>
                      <a:lnTo>
                        <a:pt x="551497" y="239078"/>
                      </a:lnTo>
                      <a:lnTo>
                        <a:pt x="561975" y="254317"/>
                      </a:lnTo>
                      <a:close/>
                      <a:moveTo>
                        <a:pt x="574358" y="221932"/>
                      </a:moveTo>
                      <a:lnTo>
                        <a:pt x="600075" y="227647"/>
                      </a:lnTo>
                      <a:lnTo>
                        <a:pt x="594360" y="240982"/>
                      </a:lnTo>
                      <a:lnTo>
                        <a:pt x="581025" y="234315"/>
                      </a:lnTo>
                      <a:lnTo>
                        <a:pt x="561975" y="237172"/>
                      </a:lnTo>
                      <a:lnTo>
                        <a:pt x="543878" y="227647"/>
                      </a:lnTo>
                      <a:lnTo>
                        <a:pt x="547688" y="207645"/>
                      </a:lnTo>
                      <a:lnTo>
                        <a:pt x="563880" y="206692"/>
                      </a:lnTo>
                      <a:lnTo>
                        <a:pt x="575310" y="211455"/>
                      </a:lnTo>
                      <a:lnTo>
                        <a:pt x="574358" y="221932"/>
                      </a:lnTo>
                      <a:close/>
                      <a:moveTo>
                        <a:pt x="609600" y="200025"/>
                      </a:moveTo>
                      <a:lnTo>
                        <a:pt x="600075" y="202882"/>
                      </a:lnTo>
                      <a:lnTo>
                        <a:pt x="596265" y="191453"/>
                      </a:lnTo>
                      <a:lnTo>
                        <a:pt x="580072" y="185738"/>
                      </a:lnTo>
                      <a:lnTo>
                        <a:pt x="583883" y="178117"/>
                      </a:lnTo>
                      <a:lnTo>
                        <a:pt x="609600" y="200025"/>
                      </a:lnTo>
                      <a:close/>
                      <a:moveTo>
                        <a:pt x="762953" y="14288"/>
                      </a:moveTo>
                      <a:lnTo>
                        <a:pt x="778193" y="31432"/>
                      </a:lnTo>
                      <a:lnTo>
                        <a:pt x="787718" y="36195"/>
                      </a:lnTo>
                      <a:lnTo>
                        <a:pt x="775335" y="72390"/>
                      </a:lnTo>
                      <a:lnTo>
                        <a:pt x="773430" y="87630"/>
                      </a:lnTo>
                      <a:lnTo>
                        <a:pt x="763905" y="103822"/>
                      </a:lnTo>
                      <a:lnTo>
                        <a:pt x="756285" y="100013"/>
                      </a:lnTo>
                      <a:lnTo>
                        <a:pt x="764858" y="72390"/>
                      </a:lnTo>
                      <a:lnTo>
                        <a:pt x="760095" y="61913"/>
                      </a:lnTo>
                      <a:lnTo>
                        <a:pt x="743903" y="64770"/>
                      </a:lnTo>
                      <a:lnTo>
                        <a:pt x="740093" y="56197"/>
                      </a:lnTo>
                      <a:lnTo>
                        <a:pt x="755333" y="42863"/>
                      </a:lnTo>
                      <a:lnTo>
                        <a:pt x="747713" y="23813"/>
                      </a:lnTo>
                      <a:lnTo>
                        <a:pt x="737235" y="21907"/>
                      </a:lnTo>
                      <a:lnTo>
                        <a:pt x="751522" y="6667"/>
                      </a:lnTo>
                      <a:lnTo>
                        <a:pt x="762953" y="14288"/>
                      </a:lnTo>
                      <a:close/>
                      <a:moveTo>
                        <a:pt x="790575" y="18097"/>
                      </a:moveTo>
                      <a:lnTo>
                        <a:pt x="777240" y="5715"/>
                      </a:lnTo>
                      <a:lnTo>
                        <a:pt x="789622" y="0"/>
                      </a:lnTo>
                      <a:lnTo>
                        <a:pt x="790575" y="18097"/>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07" name="Greece" descr="{&quot;Key&quot;:&quot;greece&quot;,&quot;Name&quot;:&quot;Greece&quot;,&quot;Value&quot;:1.0,&quot;Formula&quot;:&quot;&quot;,&quot;Text&quot;:&quot;&quot;,&quot;OfficeApplication&quot;:1,&quot;HasValue&quot;:true}">
                  <a:extLst>
                    <a:ext uri="{FF2B5EF4-FFF2-40B4-BE49-F238E27FC236}">
                      <a16:creationId xmlns:a16="http://schemas.microsoft.com/office/drawing/2014/main" id="{2551B879-4186-113A-51A2-36957C7192C6}"/>
                    </a:ext>
                  </a:extLst>
                </p:cNvPr>
                <p:cNvSpPr/>
                <p:nvPr/>
              </p:nvSpPr>
              <p:spPr>
                <a:xfrm>
                  <a:off x="7555230" y="5346791"/>
                  <a:ext cx="1100137" cy="1014412"/>
                </a:xfrm>
                <a:custGeom>
                  <a:avLst/>
                  <a:gdLst>
                    <a:gd name="connsiteX0" fmla="*/ 568643 w 1100137"/>
                    <a:gd name="connsiteY0" fmla="*/ 924878 h 1014412"/>
                    <a:gd name="connsiteX1" fmla="*/ 590550 w 1100137"/>
                    <a:gd name="connsiteY1" fmla="*/ 924878 h 1014412"/>
                    <a:gd name="connsiteX2" fmla="*/ 606743 w 1100137"/>
                    <a:gd name="connsiteY2" fmla="*/ 915353 h 1014412"/>
                    <a:gd name="connsiteX3" fmla="*/ 627697 w 1100137"/>
                    <a:gd name="connsiteY3" fmla="*/ 950595 h 1014412"/>
                    <a:gd name="connsiteX4" fmla="*/ 643890 w 1100137"/>
                    <a:gd name="connsiteY4" fmla="*/ 949643 h 1014412"/>
                    <a:gd name="connsiteX5" fmla="*/ 677227 w 1100137"/>
                    <a:gd name="connsiteY5" fmla="*/ 941070 h 1014412"/>
                    <a:gd name="connsiteX6" fmla="*/ 712470 w 1100137"/>
                    <a:gd name="connsiteY6" fmla="*/ 942975 h 1014412"/>
                    <a:gd name="connsiteX7" fmla="*/ 725805 w 1100137"/>
                    <a:gd name="connsiteY7" fmla="*/ 952500 h 1014412"/>
                    <a:gd name="connsiteX8" fmla="*/ 750570 w 1100137"/>
                    <a:gd name="connsiteY8" fmla="*/ 954405 h 1014412"/>
                    <a:gd name="connsiteX9" fmla="*/ 772477 w 1100137"/>
                    <a:gd name="connsiteY9" fmla="*/ 959168 h 1014412"/>
                    <a:gd name="connsiteX10" fmla="*/ 803910 w 1100137"/>
                    <a:gd name="connsiteY10" fmla="*/ 952500 h 1014412"/>
                    <a:gd name="connsiteX11" fmla="*/ 807720 w 1100137"/>
                    <a:gd name="connsiteY11" fmla="*/ 956310 h 1014412"/>
                    <a:gd name="connsiteX12" fmla="*/ 808672 w 1100137"/>
                    <a:gd name="connsiteY12" fmla="*/ 982980 h 1014412"/>
                    <a:gd name="connsiteX13" fmla="*/ 820102 w 1100137"/>
                    <a:gd name="connsiteY13" fmla="*/ 984885 h 1014412"/>
                    <a:gd name="connsiteX14" fmla="*/ 826770 w 1100137"/>
                    <a:gd name="connsiteY14" fmla="*/ 978218 h 1014412"/>
                    <a:gd name="connsiteX15" fmla="*/ 842963 w 1100137"/>
                    <a:gd name="connsiteY15" fmla="*/ 972503 h 1014412"/>
                    <a:gd name="connsiteX16" fmla="*/ 860107 w 1100137"/>
                    <a:gd name="connsiteY16" fmla="*/ 972503 h 1014412"/>
                    <a:gd name="connsiteX17" fmla="*/ 875347 w 1100137"/>
                    <a:gd name="connsiteY17" fmla="*/ 964883 h 1014412"/>
                    <a:gd name="connsiteX18" fmla="*/ 871538 w 1100137"/>
                    <a:gd name="connsiteY18" fmla="*/ 998220 h 1014412"/>
                    <a:gd name="connsiteX19" fmla="*/ 862965 w 1100137"/>
                    <a:gd name="connsiteY19" fmla="*/ 1002030 h 1014412"/>
                    <a:gd name="connsiteX20" fmla="*/ 821055 w 1100137"/>
                    <a:gd name="connsiteY20" fmla="*/ 1001078 h 1014412"/>
                    <a:gd name="connsiteX21" fmla="*/ 743902 w 1100137"/>
                    <a:gd name="connsiteY21" fmla="*/ 1010603 h 1014412"/>
                    <a:gd name="connsiteX22" fmla="*/ 693420 w 1100137"/>
                    <a:gd name="connsiteY22" fmla="*/ 1014413 h 1014412"/>
                    <a:gd name="connsiteX23" fmla="*/ 686752 w 1100137"/>
                    <a:gd name="connsiteY23" fmla="*/ 1012508 h 1014412"/>
                    <a:gd name="connsiteX24" fmla="*/ 680085 w 1100137"/>
                    <a:gd name="connsiteY24" fmla="*/ 991553 h 1014412"/>
                    <a:gd name="connsiteX25" fmla="*/ 648652 w 1100137"/>
                    <a:gd name="connsiteY25" fmla="*/ 981075 h 1014412"/>
                    <a:gd name="connsiteX26" fmla="*/ 589597 w 1100137"/>
                    <a:gd name="connsiteY26" fmla="*/ 971550 h 1014412"/>
                    <a:gd name="connsiteX27" fmla="*/ 575310 w 1100137"/>
                    <a:gd name="connsiteY27" fmla="*/ 967740 h 1014412"/>
                    <a:gd name="connsiteX28" fmla="*/ 545782 w 1100137"/>
                    <a:gd name="connsiteY28" fmla="*/ 969645 h 1014412"/>
                    <a:gd name="connsiteX29" fmla="*/ 535305 w 1100137"/>
                    <a:gd name="connsiteY29" fmla="*/ 960120 h 1014412"/>
                    <a:gd name="connsiteX30" fmla="*/ 531495 w 1100137"/>
                    <a:gd name="connsiteY30" fmla="*/ 942975 h 1014412"/>
                    <a:gd name="connsiteX31" fmla="*/ 533400 w 1100137"/>
                    <a:gd name="connsiteY31" fmla="*/ 924878 h 1014412"/>
                    <a:gd name="connsiteX32" fmla="*/ 546735 w 1100137"/>
                    <a:gd name="connsiteY32" fmla="*/ 927735 h 1014412"/>
                    <a:gd name="connsiteX33" fmla="*/ 550545 w 1100137"/>
                    <a:gd name="connsiteY33" fmla="*/ 914400 h 1014412"/>
                    <a:gd name="connsiteX34" fmla="*/ 568643 w 1100137"/>
                    <a:gd name="connsiteY34" fmla="*/ 924878 h 1014412"/>
                    <a:gd name="connsiteX35" fmla="*/ 982027 w 1100137"/>
                    <a:gd name="connsiteY35" fmla="*/ 935355 h 1014412"/>
                    <a:gd name="connsiteX36" fmla="*/ 966788 w 1100137"/>
                    <a:gd name="connsiteY36" fmla="*/ 915353 h 1014412"/>
                    <a:gd name="connsiteX37" fmla="*/ 977265 w 1100137"/>
                    <a:gd name="connsiteY37" fmla="*/ 910590 h 1014412"/>
                    <a:gd name="connsiteX38" fmla="*/ 988695 w 1100137"/>
                    <a:gd name="connsiteY38" fmla="*/ 933450 h 1014412"/>
                    <a:gd name="connsiteX39" fmla="*/ 982027 w 1100137"/>
                    <a:gd name="connsiteY39" fmla="*/ 935355 h 1014412"/>
                    <a:gd name="connsiteX40" fmla="*/ 461010 w 1100137"/>
                    <a:gd name="connsiteY40" fmla="*/ 826770 h 1014412"/>
                    <a:gd name="connsiteX41" fmla="*/ 447675 w 1100137"/>
                    <a:gd name="connsiteY41" fmla="*/ 828675 h 1014412"/>
                    <a:gd name="connsiteX42" fmla="*/ 441007 w 1100137"/>
                    <a:gd name="connsiteY42" fmla="*/ 807720 h 1014412"/>
                    <a:gd name="connsiteX43" fmla="*/ 445770 w 1100137"/>
                    <a:gd name="connsiteY43" fmla="*/ 798195 h 1014412"/>
                    <a:gd name="connsiteX44" fmla="*/ 465772 w 1100137"/>
                    <a:gd name="connsiteY44" fmla="*/ 818198 h 1014412"/>
                    <a:gd name="connsiteX45" fmla="*/ 461010 w 1100137"/>
                    <a:gd name="connsiteY45" fmla="*/ 826770 h 1014412"/>
                    <a:gd name="connsiteX46" fmla="*/ 1058227 w 1100137"/>
                    <a:gd name="connsiteY46" fmla="*/ 865823 h 1014412"/>
                    <a:gd name="connsiteX47" fmla="*/ 1042035 w 1100137"/>
                    <a:gd name="connsiteY47" fmla="*/ 862013 h 1014412"/>
                    <a:gd name="connsiteX48" fmla="*/ 1045845 w 1100137"/>
                    <a:gd name="connsiteY48" fmla="*/ 844868 h 1014412"/>
                    <a:gd name="connsiteX49" fmla="*/ 1039177 w 1100137"/>
                    <a:gd name="connsiteY49" fmla="*/ 829628 h 1014412"/>
                    <a:gd name="connsiteX50" fmla="*/ 1061085 w 1100137"/>
                    <a:gd name="connsiteY50" fmla="*/ 803910 h 1014412"/>
                    <a:gd name="connsiteX51" fmla="*/ 1091565 w 1100137"/>
                    <a:gd name="connsiteY51" fmla="*/ 791528 h 1014412"/>
                    <a:gd name="connsiteX52" fmla="*/ 1100138 w 1100137"/>
                    <a:gd name="connsiteY52" fmla="*/ 800100 h 1014412"/>
                    <a:gd name="connsiteX53" fmla="*/ 1091565 w 1100137"/>
                    <a:gd name="connsiteY53" fmla="*/ 823913 h 1014412"/>
                    <a:gd name="connsiteX54" fmla="*/ 1082993 w 1100137"/>
                    <a:gd name="connsiteY54" fmla="*/ 836295 h 1014412"/>
                    <a:gd name="connsiteX55" fmla="*/ 1086802 w 1100137"/>
                    <a:gd name="connsiteY55" fmla="*/ 845820 h 1014412"/>
                    <a:gd name="connsiteX56" fmla="*/ 1071563 w 1100137"/>
                    <a:gd name="connsiteY56" fmla="*/ 847725 h 1014412"/>
                    <a:gd name="connsiteX57" fmla="*/ 1058227 w 1100137"/>
                    <a:gd name="connsiteY57" fmla="*/ 865823 h 1014412"/>
                    <a:gd name="connsiteX58" fmla="*/ 877252 w 1100137"/>
                    <a:gd name="connsiteY58" fmla="*/ 767715 h 1014412"/>
                    <a:gd name="connsiteX59" fmla="*/ 862965 w 1100137"/>
                    <a:gd name="connsiteY59" fmla="*/ 779145 h 1014412"/>
                    <a:gd name="connsiteX60" fmla="*/ 854393 w 1100137"/>
                    <a:gd name="connsiteY60" fmla="*/ 773430 h 1014412"/>
                    <a:gd name="connsiteX61" fmla="*/ 872490 w 1100137"/>
                    <a:gd name="connsiteY61" fmla="*/ 762000 h 1014412"/>
                    <a:gd name="connsiteX62" fmla="*/ 877252 w 1100137"/>
                    <a:gd name="connsiteY62" fmla="*/ 767715 h 1014412"/>
                    <a:gd name="connsiteX63" fmla="*/ 936307 w 1100137"/>
                    <a:gd name="connsiteY63" fmla="*/ 746760 h 1014412"/>
                    <a:gd name="connsiteX64" fmla="*/ 936307 w 1100137"/>
                    <a:gd name="connsiteY64" fmla="*/ 740093 h 1014412"/>
                    <a:gd name="connsiteX65" fmla="*/ 948690 w 1100137"/>
                    <a:gd name="connsiteY65" fmla="*/ 729615 h 1014412"/>
                    <a:gd name="connsiteX66" fmla="*/ 972502 w 1100137"/>
                    <a:gd name="connsiteY66" fmla="*/ 720090 h 1014412"/>
                    <a:gd name="connsiteX67" fmla="*/ 983932 w 1100137"/>
                    <a:gd name="connsiteY67" fmla="*/ 725805 h 1014412"/>
                    <a:gd name="connsiteX68" fmla="*/ 960120 w 1100137"/>
                    <a:gd name="connsiteY68" fmla="*/ 739140 h 1014412"/>
                    <a:gd name="connsiteX69" fmla="*/ 945832 w 1100137"/>
                    <a:gd name="connsiteY69" fmla="*/ 740093 h 1014412"/>
                    <a:gd name="connsiteX70" fmla="*/ 936307 w 1100137"/>
                    <a:gd name="connsiteY70" fmla="*/ 746760 h 1014412"/>
                    <a:gd name="connsiteX71" fmla="*/ 724852 w 1100137"/>
                    <a:gd name="connsiteY71" fmla="*/ 695325 h 1014412"/>
                    <a:gd name="connsiteX72" fmla="*/ 716280 w 1100137"/>
                    <a:gd name="connsiteY72" fmla="*/ 707708 h 1014412"/>
                    <a:gd name="connsiteX73" fmla="*/ 703897 w 1100137"/>
                    <a:gd name="connsiteY73" fmla="*/ 701040 h 1014412"/>
                    <a:gd name="connsiteX74" fmla="*/ 707707 w 1100137"/>
                    <a:gd name="connsiteY74" fmla="*/ 689610 h 1014412"/>
                    <a:gd name="connsiteX75" fmla="*/ 718185 w 1100137"/>
                    <a:gd name="connsiteY75" fmla="*/ 683895 h 1014412"/>
                    <a:gd name="connsiteX76" fmla="*/ 724852 w 1100137"/>
                    <a:gd name="connsiteY76" fmla="*/ 695325 h 1014412"/>
                    <a:gd name="connsiteX77" fmla="*/ 759143 w 1100137"/>
                    <a:gd name="connsiteY77" fmla="*/ 710565 h 1014412"/>
                    <a:gd name="connsiteX78" fmla="*/ 748665 w 1100137"/>
                    <a:gd name="connsiteY78" fmla="*/ 716280 h 1014412"/>
                    <a:gd name="connsiteX79" fmla="*/ 735330 w 1100137"/>
                    <a:gd name="connsiteY79" fmla="*/ 695325 h 1014412"/>
                    <a:gd name="connsiteX80" fmla="*/ 753427 w 1100137"/>
                    <a:gd name="connsiteY80" fmla="*/ 676275 h 1014412"/>
                    <a:gd name="connsiteX81" fmla="*/ 762000 w 1100137"/>
                    <a:gd name="connsiteY81" fmla="*/ 682943 h 1014412"/>
                    <a:gd name="connsiteX82" fmla="*/ 762952 w 1100137"/>
                    <a:gd name="connsiteY82" fmla="*/ 700088 h 1014412"/>
                    <a:gd name="connsiteX83" fmla="*/ 759143 w 1100137"/>
                    <a:gd name="connsiteY83" fmla="*/ 710565 h 1014412"/>
                    <a:gd name="connsiteX84" fmla="*/ 810577 w 1100137"/>
                    <a:gd name="connsiteY84" fmla="*/ 626745 h 1014412"/>
                    <a:gd name="connsiteX85" fmla="*/ 816293 w 1100137"/>
                    <a:gd name="connsiteY85" fmla="*/ 611505 h 1014412"/>
                    <a:gd name="connsiteX86" fmla="*/ 831532 w 1100137"/>
                    <a:gd name="connsiteY86" fmla="*/ 610553 h 1014412"/>
                    <a:gd name="connsiteX87" fmla="*/ 831532 w 1100137"/>
                    <a:gd name="connsiteY87" fmla="*/ 621030 h 1014412"/>
                    <a:gd name="connsiteX88" fmla="*/ 810577 w 1100137"/>
                    <a:gd name="connsiteY88" fmla="*/ 626745 h 1014412"/>
                    <a:gd name="connsiteX89" fmla="*/ 603885 w 1100137"/>
                    <a:gd name="connsiteY89" fmla="*/ 620078 h 1014412"/>
                    <a:gd name="connsiteX90" fmla="*/ 594360 w 1100137"/>
                    <a:gd name="connsiteY90" fmla="*/ 616268 h 1014412"/>
                    <a:gd name="connsiteX91" fmla="*/ 598170 w 1100137"/>
                    <a:gd name="connsiteY91" fmla="*/ 604838 h 1014412"/>
                    <a:gd name="connsiteX92" fmla="*/ 608647 w 1100137"/>
                    <a:gd name="connsiteY92" fmla="*/ 609600 h 1014412"/>
                    <a:gd name="connsiteX93" fmla="*/ 603885 w 1100137"/>
                    <a:gd name="connsiteY93" fmla="*/ 620078 h 1014412"/>
                    <a:gd name="connsiteX94" fmla="*/ 904875 w 1100137"/>
                    <a:gd name="connsiteY94" fmla="*/ 584835 h 1014412"/>
                    <a:gd name="connsiteX95" fmla="*/ 931545 w 1100137"/>
                    <a:gd name="connsiteY95" fmla="*/ 591503 h 1014412"/>
                    <a:gd name="connsiteX96" fmla="*/ 924877 w 1100137"/>
                    <a:gd name="connsiteY96" fmla="*/ 601028 h 1014412"/>
                    <a:gd name="connsiteX97" fmla="*/ 909638 w 1100137"/>
                    <a:gd name="connsiteY97" fmla="*/ 609600 h 1014412"/>
                    <a:gd name="connsiteX98" fmla="*/ 893445 w 1100137"/>
                    <a:gd name="connsiteY98" fmla="*/ 601028 h 1014412"/>
                    <a:gd name="connsiteX99" fmla="*/ 882015 w 1100137"/>
                    <a:gd name="connsiteY99" fmla="*/ 589598 h 1014412"/>
                    <a:gd name="connsiteX100" fmla="*/ 904875 w 1100137"/>
                    <a:gd name="connsiteY100" fmla="*/ 584835 h 1014412"/>
                    <a:gd name="connsiteX101" fmla="*/ 174307 w 1100137"/>
                    <a:gd name="connsiteY101" fmla="*/ 585788 h 1014412"/>
                    <a:gd name="connsiteX102" fmla="*/ 178118 w 1100137"/>
                    <a:gd name="connsiteY102" fmla="*/ 597218 h 1014412"/>
                    <a:gd name="connsiteX103" fmla="*/ 167640 w 1100137"/>
                    <a:gd name="connsiteY103" fmla="*/ 606743 h 1014412"/>
                    <a:gd name="connsiteX104" fmla="*/ 152400 w 1100137"/>
                    <a:gd name="connsiteY104" fmla="*/ 595313 h 1014412"/>
                    <a:gd name="connsiteX105" fmla="*/ 140970 w 1100137"/>
                    <a:gd name="connsiteY105" fmla="*/ 578168 h 1014412"/>
                    <a:gd name="connsiteX106" fmla="*/ 149543 w 1100137"/>
                    <a:gd name="connsiteY106" fmla="*/ 567690 h 1014412"/>
                    <a:gd name="connsiteX107" fmla="*/ 158115 w 1100137"/>
                    <a:gd name="connsiteY107" fmla="*/ 579120 h 1014412"/>
                    <a:gd name="connsiteX108" fmla="*/ 174307 w 1100137"/>
                    <a:gd name="connsiteY108" fmla="*/ 585788 h 1014412"/>
                    <a:gd name="connsiteX109" fmla="*/ 680085 w 1100137"/>
                    <a:gd name="connsiteY109" fmla="*/ 592455 h 1014412"/>
                    <a:gd name="connsiteX110" fmla="*/ 666750 w 1100137"/>
                    <a:gd name="connsiteY110" fmla="*/ 591503 h 1014412"/>
                    <a:gd name="connsiteX111" fmla="*/ 643890 w 1100137"/>
                    <a:gd name="connsiteY111" fmla="*/ 571500 h 1014412"/>
                    <a:gd name="connsiteX112" fmla="*/ 652463 w 1100137"/>
                    <a:gd name="connsiteY112" fmla="*/ 558165 h 1014412"/>
                    <a:gd name="connsiteX113" fmla="*/ 661035 w 1100137"/>
                    <a:gd name="connsiteY113" fmla="*/ 569595 h 1014412"/>
                    <a:gd name="connsiteX114" fmla="*/ 673418 w 1100137"/>
                    <a:gd name="connsiteY114" fmla="*/ 570548 h 1014412"/>
                    <a:gd name="connsiteX115" fmla="*/ 680085 w 1100137"/>
                    <a:gd name="connsiteY115" fmla="*/ 592455 h 1014412"/>
                    <a:gd name="connsiteX116" fmla="*/ 134302 w 1100137"/>
                    <a:gd name="connsiteY116" fmla="*/ 500063 h 1014412"/>
                    <a:gd name="connsiteX117" fmla="*/ 137160 w 1100137"/>
                    <a:gd name="connsiteY117" fmla="*/ 517208 h 1014412"/>
                    <a:gd name="connsiteX118" fmla="*/ 145732 w 1100137"/>
                    <a:gd name="connsiteY118" fmla="*/ 520065 h 1014412"/>
                    <a:gd name="connsiteX119" fmla="*/ 158115 w 1100137"/>
                    <a:gd name="connsiteY119" fmla="*/ 535305 h 1014412"/>
                    <a:gd name="connsiteX120" fmla="*/ 156210 w 1100137"/>
                    <a:gd name="connsiteY120" fmla="*/ 546735 h 1014412"/>
                    <a:gd name="connsiteX121" fmla="*/ 136207 w 1100137"/>
                    <a:gd name="connsiteY121" fmla="*/ 539115 h 1014412"/>
                    <a:gd name="connsiteX122" fmla="*/ 126682 w 1100137"/>
                    <a:gd name="connsiteY122" fmla="*/ 541020 h 1014412"/>
                    <a:gd name="connsiteX123" fmla="*/ 116205 w 1100137"/>
                    <a:gd name="connsiteY123" fmla="*/ 521970 h 1014412"/>
                    <a:gd name="connsiteX124" fmla="*/ 103822 w 1100137"/>
                    <a:gd name="connsiteY124" fmla="*/ 523875 h 1014412"/>
                    <a:gd name="connsiteX125" fmla="*/ 109538 w 1100137"/>
                    <a:gd name="connsiteY125" fmla="*/ 506730 h 1014412"/>
                    <a:gd name="connsiteX126" fmla="*/ 122872 w 1100137"/>
                    <a:gd name="connsiteY126" fmla="*/ 507683 h 1014412"/>
                    <a:gd name="connsiteX127" fmla="*/ 134302 w 1100137"/>
                    <a:gd name="connsiteY127" fmla="*/ 500063 h 1014412"/>
                    <a:gd name="connsiteX128" fmla="*/ 808672 w 1100137"/>
                    <a:gd name="connsiteY128" fmla="*/ 523875 h 1014412"/>
                    <a:gd name="connsiteX129" fmla="*/ 798195 w 1100137"/>
                    <a:gd name="connsiteY129" fmla="*/ 532448 h 1014412"/>
                    <a:gd name="connsiteX130" fmla="*/ 781050 w 1100137"/>
                    <a:gd name="connsiteY130" fmla="*/ 516255 h 1014412"/>
                    <a:gd name="connsiteX131" fmla="*/ 794385 w 1100137"/>
                    <a:gd name="connsiteY131" fmla="*/ 503873 h 1014412"/>
                    <a:gd name="connsiteX132" fmla="*/ 774382 w 1100137"/>
                    <a:gd name="connsiteY132" fmla="*/ 481013 h 1014412"/>
                    <a:gd name="connsiteX133" fmla="*/ 773430 w 1100137"/>
                    <a:gd name="connsiteY133" fmla="*/ 471488 h 1014412"/>
                    <a:gd name="connsiteX134" fmla="*/ 793432 w 1100137"/>
                    <a:gd name="connsiteY134" fmla="*/ 466725 h 1014412"/>
                    <a:gd name="connsiteX135" fmla="*/ 805815 w 1100137"/>
                    <a:gd name="connsiteY135" fmla="*/ 475298 h 1014412"/>
                    <a:gd name="connsiteX136" fmla="*/ 811530 w 1100137"/>
                    <a:gd name="connsiteY136" fmla="*/ 486728 h 1014412"/>
                    <a:gd name="connsiteX137" fmla="*/ 815340 w 1100137"/>
                    <a:gd name="connsiteY137" fmla="*/ 511493 h 1014412"/>
                    <a:gd name="connsiteX138" fmla="*/ 808672 w 1100137"/>
                    <a:gd name="connsiteY138" fmla="*/ 523875 h 1014412"/>
                    <a:gd name="connsiteX139" fmla="*/ 140018 w 1100137"/>
                    <a:gd name="connsiteY139" fmla="*/ 465773 h 1014412"/>
                    <a:gd name="connsiteX140" fmla="*/ 127635 w 1100137"/>
                    <a:gd name="connsiteY140" fmla="*/ 466725 h 1014412"/>
                    <a:gd name="connsiteX141" fmla="*/ 123825 w 1100137"/>
                    <a:gd name="connsiteY141" fmla="*/ 458153 h 1014412"/>
                    <a:gd name="connsiteX142" fmla="*/ 131445 w 1100137"/>
                    <a:gd name="connsiteY142" fmla="*/ 435293 h 1014412"/>
                    <a:gd name="connsiteX143" fmla="*/ 141922 w 1100137"/>
                    <a:gd name="connsiteY143" fmla="*/ 438150 h 1014412"/>
                    <a:gd name="connsiteX144" fmla="*/ 143827 w 1100137"/>
                    <a:gd name="connsiteY144" fmla="*/ 461963 h 1014412"/>
                    <a:gd name="connsiteX145" fmla="*/ 140018 w 1100137"/>
                    <a:gd name="connsiteY145" fmla="*/ 465773 h 1014412"/>
                    <a:gd name="connsiteX146" fmla="*/ 469582 w 1100137"/>
                    <a:gd name="connsiteY146" fmla="*/ 414338 h 1014412"/>
                    <a:gd name="connsiteX147" fmla="*/ 478155 w 1100137"/>
                    <a:gd name="connsiteY147" fmla="*/ 430530 h 1014412"/>
                    <a:gd name="connsiteX148" fmla="*/ 530543 w 1100137"/>
                    <a:gd name="connsiteY148" fmla="*/ 454343 h 1014412"/>
                    <a:gd name="connsiteX149" fmla="*/ 557213 w 1100137"/>
                    <a:gd name="connsiteY149" fmla="*/ 457200 h 1014412"/>
                    <a:gd name="connsiteX150" fmla="*/ 573405 w 1100137"/>
                    <a:gd name="connsiteY150" fmla="*/ 481965 h 1014412"/>
                    <a:gd name="connsiteX151" fmla="*/ 571500 w 1100137"/>
                    <a:gd name="connsiteY151" fmla="*/ 487680 h 1014412"/>
                    <a:gd name="connsiteX152" fmla="*/ 585788 w 1100137"/>
                    <a:gd name="connsiteY152" fmla="*/ 523875 h 1014412"/>
                    <a:gd name="connsiteX153" fmla="*/ 596265 w 1100137"/>
                    <a:gd name="connsiteY153" fmla="*/ 532448 h 1014412"/>
                    <a:gd name="connsiteX154" fmla="*/ 621982 w 1100137"/>
                    <a:gd name="connsiteY154" fmla="*/ 535305 h 1014412"/>
                    <a:gd name="connsiteX155" fmla="*/ 625793 w 1100137"/>
                    <a:gd name="connsiteY155" fmla="*/ 553403 h 1014412"/>
                    <a:gd name="connsiteX156" fmla="*/ 617220 w 1100137"/>
                    <a:gd name="connsiteY156" fmla="*/ 561023 h 1014412"/>
                    <a:gd name="connsiteX157" fmla="*/ 599122 w 1100137"/>
                    <a:gd name="connsiteY157" fmla="*/ 554355 h 1014412"/>
                    <a:gd name="connsiteX158" fmla="*/ 579120 w 1100137"/>
                    <a:gd name="connsiteY158" fmla="*/ 539115 h 1014412"/>
                    <a:gd name="connsiteX159" fmla="*/ 575310 w 1100137"/>
                    <a:gd name="connsiteY159" fmla="*/ 526733 h 1014412"/>
                    <a:gd name="connsiteX160" fmla="*/ 554355 w 1100137"/>
                    <a:gd name="connsiteY160" fmla="*/ 499110 h 1014412"/>
                    <a:gd name="connsiteX161" fmla="*/ 520065 w 1100137"/>
                    <a:gd name="connsiteY161" fmla="*/ 497205 h 1014412"/>
                    <a:gd name="connsiteX162" fmla="*/ 505777 w 1100137"/>
                    <a:gd name="connsiteY162" fmla="*/ 490538 h 1014412"/>
                    <a:gd name="connsiteX163" fmla="*/ 500063 w 1100137"/>
                    <a:gd name="connsiteY163" fmla="*/ 474345 h 1014412"/>
                    <a:gd name="connsiteX164" fmla="*/ 485775 w 1100137"/>
                    <a:gd name="connsiteY164" fmla="*/ 465773 h 1014412"/>
                    <a:gd name="connsiteX165" fmla="*/ 466725 w 1100137"/>
                    <a:gd name="connsiteY165" fmla="*/ 447675 h 1014412"/>
                    <a:gd name="connsiteX166" fmla="*/ 452438 w 1100137"/>
                    <a:gd name="connsiteY166" fmla="*/ 437198 h 1014412"/>
                    <a:gd name="connsiteX167" fmla="*/ 423863 w 1100137"/>
                    <a:gd name="connsiteY167" fmla="*/ 426720 h 1014412"/>
                    <a:gd name="connsiteX168" fmla="*/ 418147 w 1100137"/>
                    <a:gd name="connsiteY168" fmla="*/ 420053 h 1014412"/>
                    <a:gd name="connsiteX169" fmla="*/ 436245 w 1100137"/>
                    <a:gd name="connsiteY169" fmla="*/ 407670 h 1014412"/>
                    <a:gd name="connsiteX170" fmla="*/ 456247 w 1100137"/>
                    <a:gd name="connsiteY170" fmla="*/ 402908 h 1014412"/>
                    <a:gd name="connsiteX171" fmla="*/ 469582 w 1100137"/>
                    <a:gd name="connsiteY171" fmla="*/ 414338 h 1014412"/>
                    <a:gd name="connsiteX172" fmla="*/ 830580 w 1100137"/>
                    <a:gd name="connsiteY172" fmla="*/ 359093 h 1014412"/>
                    <a:gd name="connsiteX173" fmla="*/ 829627 w 1100137"/>
                    <a:gd name="connsiteY173" fmla="*/ 367665 h 1014412"/>
                    <a:gd name="connsiteX174" fmla="*/ 847725 w 1100137"/>
                    <a:gd name="connsiteY174" fmla="*/ 381953 h 1014412"/>
                    <a:gd name="connsiteX175" fmla="*/ 854393 w 1100137"/>
                    <a:gd name="connsiteY175" fmla="*/ 391478 h 1014412"/>
                    <a:gd name="connsiteX176" fmla="*/ 842963 w 1100137"/>
                    <a:gd name="connsiteY176" fmla="*/ 411480 h 1014412"/>
                    <a:gd name="connsiteX177" fmla="*/ 804863 w 1100137"/>
                    <a:gd name="connsiteY177" fmla="*/ 403860 h 1014412"/>
                    <a:gd name="connsiteX178" fmla="*/ 797243 w 1100137"/>
                    <a:gd name="connsiteY178" fmla="*/ 396240 h 1014412"/>
                    <a:gd name="connsiteX179" fmla="*/ 812482 w 1100137"/>
                    <a:gd name="connsiteY179" fmla="*/ 383858 h 1014412"/>
                    <a:gd name="connsiteX180" fmla="*/ 803910 w 1100137"/>
                    <a:gd name="connsiteY180" fmla="*/ 379095 h 1014412"/>
                    <a:gd name="connsiteX181" fmla="*/ 792480 w 1100137"/>
                    <a:gd name="connsiteY181" fmla="*/ 393383 h 1014412"/>
                    <a:gd name="connsiteX182" fmla="*/ 771525 w 1100137"/>
                    <a:gd name="connsiteY182" fmla="*/ 386715 h 1014412"/>
                    <a:gd name="connsiteX183" fmla="*/ 762952 w 1100137"/>
                    <a:gd name="connsiteY183" fmla="*/ 378143 h 1014412"/>
                    <a:gd name="connsiteX184" fmla="*/ 769620 w 1100137"/>
                    <a:gd name="connsiteY184" fmla="*/ 364808 h 1014412"/>
                    <a:gd name="connsiteX185" fmla="*/ 783907 w 1100137"/>
                    <a:gd name="connsiteY185" fmla="*/ 365760 h 1014412"/>
                    <a:gd name="connsiteX186" fmla="*/ 800100 w 1100137"/>
                    <a:gd name="connsiteY186" fmla="*/ 358140 h 1014412"/>
                    <a:gd name="connsiteX187" fmla="*/ 800100 w 1100137"/>
                    <a:gd name="connsiteY187" fmla="*/ 352425 h 1014412"/>
                    <a:gd name="connsiteX188" fmla="*/ 822007 w 1100137"/>
                    <a:gd name="connsiteY188" fmla="*/ 350520 h 1014412"/>
                    <a:gd name="connsiteX189" fmla="*/ 830580 w 1100137"/>
                    <a:gd name="connsiteY189" fmla="*/ 359093 h 1014412"/>
                    <a:gd name="connsiteX190" fmla="*/ 56197 w 1100137"/>
                    <a:gd name="connsiteY190" fmla="*/ 343853 h 1014412"/>
                    <a:gd name="connsiteX191" fmla="*/ 43815 w 1100137"/>
                    <a:gd name="connsiteY191" fmla="*/ 346710 h 1014412"/>
                    <a:gd name="connsiteX192" fmla="*/ 32385 w 1100137"/>
                    <a:gd name="connsiteY192" fmla="*/ 339090 h 1014412"/>
                    <a:gd name="connsiteX193" fmla="*/ 20955 w 1100137"/>
                    <a:gd name="connsiteY193" fmla="*/ 320993 h 1014412"/>
                    <a:gd name="connsiteX194" fmla="*/ 0 w 1100137"/>
                    <a:gd name="connsiteY194" fmla="*/ 300038 h 1014412"/>
                    <a:gd name="connsiteX195" fmla="*/ 6668 w 1100137"/>
                    <a:gd name="connsiteY195" fmla="*/ 289560 h 1014412"/>
                    <a:gd name="connsiteX196" fmla="*/ 21907 w 1100137"/>
                    <a:gd name="connsiteY196" fmla="*/ 285750 h 1014412"/>
                    <a:gd name="connsiteX197" fmla="*/ 35243 w 1100137"/>
                    <a:gd name="connsiteY197" fmla="*/ 297180 h 1014412"/>
                    <a:gd name="connsiteX198" fmla="*/ 24765 w 1100137"/>
                    <a:gd name="connsiteY198" fmla="*/ 308610 h 1014412"/>
                    <a:gd name="connsiteX199" fmla="*/ 32385 w 1100137"/>
                    <a:gd name="connsiteY199" fmla="*/ 315278 h 1014412"/>
                    <a:gd name="connsiteX200" fmla="*/ 40957 w 1100137"/>
                    <a:gd name="connsiteY200" fmla="*/ 338138 h 1014412"/>
                    <a:gd name="connsiteX201" fmla="*/ 56197 w 1100137"/>
                    <a:gd name="connsiteY201" fmla="*/ 343853 h 1014412"/>
                    <a:gd name="connsiteX202" fmla="*/ 701993 w 1100137"/>
                    <a:gd name="connsiteY202" fmla="*/ 261938 h 1014412"/>
                    <a:gd name="connsiteX203" fmla="*/ 695325 w 1100137"/>
                    <a:gd name="connsiteY203" fmla="*/ 275273 h 1014412"/>
                    <a:gd name="connsiteX204" fmla="*/ 694372 w 1100137"/>
                    <a:gd name="connsiteY204" fmla="*/ 287655 h 1014412"/>
                    <a:gd name="connsiteX205" fmla="*/ 658177 w 1100137"/>
                    <a:gd name="connsiteY205" fmla="*/ 280988 h 1014412"/>
                    <a:gd name="connsiteX206" fmla="*/ 655320 w 1100137"/>
                    <a:gd name="connsiteY206" fmla="*/ 259080 h 1014412"/>
                    <a:gd name="connsiteX207" fmla="*/ 676275 w 1100137"/>
                    <a:gd name="connsiteY207" fmla="*/ 258128 h 1014412"/>
                    <a:gd name="connsiteX208" fmla="*/ 683895 w 1100137"/>
                    <a:gd name="connsiteY208" fmla="*/ 265748 h 1014412"/>
                    <a:gd name="connsiteX209" fmla="*/ 693420 w 1100137"/>
                    <a:gd name="connsiteY209" fmla="*/ 257175 h 1014412"/>
                    <a:gd name="connsiteX210" fmla="*/ 701993 w 1100137"/>
                    <a:gd name="connsiteY210" fmla="*/ 261938 h 1014412"/>
                    <a:gd name="connsiteX211" fmla="*/ 724852 w 1100137"/>
                    <a:gd name="connsiteY211" fmla="*/ 196215 h 1014412"/>
                    <a:gd name="connsiteX212" fmla="*/ 711518 w 1100137"/>
                    <a:gd name="connsiteY212" fmla="*/ 200025 h 1014412"/>
                    <a:gd name="connsiteX213" fmla="*/ 695325 w 1100137"/>
                    <a:gd name="connsiteY213" fmla="*/ 187643 h 1014412"/>
                    <a:gd name="connsiteX214" fmla="*/ 708660 w 1100137"/>
                    <a:gd name="connsiteY214" fmla="*/ 182880 h 1014412"/>
                    <a:gd name="connsiteX215" fmla="*/ 724852 w 1100137"/>
                    <a:gd name="connsiteY215" fmla="*/ 196215 h 1014412"/>
                    <a:gd name="connsiteX216" fmla="*/ 611505 w 1100137"/>
                    <a:gd name="connsiteY216" fmla="*/ 167640 h 1014412"/>
                    <a:gd name="connsiteX217" fmla="*/ 596265 w 1100137"/>
                    <a:gd name="connsiteY217" fmla="*/ 173355 h 1014412"/>
                    <a:gd name="connsiteX218" fmla="*/ 579120 w 1100137"/>
                    <a:gd name="connsiteY218" fmla="*/ 162878 h 1014412"/>
                    <a:gd name="connsiteX219" fmla="*/ 589597 w 1100137"/>
                    <a:gd name="connsiteY219" fmla="*/ 140970 h 1014412"/>
                    <a:gd name="connsiteX220" fmla="*/ 601980 w 1100137"/>
                    <a:gd name="connsiteY220" fmla="*/ 141923 h 1014412"/>
                    <a:gd name="connsiteX221" fmla="*/ 611505 w 1100137"/>
                    <a:gd name="connsiteY221" fmla="*/ 154305 h 1014412"/>
                    <a:gd name="connsiteX222" fmla="*/ 611505 w 1100137"/>
                    <a:gd name="connsiteY222" fmla="*/ 167640 h 1014412"/>
                    <a:gd name="connsiteX223" fmla="*/ 762952 w 1100137"/>
                    <a:gd name="connsiteY223" fmla="*/ 151448 h 1014412"/>
                    <a:gd name="connsiteX224" fmla="*/ 758190 w 1100137"/>
                    <a:gd name="connsiteY224" fmla="*/ 144780 h 1014412"/>
                    <a:gd name="connsiteX225" fmla="*/ 738188 w 1100137"/>
                    <a:gd name="connsiteY225" fmla="*/ 133350 h 1014412"/>
                    <a:gd name="connsiteX226" fmla="*/ 694372 w 1100137"/>
                    <a:gd name="connsiteY226" fmla="*/ 127635 h 1014412"/>
                    <a:gd name="connsiteX227" fmla="*/ 672465 w 1100137"/>
                    <a:gd name="connsiteY227" fmla="*/ 119063 h 1014412"/>
                    <a:gd name="connsiteX228" fmla="*/ 663893 w 1100137"/>
                    <a:gd name="connsiteY228" fmla="*/ 120968 h 1014412"/>
                    <a:gd name="connsiteX229" fmla="*/ 644843 w 1100137"/>
                    <a:gd name="connsiteY229" fmla="*/ 111443 h 1014412"/>
                    <a:gd name="connsiteX230" fmla="*/ 633413 w 1100137"/>
                    <a:gd name="connsiteY230" fmla="*/ 115253 h 1014412"/>
                    <a:gd name="connsiteX231" fmla="*/ 609600 w 1100137"/>
                    <a:gd name="connsiteY231" fmla="*/ 131445 h 1014412"/>
                    <a:gd name="connsiteX232" fmla="*/ 595313 w 1100137"/>
                    <a:gd name="connsiteY232" fmla="*/ 129540 h 1014412"/>
                    <a:gd name="connsiteX233" fmla="*/ 580072 w 1100137"/>
                    <a:gd name="connsiteY233" fmla="*/ 120015 h 1014412"/>
                    <a:gd name="connsiteX234" fmla="*/ 559118 w 1100137"/>
                    <a:gd name="connsiteY234" fmla="*/ 123825 h 1014412"/>
                    <a:gd name="connsiteX235" fmla="*/ 542925 w 1100137"/>
                    <a:gd name="connsiteY235" fmla="*/ 141923 h 1014412"/>
                    <a:gd name="connsiteX236" fmla="*/ 525780 w 1100137"/>
                    <a:gd name="connsiteY236" fmla="*/ 151448 h 1014412"/>
                    <a:gd name="connsiteX237" fmla="*/ 508635 w 1100137"/>
                    <a:gd name="connsiteY237" fmla="*/ 147638 h 1014412"/>
                    <a:gd name="connsiteX238" fmla="*/ 486727 w 1100137"/>
                    <a:gd name="connsiteY238" fmla="*/ 147638 h 1014412"/>
                    <a:gd name="connsiteX239" fmla="*/ 484822 w 1100137"/>
                    <a:gd name="connsiteY239" fmla="*/ 158115 h 1014412"/>
                    <a:gd name="connsiteX240" fmla="*/ 503872 w 1100137"/>
                    <a:gd name="connsiteY240" fmla="*/ 178118 h 1014412"/>
                    <a:gd name="connsiteX241" fmla="*/ 499110 w 1100137"/>
                    <a:gd name="connsiteY241" fmla="*/ 187643 h 1014412"/>
                    <a:gd name="connsiteX242" fmla="*/ 503872 w 1100137"/>
                    <a:gd name="connsiteY242" fmla="*/ 197168 h 1014412"/>
                    <a:gd name="connsiteX243" fmla="*/ 523875 w 1100137"/>
                    <a:gd name="connsiteY243" fmla="*/ 198120 h 1014412"/>
                    <a:gd name="connsiteX244" fmla="*/ 547688 w 1100137"/>
                    <a:gd name="connsiteY244" fmla="*/ 210503 h 1014412"/>
                    <a:gd name="connsiteX245" fmla="*/ 541020 w 1100137"/>
                    <a:gd name="connsiteY245" fmla="*/ 217170 h 1014412"/>
                    <a:gd name="connsiteX246" fmla="*/ 510540 w 1100137"/>
                    <a:gd name="connsiteY246" fmla="*/ 205740 h 1014412"/>
                    <a:gd name="connsiteX247" fmla="*/ 499110 w 1100137"/>
                    <a:gd name="connsiteY247" fmla="*/ 204788 h 1014412"/>
                    <a:gd name="connsiteX248" fmla="*/ 487680 w 1100137"/>
                    <a:gd name="connsiteY248" fmla="*/ 216218 h 1014412"/>
                    <a:gd name="connsiteX249" fmla="*/ 521018 w 1100137"/>
                    <a:gd name="connsiteY249" fmla="*/ 241935 h 1014412"/>
                    <a:gd name="connsiteX250" fmla="*/ 525780 w 1100137"/>
                    <a:gd name="connsiteY250" fmla="*/ 255270 h 1014412"/>
                    <a:gd name="connsiteX251" fmla="*/ 520065 w 1100137"/>
                    <a:gd name="connsiteY251" fmla="*/ 263843 h 1014412"/>
                    <a:gd name="connsiteX252" fmla="*/ 505777 w 1100137"/>
                    <a:gd name="connsiteY252" fmla="*/ 256223 h 1014412"/>
                    <a:gd name="connsiteX253" fmla="*/ 481965 w 1100137"/>
                    <a:gd name="connsiteY253" fmla="*/ 225743 h 1014412"/>
                    <a:gd name="connsiteX254" fmla="*/ 452438 w 1100137"/>
                    <a:gd name="connsiteY254" fmla="*/ 220028 h 1014412"/>
                    <a:gd name="connsiteX255" fmla="*/ 448627 w 1100137"/>
                    <a:gd name="connsiteY255" fmla="*/ 225743 h 1014412"/>
                    <a:gd name="connsiteX256" fmla="*/ 460057 w 1100137"/>
                    <a:gd name="connsiteY256" fmla="*/ 248603 h 1014412"/>
                    <a:gd name="connsiteX257" fmla="*/ 487680 w 1100137"/>
                    <a:gd name="connsiteY257" fmla="*/ 264795 h 1014412"/>
                    <a:gd name="connsiteX258" fmla="*/ 481965 w 1100137"/>
                    <a:gd name="connsiteY258" fmla="*/ 270510 h 1014412"/>
                    <a:gd name="connsiteX259" fmla="*/ 453390 w 1100137"/>
                    <a:gd name="connsiteY259" fmla="*/ 260985 h 1014412"/>
                    <a:gd name="connsiteX260" fmla="*/ 442913 w 1100137"/>
                    <a:gd name="connsiteY260" fmla="*/ 245745 h 1014412"/>
                    <a:gd name="connsiteX261" fmla="*/ 439102 w 1100137"/>
                    <a:gd name="connsiteY261" fmla="*/ 226695 h 1014412"/>
                    <a:gd name="connsiteX262" fmla="*/ 386715 w 1100137"/>
                    <a:gd name="connsiteY262" fmla="*/ 200025 h 1014412"/>
                    <a:gd name="connsiteX263" fmla="*/ 373380 w 1100137"/>
                    <a:gd name="connsiteY263" fmla="*/ 173355 h 1014412"/>
                    <a:gd name="connsiteX264" fmla="*/ 352425 w 1100137"/>
                    <a:gd name="connsiteY264" fmla="*/ 185738 h 1014412"/>
                    <a:gd name="connsiteX265" fmla="*/ 356235 w 1100137"/>
                    <a:gd name="connsiteY265" fmla="*/ 204788 h 1014412"/>
                    <a:gd name="connsiteX266" fmla="*/ 350520 w 1100137"/>
                    <a:gd name="connsiteY266" fmla="*/ 240983 h 1014412"/>
                    <a:gd name="connsiteX267" fmla="*/ 354330 w 1100137"/>
                    <a:gd name="connsiteY267" fmla="*/ 253365 h 1014412"/>
                    <a:gd name="connsiteX268" fmla="*/ 387668 w 1100137"/>
                    <a:gd name="connsiteY268" fmla="*/ 288608 h 1014412"/>
                    <a:gd name="connsiteX269" fmla="*/ 400050 w 1100137"/>
                    <a:gd name="connsiteY269" fmla="*/ 314325 h 1014412"/>
                    <a:gd name="connsiteX270" fmla="*/ 424815 w 1100137"/>
                    <a:gd name="connsiteY270" fmla="*/ 334328 h 1014412"/>
                    <a:gd name="connsiteX271" fmla="*/ 449580 w 1100137"/>
                    <a:gd name="connsiteY271" fmla="*/ 364808 h 1014412"/>
                    <a:gd name="connsiteX272" fmla="*/ 456247 w 1100137"/>
                    <a:gd name="connsiteY272" fmla="*/ 381953 h 1014412"/>
                    <a:gd name="connsiteX273" fmla="*/ 443865 w 1100137"/>
                    <a:gd name="connsiteY273" fmla="*/ 392430 h 1014412"/>
                    <a:gd name="connsiteX274" fmla="*/ 431482 w 1100137"/>
                    <a:gd name="connsiteY274" fmla="*/ 387668 h 1014412"/>
                    <a:gd name="connsiteX275" fmla="*/ 434340 w 1100137"/>
                    <a:gd name="connsiteY275" fmla="*/ 369570 h 1014412"/>
                    <a:gd name="connsiteX276" fmla="*/ 413385 w 1100137"/>
                    <a:gd name="connsiteY276" fmla="*/ 358140 h 1014412"/>
                    <a:gd name="connsiteX277" fmla="*/ 395288 w 1100137"/>
                    <a:gd name="connsiteY277" fmla="*/ 369570 h 1014412"/>
                    <a:gd name="connsiteX278" fmla="*/ 409575 w 1100137"/>
                    <a:gd name="connsiteY278" fmla="*/ 391478 h 1014412"/>
                    <a:gd name="connsiteX279" fmla="*/ 414338 w 1100137"/>
                    <a:gd name="connsiteY279" fmla="*/ 402908 h 1014412"/>
                    <a:gd name="connsiteX280" fmla="*/ 410527 w 1100137"/>
                    <a:gd name="connsiteY280" fmla="*/ 415290 h 1014412"/>
                    <a:gd name="connsiteX281" fmla="*/ 395288 w 1100137"/>
                    <a:gd name="connsiteY281" fmla="*/ 422910 h 1014412"/>
                    <a:gd name="connsiteX282" fmla="*/ 370522 w 1100137"/>
                    <a:gd name="connsiteY282" fmla="*/ 423863 h 1014412"/>
                    <a:gd name="connsiteX283" fmla="*/ 393382 w 1100137"/>
                    <a:gd name="connsiteY283" fmla="*/ 437198 h 1014412"/>
                    <a:gd name="connsiteX284" fmla="*/ 424815 w 1100137"/>
                    <a:gd name="connsiteY284" fmla="*/ 446723 h 1014412"/>
                    <a:gd name="connsiteX285" fmla="*/ 440055 w 1100137"/>
                    <a:gd name="connsiteY285" fmla="*/ 457200 h 1014412"/>
                    <a:gd name="connsiteX286" fmla="*/ 454343 w 1100137"/>
                    <a:gd name="connsiteY286" fmla="*/ 458153 h 1014412"/>
                    <a:gd name="connsiteX287" fmla="*/ 470535 w 1100137"/>
                    <a:gd name="connsiteY287" fmla="*/ 478155 h 1014412"/>
                    <a:gd name="connsiteX288" fmla="*/ 495300 w 1100137"/>
                    <a:gd name="connsiteY288" fmla="*/ 483870 h 1014412"/>
                    <a:gd name="connsiteX289" fmla="*/ 511493 w 1100137"/>
                    <a:gd name="connsiteY289" fmla="*/ 503873 h 1014412"/>
                    <a:gd name="connsiteX290" fmla="*/ 530543 w 1100137"/>
                    <a:gd name="connsiteY290" fmla="*/ 508635 h 1014412"/>
                    <a:gd name="connsiteX291" fmla="*/ 546735 w 1100137"/>
                    <a:gd name="connsiteY291" fmla="*/ 516255 h 1014412"/>
                    <a:gd name="connsiteX292" fmla="*/ 556260 w 1100137"/>
                    <a:gd name="connsiteY292" fmla="*/ 536258 h 1014412"/>
                    <a:gd name="connsiteX293" fmla="*/ 559118 w 1100137"/>
                    <a:gd name="connsiteY293" fmla="*/ 563880 h 1014412"/>
                    <a:gd name="connsiteX294" fmla="*/ 564832 w 1100137"/>
                    <a:gd name="connsiteY294" fmla="*/ 583883 h 1014412"/>
                    <a:gd name="connsiteX295" fmla="*/ 565785 w 1100137"/>
                    <a:gd name="connsiteY295" fmla="*/ 600075 h 1014412"/>
                    <a:gd name="connsiteX296" fmla="*/ 555307 w 1100137"/>
                    <a:gd name="connsiteY296" fmla="*/ 604838 h 1014412"/>
                    <a:gd name="connsiteX297" fmla="*/ 542925 w 1100137"/>
                    <a:gd name="connsiteY297" fmla="*/ 589598 h 1014412"/>
                    <a:gd name="connsiteX298" fmla="*/ 502920 w 1100137"/>
                    <a:gd name="connsiteY298" fmla="*/ 555308 h 1014412"/>
                    <a:gd name="connsiteX299" fmla="*/ 493395 w 1100137"/>
                    <a:gd name="connsiteY299" fmla="*/ 551498 h 1014412"/>
                    <a:gd name="connsiteX300" fmla="*/ 483870 w 1100137"/>
                    <a:gd name="connsiteY300" fmla="*/ 558165 h 1014412"/>
                    <a:gd name="connsiteX301" fmla="*/ 456247 w 1100137"/>
                    <a:gd name="connsiteY301" fmla="*/ 562928 h 1014412"/>
                    <a:gd name="connsiteX302" fmla="*/ 438150 w 1100137"/>
                    <a:gd name="connsiteY302" fmla="*/ 575310 h 1014412"/>
                    <a:gd name="connsiteX303" fmla="*/ 452438 w 1100137"/>
                    <a:gd name="connsiteY303" fmla="*/ 587693 h 1014412"/>
                    <a:gd name="connsiteX304" fmla="*/ 453390 w 1100137"/>
                    <a:gd name="connsiteY304" fmla="*/ 599123 h 1014412"/>
                    <a:gd name="connsiteX305" fmla="*/ 461010 w 1100137"/>
                    <a:gd name="connsiteY305" fmla="*/ 613410 h 1014412"/>
                    <a:gd name="connsiteX306" fmla="*/ 480060 w 1100137"/>
                    <a:gd name="connsiteY306" fmla="*/ 617220 h 1014412"/>
                    <a:gd name="connsiteX307" fmla="*/ 499110 w 1100137"/>
                    <a:gd name="connsiteY307" fmla="*/ 640080 h 1014412"/>
                    <a:gd name="connsiteX308" fmla="*/ 470535 w 1100137"/>
                    <a:gd name="connsiteY308" fmla="*/ 649605 h 1014412"/>
                    <a:gd name="connsiteX309" fmla="*/ 460057 w 1100137"/>
                    <a:gd name="connsiteY309" fmla="*/ 656273 h 1014412"/>
                    <a:gd name="connsiteX310" fmla="*/ 452438 w 1100137"/>
                    <a:gd name="connsiteY310" fmla="*/ 651510 h 1014412"/>
                    <a:gd name="connsiteX311" fmla="*/ 450532 w 1100137"/>
                    <a:gd name="connsiteY311" fmla="*/ 640080 h 1014412"/>
                    <a:gd name="connsiteX312" fmla="*/ 409575 w 1100137"/>
                    <a:gd name="connsiteY312" fmla="*/ 619125 h 1014412"/>
                    <a:gd name="connsiteX313" fmla="*/ 403860 w 1100137"/>
                    <a:gd name="connsiteY313" fmla="*/ 624840 h 1014412"/>
                    <a:gd name="connsiteX314" fmla="*/ 410527 w 1100137"/>
                    <a:gd name="connsiteY314" fmla="*/ 647700 h 1014412"/>
                    <a:gd name="connsiteX315" fmla="*/ 422910 w 1100137"/>
                    <a:gd name="connsiteY315" fmla="*/ 662940 h 1014412"/>
                    <a:gd name="connsiteX316" fmla="*/ 443865 w 1100137"/>
                    <a:gd name="connsiteY316" fmla="*/ 703898 h 1014412"/>
                    <a:gd name="connsiteX317" fmla="*/ 456247 w 1100137"/>
                    <a:gd name="connsiteY317" fmla="*/ 739140 h 1014412"/>
                    <a:gd name="connsiteX318" fmla="*/ 454343 w 1100137"/>
                    <a:gd name="connsiteY318" fmla="*/ 759143 h 1014412"/>
                    <a:gd name="connsiteX319" fmla="*/ 463868 w 1100137"/>
                    <a:gd name="connsiteY319" fmla="*/ 773430 h 1014412"/>
                    <a:gd name="connsiteX320" fmla="*/ 464820 w 1100137"/>
                    <a:gd name="connsiteY320" fmla="*/ 787718 h 1014412"/>
                    <a:gd name="connsiteX321" fmla="*/ 448627 w 1100137"/>
                    <a:gd name="connsiteY321" fmla="*/ 776288 h 1014412"/>
                    <a:gd name="connsiteX322" fmla="*/ 427672 w 1100137"/>
                    <a:gd name="connsiteY322" fmla="*/ 752475 h 1014412"/>
                    <a:gd name="connsiteX323" fmla="*/ 420052 w 1100137"/>
                    <a:gd name="connsiteY323" fmla="*/ 738188 h 1014412"/>
                    <a:gd name="connsiteX324" fmla="*/ 399097 w 1100137"/>
                    <a:gd name="connsiteY324" fmla="*/ 739140 h 1014412"/>
                    <a:gd name="connsiteX325" fmla="*/ 386715 w 1100137"/>
                    <a:gd name="connsiteY325" fmla="*/ 770573 h 1014412"/>
                    <a:gd name="connsiteX326" fmla="*/ 388620 w 1100137"/>
                    <a:gd name="connsiteY326" fmla="*/ 788670 h 1014412"/>
                    <a:gd name="connsiteX327" fmla="*/ 373380 w 1100137"/>
                    <a:gd name="connsiteY327" fmla="*/ 778193 h 1014412"/>
                    <a:gd name="connsiteX328" fmla="*/ 371475 w 1100137"/>
                    <a:gd name="connsiteY328" fmla="*/ 750570 h 1014412"/>
                    <a:gd name="connsiteX329" fmla="*/ 351472 w 1100137"/>
                    <a:gd name="connsiteY329" fmla="*/ 723900 h 1014412"/>
                    <a:gd name="connsiteX330" fmla="*/ 342900 w 1100137"/>
                    <a:gd name="connsiteY330" fmla="*/ 720090 h 1014412"/>
                    <a:gd name="connsiteX331" fmla="*/ 330518 w 1100137"/>
                    <a:gd name="connsiteY331" fmla="*/ 701993 h 1014412"/>
                    <a:gd name="connsiteX332" fmla="*/ 316230 w 1100137"/>
                    <a:gd name="connsiteY332" fmla="*/ 707708 h 1014412"/>
                    <a:gd name="connsiteX333" fmla="*/ 315277 w 1100137"/>
                    <a:gd name="connsiteY333" fmla="*/ 735330 h 1014412"/>
                    <a:gd name="connsiteX334" fmla="*/ 311468 w 1100137"/>
                    <a:gd name="connsiteY334" fmla="*/ 744855 h 1014412"/>
                    <a:gd name="connsiteX335" fmla="*/ 290513 w 1100137"/>
                    <a:gd name="connsiteY335" fmla="*/ 726758 h 1014412"/>
                    <a:gd name="connsiteX336" fmla="*/ 268605 w 1100137"/>
                    <a:gd name="connsiteY336" fmla="*/ 693420 h 1014412"/>
                    <a:gd name="connsiteX337" fmla="*/ 266700 w 1100137"/>
                    <a:gd name="connsiteY337" fmla="*/ 676275 h 1014412"/>
                    <a:gd name="connsiteX338" fmla="*/ 280035 w 1100137"/>
                    <a:gd name="connsiteY338" fmla="*/ 660083 h 1014412"/>
                    <a:gd name="connsiteX339" fmla="*/ 277177 w 1100137"/>
                    <a:gd name="connsiteY339" fmla="*/ 648653 h 1014412"/>
                    <a:gd name="connsiteX340" fmla="*/ 261938 w 1100137"/>
                    <a:gd name="connsiteY340" fmla="*/ 624840 h 1014412"/>
                    <a:gd name="connsiteX341" fmla="*/ 241935 w 1100137"/>
                    <a:gd name="connsiteY341" fmla="*/ 610553 h 1014412"/>
                    <a:gd name="connsiteX342" fmla="*/ 230505 w 1100137"/>
                    <a:gd name="connsiteY342" fmla="*/ 605790 h 1014412"/>
                    <a:gd name="connsiteX343" fmla="*/ 223838 w 1100137"/>
                    <a:gd name="connsiteY343" fmla="*/ 590550 h 1014412"/>
                    <a:gd name="connsiteX344" fmla="*/ 204788 w 1100137"/>
                    <a:gd name="connsiteY344" fmla="*/ 578168 h 1014412"/>
                    <a:gd name="connsiteX345" fmla="*/ 204788 w 1100137"/>
                    <a:gd name="connsiteY345" fmla="*/ 568643 h 1014412"/>
                    <a:gd name="connsiteX346" fmla="*/ 223838 w 1100137"/>
                    <a:gd name="connsiteY346" fmla="*/ 552450 h 1014412"/>
                    <a:gd name="connsiteX347" fmla="*/ 233363 w 1100137"/>
                    <a:gd name="connsiteY347" fmla="*/ 527685 h 1014412"/>
                    <a:gd name="connsiteX348" fmla="*/ 251460 w 1100137"/>
                    <a:gd name="connsiteY348" fmla="*/ 532448 h 1014412"/>
                    <a:gd name="connsiteX349" fmla="*/ 264795 w 1100137"/>
                    <a:gd name="connsiteY349" fmla="*/ 530543 h 1014412"/>
                    <a:gd name="connsiteX350" fmla="*/ 283845 w 1100137"/>
                    <a:gd name="connsiteY350" fmla="*/ 507683 h 1014412"/>
                    <a:gd name="connsiteX351" fmla="*/ 299085 w 1100137"/>
                    <a:gd name="connsiteY351" fmla="*/ 508635 h 1014412"/>
                    <a:gd name="connsiteX352" fmla="*/ 336232 w 1100137"/>
                    <a:gd name="connsiteY352" fmla="*/ 528638 h 1014412"/>
                    <a:gd name="connsiteX353" fmla="*/ 376238 w 1100137"/>
                    <a:gd name="connsiteY353" fmla="*/ 540068 h 1014412"/>
                    <a:gd name="connsiteX354" fmla="*/ 396240 w 1100137"/>
                    <a:gd name="connsiteY354" fmla="*/ 549593 h 1014412"/>
                    <a:gd name="connsiteX355" fmla="*/ 407670 w 1100137"/>
                    <a:gd name="connsiteY355" fmla="*/ 560070 h 1014412"/>
                    <a:gd name="connsiteX356" fmla="*/ 422910 w 1100137"/>
                    <a:gd name="connsiteY356" fmla="*/ 562928 h 1014412"/>
                    <a:gd name="connsiteX357" fmla="*/ 418147 w 1100137"/>
                    <a:gd name="connsiteY357" fmla="*/ 549593 h 1014412"/>
                    <a:gd name="connsiteX358" fmla="*/ 425768 w 1100137"/>
                    <a:gd name="connsiteY358" fmla="*/ 545783 h 1014412"/>
                    <a:gd name="connsiteX359" fmla="*/ 445770 w 1100137"/>
                    <a:gd name="connsiteY359" fmla="*/ 545783 h 1014412"/>
                    <a:gd name="connsiteX360" fmla="*/ 447675 w 1100137"/>
                    <a:gd name="connsiteY360" fmla="*/ 530543 h 1014412"/>
                    <a:gd name="connsiteX361" fmla="*/ 428625 w 1100137"/>
                    <a:gd name="connsiteY361" fmla="*/ 524828 h 1014412"/>
                    <a:gd name="connsiteX362" fmla="*/ 421005 w 1100137"/>
                    <a:gd name="connsiteY362" fmla="*/ 526733 h 1014412"/>
                    <a:gd name="connsiteX363" fmla="*/ 398145 w 1100137"/>
                    <a:gd name="connsiteY363" fmla="*/ 513398 h 1014412"/>
                    <a:gd name="connsiteX364" fmla="*/ 376238 w 1100137"/>
                    <a:gd name="connsiteY364" fmla="*/ 505778 h 1014412"/>
                    <a:gd name="connsiteX365" fmla="*/ 355282 w 1100137"/>
                    <a:gd name="connsiteY365" fmla="*/ 491490 h 1014412"/>
                    <a:gd name="connsiteX366" fmla="*/ 343852 w 1100137"/>
                    <a:gd name="connsiteY366" fmla="*/ 503873 h 1014412"/>
                    <a:gd name="connsiteX367" fmla="*/ 332422 w 1100137"/>
                    <a:gd name="connsiteY367" fmla="*/ 503873 h 1014412"/>
                    <a:gd name="connsiteX368" fmla="*/ 300038 w 1100137"/>
                    <a:gd name="connsiteY368" fmla="*/ 495300 h 1014412"/>
                    <a:gd name="connsiteX369" fmla="*/ 280035 w 1100137"/>
                    <a:gd name="connsiteY369" fmla="*/ 501968 h 1014412"/>
                    <a:gd name="connsiteX370" fmla="*/ 240030 w 1100137"/>
                    <a:gd name="connsiteY370" fmla="*/ 508635 h 1014412"/>
                    <a:gd name="connsiteX371" fmla="*/ 229552 w 1100137"/>
                    <a:gd name="connsiteY371" fmla="*/ 496253 h 1014412"/>
                    <a:gd name="connsiteX372" fmla="*/ 204788 w 1100137"/>
                    <a:gd name="connsiteY372" fmla="*/ 505778 h 1014412"/>
                    <a:gd name="connsiteX373" fmla="*/ 195263 w 1100137"/>
                    <a:gd name="connsiteY373" fmla="*/ 499110 h 1014412"/>
                    <a:gd name="connsiteX374" fmla="*/ 177165 w 1100137"/>
                    <a:gd name="connsiteY374" fmla="*/ 459105 h 1014412"/>
                    <a:gd name="connsiteX375" fmla="*/ 160972 w 1100137"/>
                    <a:gd name="connsiteY375" fmla="*/ 441008 h 1014412"/>
                    <a:gd name="connsiteX376" fmla="*/ 149543 w 1100137"/>
                    <a:gd name="connsiteY376" fmla="*/ 436245 h 1014412"/>
                    <a:gd name="connsiteX377" fmla="*/ 147638 w 1100137"/>
                    <a:gd name="connsiteY377" fmla="*/ 418148 h 1014412"/>
                    <a:gd name="connsiteX378" fmla="*/ 161925 w 1100137"/>
                    <a:gd name="connsiteY378" fmla="*/ 416243 h 1014412"/>
                    <a:gd name="connsiteX379" fmla="*/ 184785 w 1100137"/>
                    <a:gd name="connsiteY379" fmla="*/ 424815 h 1014412"/>
                    <a:gd name="connsiteX380" fmla="*/ 193357 w 1100137"/>
                    <a:gd name="connsiteY380" fmla="*/ 419100 h 1014412"/>
                    <a:gd name="connsiteX381" fmla="*/ 187643 w 1100137"/>
                    <a:gd name="connsiteY381" fmla="*/ 403860 h 1014412"/>
                    <a:gd name="connsiteX382" fmla="*/ 163830 w 1100137"/>
                    <a:gd name="connsiteY382" fmla="*/ 401955 h 1014412"/>
                    <a:gd name="connsiteX383" fmla="*/ 146685 w 1100137"/>
                    <a:gd name="connsiteY383" fmla="*/ 406718 h 1014412"/>
                    <a:gd name="connsiteX384" fmla="*/ 120015 w 1100137"/>
                    <a:gd name="connsiteY384" fmla="*/ 385763 h 1014412"/>
                    <a:gd name="connsiteX385" fmla="*/ 105727 w 1100137"/>
                    <a:gd name="connsiteY385" fmla="*/ 369570 h 1014412"/>
                    <a:gd name="connsiteX386" fmla="*/ 84772 w 1100137"/>
                    <a:gd name="connsiteY386" fmla="*/ 359093 h 1014412"/>
                    <a:gd name="connsiteX387" fmla="*/ 68580 w 1100137"/>
                    <a:gd name="connsiteY387" fmla="*/ 326708 h 1014412"/>
                    <a:gd name="connsiteX388" fmla="*/ 43815 w 1100137"/>
                    <a:gd name="connsiteY388" fmla="*/ 301943 h 1014412"/>
                    <a:gd name="connsiteX389" fmla="*/ 69532 w 1100137"/>
                    <a:gd name="connsiteY389" fmla="*/ 310515 h 1014412"/>
                    <a:gd name="connsiteX390" fmla="*/ 76200 w 1100137"/>
                    <a:gd name="connsiteY390" fmla="*/ 303848 h 1014412"/>
                    <a:gd name="connsiteX391" fmla="*/ 79057 w 1100137"/>
                    <a:gd name="connsiteY391" fmla="*/ 289560 h 1014412"/>
                    <a:gd name="connsiteX392" fmla="*/ 87630 w 1100137"/>
                    <a:gd name="connsiteY392" fmla="*/ 282893 h 1014412"/>
                    <a:gd name="connsiteX393" fmla="*/ 78105 w 1100137"/>
                    <a:gd name="connsiteY393" fmla="*/ 261938 h 1014412"/>
                    <a:gd name="connsiteX394" fmla="*/ 94297 w 1100137"/>
                    <a:gd name="connsiteY394" fmla="*/ 249555 h 1014412"/>
                    <a:gd name="connsiteX395" fmla="*/ 112395 w 1100137"/>
                    <a:gd name="connsiteY395" fmla="*/ 246698 h 1014412"/>
                    <a:gd name="connsiteX396" fmla="*/ 118110 w 1100137"/>
                    <a:gd name="connsiteY396" fmla="*/ 241935 h 1014412"/>
                    <a:gd name="connsiteX397" fmla="*/ 120968 w 1100137"/>
                    <a:gd name="connsiteY397" fmla="*/ 222885 h 1014412"/>
                    <a:gd name="connsiteX398" fmla="*/ 132397 w 1100137"/>
                    <a:gd name="connsiteY398" fmla="*/ 193358 h 1014412"/>
                    <a:gd name="connsiteX399" fmla="*/ 148590 w 1100137"/>
                    <a:gd name="connsiteY399" fmla="*/ 185738 h 1014412"/>
                    <a:gd name="connsiteX400" fmla="*/ 156210 w 1100137"/>
                    <a:gd name="connsiteY400" fmla="*/ 160973 h 1014412"/>
                    <a:gd name="connsiteX401" fmla="*/ 145732 w 1100137"/>
                    <a:gd name="connsiteY401" fmla="*/ 143828 h 1014412"/>
                    <a:gd name="connsiteX402" fmla="*/ 145732 w 1100137"/>
                    <a:gd name="connsiteY402" fmla="*/ 133350 h 1014412"/>
                    <a:gd name="connsiteX403" fmla="*/ 189547 w 1100137"/>
                    <a:gd name="connsiteY403" fmla="*/ 130493 h 1014412"/>
                    <a:gd name="connsiteX404" fmla="*/ 198120 w 1100137"/>
                    <a:gd name="connsiteY404" fmla="*/ 124778 h 1014412"/>
                    <a:gd name="connsiteX405" fmla="*/ 220027 w 1100137"/>
                    <a:gd name="connsiteY405" fmla="*/ 130493 h 1014412"/>
                    <a:gd name="connsiteX406" fmla="*/ 242888 w 1100137"/>
                    <a:gd name="connsiteY406" fmla="*/ 118110 h 1014412"/>
                    <a:gd name="connsiteX407" fmla="*/ 259080 w 1100137"/>
                    <a:gd name="connsiteY407" fmla="*/ 94298 h 1014412"/>
                    <a:gd name="connsiteX408" fmla="*/ 266700 w 1100137"/>
                    <a:gd name="connsiteY408" fmla="*/ 91440 h 1014412"/>
                    <a:gd name="connsiteX409" fmla="*/ 295275 w 1100137"/>
                    <a:gd name="connsiteY409" fmla="*/ 87630 h 1014412"/>
                    <a:gd name="connsiteX410" fmla="*/ 326707 w 1100137"/>
                    <a:gd name="connsiteY410" fmla="*/ 93345 h 1014412"/>
                    <a:gd name="connsiteX411" fmla="*/ 354330 w 1100137"/>
                    <a:gd name="connsiteY411" fmla="*/ 83820 h 1014412"/>
                    <a:gd name="connsiteX412" fmla="*/ 356235 w 1100137"/>
                    <a:gd name="connsiteY412" fmla="*/ 63818 h 1014412"/>
                    <a:gd name="connsiteX413" fmla="*/ 375285 w 1100137"/>
                    <a:gd name="connsiteY413" fmla="*/ 60960 h 1014412"/>
                    <a:gd name="connsiteX414" fmla="*/ 403860 w 1100137"/>
                    <a:gd name="connsiteY414" fmla="*/ 62865 h 1014412"/>
                    <a:gd name="connsiteX415" fmla="*/ 413385 w 1100137"/>
                    <a:gd name="connsiteY415" fmla="*/ 53340 h 1014412"/>
                    <a:gd name="connsiteX416" fmla="*/ 436245 w 1100137"/>
                    <a:gd name="connsiteY416" fmla="*/ 51435 h 1014412"/>
                    <a:gd name="connsiteX417" fmla="*/ 461010 w 1100137"/>
                    <a:gd name="connsiteY417" fmla="*/ 53340 h 1014412"/>
                    <a:gd name="connsiteX418" fmla="*/ 489585 w 1100137"/>
                    <a:gd name="connsiteY418" fmla="*/ 42863 h 1014412"/>
                    <a:gd name="connsiteX419" fmla="*/ 507682 w 1100137"/>
                    <a:gd name="connsiteY419" fmla="*/ 40958 h 1014412"/>
                    <a:gd name="connsiteX420" fmla="*/ 509588 w 1100137"/>
                    <a:gd name="connsiteY420" fmla="*/ 32385 h 1014412"/>
                    <a:gd name="connsiteX421" fmla="*/ 549593 w 1100137"/>
                    <a:gd name="connsiteY421" fmla="*/ 33338 h 1014412"/>
                    <a:gd name="connsiteX422" fmla="*/ 564832 w 1100137"/>
                    <a:gd name="connsiteY422" fmla="*/ 28575 h 1014412"/>
                    <a:gd name="connsiteX423" fmla="*/ 576263 w 1100137"/>
                    <a:gd name="connsiteY423" fmla="*/ 44768 h 1014412"/>
                    <a:gd name="connsiteX424" fmla="*/ 599122 w 1100137"/>
                    <a:gd name="connsiteY424" fmla="*/ 58103 h 1014412"/>
                    <a:gd name="connsiteX425" fmla="*/ 607695 w 1100137"/>
                    <a:gd name="connsiteY425" fmla="*/ 52388 h 1014412"/>
                    <a:gd name="connsiteX426" fmla="*/ 642938 w 1100137"/>
                    <a:gd name="connsiteY426" fmla="*/ 63818 h 1014412"/>
                    <a:gd name="connsiteX427" fmla="*/ 659130 w 1100137"/>
                    <a:gd name="connsiteY427" fmla="*/ 74295 h 1014412"/>
                    <a:gd name="connsiteX428" fmla="*/ 691515 w 1100137"/>
                    <a:gd name="connsiteY428" fmla="*/ 65723 h 1014412"/>
                    <a:gd name="connsiteX429" fmla="*/ 721995 w 1100137"/>
                    <a:gd name="connsiteY429" fmla="*/ 61913 h 1014412"/>
                    <a:gd name="connsiteX430" fmla="*/ 739140 w 1100137"/>
                    <a:gd name="connsiteY430" fmla="*/ 64770 h 1014412"/>
                    <a:gd name="connsiteX431" fmla="*/ 762952 w 1100137"/>
                    <a:gd name="connsiteY431" fmla="*/ 53340 h 1014412"/>
                    <a:gd name="connsiteX432" fmla="*/ 764857 w 1100137"/>
                    <a:gd name="connsiteY432" fmla="*/ 45720 h 1014412"/>
                    <a:gd name="connsiteX433" fmla="*/ 756285 w 1100137"/>
                    <a:gd name="connsiteY433" fmla="*/ 20003 h 1014412"/>
                    <a:gd name="connsiteX434" fmla="*/ 749618 w 1100137"/>
                    <a:gd name="connsiteY434" fmla="*/ 10478 h 1014412"/>
                    <a:gd name="connsiteX435" fmla="*/ 764857 w 1100137"/>
                    <a:gd name="connsiteY435" fmla="*/ 0 h 1014412"/>
                    <a:gd name="connsiteX436" fmla="*/ 780097 w 1100137"/>
                    <a:gd name="connsiteY436" fmla="*/ 4763 h 1014412"/>
                    <a:gd name="connsiteX437" fmla="*/ 791527 w 1100137"/>
                    <a:gd name="connsiteY437" fmla="*/ 7620 h 1014412"/>
                    <a:gd name="connsiteX438" fmla="*/ 813435 w 1100137"/>
                    <a:gd name="connsiteY438" fmla="*/ 21908 h 1014412"/>
                    <a:gd name="connsiteX439" fmla="*/ 822007 w 1100137"/>
                    <a:gd name="connsiteY439" fmla="*/ 51435 h 1014412"/>
                    <a:gd name="connsiteX440" fmla="*/ 789622 w 1100137"/>
                    <a:gd name="connsiteY440" fmla="*/ 75248 h 1014412"/>
                    <a:gd name="connsiteX441" fmla="*/ 794385 w 1100137"/>
                    <a:gd name="connsiteY441" fmla="*/ 117158 h 1014412"/>
                    <a:gd name="connsiteX442" fmla="*/ 770572 w 1100137"/>
                    <a:gd name="connsiteY442" fmla="*/ 147638 h 1014412"/>
                    <a:gd name="connsiteX443" fmla="*/ 762952 w 1100137"/>
                    <a:gd name="connsiteY443" fmla="*/ 151448 h 101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1100137" h="1014412">
                      <a:moveTo>
                        <a:pt x="568643" y="924878"/>
                      </a:moveTo>
                      <a:lnTo>
                        <a:pt x="590550" y="924878"/>
                      </a:lnTo>
                      <a:lnTo>
                        <a:pt x="606743" y="915353"/>
                      </a:lnTo>
                      <a:lnTo>
                        <a:pt x="627697" y="950595"/>
                      </a:lnTo>
                      <a:lnTo>
                        <a:pt x="643890" y="949643"/>
                      </a:lnTo>
                      <a:lnTo>
                        <a:pt x="677227" y="941070"/>
                      </a:lnTo>
                      <a:lnTo>
                        <a:pt x="712470" y="942975"/>
                      </a:lnTo>
                      <a:lnTo>
                        <a:pt x="725805" y="952500"/>
                      </a:lnTo>
                      <a:lnTo>
                        <a:pt x="750570" y="954405"/>
                      </a:lnTo>
                      <a:lnTo>
                        <a:pt x="772477" y="959168"/>
                      </a:lnTo>
                      <a:lnTo>
                        <a:pt x="803910" y="952500"/>
                      </a:lnTo>
                      <a:lnTo>
                        <a:pt x="807720" y="956310"/>
                      </a:lnTo>
                      <a:lnTo>
                        <a:pt x="808672" y="982980"/>
                      </a:lnTo>
                      <a:lnTo>
                        <a:pt x="820102" y="984885"/>
                      </a:lnTo>
                      <a:lnTo>
                        <a:pt x="826770" y="978218"/>
                      </a:lnTo>
                      <a:lnTo>
                        <a:pt x="842963" y="972503"/>
                      </a:lnTo>
                      <a:lnTo>
                        <a:pt x="860107" y="972503"/>
                      </a:lnTo>
                      <a:lnTo>
                        <a:pt x="875347" y="964883"/>
                      </a:lnTo>
                      <a:lnTo>
                        <a:pt x="871538" y="998220"/>
                      </a:lnTo>
                      <a:lnTo>
                        <a:pt x="862965" y="1002030"/>
                      </a:lnTo>
                      <a:lnTo>
                        <a:pt x="821055" y="1001078"/>
                      </a:lnTo>
                      <a:lnTo>
                        <a:pt x="743902" y="1010603"/>
                      </a:lnTo>
                      <a:lnTo>
                        <a:pt x="693420" y="1014413"/>
                      </a:lnTo>
                      <a:lnTo>
                        <a:pt x="686752" y="1012508"/>
                      </a:lnTo>
                      <a:lnTo>
                        <a:pt x="680085" y="991553"/>
                      </a:lnTo>
                      <a:lnTo>
                        <a:pt x="648652" y="981075"/>
                      </a:lnTo>
                      <a:lnTo>
                        <a:pt x="589597" y="971550"/>
                      </a:lnTo>
                      <a:lnTo>
                        <a:pt x="575310" y="967740"/>
                      </a:lnTo>
                      <a:lnTo>
                        <a:pt x="545782" y="969645"/>
                      </a:lnTo>
                      <a:lnTo>
                        <a:pt x="535305" y="960120"/>
                      </a:lnTo>
                      <a:lnTo>
                        <a:pt x="531495" y="942975"/>
                      </a:lnTo>
                      <a:lnTo>
                        <a:pt x="533400" y="924878"/>
                      </a:lnTo>
                      <a:lnTo>
                        <a:pt x="546735" y="927735"/>
                      </a:lnTo>
                      <a:lnTo>
                        <a:pt x="550545" y="914400"/>
                      </a:lnTo>
                      <a:lnTo>
                        <a:pt x="568643" y="924878"/>
                      </a:lnTo>
                      <a:close/>
                      <a:moveTo>
                        <a:pt x="982027" y="935355"/>
                      </a:moveTo>
                      <a:lnTo>
                        <a:pt x="966788" y="915353"/>
                      </a:lnTo>
                      <a:lnTo>
                        <a:pt x="977265" y="910590"/>
                      </a:lnTo>
                      <a:lnTo>
                        <a:pt x="988695" y="933450"/>
                      </a:lnTo>
                      <a:lnTo>
                        <a:pt x="982027" y="935355"/>
                      </a:lnTo>
                      <a:close/>
                      <a:moveTo>
                        <a:pt x="461010" y="826770"/>
                      </a:moveTo>
                      <a:lnTo>
                        <a:pt x="447675" y="828675"/>
                      </a:lnTo>
                      <a:lnTo>
                        <a:pt x="441007" y="807720"/>
                      </a:lnTo>
                      <a:lnTo>
                        <a:pt x="445770" y="798195"/>
                      </a:lnTo>
                      <a:lnTo>
                        <a:pt x="465772" y="818198"/>
                      </a:lnTo>
                      <a:lnTo>
                        <a:pt x="461010" y="826770"/>
                      </a:lnTo>
                      <a:close/>
                      <a:moveTo>
                        <a:pt x="1058227" y="865823"/>
                      </a:moveTo>
                      <a:lnTo>
                        <a:pt x="1042035" y="862013"/>
                      </a:lnTo>
                      <a:lnTo>
                        <a:pt x="1045845" y="844868"/>
                      </a:lnTo>
                      <a:lnTo>
                        <a:pt x="1039177" y="829628"/>
                      </a:lnTo>
                      <a:lnTo>
                        <a:pt x="1061085" y="803910"/>
                      </a:lnTo>
                      <a:lnTo>
                        <a:pt x="1091565" y="791528"/>
                      </a:lnTo>
                      <a:lnTo>
                        <a:pt x="1100138" y="800100"/>
                      </a:lnTo>
                      <a:lnTo>
                        <a:pt x="1091565" y="823913"/>
                      </a:lnTo>
                      <a:lnTo>
                        <a:pt x="1082993" y="836295"/>
                      </a:lnTo>
                      <a:lnTo>
                        <a:pt x="1086802" y="845820"/>
                      </a:lnTo>
                      <a:lnTo>
                        <a:pt x="1071563" y="847725"/>
                      </a:lnTo>
                      <a:lnTo>
                        <a:pt x="1058227" y="865823"/>
                      </a:lnTo>
                      <a:close/>
                      <a:moveTo>
                        <a:pt x="877252" y="767715"/>
                      </a:moveTo>
                      <a:lnTo>
                        <a:pt x="862965" y="779145"/>
                      </a:lnTo>
                      <a:lnTo>
                        <a:pt x="854393" y="773430"/>
                      </a:lnTo>
                      <a:lnTo>
                        <a:pt x="872490" y="762000"/>
                      </a:lnTo>
                      <a:lnTo>
                        <a:pt x="877252" y="767715"/>
                      </a:lnTo>
                      <a:close/>
                      <a:moveTo>
                        <a:pt x="936307" y="746760"/>
                      </a:moveTo>
                      <a:lnTo>
                        <a:pt x="936307" y="740093"/>
                      </a:lnTo>
                      <a:lnTo>
                        <a:pt x="948690" y="729615"/>
                      </a:lnTo>
                      <a:lnTo>
                        <a:pt x="972502" y="720090"/>
                      </a:lnTo>
                      <a:lnTo>
                        <a:pt x="983932" y="725805"/>
                      </a:lnTo>
                      <a:lnTo>
                        <a:pt x="960120" y="739140"/>
                      </a:lnTo>
                      <a:lnTo>
                        <a:pt x="945832" y="740093"/>
                      </a:lnTo>
                      <a:lnTo>
                        <a:pt x="936307" y="746760"/>
                      </a:lnTo>
                      <a:close/>
                      <a:moveTo>
                        <a:pt x="724852" y="695325"/>
                      </a:moveTo>
                      <a:lnTo>
                        <a:pt x="716280" y="707708"/>
                      </a:lnTo>
                      <a:lnTo>
                        <a:pt x="703897" y="701040"/>
                      </a:lnTo>
                      <a:lnTo>
                        <a:pt x="707707" y="689610"/>
                      </a:lnTo>
                      <a:lnTo>
                        <a:pt x="718185" y="683895"/>
                      </a:lnTo>
                      <a:lnTo>
                        <a:pt x="724852" y="695325"/>
                      </a:lnTo>
                      <a:close/>
                      <a:moveTo>
                        <a:pt x="759143" y="710565"/>
                      </a:moveTo>
                      <a:lnTo>
                        <a:pt x="748665" y="716280"/>
                      </a:lnTo>
                      <a:lnTo>
                        <a:pt x="735330" y="695325"/>
                      </a:lnTo>
                      <a:lnTo>
                        <a:pt x="753427" y="676275"/>
                      </a:lnTo>
                      <a:lnTo>
                        <a:pt x="762000" y="682943"/>
                      </a:lnTo>
                      <a:lnTo>
                        <a:pt x="762952" y="700088"/>
                      </a:lnTo>
                      <a:lnTo>
                        <a:pt x="759143" y="710565"/>
                      </a:lnTo>
                      <a:close/>
                      <a:moveTo>
                        <a:pt x="810577" y="626745"/>
                      </a:moveTo>
                      <a:lnTo>
                        <a:pt x="816293" y="611505"/>
                      </a:lnTo>
                      <a:lnTo>
                        <a:pt x="831532" y="610553"/>
                      </a:lnTo>
                      <a:lnTo>
                        <a:pt x="831532" y="621030"/>
                      </a:lnTo>
                      <a:lnTo>
                        <a:pt x="810577" y="626745"/>
                      </a:lnTo>
                      <a:close/>
                      <a:moveTo>
                        <a:pt x="603885" y="620078"/>
                      </a:moveTo>
                      <a:lnTo>
                        <a:pt x="594360" y="616268"/>
                      </a:lnTo>
                      <a:lnTo>
                        <a:pt x="598170" y="604838"/>
                      </a:lnTo>
                      <a:lnTo>
                        <a:pt x="608647" y="609600"/>
                      </a:lnTo>
                      <a:lnTo>
                        <a:pt x="603885" y="620078"/>
                      </a:lnTo>
                      <a:close/>
                      <a:moveTo>
                        <a:pt x="904875" y="584835"/>
                      </a:moveTo>
                      <a:lnTo>
                        <a:pt x="931545" y="591503"/>
                      </a:lnTo>
                      <a:lnTo>
                        <a:pt x="924877" y="601028"/>
                      </a:lnTo>
                      <a:lnTo>
                        <a:pt x="909638" y="609600"/>
                      </a:lnTo>
                      <a:lnTo>
                        <a:pt x="893445" y="601028"/>
                      </a:lnTo>
                      <a:lnTo>
                        <a:pt x="882015" y="589598"/>
                      </a:lnTo>
                      <a:lnTo>
                        <a:pt x="904875" y="584835"/>
                      </a:lnTo>
                      <a:close/>
                      <a:moveTo>
                        <a:pt x="174307" y="585788"/>
                      </a:moveTo>
                      <a:lnTo>
                        <a:pt x="178118" y="597218"/>
                      </a:lnTo>
                      <a:lnTo>
                        <a:pt x="167640" y="606743"/>
                      </a:lnTo>
                      <a:lnTo>
                        <a:pt x="152400" y="595313"/>
                      </a:lnTo>
                      <a:lnTo>
                        <a:pt x="140970" y="578168"/>
                      </a:lnTo>
                      <a:lnTo>
                        <a:pt x="149543" y="567690"/>
                      </a:lnTo>
                      <a:lnTo>
                        <a:pt x="158115" y="579120"/>
                      </a:lnTo>
                      <a:lnTo>
                        <a:pt x="174307" y="585788"/>
                      </a:lnTo>
                      <a:close/>
                      <a:moveTo>
                        <a:pt x="680085" y="592455"/>
                      </a:moveTo>
                      <a:lnTo>
                        <a:pt x="666750" y="591503"/>
                      </a:lnTo>
                      <a:lnTo>
                        <a:pt x="643890" y="571500"/>
                      </a:lnTo>
                      <a:lnTo>
                        <a:pt x="652463" y="558165"/>
                      </a:lnTo>
                      <a:lnTo>
                        <a:pt x="661035" y="569595"/>
                      </a:lnTo>
                      <a:lnTo>
                        <a:pt x="673418" y="570548"/>
                      </a:lnTo>
                      <a:lnTo>
                        <a:pt x="680085" y="592455"/>
                      </a:lnTo>
                      <a:close/>
                      <a:moveTo>
                        <a:pt x="134302" y="500063"/>
                      </a:moveTo>
                      <a:lnTo>
                        <a:pt x="137160" y="517208"/>
                      </a:lnTo>
                      <a:lnTo>
                        <a:pt x="145732" y="520065"/>
                      </a:lnTo>
                      <a:lnTo>
                        <a:pt x="158115" y="535305"/>
                      </a:lnTo>
                      <a:lnTo>
                        <a:pt x="156210" y="546735"/>
                      </a:lnTo>
                      <a:lnTo>
                        <a:pt x="136207" y="539115"/>
                      </a:lnTo>
                      <a:lnTo>
                        <a:pt x="126682" y="541020"/>
                      </a:lnTo>
                      <a:lnTo>
                        <a:pt x="116205" y="521970"/>
                      </a:lnTo>
                      <a:lnTo>
                        <a:pt x="103822" y="523875"/>
                      </a:lnTo>
                      <a:lnTo>
                        <a:pt x="109538" y="506730"/>
                      </a:lnTo>
                      <a:lnTo>
                        <a:pt x="122872" y="507683"/>
                      </a:lnTo>
                      <a:lnTo>
                        <a:pt x="134302" y="500063"/>
                      </a:lnTo>
                      <a:close/>
                      <a:moveTo>
                        <a:pt x="808672" y="523875"/>
                      </a:moveTo>
                      <a:lnTo>
                        <a:pt x="798195" y="532448"/>
                      </a:lnTo>
                      <a:lnTo>
                        <a:pt x="781050" y="516255"/>
                      </a:lnTo>
                      <a:lnTo>
                        <a:pt x="794385" y="503873"/>
                      </a:lnTo>
                      <a:lnTo>
                        <a:pt x="774382" y="481013"/>
                      </a:lnTo>
                      <a:lnTo>
                        <a:pt x="773430" y="471488"/>
                      </a:lnTo>
                      <a:lnTo>
                        <a:pt x="793432" y="466725"/>
                      </a:lnTo>
                      <a:lnTo>
                        <a:pt x="805815" y="475298"/>
                      </a:lnTo>
                      <a:lnTo>
                        <a:pt x="811530" y="486728"/>
                      </a:lnTo>
                      <a:lnTo>
                        <a:pt x="815340" y="511493"/>
                      </a:lnTo>
                      <a:lnTo>
                        <a:pt x="808672" y="523875"/>
                      </a:lnTo>
                      <a:close/>
                      <a:moveTo>
                        <a:pt x="140018" y="465773"/>
                      </a:moveTo>
                      <a:lnTo>
                        <a:pt x="127635" y="466725"/>
                      </a:lnTo>
                      <a:lnTo>
                        <a:pt x="123825" y="458153"/>
                      </a:lnTo>
                      <a:lnTo>
                        <a:pt x="131445" y="435293"/>
                      </a:lnTo>
                      <a:lnTo>
                        <a:pt x="141922" y="438150"/>
                      </a:lnTo>
                      <a:lnTo>
                        <a:pt x="143827" y="461963"/>
                      </a:lnTo>
                      <a:lnTo>
                        <a:pt x="140018" y="465773"/>
                      </a:lnTo>
                      <a:close/>
                      <a:moveTo>
                        <a:pt x="469582" y="414338"/>
                      </a:moveTo>
                      <a:lnTo>
                        <a:pt x="478155" y="430530"/>
                      </a:lnTo>
                      <a:lnTo>
                        <a:pt x="530543" y="454343"/>
                      </a:lnTo>
                      <a:lnTo>
                        <a:pt x="557213" y="457200"/>
                      </a:lnTo>
                      <a:lnTo>
                        <a:pt x="573405" y="481965"/>
                      </a:lnTo>
                      <a:lnTo>
                        <a:pt x="571500" y="487680"/>
                      </a:lnTo>
                      <a:lnTo>
                        <a:pt x="585788" y="523875"/>
                      </a:lnTo>
                      <a:lnTo>
                        <a:pt x="596265" y="532448"/>
                      </a:lnTo>
                      <a:lnTo>
                        <a:pt x="621982" y="535305"/>
                      </a:lnTo>
                      <a:lnTo>
                        <a:pt x="625793" y="553403"/>
                      </a:lnTo>
                      <a:lnTo>
                        <a:pt x="617220" y="561023"/>
                      </a:lnTo>
                      <a:lnTo>
                        <a:pt x="599122" y="554355"/>
                      </a:lnTo>
                      <a:lnTo>
                        <a:pt x="579120" y="539115"/>
                      </a:lnTo>
                      <a:lnTo>
                        <a:pt x="575310" y="526733"/>
                      </a:lnTo>
                      <a:lnTo>
                        <a:pt x="554355" y="499110"/>
                      </a:lnTo>
                      <a:lnTo>
                        <a:pt x="520065" y="497205"/>
                      </a:lnTo>
                      <a:lnTo>
                        <a:pt x="505777" y="490538"/>
                      </a:lnTo>
                      <a:lnTo>
                        <a:pt x="500063" y="474345"/>
                      </a:lnTo>
                      <a:lnTo>
                        <a:pt x="485775" y="465773"/>
                      </a:lnTo>
                      <a:lnTo>
                        <a:pt x="466725" y="447675"/>
                      </a:lnTo>
                      <a:lnTo>
                        <a:pt x="452438" y="437198"/>
                      </a:lnTo>
                      <a:lnTo>
                        <a:pt x="423863" y="426720"/>
                      </a:lnTo>
                      <a:lnTo>
                        <a:pt x="418147" y="420053"/>
                      </a:lnTo>
                      <a:lnTo>
                        <a:pt x="436245" y="407670"/>
                      </a:lnTo>
                      <a:lnTo>
                        <a:pt x="456247" y="402908"/>
                      </a:lnTo>
                      <a:lnTo>
                        <a:pt x="469582" y="414338"/>
                      </a:lnTo>
                      <a:close/>
                      <a:moveTo>
                        <a:pt x="830580" y="359093"/>
                      </a:moveTo>
                      <a:lnTo>
                        <a:pt x="829627" y="367665"/>
                      </a:lnTo>
                      <a:lnTo>
                        <a:pt x="847725" y="381953"/>
                      </a:lnTo>
                      <a:lnTo>
                        <a:pt x="854393" y="391478"/>
                      </a:lnTo>
                      <a:lnTo>
                        <a:pt x="842963" y="411480"/>
                      </a:lnTo>
                      <a:lnTo>
                        <a:pt x="804863" y="403860"/>
                      </a:lnTo>
                      <a:lnTo>
                        <a:pt x="797243" y="396240"/>
                      </a:lnTo>
                      <a:lnTo>
                        <a:pt x="812482" y="383858"/>
                      </a:lnTo>
                      <a:lnTo>
                        <a:pt x="803910" y="379095"/>
                      </a:lnTo>
                      <a:lnTo>
                        <a:pt x="792480" y="393383"/>
                      </a:lnTo>
                      <a:lnTo>
                        <a:pt x="771525" y="386715"/>
                      </a:lnTo>
                      <a:lnTo>
                        <a:pt x="762952" y="378143"/>
                      </a:lnTo>
                      <a:lnTo>
                        <a:pt x="769620" y="364808"/>
                      </a:lnTo>
                      <a:lnTo>
                        <a:pt x="783907" y="365760"/>
                      </a:lnTo>
                      <a:lnTo>
                        <a:pt x="800100" y="358140"/>
                      </a:lnTo>
                      <a:lnTo>
                        <a:pt x="800100" y="352425"/>
                      </a:lnTo>
                      <a:lnTo>
                        <a:pt x="822007" y="350520"/>
                      </a:lnTo>
                      <a:lnTo>
                        <a:pt x="830580" y="359093"/>
                      </a:lnTo>
                      <a:close/>
                      <a:moveTo>
                        <a:pt x="56197" y="343853"/>
                      </a:moveTo>
                      <a:lnTo>
                        <a:pt x="43815" y="346710"/>
                      </a:lnTo>
                      <a:lnTo>
                        <a:pt x="32385" y="339090"/>
                      </a:lnTo>
                      <a:lnTo>
                        <a:pt x="20955" y="320993"/>
                      </a:lnTo>
                      <a:lnTo>
                        <a:pt x="0" y="300038"/>
                      </a:lnTo>
                      <a:lnTo>
                        <a:pt x="6668" y="289560"/>
                      </a:lnTo>
                      <a:lnTo>
                        <a:pt x="21907" y="285750"/>
                      </a:lnTo>
                      <a:lnTo>
                        <a:pt x="35243" y="297180"/>
                      </a:lnTo>
                      <a:lnTo>
                        <a:pt x="24765" y="308610"/>
                      </a:lnTo>
                      <a:lnTo>
                        <a:pt x="32385" y="315278"/>
                      </a:lnTo>
                      <a:lnTo>
                        <a:pt x="40957" y="338138"/>
                      </a:lnTo>
                      <a:lnTo>
                        <a:pt x="56197" y="343853"/>
                      </a:lnTo>
                      <a:close/>
                      <a:moveTo>
                        <a:pt x="701993" y="261938"/>
                      </a:moveTo>
                      <a:lnTo>
                        <a:pt x="695325" y="275273"/>
                      </a:lnTo>
                      <a:lnTo>
                        <a:pt x="694372" y="287655"/>
                      </a:lnTo>
                      <a:lnTo>
                        <a:pt x="658177" y="280988"/>
                      </a:lnTo>
                      <a:lnTo>
                        <a:pt x="655320" y="259080"/>
                      </a:lnTo>
                      <a:lnTo>
                        <a:pt x="676275" y="258128"/>
                      </a:lnTo>
                      <a:lnTo>
                        <a:pt x="683895" y="265748"/>
                      </a:lnTo>
                      <a:lnTo>
                        <a:pt x="693420" y="257175"/>
                      </a:lnTo>
                      <a:lnTo>
                        <a:pt x="701993" y="261938"/>
                      </a:lnTo>
                      <a:close/>
                      <a:moveTo>
                        <a:pt x="724852" y="196215"/>
                      </a:moveTo>
                      <a:lnTo>
                        <a:pt x="711518" y="200025"/>
                      </a:lnTo>
                      <a:lnTo>
                        <a:pt x="695325" y="187643"/>
                      </a:lnTo>
                      <a:lnTo>
                        <a:pt x="708660" y="182880"/>
                      </a:lnTo>
                      <a:lnTo>
                        <a:pt x="724852" y="196215"/>
                      </a:lnTo>
                      <a:close/>
                      <a:moveTo>
                        <a:pt x="611505" y="167640"/>
                      </a:moveTo>
                      <a:lnTo>
                        <a:pt x="596265" y="173355"/>
                      </a:lnTo>
                      <a:lnTo>
                        <a:pt x="579120" y="162878"/>
                      </a:lnTo>
                      <a:lnTo>
                        <a:pt x="589597" y="140970"/>
                      </a:lnTo>
                      <a:lnTo>
                        <a:pt x="601980" y="141923"/>
                      </a:lnTo>
                      <a:lnTo>
                        <a:pt x="611505" y="154305"/>
                      </a:lnTo>
                      <a:lnTo>
                        <a:pt x="611505" y="167640"/>
                      </a:lnTo>
                      <a:close/>
                      <a:moveTo>
                        <a:pt x="762952" y="151448"/>
                      </a:moveTo>
                      <a:lnTo>
                        <a:pt x="758190" y="144780"/>
                      </a:lnTo>
                      <a:lnTo>
                        <a:pt x="738188" y="133350"/>
                      </a:lnTo>
                      <a:lnTo>
                        <a:pt x="694372" y="127635"/>
                      </a:lnTo>
                      <a:lnTo>
                        <a:pt x="672465" y="119063"/>
                      </a:lnTo>
                      <a:lnTo>
                        <a:pt x="663893" y="120968"/>
                      </a:lnTo>
                      <a:lnTo>
                        <a:pt x="644843" y="111443"/>
                      </a:lnTo>
                      <a:lnTo>
                        <a:pt x="633413" y="115253"/>
                      </a:lnTo>
                      <a:lnTo>
                        <a:pt x="609600" y="131445"/>
                      </a:lnTo>
                      <a:lnTo>
                        <a:pt x="595313" y="129540"/>
                      </a:lnTo>
                      <a:lnTo>
                        <a:pt x="580072" y="120015"/>
                      </a:lnTo>
                      <a:lnTo>
                        <a:pt x="559118" y="123825"/>
                      </a:lnTo>
                      <a:lnTo>
                        <a:pt x="542925" y="141923"/>
                      </a:lnTo>
                      <a:lnTo>
                        <a:pt x="525780" y="151448"/>
                      </a:lnTo>
                      <a:lnTo>
                        <a:pt x="508635" y="147638"/>
                      </a:lnTo>
                      <a:lnTo>
                        <a:pt x="486727" y="147638"/>
                      </a:lnTo>
                      <a:lnTo>
                        <a:pt x="484822" y="158115"/>
                      </a:lnTo>
                      <a:lnTo>
                        <a:pt x="503872" y="178118"/>
                      </a:lnTo>
                      <a:lnTo>
                        <a:pt x="499110" y="187643"/>
                      </a:lnTo>
                      <a:lnTo>
                        <a:pt x="503872" y="197168"/>
                      </a:lnTo>
                      <a:lnTo>
                        <a:pt x="523875" y="198120"/>
                      </a:lnTo>
                      <a:lnTo>
                        <a:pt x="547688" y="210503"/>
                      </a:lnTo>
                      <a:lnTo>
                        <a:pt x="541020" y="217170"/>
                      </a:lnTo>
                      <a:lnTo>
                        <a:pt x="510540" y="205740"/>
                      </a:lnTo>
                      <a:lnTo>
                        <a:pt x="499110" y="204788"/>
                      </a:lnTo>
                      <a:lnTo>
                        <a:pt x="487680" y="216218"/>
                      </a:lnTo>
                      <a:lnTo>
                        <a:pt x="521018" y="241935"/>
                      </a:lnTo>
                      <a:lnTo>
                        <a:pt x="525780" y="255270"/>
                      </a:lnTo>
                      <a:lnTo>
                        <a:pt x="520065" y="263843"/>
                      </a:lnTo>
                      <a:lnTo>
                        <a:pt x="505777" y="256223"/>
                      </a:lnTo>
                      <a:lnTo>
                        <a:pt x="481965" y="225743"/>
                      </a:lnTo>
                      <a:lnTo>
                        <a:pt x="452438" y="220028"/>
                      </a:lnTo>
                      <a:lnTo>
                        <a:pt x="448627" y="225743"/>
                      </a:lnTo>
                      <a:lnTo>
                        <a:pt x="460057" y="248603"/>
                      </a:lnTo>
                      <a:lnTo>
                        <a:pt x="487680" y="264795"/>
                      </a:lnTo>
                      <a:lnTo>
                        <a:pt x="481965" y="270510"/>
                      </a:lnTo>
                      <a:lnTo>
                        <a:pt x="453390" y="260985"/>
                      </a:lnTo>
                      <a:lnTo>
                        <a:pt x="442913" y="245745"/>
                      </a:lnTo>
                      <a:lnTo>
                        <a:pt x="439102" y="226695"/>
                      </a:lnTo>
                      <a:lnTo>
                        <a:pt x="386715" y="200025"/>
                      </a:lnTo>
                      <a:lnTo>
                        <a:pt x="373380" y="173355"/>
                      </a:lnTo>
                      <a:lnTo>
                        <a:pt x="352425" y="185738"/>
                      </a:lnTo>
                      <a:lnTo>
                        <a:pt x="356235" y="204788"/>
                      </a:lnTo>
                      <a:lnTo>
                        <a:pt x="350520" y="240983"/>
                      </a:lnTo>
                      <a:lnTo>
                        <a:pt x="354330" y="253365"/>
                      </a:lnTo>
                      <a:lnTo>
                        <a:pt x="387668" y="288608"/>
                      </a:lnTo>
                      <a:lnTo>
                        <a:pt x="400050" y="314325"/>
                      </a:lnTo>
                      <a:lnTo>
                        <a:pt x="424815" y="334328"/>
                      </a:lnTo>
                      <a:lnTo>
                        <a:pt x="449580" y="364808"/>
                      </a:lnTo>
                      <a:lnTo>
                        <a:pt x="456247" y="381953"/>
                      </a:lnTo>
                      <a:lnTo>
                        <a:pt x="443865" y="392430"/>
                      </a:lnTo>
                      <a:lnTo>
                        <a:pt x="431482" y="387668"/>
                      </a:lnTo>
                      <a:lnTo>
                        <a:pt x="434340" y="369570"/>
                      </a:lnTo>
                      <a:lnTo>
                        <a:pt x="413385" y="358140"/>
                      </a:lnTo>
                      <a:lnTo>
                        <a:pt x="395288" y="369570"/>
                      </a:lnTo>
                      <a:lnTo>
                        <a:pt x="409575" y="391478"/>
                      </a:lnTo>
                      <a:lnTo>
                        <a:pt x="414338" y="402908"/>
                      </a:lnTo>
                      <a:lnTo>
                        <a:pt x="410527" y="415290"/>
                      </a:lnTo>
                      <a:lnTo>
                        <a:pt x="395288" y="422910"/>
                      </a:lnTo>
                      <a:lnTo>
                        <a:pt x="370522" y="423863"/>
                      </a:lnTo>
                      <a:lnTo>
                        <a:pt x="393382" y="437198"/>
                      </a:lnTo>
                      <a:lnTo>
                        <a:pt x="424815" y="446723"/>
                      </a:lnTo>
                      <a:lnTo>
                        <a:pt x="440055" y="457200"/>
                      </a:lnTo>
                      <a:lnTo>
                        <a:pt x="454343" y="458153"/>
                      </a:lnTo>
                      <a:lnTo>
                        <a:pt x="470535" y="478155"/>
                      </a:lnTo>
                      <a:lnTo>
                        <a:pt x="495300" y="483870"/>
                      </a:lnTo>
                      <a:lnTo>
                        <a:pt x="511493" y="503873"/>
                      </a:lnTo>
                      <a:lnTo>
                        <a:pt x="530543" y="508635"/>
                      </a:lnTo>
                      <a:lnTo>
                        <a:pt x="546735" y="516255"/>
                      </a:lnTo>
                      <a:lnTo>
                        <a:pt x="556260" y="536258"/>
                      </a:lnTo>
                      <a:lnTo>
                        <a:pt x="559118" y="563880"/>
                      </a:lnTo>
                      <a:lnTo>
                        <a:pt x="564832" y="583883"/>
                      </a:lnTo>
                      <a:lnTo>
                        <a:pt x="565785" y="600075"/>
                      </a:lnTo>
                      <a:lnTo>
                        <a:pt x="555307" y="604838"/>
                      </a:lnTo>
                      <a:lnTo>
                        <a:pt x="542925" y="589598"/>
                      </a:lnTo>
                      <a:lnTo>
                        <a:pt x="502920" y="555308"/>
                      </a:lnTo>
                      <a:lnTo>
                        <a:pt x="493395" y="551498"/>
                      </a:lnTo>
                      <a:lnTo>
                        <a:pt x="483870" y="558165"/>
                      </a:lnTo>
                      <a:lnTo>
                        <a:pt x="456247" y="562928"/>
                      </a:lnTo>
                      <a:lnTo>
                        <a:pt x="438150" y="575310"/>
                      </a:lnTo>
                      <a:lnTo>
                        <a:pt x="452438" y="587693"/>
                      </a:lnTo>
                      <a:lnTo>
                        <a:pt x="453390" y="599123"/>
                      </a:lnTo>
                      <a:lnTo>
                        <a:pt x="461010" y="613410"/>
                      </a:lnTo>
                      <a:lnTo>
                        <a:pt x="480060" y="617220"/>
                      </a:lnTo>
                      <a:lnTo>
                        <a:pt x="499110" y="640080"/>
                      </a:lnTo>
                      <a:lnTo>
                        <a:pt x="470535" y="649605"/>
                      </a:lnTo>
                      <a:lnTo>
                        <a:pt x="460057" y="656273"/>
                      </a:lnTo>
                      <a:lnTo>
                        <a:pt x="452438" y="651510"/>
                      </a:lnTo>
                      <a:lnTo>
                        <a:pt x="450532" y="640080"/>
                      </a:lnTo>
                      <a:lnTo>
                        <a:pt x="409575" y="619125"/>
                      </a:lnTo>
                      <a:lnTo>
                        <a:pt x="403860" y="624840"/>
                      </a:lnTo>
                      <a:lnTo>
                        <a:pt x="410527" y="647700"/>
                      </a:lnTo>
                      <a:lnTo>
                        <a:pt x="422910" y="662940"/>
                      </a:lnTo>
                      <a:lnTo>
                        <a:pt x="443865" y="703898"/>
                      </a:lnTo>
                      <a:lnTo>
                        <a:pt x="456247" y="739140"/>
                      </a:lnTo>
                      <a:lnTo>
                        <a:pt x="454343" y="759143"/>
                      </a:lnTo>
                      <a:lnTo>
                        <a:pt x="463868" y="773430"/>
                      </a:lnTo>
                      <a:lnTo>
                        <a:pt x="464820" y="787718"/>
                      </a:lnTo>
                      <a:lnTo>
                        <a:pt x="448627" y="776288"/>
                      </a:lnTo>
                      <a:lnTo>
                        <a:pt x="427672" y="752475"/>
                      </a:lnTo>
                      <a:lnTo>
                        <a:pt x="420052" y="738188"/>
                      </a:lnTo>
                      <a:lnTo>
                        <a:pt x="399097" y="739140"/>
                      </a:lnTo>
                      <a:lnTo>
                        <a:pt x="386715" y="770573"/>
                      </a:lnTo>
                      <a:lnTo>
                        <a:pt x="388620" y="788670"/>
                      </a:lnTo>
                      <a:lnTo>
                        <a:pt x="373380" y="778193"/>
                      </a:lnTo>
                      <a:lnTo>
                        <a:pt x="371475" y="750570"/>
                      </a:lnTo>
                      <a:lnTo>
                        <a:pt x="351472" y="723900"/>
                      </a:lnTo>
                      <a:lnTo>
                        <a:pt x="342900" y="720090"/>
                      </a:lnTo>
                      <a:lnTo>
                        <a:pt x="330518" y="701993"/>
                      </a:lnTo>
                      <a:lnTo>
                        <a:pt x="316230" y="707708"/>
                      </a:lnTo>
                      <a:lnTo>
                        <a:pt x="315277" y="735330"/>
                      </a:lnTo>
                      <a:lnTo>
                        <a:pt x="311468" y="744855"/>
                      </a:lnTo>
                      <a:lnTo>
                        <a:pt x="290513" y="726758"/>
                      </a:lnTo>
                      <a:lnTo>
                        <a:pt x="268605" y="693420"/>
                      </a:lnTo>
                      <a:lnTo>
                        <a:pt x="266700" y="676275"/>
                      </a:lnTo>
                      <a:lnTo>
                        <a:pt x="280035" y="660083"/>
                      </a:lnTo>
                      <a:lnTo>
                        <a:pt x="277177" y="648653"/>
                      </a:lnTo>
                      <a:lnTo>
                        <a:pt x="261938" y="624840"/>
                      </a:lnTo>
                      <a:lnTo>
                        <a:pt x="241935" y="610553"/>
                      </a:lnTo>
                      <a:lnTo>
                        <a:pt x="230505" y="605790"/>
                      </a:lnTo>
                      <a:lnTo>
                        <a:pt x="223838" y="590550"/>
                      </a:lnTo>
                      <a:lnTo>
                        <a:pt x="204788" y="578168"/>
                      </a:lnTo>
                      <a:lnTo>
                        <a:pt x="204788" y="568643"/>
                      </a:lnTo>
                      <a:lnTo>
                        <a:pt x="223838" y="552450"/>
                      </a:lnTo>
                      <a:lnTo>
                        <a:pt x="233363" y="527685"/>
                      </a:lnTo>
                      <a:lnTo>
                        <a:pt x="251460" y="532448"/>
                      </a:lnTo>
                      <a:lnTo>
                        <a:pt x="264795" y="530543"/>
                      </a:lnTo>
                      <a:lnTo>
                        <a:pt x="283845" y="507683"/>
                      </a:lnTo>
                      <a:lnTo>
                        <a:pt x="299085" y="508635"/>
                      </a:lnTo>
                      <a:lnTo>
                        <a:pt x="336232" y="528638"/>
                      </a:lnTo>
                      <a:lnTo>
                        <a:pt x="376238" y="540068"/>
                      </a:lnTo>
                      <a:lnTo>
                        <a:pt x="396240" y="549593"/>
                      </a:lnTo>
                      <a:lnTo>
                        <a:pt x="407670" y="560070"/>
                      </a:lnTo>
                      <a:lnTo>
                        <a:pt x="422910" y="562928"/>
                      </a:lnTo>
                      <a:lnTo>
                        <a:pt x="418147" y="549593"/>
                      </a:lnTo>
                      <a:lnTo>
                        <a:pt x="425768" y="545783"/>
                      </a:lnTo>
                      <a:lnTo>
                        <a:pt x="445770" y="545783"/>
                      </a:lnTo>
                      <a:lnTo>
                        <a:pt x="447675" y="530543"/>
                      </a:lnTo>
                      <a:lnTo>
                        <a:pt x="428625" y="524828"/>
                      </a:lnTo>
                      <a:lnTo>
                        <a:pt x="421005" y="526733"/>
                      </a:lnTo>
                      <a:lnTo>
                        <a:pt x="398145" y="513398"/>
                      </a:lnTo>
                      <a:lnTo>
                        <a:pt x="376238" y="505778"/>
                      </a:lnTo>
                      <a:lnTo>
                        <a:pt x="355282" y="491490"/>
                      </a:lnTo>
                      <a:lnTo>
                        <a:pt x="343852" y="503873"/>
                      </a:lnTo>
                      <a:lnTo>
                        <a:pt x="332422" y="503873"/>
                      </a:lnTo>
                      <a:lnTo>
                        <a:pt x="300038" y="495300"/>
                      </a:lnTo>
                      <a:lnTo>
                        <a:pt x="280035" y="501968"/>
                      </a:lnTo>
                      <a:lnTo>
                        <a:pt x="240030" y="508635"/>
                      </a:lnTo>
                      <a:lnTo>
                        <a:pt x="229552" y="496253"/>
                      </a:lnTo>
                      <a:lnTo>
                        <a:pt x="204788" y="505778"/>
                      </a:lnTo>
                      <a:lnTo>
                        <a:pt x="195263" y="499110"/>
                      </a:lnTo>
                      <a:lnTo>
                        <a:pt x="177165" y="459105"/>
                      </a:lnTo>
                      <a:lnTo>
                        <a:pt x="160972" y="441008"/>
                      </a:lnTo>
                      <a:lnTo>
                        <a:pt x="149543" y="436245"/>
                      </a:lnTo>
                      <a:lnTo>
                        <a:pt x="147638" y="418148"/>
                      </a:lnTo>
                      <a:lnTo>
                        <a:pt x="161925" y="416243"/>
                      </a:lnTo>
                      <a:lnTo>
                        <a:pt x="184785" y="424815"/>
                      </a:lnTo>
                      <a:lnTo>
                        <a:pt x="193357" y="419100"/>
                      </a:lnTo>
                      <a:lnTo>
                        <a:pt x="187643" y="403860"/>
                      </a:lnTo>
                      <a:lnTo>
                        <a:pt x="163830" y="401955"/>
                      </a:lnTo>
                      <a:lnTo>
                        <a:pt x="146685" y="406718"/>
                      </a:lnTo>
                      <a:lnTo>
                        <a:pt x="120015" y="385763"/>
                      </a:lnTo>
                      <a:lnTo>
                        <a:pt x="105727" y="369570"/>
                      </a:lnTo>
                      <a:lnTo>
                        <a:pt x="84772" y="359093"/>
                      </a:lnTo>
                      <a:lnTo>
                        <a:pt x="68580" y="326708"/>
                      </a:lnTo>
                      <a:lnTo>
                        <a:pt x="43815" y="301943"/>
                      </a:lnTo>
                      <a:lnTo>
                        <a:pt x="69532" y="310515"/>
                      </a:lnTo>
                      <a:lnTo>
                        <a:pt x="76200" y="303848"/>
                      </a:lnTo>
                      <a:lnTo>
                        <a:pt x="79057" y="289560"/>
                      </a:lnTo>
                      <a:lnTo>
                        <a:pt x="87630" y="282893"/>
                      </a:lnTo>
                      <a:lnTo>
                        <a:pt x="78105" y="261938"/>
                      </a:lnTo>
                      <a:lnTo>
                        <a:pt x="94297" y="249555"/>
                      </a:lnTo>
                      <a:lnTo>
                        <a:pt x="112395" y="246698"/>
                      </a:lnTo>
                      <a:lnTo>
                        <a:pt x="118110" y="241935"/>
                      </a:lnTo>
                      <a:lnTo>
                        <a:pt x="120968" y="222885"/>
                      </a:lnTo>
                      <a:lnTo>
                        <a:pt x="132397" y="193358"/>
                      </a:lnTo>
                      <a:lnTo>
                        <a:pt x="148590" y="185738"/>
                      </a:lnTo>
                      <a:lnTo>
                        <a:pt x="156210" y="160973"/>
                      </a:lnTo>
                      <a:lnTo>
                        <a:pt x="145732" y="143828"/>
                      </a:lnTo>
                      <a:lnTo>
                        <a:pt x="145732" y="133350"/>
                      </a:lnTo>
                      <a:lnTo>
                        <a:pt x="189547" y="130493"/>
                      </a:lnTo>
                      <a:lnTo>
                        <a:pt x="198120" y="124778"/>
                      </a:lnTo>
                      <a:lnTo>
                        <a:pt x="220027" y="130493"/>
                      </a:lnTo>
                      <a:lnTo>
                        <a:pt x="242888" y="118110"/>
                      </a:lnTo>
                      <a:lnTo>
                        <a:pt x="259080" y="94298"/>
                      </a:lnTo>
                      <a:lnTo>
                        <a:pt x="266700" y="91440"/>
                      </a:lnTo>
                      <a:lnTo>
                        <a:pt x="295275" y="87630"/>
                      </a:lnTo>
                      <a:lnTo>
                        <a:pt x="326707" y="93345"/>
                      </a:lnTo>
                      <a:lnTo>
                        <a:pt x="354330" y="83820"/>
                      </a:lnTo>
                      <a:lnTo>
                        <a:pt x="356235" y="63818"/>
                      </a:lnTo>
                      <a:lnTo>
                        <a:pt x="375285" y="60960"/>
                      </a:lnTo>
                      <a:lnTo>
                        <a:pt x="403860" y="62865"/>
                      </a:lnTo>
                      <a:lnTo>
                        <a:pt x="413385" y="53340"/>
                      </a:lnTo>
                      <a:lnTo>
                        <a:pt x="436245" y="51435"/>
                      </a:lnTo>
                      <a:lnTo>
                        <a:pt x="461010" y="53340"/>
                      </a:lnTo>
                      <a:lnTo>
                        <a:pt x="489585" y="42863"/>
                      </a:lnTo>
                      <a:lnTo>
                        <a:pt x="507682" y="40958"/>
                      </a:lnTo>
                      <a:lnTo>
                        <a:pt x="509588" y="32385"/>
                      </a:lnTo>
                      <a:lnTo>
                        <a:pt x="549593" y="33338"/>
                      </a:lnTo>
                      <a:lnTo>
                        <a:pt x="564832" y="28575"/>
                      </a:lnTo>
                      <a:lnTo>
                        <a:pt x="576263" y="44768"/>
                      </a:lnTo>
                      <a:lnTo>
                        <a:pt x="599122" y="58103"/>
                      </a:lnTo>
                      <a:lnTo>
                        <a:pt x="607695" y="52388"/>
                      </a:lnTo>
                      <a:lnTo>
                        <a:pt x="642938" y="63818"/>
                      </a:lnTo>
                      <a:lnTo>
                        <a:pt x="659130" y="74295"/>
                      </a:lnTo>
                      <a:lnTo>
                        <a:pt x="691515" y="65723"/>
                      </a:lnTo>
                      <a:lnTo>
                        <a:pt x="721995" y="61913"/>
                      </a:lnTo>
                      <a:lnTo>
                        <a:pt x="739140" y="64770"/>
                      </a:lnTo>
                      <a:lnTo>
                        <a:pt x="762952" y="53340"/>
                      </a:lnTo>
                      <a:lnTo>
                        <a:pt x="764857" y="45720"/>
                      </a:lnTo>
                      <a:lnTo>
                        <a:pt x="756285" y="20003"/>
                      </a:lnTo>
                      <a:lnTo>
                        <a:pt x="749618" y="10478"/>
                      </a:lnTo>
                      <a:lnTo>
                        <a:pt x="764857" y="0"/>
                      </a:lnTo>
                      <a:lnTo>
                        <a:pt x="780097" y="4763"/>
                      </a:lnTo>
                      <a:lnTo>
                        <a:pt x="791527" y="7620"/>
                      </a:lnTo>
                      <a:lnTo>
                        <a:pt x="813435" y="21908"/>
                      </a:lnTo>
                      <a:lnTo>
                        <a:pt x="822007" y="51435"/>
                      </a:lnTo>
                      <a:lnTo>
                        <a:pt x="789622" y="75248"/>
                      </a:lnTo>
                      <a:lnTo>
                        <a:pt x="794385" y="117158"/>
                      </a:lnTo>
                      <a:lnTo>
                        <a:pt x="770572" y="147638"/>
                      </a:lnTo>
                      <a:lnTo>
                        <a:pt x="762952" y="151448"/>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08" name="Croatia" descr="{&quot;Key&quot;:&quot;croatia&quot;,&quot;Name&quot;:&quot;Croatia&quot;,&quot;Value&quot;:1.0,&quot;Formula&quot;:&quot;&quot;,&quot;Text&quot;:&quot;&quot;,&quot;OfficeApplication&quot;:1,&quot;HasValue&quot;:true}">
                  <a:extLst>
                    <a:ext uri="{FF2B5EF4-FFF2-40B4-BE49-F238E27FC236}">
                      <a16:creationId xmlns:a16="http://schemas.microsoft.com/office/drawing/2014/main" id="{1FD4DD98-3307-295B-F54E-32D03CCC6774}"/>
                    </a:ext>
                  </a:extLst>
                </p:cNvPr>
                <p:cNvSpPr/>
                <p:nvPr/>
              </p:nvSpPr>
              <p:spPr>
                <a:xfrm>
                  <a:off x="6756082" y="4640989"/>
                  <a:ext cx="697230" cy="603885"/>
                </a:xfrm>
                <a:custGeom>
                  <a:avLst/>
                  <a:gdLst>
                    <a:gd name="connsiteX0" fmla="*/ 399098 w 697230"/>
                    <a:gd name="connsiteY0" fmla="*/ 521018 h 603885"/>
                    <a:gd name="connsiteX1" fmla="*/ 421005 w 697230"/>
                    <a:gd name="connsiteY1" fmla="*/ 524827 h 603885"/>
                    <a:gd name="connsiteX2" fmla="*/ 410528 w 697230"/>
                    <a:gd name="connsiteY2" fmla="*/ 533400 h 603885"/>
                    <a:gd name="connsiteX3" fmla="*/ 399098 w 697230"/>
                    <a:gd name="connsiteY3" fmla="*/ 521018 h 603885"/>
                    <a:gd name="connsiteX4" fmla="*/ 521970 w 697230"/>
                    <a:gd name="connsiteY4" fmla="*/ 535305 h 603885"/>
                    <a:gd name="connsiteX5" fmla="*/ 537210 w 697230"/>
                    <a:gd name="connsiteY5" fmla="*/ 534352 h 603885"/>
                    <a:gd name="connsiteX6" fmla="*/ 542925 w 697230"/>
                    <a:gd name="connsiteY6" fmla="*/ 542925 h 603885"/>
                    <a:gd name="connsiteX7" fmla="*/ 601980 w 697230"/>
                    <a:gd name="connsiteY7" fmla="*/ 579120 h 603885"/>
                    <a:gd name="connsiteX8" fmla="*/ 618173 w 697230"/>
                    <a:gd name="connsiteY8" fmla="*/ 585788 h 603885"/>
                    <a:gd name="connsiteX9" fmla="*/ 629603 w 697230"/>
                    <a:gd name="connsiteY9" fmla="*/ 603885 h 603885"/>
                    <a:gd name="connsiteX10" fmla="*/ 583882 w 697230"/>
                    <a:gd name="connsiteY10" fmla="*/ 574357 h 603885"/>
                    <a:gd name="connsiteX11" fmla="*/ 541973 w 697230"/>
                    <a:gd name="connsiteY11" fmla="*/ 550545 h 603885"/>
                    <a:gd name="connsiteX12" fmla="*/ 512445 w 697230"/>
                    <a:gd name="connsiteY12" fmla="*/ 543877 h 603885"/>
                    <a:gd name="connsiteX13" fmla="*/ 471488 w 697230"/>
                    <a:gd name="connsiteY13" fmla="*/ 524827 h 603885"/>
                    <a:gd name="connsiteX14" fmla="*/ 466725 w 697230"/>
                    <a:gd name="connsiteY14" fmla="*/ 516255 h 603885"/>
                    <a:gd name="connsiteX15" fmla="*/ 521970 w 697230"/>
                    <a:gd name="connsiteY15" fmla="*/ 535305 h 603885"/>
                    <a:gd name="connsiteX16" fmla="*/ 461963 w 697230"/>
                    <a:gd name="connsiteY16" fmla="*/ 501968 h 603885"/>
                    <a:gd name="connsiteX17" fmla="*/ 454343 w 697230"/>
                    <a:gd name="connsiteY17" fmla="*/ 502920 h 603885"/>
                    <a:gd name="connsiteX18" fmla="*/ 401003 w 697230"/>
                    <a:gd name="connsiteY18" fmla="*/ 501968 h 603885"/>
                    <a:gd name="connsiteX19" fmla="*/ 384810 w 697230"/>
                    <a:gd name="connsiteY19" fmla="*/ 499110 h 603885"/>
                    <a:gd name="connsiteX20" fmla="*/ 380048 w 697230"/>
                    <a:gd name="connsiteY20" fmla="*/ 486727 h 603885"/>
                    <a:gd name="connsiteX21" fmla="*/ 397193 w 697230"/>
                    <a:gd name="connsiteY21" fmla="*/ 488632 h 603885"/>
                    <a:gd name="connsiteX22" fmla="*/ 401955 w 697230"/>
                    <a:gd name="connsiteY22" fmla="*/ 494348 h 603885"/>
                    <a:gd name="connsiteX23" fmla="*/ 461963 w 697230"/>
                    <a:gd name="connsiteY23" fmla="*/ 501968 h 603885"/>
                    <a:gd name="connsiteX24" fmla="*/ 411480 w 697230"/>
                    <a:gd name="connsiteY24" fmla="*/ 480060 h 603885"/>
                    <a:gd name="connsiteX25" fmla="*/ 392430 w 697230"/>
                    <a:gd name="connsiteY25" fmla="*/ 481013 h 603885"/>
                    <a:gd name="connsiteX26" fmla="*/ 367665 w 697230"/>
                    <a:gd name="connsiteY26" fmla="*/ 473393 h 603885"/>
                    <a:gd name="connsiteX27" fmla="*/ 370523 w 697230"/>
                    <a:gd name="connsiteY27" fmla="*/ 462915 h 603885"/>
                    <a:gd name="connsiteX28" fmla="*/ 416243 w 697230"/>
                    <a:gd name="connsiteY28" fmla="*/ 468630 h 603885"/>
                    <a:gd name="connsiteX29" fmla="*/ 411480 w 697230"/>
                    <a:gd name="connsiteY29" fmla="*/ 480060 h 603885"/>
                    <a:gd name="connsiteX30" fmla="*/ 209550 w 697230"/>
                    <a:gd name="connsiteY30" fmla="*/ 322897 h 603885"/>
                    <a:gd name="connsiteX31" fmla="*/ 206693 w 697230"/>
                    <a:gd name="connsiteY31" fmla="*/ 326707 h 603885"/>
                    <a:gd name="connsiteX32" fmla="*/ 175260 w 697230"/>
                    <a:gd name="connsiteY32" fmla="*/ 300990 h 603885"/>
                    <a:gd name="connsiteX33" fmla="*/ 172403 w 697230"/>
                    <a:gd name="connsiteY33" fmla="*/ 282893 h 603885"/>
                    <a:gd name="connsiteX34" fmla="*/ 199073 w 697230"/>
                    <a:gd name="connsiteY34" fmla="*/ 308610 h 603885"/>
                    <a:gd name="connsiteX35" fmla="*/ 209550 w 697230"/>
                    <a:gd name="connsiteY35" fmla="*/ 322897 h 603885"/>
                    <a:gd name="connsiteX36" fmla="*/ 162878 w 697230"/>
                    <a:gd name="connsiteY36" fmla="*/ 260985 h 603885"/>
                    <a:gd name="connsiteX37" fmla="*/ 144780 w 697230"/>
                    <a:gd name="connsiteY37" fmla="*/ 259080 h 603885"/>
                    <a:gd name="connsiteX38" fmla="*/ 152400 w 697230"/>
                    <a:gd name="connsiteY38" fmla="*/ 248603 h 603885"/>
                    <a:gd name="connsiteX39" fmla="*/ 162878 w 697230"/>
                    <a:gd name="connsiteY39" fmla="*/ 260985 h 603885"/>
                    <a:gd name="connsiteX40" fmla="*/ 122873 w 697230"/>
                    <a:gd name="connsiteY40" fmla="*/ 275272 h 603885"/>
                    <a:gd name="connsiteX41" fmla="*/ 114300 w 697230"/>
                    <a:gd name="connsiteY41" fmla="*/ 274320 h 603885"/>
                    <a:gd name="connsiteX42" fmla="*/ 98107 w 697230"/>
                    <a:gd name="connsiteY42" fmla="*/ 234315 h 603885"/>
                    <a:gd name="connsiteX43" fmla="*/ 101918 w 697230"/>
                    <a:gd name="connsiteY43" fmla="*/ 222885 h 603885"/>
                    <a:gd name="connsiteX44" fmla="*/ 94298 w 697230"/>
                    <a:gd name="connsiteY44" fmla="*/ 203835 h 603885"/>
                    <a:gd name="connsiteX45" fmla="*/ 102870 w 697230"/>
                    <a:gd name="connsiteY45" fmla="*/ 200978 h 603885"/>
                    <a:gd name="connsiteX46" fmla="*/ 107632 w 697230"/>
                    <a:gd name="connsiteY46" fmla="*/ 220980 h 603885"/>
                    <a:gd name="connsiteX47" fmla="*/ 117157 w 697230"/>
                    <a:gd name="connsiteY47" fmla="*/ 229553 h 603885"/>
                    <a:gd name="connsiteX48" fmla="*/ 116205 w 697230"/>
                    <a:gd name="connsiteY48" fmla="*/ 244793 h 603885"/>
                    <a:gd name="connsiteX49" fmla="*/ 122873 w 697230"/>
                    <a:gd name="connsiteY49" fmla="*/ 275272 h 603885"/>
                    <a:gd name="connsiteX50" fmla="*/ 158115 w 697230"/>
                    <a:gd name="connsiteY50" fmla="*/ 228600 h 603885"/>
                    <a:gd name="connsiteX51" fmla="*/ 143828 w 697230"/>
                    <a:gd name="connsiteY51" fmla="*/ 231457 h 603885"/>
                    <a:gd name="connsiteX52" fmla="*/ 134303 w 697230"/>
                    <a:gd name="connsiteY52" fmla="*/ 221932 h 603885"/>
                    <a:gd name="connsiteX53" fmla="*/ 121920 w 697230"/>
                    <a:gd name="connsiteY53" fmla="*/ 220028 h 603885"/>
                    <a:gd name="connsiteX54" fmla="*/ 112395 w 697230"/>
                    <a:gd name="connsiteY54" fmla="*/ 210503 h 603885"/>
                    <a:gd name="connsiteX55" fmla="*/ 121920 w 697230"/>
                    <a:gd name="connsiteY55" fmla="*/ 203835 h 603885"/>
                    <a:gd name="connsiteX56" fmla="*/ 126682 w 697230"/>
                    <a:gd name="connsiteY56" fmla="*/ 192405 h 603885"/>
                    <a:gd name="connsiteX57" fmla="*/ 158115 w 697230"/>
                    <a:gd name="connsiteY57" fmla="*/ 228600 h 603885"/>
                    <a:gd name="connsiteX58" fmla="*/ 629603 w 697230"/>
                    <a:gd name="connsiteY58" fmla="*/ 88582 h 603885"/>
                    <a:gd name="connsiteX59" fmla="*/ 622935 w 697230"/>
                    <a:gd name="connsiteY59" fmla="*/ 102870 h 603885"/>
                    <a:gd name="connsiteX60" fmla="*/ 638175 w 697230"/>
                    <a:gd name="connsiteY60" fmla="*/ 128588 h 603885"/>
                    <a:gd name="connsiteX61" fmla="*/ 640080 w 697230"/>
                    <a:gd name="connsiteY61" fmla="*/ 143828 h 603885"/>
                    <a:gd name="connsiteX62" fmla="*/ 652463 w 697230"/>
                    <a:gd name="connsiteY62" fmla="*/ 147638 h 603885"/>
                    <a:gd name="connsiteX63" fmla="*/ 648653 w 697230"/>
                    <a:gd name="connsiteY63" fmla="*/ 166688 h 603885"/>
                    <a:gd name="connsiteX64" fmla="*/ 660082 w 697230"/>
                    <a:gd name="connsiteY64" fmla="*/ 176213 h 603885"/>
                    <a:gd name="connsiteX65" fmla="*/ 688657 w 697230"/>
                    <a:gd name="connsiteY65" fmla="*/ 185738 h 603885"/>
                    <a:gd name="connsiteX66" fmla="*/ 697230 w 697230"/>
                    <a:gd name="connsiteY66" fmla="*/ 200025 h 603885"/>
                    <a:gd name="connsiteX67" fmla="*/ 675323 w 697230"/>
                    <a:gd name="connsiteY67" fmla="*/ 200978 h 603885"/>
                    <a:gd name="connsiteX68" fmla="*/ 659130 w 697230"/>
                    <a:gd name="connsiteY68" fmla="*/ 204788 h 603885"/>
                    <a:gd name="connsiteX69" fmla="*/ 665798 w 697230"/>
                    <a:gd name="connsiteY69" fmla="*/ 229553 h 603885"/>
                    <a:gd name="connsiteX70" fmla="*/ 656273 w 697230"/>
                    <a:gd name="connsiteY70" fmla="*/ 244793 h 603885"/>
                    <a:gd name="connsiteX71" fmla="*/ 635318 w 697230"/>
                    <a:gd name="connsiteY71" fmla="*/ 242888 h 603885"/>
                    <a:gd name="connsiteX72" fmla="*/ 622935 w 697230"/>
                    <a:gd name="connsiteY72" fmla="*/ 221932 h 603885"/>
                    <a:gd name="connsiteX73" fmla="*/ 612457 w 697230"/>
                    <a:gd name="connsiteY73" fmla="*/ 214313 h 603885"/>
                    <a:gd name="connsiteX74" fmla="*/ 591503 w 697230"/>
                    <a:gd name="connsiteY74" fmla="*/ 212407 h 603885"/>
                    <a:gd name="connsiteX75" fmla="*/ 566738 w 697230"/>
                    <a:gd name="connsiteY75" fmla="*/ 205740 h 603885"/>
                    <a:gd name="connsiteX76" fmla="*/ 549593 w 697230"/>
                    <a:gd name="connsiteY76" fmla="*/ 207645 h 603885"/>
                    <a:gd name="connsiteX77" fmla="*/ 532448 w 697230"/>
                    <a:gd name="connsiteY77" fmla="*/ 204788 h 603885"/>
                    <a:gd name="connsiteX78" fmla="*/ 511493 w 697230"/>
                    <a:gd name="connsiteY78" fmla="*/ 214313 h 603885"/>
                    <a:gd name="connsiteX79" fmla="*/ 496253 w 697230"/>
                    <a:gd name="connsiteY79" fmla="*/ 201930 h 603885"/>
                    <a:gd name="connsiteX80" fmla="*/ 480060 w 697230"/>
                    <a:gd name="connsiteY80" fmla="*/ 207645 h 603885"/>
                    <a:gd name="connsiteX81" fmla="*/ 453390 w 697230"/>
                    <a:gd name="connsiteY81" fmla="*/ 200978 h 603885"/>
                    <a:gd name="connsiteX82" fmla="*/ 429578 w 697230"/>
                    <a:gd name="connsiteY82" fmla="*/ 200025 h 603885"/>
                    <a:gd name="connsiteX83" fmla="*/ 403860 w 697230"/>
                    <a:gd name="connsiteY83" fmla="*/ 184785 h 603885"/>
                    <a:gd name="connsiteX84" fmla="*/ 389573 w 697230"/>
                    <a:gd name="connsiteY84" fmla="*/ 196215 h 603885"/>
                    <a:gd name="connsiteX85" fmla="*/ 359093 w 697230"/>
                    <a:gd name="connsiteY85" fmla="*/ 193357 h 603885"/>
                    <a:gd name="connsiteX86" fmla="*/ 333375 w 697230"/>
                    <a:gd name="connsiteY86" fmla="*/ 223838 h 603885"/>
                    <a:gd name="connsiteX87" fmla="*/ 316230 w 697230"/>
                    <a:gd name="connsiteY87" fmla="*/ 214313 h 603885"/>
                    <a:gd name="connsiteX88" fmla="*/ 300038 w 697230"/>
                    <a:gd name="connsiteY88" fmla="*/ 197168 h 603885"/>
                    <a:gd name="connsiteX89" fmla="*/ 282893 w 697230"/>
                    <a:gd name="connsiteY89" fmla="*/ 193357 h 603885"/>
                    <a:gd name="connsiteX90" fmla="*/ 271463 w 697230"/>
                    <a:gd name="connsiteY90" fmla="*/ 199072 h 603885"/>
                    <a:gd name="connsiteX91" fmla="*/ 268605 w 697230"/>
                    <a:gd name="connsiteY91" fmla="*/ 246697 h 603885"/>
                    <a:gd name="connsiteX92" fmla="*/ 269557 w 697230"/>
                    <a:gd name="connsiteY92" fmla="*/ 260032 h 603885"/>
                    <a:gd name="connsiteX93" fmla="*/ 287655 w 697230"/>
                    <a:gd name="connsiteY93" fmla="*/ 272415 h 603885"/>
                    <a:gd name="connsiteX94" fmla="*/ 320040 w 697230"/>
                    <a:gd name="connsiteY94" fmla="*/ 302895 h 603885"/>
                    <a:gd name="connsiteX95" fmla="*/ 332423 w 697230"/>
                    <a:gd name="connsiteY95" fmla="*/ 340995 h 603885"/>
                    <a:gd name="connsiteX96" fmla="*/ 354330 w 697230"/>
                    <a:gd name="connsiteY96" fmla="*/ 363855 h 603885"/>
                    <a:gd name="connsiteX97" fmla="*/ 381000 w 697230"/>
                    <a:gd name="connsiteY97" fmla="*/ 385763 h 603885"/>
                    <a:gd name="connsiteX98" fmla="*/ 397193 w 697230"/>
                    <a:gd name="connsiteY98" fmla="*/ 404813 h 603885"/>
                    <a:gd name="connsiteX99" fmla="*/ 444818 w 697230"/>
                    <a:gd name="connsiteY99" fmla="*/ 443865 h 603885"/>
                    <a:gd name="connsiteX100" fmla="*/ 467678 w 697230"/>
                    <a:gd name="connsiteY100" fmla="*/ 454343 h 603885"/>
                    <a:gd name="connsiteX101" fmla="*/ 471488 w 697230"/>
                    <a:gd name="connsiteY101" fmla="*/ 475298 h 603885"/>
                    <a:gd name="connsiteX102" fmla="*/ 485775 w 697230"/>
                    <a:gd name="connsiteY102" fmla="*/ 490538 h 603885"/>
                    <a:gd name="connsiteX103" fmla="*/ 514350 w 697230"/>
                    <a:gd name="connsiteY103" fmla="*/ 514350 h 603885"/>
                    <a:gd name="connsiteX104" fmla="*/ 511493 w 697230"/>
                    <a:gd name="connsiteY104" fmla="*/ 529590 h 603885"/>
                    <a:gd name="connsiteX105" fmla="*/ 478155 w 697230"/>
                    <a:gd name="connsiteY105" fmla="*/ 502920 h 603885"/>
                    <a:gd name="connsiteX106" fmla="*/ 453390 w 697230"/>
                    <a:gd name="connsiteY106" fmla="*/ 488632 h 603885"/>
                    <a:gd name="connsiteX107" fmla="*/ 423863 w 697230"/>
                    <a:gd name="connsiteY107" fmla="*/ 461963 h 603885"/>
                    <a:gd name="connsiteX108" fmla="*/ 387668 w 697230"/>
                    <a:gd name="connsiteY108" fmla="*/ 451485 h 603885"/>
                    <a:gd name="connsiteX109" fmla="*/ 361950 w 697230"/>
                    <a:gd name="connsiteY109" fmla="*/ 440055 h 603885"/>
                    <a:gd name="connsiteX110" fmla="*/ 330518 w 697230"/>
                    <a:gd name="connsiteY110" fmla="*/ 445770 h 603885"/>
                    <a:gd name="connsiteX111" fmla="*/ 313373 w 697230"/>
                    <a:gd name="connsiteY111" fmla="*/ 443865 h 603885"/>
                    <a:gd name="connsiteX112" fmla="*/ 306705 w 697230"/>
                    <a:gd name="connsiteY112" fmla="*/ 422910 h 603885"/>
                    <a:gd name="connsiteX113" fmla="*/ 251460 w 697230"/>
                    <a:gd name="connsiteY113" fmla="*/ 385763 h 603885"/>
                    <a:gd name="connsiteX114" fmla="*/ 210503 w 697230"/>
                    <a:gd name="connsiteY114" fmla="*/ 347663 h 603885"/>
                    <a:gd name="connsiteX115" fmla="*/ 202882 w 697230"/>
                    <a:gd name="connsiteY115" fmla="*/ 335280 h 603885"/>
                    <a:gd name="connsiteX116" fmla="*/ 232410 w 697230"/>
                    <a:gd name="connsiteY116" fmla="*/ 323850 h 603885"/>
                    <a:gd name="connsiteX117" fmla="*/ 219075 w 697230"/>
                    <a:gd name="connsiteY117" fmla="*/ 316230 h 603885"/>
                    <a:gd name="connsiteX118" fmla="*/ 181928 w 697230"/>
                    <a:gd name="connsiteY118" fmla="*/ 283845 h 603885"/>
                    <a:gd name="connsiteX119" fmla="*/ 170498 w 697230"/>
                    <a:gd name="connsiteY119" fmla="*/ 268605 h 603885"/>
                    <a:gd name="connsiteX120" fmla="*/ 169545 w 697230"/>
                    <a:gd name="connsiteY120" fmla="*/ 229553 h 603885"/>
                    <a:gd name="connsiteX121" fmla="*/ 161925 w 697230"/>
                    <a:gd name="connsiteY121" fmla="*/ 213360 h 603885"/>
                    <a:gd name="connsiteX122" fmla="*/ 134303 w 697230"/>
                    <a:gd name="connsiteY122" fmla="*/ 192405 h 603885"/>
                    <a:gd name="connsiteX123" fmla="*/ 123825 w 697230"/>
                    <a:gd name="connsiteY123" fmla="*/ 181928 h 603885"/>
                    <a:gd name="connsiteX124" fmla="*/ 103823 w 697230"/>
                    <a:gd name="connsiteY124" fmla="*/ 175260 h 603885"/>
                    <a:gd name="connsiteX125" fmla="*/ 90488 w 697230"/>
                    <a:gd name="connsiteY125" fmla="*/ 183832 h 603885"/>
                    <a:gd name="connsiteX126" fmla="*/ 87630 w 697230"/>
                    <a:gd name="connsiteY126" fmla="*/ 201930 h 603885"/>
                    <a:gd name="connsiteX127" fmla="*/ 59055 w 697230"/>
                    <a:gd name="connsiteY127" fmla="*/ 249555 h 603885"/>
                    <a:gd name="connsiteX128" fmla="*/ 46673 w 697230"/>
                    <a:gd name="connsiteY128" fmla="*/ 249555 h 603885"/>
                    <a:gd name="connsiteX129" fmla="*/ 17145 w 697230"/>
                    <a:gd name="connsiteY129" fmla="*/ 209550 h 603885"/>
                    <a:gd name="connsiteX130" fmla="*/ 12382 w 697230"/>
                    <a:gd name="connsiteY130" fmla="*/ 191453 h 603885"/>
                    <a:gd name="connsiteX131" fmla="*/ 0 w 697230"/>
                    <a:gd name="connsiteY131" fmla="*/ 154305 h 603885"/>
                    <a:gd name="connsiteX132" fmla="*/ 6668 w 697230"/>
                    <a:gd name="connsiteY132" fmla="*/ 149543 h 603885"/>
                    <a:gd name="connsiteX133" fmla="*/ 11430 w 697230"/>
                    <a:gd name="connsiteY133" fmla="*/ 155257 h 603885"/>
                    <a:gd name="connsiteX134" fmla="*/ 42863 w 697230"/>
                    <a:gd name="connsiteY134" fmla="*/ 162878 h 603885"/>
                    <a:gd name="connsiteX135" fmla="*/ 56198 w 697230"/>
                    <a:gd name="connsiteY135" fmla="*/ 150495 h 603885"/>
                    <a:gd name="connsiteX136" fmla="*/ 66675 w 697230"/>
                    <a:gd name="connsiteY136" fmla="*/ 155257 h 603885"/>
                    <a:gd name="connsiteX137" fmla="*/ 100965 w 697230"/>
                    <a:gd name="connsiteY137" fmla="*/ 154305 h 603885"/>
                    <a:gd name="connsiteX138" fmla="*/ 106680 w 697230"/>
                    <a:gd name="connsiteY138" fmla="*/ 151447 h 603885"/>
                    <a:gd name="connsiteX139" fmla="*/ 118110 w 697230"/>
                    <a:gd name="connsiteY139" fmla="*/ 130493 h 603885"/>
                    <a:gd name="connsiteX140" fmla="*/ 142875 w 697230"/>
                    <a:gd name="connsiteY140" fmla="*/ 150495 h 603885"/>
                    <a:gd name="connsiteX141" fmla="*/ 157163 w 697230"/>
                    <a:gd name="connsiteY141" fmla="*/ 157163 h 603885"/>
                    <a:gd name="connsiteX142" fmla="*/ 169545 w 697230"/>
                    <a:gd name="connsiteY142" fmla="*/ 152400 h 603885"/>
                    <a:gd name="connsiteX143" fmla="*/ 188595 w 697230"/>
                    <a:gd name="connsiteY143" fmla="*/ 159068 h 603885"/>
                    <a:gd name="connsiteX144" fmla="*/ 203835 w 697230"/>
                    <a:gd name="connsiteY144" fmla="*/ 160972 h 603885"/>
                    <a:gd name="connsiteX145" fmla="*/ 215265 w 697230"/>
                    <a:gd name="connsiteY145" fmla="*/ 157163 h 603885"/>
                    <a:gd name="connsiteX146" fmla="*/ 207645 w 697230"/>
                    <a:gd name="connsiteY146" fmla="*/ 135255 h 603885"/>
                    <a:gd name="connsiteX147" fmla="*/ 214313 w 697230"/>
                    <a:gd name="connsiteY147" fmla="*/ 128588 h 603885"/>
                    <a:gd name="connsiteX148" fmla="*/ 204788 w 697230"/>
                    <a:gd name="connsiteY148" fmla="*/ 118110 h 603885"/>
                    <a:gd name="connsiteX149" fmla="*/ 224790 w 697230"/>
                    <a:gd name="connsiteY149" fmla="*/ 108585 h 603885"/>
                    <a:gd name="connsiteX150" fmla="*/ 244793 w 697230"/>
                    <a:gd name="connsiteY150" fmla="*/ 102870 h 603885"/>
                    <a:gd name="connsiteX151" fmla="*/ 248603 w 697230"/>
                    <a:gd name="connsiteY151" fmla="*/ 92393 h 603885"/>
                    <a:gd name="connsiteX152" fmla="*/ 246698 w 697230"/>
                    <a:gd name="connsiteY152" fmla="*/ 71438 h 603885"/>
                    <a:gd name="connsiteX153" fmla="*/ 238125 w 697230"/>
                    <a:gd name="connsiteY153" fmla="*/ 62865 h 603885"/>
                    <a:gd name="connsiteX154" fmla="*/ 241935 w 697230"/>
                    <a:gd name="connsiteY154" fmla="*/ 49530 h 603885"/>
                    <a:gd name="connsiteX155" fmla="*/ 283845 w 697230"/>
                    <a:gd name="connsiteY155" fmla="*/ 33338 h 603885"/>
                    <a:gd name="connsiteX156" fmla="*/ 290513 w 697230"/>
                    <a:gd name="connsiteY156" fmla="*/ 23813 h 603885"/>
                    <a:gd name="connsiteX157" fmla="*/ 309563 w 697230"/>
                    <a:gd name="connsiteY157" fmla="*/ 23813 h 603885"/>
                    <a:gd name="connsiteX158" fmla="*/ 309563 w 697230"/>
                    <a:gd name="connsiteY158" fmla="*/ 7620 h 603885"/>
                    <a:gd name="connsiteX159" fmla="*/ 318135 w 697230"/>
                    <a:gd name="connsiteY159" fmla="*/ 0 h 603885"/>
                    <a:gd name="connsiteX160" fmla="*/ 341948 w 697230"/>
                    <a:gd name="connsiteY160" fmla="*/ 5715 h 603885"/>
                    <a:gd name="connsiteX161" fmla="*/ 369570 w 697230"/>
                    <a:gd name="connsiteY161" fmla="*/ 17145 h 603885"/>
                    <a:gd name="connsiteX162" fmla="*/ 385763 w 697230"/>
                    <a:gd name="connsiteY162" fmla="*/ 28575 h 603885"/>
                    <a:gd name="connsiteX163" fmla="*/ 394335 w 697230"/>
                    <a:gd name="connsiteY163" fmla="*/ 40957 h 603885"/>
                    <a:gd name="connsiteX164" fmla="*/ 420053 w 697230"/>
                    <a:gd name="connsiteY164" fmla="*/ 58103 h 603885"/>
                    <a:gd name="connsiteX165" fmla="*/ 441007 w 697230"/>
                    <a:gd name="connsiteY165" fmla="*/ 79057 h 603885"/>
                    <a:gd name="connsiteX166" fmla="*/ 453390 w 697230"/>
                    <a:gd name="connsiteY166" fmla="*/ 85725 h 603885"/>
                    <a:gd name="connsiteX167" fmla="*/ 477203 w 697230"/>
                    <a:gd name="connsiteY167" fmla="*/ 91440 h 603885"/>
                    <a:gd name="connsiteX168" fmla="*/ 489585 w 697230"/>
                    <a:gd name="connsiteY168" fmla="*/ 103822 h 603885"/>
                    <a:gd name="connsiteX169" fmla="*/ 521018 w 697230"/>
                    <a:gd name="connsiteY169" fmla="*/ 112395 h 603885"/>
                    <a:gd name="connsiteX170" fmla="*/ 567690 w 697230"/>
                    <a:gd name="connsiteY170" fmla="*/ 114300 h 603885"/>
                    <a:gd name="connsiteX171" fmla="*/ 591503 w 697230"/>
                    <a:gd name="connsiteY171" fmla="*/ 105728 h 603885"/>
                    <a:gd name="connsiteX172" fmla="*/ 601980 w 697230"/>
                    <a:gd name="connsiteY172" fmla="*/ 92393 h 603885"/>
                    <a:gd name="connsiteX173" fmla="*/ 629603 w 697230"/>
                    <a:gd name="connsiteY173" fmla="*/ 88582 h 60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697230" h="603885">
                      <a:moveTo>
                        <a:pt x="399098" y="521018"/>
                      </a:moveTo>
                      <a:lnTo>
                        <a:pt x="421005" y="524827"/>
                      </a:lnTo>
                      <a:lnTo>
                        <a:pt x="410528" y="533400"/>
                      </a:lnTo>
                      <a:lnTo>
                        <a:pt x="399098" y="521018"/>
                      </a:lnTo>
                      <a:close/>
                      <a:moveTo>
                        <a:pt x="521970" y="535305"/>
                      </a:moveTo>
                      <a:lnTo>
                        <a:pt x="537210" y="534352"/>
                      </a:lnTo>
                      <a:lnTo>
                        <a:pt x="542925" y="542925"/>
                      </a:lnTo>
                      <a:lnTo>
                        <a:pt x="601980" y="579120"/>
                      </a:lnTo>
                      <a:lnTo>
                        <a:pt x="618173" y="585788"/>
                      </a:lnTo>
                      <a:lnTo>
                        <a:pt x="629603" y="603885"/>
                      </a:lnTo>
                      <a:lnTo>
                        <a:pt x="583882" y="574357"/>
                      </a:lnTo>
                      <a:lnTo>
                        <a:pt x="541973" y="550545"/>
                      </a:lnTo>
                      <a:lnTo>
                        <a:pt x="512445" y="543877"/>
                      </a:lnTo>
                      <a:lnTo>
                        <a:pt x="471488" y="524827"/>
                      </a:lnTo>
                      <a:lnTo>
                        <a:pt x="466725" y="516255"/>
                      </a:lnTo>
                      <a:lnTo>
                        <a:pt x="521970" y="535305"/>
                      </a:lnTo>
                      <a:close/>
                      <a:moveTo>
                        <a:pt x="461963" y="501968"/>
                      </a:moveTo>
                      <a:lnTo>
                        <a:pt x="454343" y="502920"/>
                      </a:lnTo>
                      <a:lnTo>
                        <a:pt x="401003" y="501968"/>
                      </a:lnTo>
                      <a:lnTo>
                        <a:pt x="384810" y="499110"/>
                      </a:lnTo>
                      <a:lnTo>
                        <a:pt x="380048" y="486727"/>
                      </a:lnTo>
                      <a:lnTo>
                        <a:pt x="397193" y="488632"/>
                      </a:lnTo>
                      <a:lnTo>
                        <a:pt x="401955" y="494348"/>
                      </a:lnTo>
                      <a:lnTo>
                        <a:pt x="461963" y="501968"/>
                      </a:lnTo>
                      <a:close/>
                      <a:moveTo>
                        <a:pt x="411480" y="480060"/>
                      </a:moveTo>
                      <a:lnTo>
                        <a:pt x="392430" y="481013"/>
                      </a:lnTo>
                      <a:lnTo>
                        <a:pt x="367665" y="473393"/>
                      </a:lnTo>
                      <a:lnTo>
                        <a:pt x="370523" y="462915"/>
                      </a:lnTo>
                      <a:lnTo>
                        <a:pt x="416243" y="468630"/>
                      </a:lnTo>
                      <a:lnTo>
                        <a:pt x="411480" y="480060"/>
                      </a:lnTo>
                      <a:close/>
                      <a:moveTo>
                        <a:pt x="209550" y="322897"/>
                      </a:moveTo>
                      <a:lnTo>
                        <a:pt x="206693" y="326707"/>
                      </a:lnTo>
                      <a:lnTo>
                        <a:pt x="175260" y="300990"/>
                      </a:lnTo>
                      <a:lnTo>
                        <a:pt x="172403" y="282893"/>
                      </a:lnTo>
                      <a:lnTo>
                        <a:pt x="199073" y="308610"/>
                      </a:lnTo>
                      <a:lnTo>
                        <a:pt x="209550" y="322897"/>
                      </a:lnTo>
                      <a:close/>
                      <a:moveTo>
                        <a:pt x="162878" y="260985"/>
                      </a:moveTo>
                      <a:lnTo>
                        <a:pt x="144780" y="259080"/>
                      </a:lnTo>
                      <a:lnTo>
                        <a:pt x="152400" y="248603"/>
                      </a:lnTo>
                      <a:lnTo>
                        <a:pt x="162878" y="260985"/>
                      </a:lnTo>
                      <a:close/>
                      <a:moveTo>
                        <a:pt x="122873" y="275272"/>
                      </a:moveTo>
                      <a:lnTo>
                        <a:pt x="114300" y="274320"/>
                      </a:lnTo>
                      <a:lnTo>
                        <a:pt x="98107" y="234315"/>
                      </a:lnTo>
                      <a:lnTo>
                        <a:pt x="101918" y="222885"/>
                      </a:lnTo>
                      <a:lnTo>
                        <a:pt x="94298" y="203835"/>
                      </a:lnTo>
                      <a:lnTo>
                        <a:pt x="102870" y="200978"/>
                      </a:lnTo>
                      <a:lnTo>
                        <a:pt x="107632" y="220980"/>
                      </a:lnTo>
                      <a:lnTo>
                        <a:pt x="117157" y="229553"/>
                      </a:lnTo>
                      <a:lnTo>
                        <a:pt x="116205" y="244793"/>
                      </a:lnTo>
                      <a:lnTo>
                        <a:pt x="122873" y="275272"/>
                      </a:lnTo>
                      <a:close/>
                      <a:moveTo>
                        <a:pt x="158115" y="228600"/>
                      </a:moveTo>
                      <a:lnTo>
                        <a:pt x="143828" y="231457"/>
                      </a:lnTo>
                      <a:lnTo>
                        <a:pt x="134303" y="221932"/>
                      </a:lnTo>
                      <a:lnTo>
                        <a:pt x="121920" y="220028"/>
                      </a:lnTo>
                      <a:lnTo>
                        <a:pt x="112395" y="210503"/>
                      </a:lnTo>
                      <a:lnTo>
                        <a:pt x="121920" y="203835"/>
                      </a:lnTo>
                      <a:lnTo>
                        <a:pt x="126682" y="192405"/>
                      </a:lnTo>
                      <a:lnTo>
                        <a:pt x="158115" y="228600"/>
                      </a:lnTo>
                      <a:close/>
                      <a:moveTo>
                        <a:pt x="629603" y="88582"/>
                      </a:moveTo>
                      <a:lnTo>
                        <a:pt x="622935" y="102870"/>
                      </a:lnTo>
                      <a:lnTo>
                        <a:pt x="638175" y="128588"/>
                      </a:lnTo>
                      <a:lnTo>
                        <a:pt x="640080" y="143828"/>
                      </a:lnTo>
                      <a:lnTo>
                        <a:pt x="652463" y="147638"/>
                      </a:lnTo>
                      <a:lnTo>
                        <a:pt x="648653" y="166688"/>
                      </a:lnTo>
                      <a:lnTo>
                        <a:pt x="660082" y="176213"/>
                      </a:lnTo>
                      <a:lnTo>
                        <a:pt x="688657" y="185738"/>
                      </a:lnTo>
                      <a:lnTo>
                        <a:pt x="697230" y="200025"/>
                      </a:lnTo>
                      <a:lnTo>
                        <a:pt x="675323" y="200978"/>
                      </a:lnTo>
                      <a:lnTo>
                        <a:pt x="659130" y="204788"/>
                      </a:lnTo>
                      <a:lnTo>
                        <a:pt x="665798" y="229553"/>
                      </a:lnTo>
                      <a:lnTo>
                        <a:pt x="656273" y="244793"/>
                      </a:lnTo>
                      <a:lnTo>
                        <a:pt x="635318" y="242888"/>
                      </a:lnTo>
                      <a:lnTo>
                        <a:pt x="622935" y="221932"/>
                      </a:lnTo>
                      <a:lnTo>
                        <a:pt x="612457" y="214313"/>
                      </a:lnTo>
                      <a:lnTo>
                        <a:pt x="591503" y="212407"/>
                      </a:lnTo>
                      <a:lnTo>
                        <a:pt x="566738" y="205740"/>
                      </a:lnTo>
                      <a:lnTo>
                        <a:pt x="549593" y="207645"/>
                      </a:lnTo>
                      <a:lnTo>
                        <a:pt x="532448" y="204788"/>
                      </a:lnTo>
                      <a:lnTo>
                        <a:pt x="511493" y="214313"/>
                      </a:lnTo>
                      <a:lnTo>
                        <a:pt x="496253" y="201930"/>
                      </a:lnTo>
                      <a:lnTo>
                        <a:pt x="480060" y="207645"/>
                      </a:lnTo>
                      <a:lnTo>
                        <a:pt x="453390" y="200978"/>
                      </a:lnTo>
                      <a:lnTo>
                        <a:pt x="429578" y="200025"/>
                      </a:lnTo>
                      <a:lnTo>
                        <a:pt x="403860" y="184785"/>
                      </a:lnTo>
                      <a:lnTo>
                        <a:pt x="389573" y="196215"/>
                      </a:lnTo>
                      <a:lnTo>
                        <a:pt x="359093" y="193357"/>
                      </a:lnTo>
                      <a:lnTo>
                        <a:pt x="333375" y="223838"/>
                      </a:lnTo>
                      <a:lnTo>
                        <a:pt x="316230" y="214313"/>
                      </a:lnTo>
                      <a:lnTo>
                        <a:pt x="300038" y="197168"/>
                      </a:lnTo>
                      <a:lnTo>
                        <a:pt x="282893" y="193357"/>
                      </a:lnTo>
                      <a:lnTo>
                        <a:pt x="271463" y="199072"/>
                      </a:lnTo>
                      <a:lnTo>
                        <a:pt x="268605" y="246697"/>
                      </a:lnTo>
                      <a:lnTo>
                        <a:pt x="269557" y="260032"/>
                      </a:lnTo>
                      <a:lnTo>
                        <a:pt x="287655" y="272415"/>
                      </a:lnTo>
                      <a:lnTo>
                        <a:pt x="320040" y="302895"/>
                      </a:lnTo>
                      <a:lnTo>
                        <a:pt x="332423" y="340995"/>
                      </a:lnTo>
                      <a:lnTo>
                        <a:pt x="354330" y="363855"/>
                      </a:lnTo>
                      <a:lnTo>
                        <a:pt x="381000" y="385763"/>
                      </a:lnTo>
                      <a:lnTo>
                        <a:pt x="397193" y="404813"/>
                      </a:lnTo>
                      <a:lnTo>
                        <a:pt x="444818" y="443865"/>
                      </a:lnTo>
                      <a:lnTo>
                        <a:pt x="467678" y="454343"/>
                      </a:lnTo>
                      <a:lnTo>
                        <a:pt x="471488" y="475298"/>
                      </a:lnTo>
                      <a:lnTo>
                        <a:pt x="485775" y="490538"/>
                      </a:lnTo>
                      <a:lnTo>
                        <a:pt x="514350" y="514350"/>
                      </a:lnTo>
                      <a:lnTo>
                        <a:pt x="511493" y="529590"/>
                      </a:lnTo>
                      <a:lnTo>
                        <a:pt x="478155" y="502920"/>
                      </a:lnTo>
                      <a:lnTo>
                        <a:pt x="453390" y="488632"/>
                      </a:lnTo>
                      <a:lnTo>
                        <a:pt x="423863" y="461963"/>
                      </a:lnTo>
                      <a:lnTo>
                        <a:pt x="387668" y="451485"/>
                      </a:lnTo>
                      <a:lnTo>
                        <a:pt x="361950" y="440055"/>
                      </a:lnTo>
                      <a:lnTo>
                        <a:pt x="330518" y="445770"/>
                      </a:lnTo>
                      <a:lnTo>
                        <a:pt x="313373" y="443865"/>
                      </a:lnTo>
                      <a:lnTo>
                        <a:pt x="306705" y="422910"/>
                      </a:lnTo>
                      <a:lnTo>
                        <a:pt x="251460" y="385763"/>
                      </a:lnTo>
                      <a:lnTo>
                        <a:pt x="210503" y="347663"/>
                      </a:lnTo>
                      <a:lnTo>
                        <a:pt x="202882" y="335280"/>
                      </a:lnTo>
                      <a:lnTo>
                        <a:pt x="232410" y="323850"/>
                      </a:lnTo>
                      <a:lnTo>
                        <a:pt x="219075" y="316230"/>
                      </a:lnTo>
                      <a:lnTo>
                        <a:pt x="181928" y="283845"/>
                      </a:lnTo>
                      <a:lnTo>
                        <a:pt x="170498" y="268605"/>
                      </a:lnTo>
                      <a:lnTo>
                        <a:pt x="169545" y="229553"/>
                      </a:lnTo>
                      <a:lnTo>
                        <a:pt x="161925" y="213360"/>
                      </a:lnTo>
                      <a:lnTo>
                        <a:pt x="134303" y="192405"/>
                      </a:lnTo>
                      <a:lnTo>
                        <a:pt x="123825" y="181928"/>
                      </a:lnTo>
                      <a:lnTo>
                        <a:pt x="103823" y="175260"/>
                      </a:lnTo>
                      <a:lnTo>
                        <a:pt x="90488" y="183832"/>
                      </a:lnTo>
                      <a:lnTo>
                        <a:pt x="87630" y="201930"/>
                      </a:lnTo>
                      <a:lnTo>
                        <a:pt x="59055" y="249555"/>
                      </a:lnTo>
                      <a:lnTo>
                        <a:pt x="46673" y="249555"/>
                      </a:lnTo>
                      <a:lnTo>
                        <a:pt x="17145" y="209550"/>
                      </a:lnTo>
                      <a:lnTo>
                        <a:pt x="12382" y="191453"/>
                      </a:lnTo>
                      <a:lnTo>
                        <a:pt x="0" y="154305"/>
                      </a:lnTo>
                      <a:lnTo>
                        <a:pt x="6668" y="149543"/>
                      </a:lnTo>
                      <a:lnTo>
                        <a:pt x="11430" y="155257"/>
                      </a:lnTo>
                      <a:lnTo>
                        <a:pt x="42863" y="162878"/>
                      </a:lnTo>
                      <a:lnTo>
                        <a:pt x="56198" y="150495"/>
                      </a:lnTo>
                      <a:lnTo>
                        <a:pt x="66675" y="155257"/>
                      </a:lnTo>
                      <a:lnTo>
                        <a:pt x="100965" y="154305"/>
                      </a:lnTo>
                      <a:lnTo>
                        <a:pt x="106680" y="151447"/>
                      </a:lnTo>
                      <a:lnTo>
                        <a:pt x="118110" y="130493"/>
                      </a:lnTo>
                      <a:lnTo>
                        <a:pt x="142875" y="150495"/>
                      </a:lnTo>
                      <a:lnTo>
                        <a:pt x="157163" y="157163"/>
                      </a:lnTo>
                      <a:lnTo>
                        <a:pt x="169545" y="152400"/>
                      </a:lnTo>
                      <a:lnTo>
                        <a:pt x="188595" y="159068"/>
                      </a:lnTo>
                      <a:lnTo>
                        <a:pt x="203835" y="160972"/>
                      </a:lnTo>
                      <a:lnTo>
                        <a:pt x="215265" y="157163"/>
                      </a:lnTo>
                      <a:lnTo>
                        <a:pt x="207645" y="135255"/>
                      </a:lnTo>
                      <a:lnTo>
                        <a:pt x="214313" y="128588"/>
                      </a:lnTo>
                      <a:lnTo>
                        <a:pt x="204788" y="118110"/>
                      </a:lnTo>
                      <a:lnTo>
                        <a:pt x="224790" y="108585"/>
                      </a:lnTo>
                      <a:lnTo>
                        <a:pt x="244793" y="102870"/>
                      </a:lnTo>
                      <a:lnTo>
                        <a:pt x="248603" y="92393"/>
                      </a:lnTo>
                      <a:lnTo>
                        <a:pt x="246698" y="71438"/>
                      </a:lnTo>
                      <a:lnTo>
                        <a:pt x="238125" y="62865"/>
                      </a:lnTo>
                      <a:lnTo>
                        <a:pt x="241935" y="49530"/>
                      </a:lnTo>
                      <a:lnTo>
                        <a:pt x="283845" y="33338"/>
                      </a:lnTo>
                      <a:lnTo>
                        <a:pt x="290513" y="23813"/>
                      </a:lnTo>
                      <a:lnTo>
                        <a:pt x="309563" y="23813"/>
                      </a:lnTo>
                      <a:lnTo>
                        <a:pt x="309563" y="7620"/>
                      </a:lnTo>
                      <a:lnTo>
                        <a:pt x="318135" y="0"/>
                      </a:lnTo>
                      <a:lnTo>
                        <a:pt x="341948" y="5715"/>
                      </a:lnTo>
                      <a:lnTo>
                        <a:pt x="369570" y="17145"/>
                      </a:lnTo>
                      <a:lnTo>
                        <a:pt x="385763" y="28575"/>
                      </a:lnTo>
                      <a:lnTo>
                        <a:pt x="394335" y="40957"/>
                      </a:lnTo>
                      <a:lnTo>
                        <a:pt x="420053" y="58103"/>
                      </a:lnTo>
                      <a:lnTo>
                        <a:pt x="441007" y="79057"/>
                      </a:lnTo>
                      <a:lnTo>
                        <a:pt x="453390" y="85725"/>
                      </a:lnTo>
                      <a:lnTo>
                        <a:pt x="477203" y="91440"/>
                      </a:lnTo>
                      <a:lnTo>
                        <a:pt x="489585" y="103822"/>
                      </a:lnTo>
                      <a:lnTo>
                        <a:pt x="521018" y="112395"/>
                      </a:lnTo>
                      <a:lnTo>
                        <a:pt x="567690" y="114300"/>
                      </a:lnTo>
                      <a:lnTo>
                        <a:pt x="591503" y="105728"/>
                      </a:lnTo>
                      <a:lnTo>
                        <a:pt x="601980" y="92393"/>
                      </a:lnTo>
                      <a:lnTo>
                        <a:pt x="629603" y="88582"/>
                      </a:lnTo>
                      <a:close/>
                    </a:path>
                  </a:pathLst>
                </a:custGeom>
                <a:solidFill>
                  <a:srgbClr val="478CAB"/>
                </a:solidFill>
                <a:ln w="953" cap="rnd">
                  <a:solidFill>
                    <a:srgbClr val="D9D9D9"/>
                  </a:solidFill>
                  <a:prstDash val="solid"/>
                  <a:round/>
                </a:ln>
              </p:spPr>
              <p:txBody>
                <a:bodyPr rtlCol="0" anchor="ctr"/>
                <a:lstStyle/>
                <a:p>
                  <a:endParaRPr lang="en-US" sz="600"/>
                </a:p>
              </p:txBody>
            </p:sp>
            <p:sp>
              <p:nvSpPr>
                <p:cNvPr id="3109" name="Hungary" descr="{&quot;Key&quot;:&quot;hungary&quot;,&quot;Name&quot;:&quot;Hungary&quot;,&quot;Value&quot;:1.0,&quot;Formula&quot;:&quot;&quot;,&quot;Text&quot;:&quot;&quot;,&quot;OfficeApplication&quot;:1,&quot;HasValue&quot;:true}">
                  <a:extLst>
                    <a:ext uri="{FF2B5EF4-FFF2-40B4-BE49-F238E27FC236}">
                      <a16:creationId xmlns:a16="http://schemas.microsoft.com/office/drawing/2014/main" id="{5AE2BD05-777E-5004-8CA9-97CC35865DD8}"/>
                    </a:ext>
                  </a:extLst>
                </p:cNvPr>
                <p:cNvSpPr/>
                <p:nvPr/>
              </p:nvSpPr>
              <p:spPr>
                <a:xfrm>
                  <a:off x="7043737" y="4346667"/>
                  <a:ext cx="775335" cy="408622"/>
                </a:xfrm>
                <a:custGeom>
                  <a:avLst/>
                  <a:gdLst>
                    <a:gd name="connsiteX0" fmla="*/ 681038 w 775335"/>
                    <a:gd name="connsiteY0" fmla="*/ 20955 h 408622"/>
                    <a:gd name="connsiteX1" fmla="*/ 695325 w 775335"/>
                    <a:gd name="connsiteY1" fmla="*/ 20955 h 408622"/>
                    <a:gd name="connsiteX2" fmla="*/ 708660 w 775335"/>
                    <a:gd name="connsiteY2" fmla="*/ 42863 h 408622"/>
                    <a:gd name="connsiteX3" fmla="*/ 729615 w 775335"/>
                    <a:gd name="connsiteY3" fmla="*/ 50482 h 408622"/>
                    <a:gd name="connsiteX4" fmla="*/ 738188 w 775335"/>
                    <a:gd name="connsiteY4" fmla="*/ 60960 h 408622"/>
                    <a:gd name="connsiteX5" fmla="*/ 760095 w 775335"/>
                    <a:gd name="connsiteY5" fmla="*/ 64770 h 408622"/>
                    <a:gd name="connsiteX6" fmla="*/ 768668 w 775335"/>
                    <a:gd name="connsiteY6" fmla="*/ 71438 h 408622"/>
                    <a:gd name="connsiteX7" fmla="*/ 775335 w 775335"/>
                    <a:gd name="connsiteY7" fmla="*/ 87630 h 408622"/>
                    <a:gd name="connsiteX8" fmla="*/ 754380 w 775335"/>
                    <a:gd name="connsiteY8" fmla="*/ 109538 h 408622"/>
                    <a:gd name="connsiteX9" fmla="*/ 710565 w 775335"/>
                    <a:gd name="connsiteY9" fmla="*/ 120015 h 408622"/>
                    <a:gd name="connsiteX10" fmla="*/ 692468 w 775335"/>
                    <a:gd name="connsiteY10" fmla="*/ 142875 h 408622"/>
                    <a:gd name="connsiteX11" fmla="*/ 681038 w 775335"/>
                    <a:gd name="connsiteY11" fmla="*/ 152400 h 408622"/>
                    <a:gd name="connsiteX12" fmla="*/ 681990 w 775335"/>
                    <a:gd name="connsiteY12" fmla="*/ 168592 h 408622"/>
                    <a:gd name="connsiteX13" fmla="*/ 668655 w 775335"/>
                    <a:gd name="connsiteY13" fmla="*/ 181928 h 408622"/>
                    <a:gd name="connsiteX14" fmla="*/ 661988 w 775335"/>
                    <a:gd name="connsiteY14" fmla="*/ 205740 h 408622"/>
                    <a:gd name="connsiteX15" fmla="*/ 648652 w 775335"/>
                    <a:gd name="connsiteY15" fmla="*/ 220028 h 408622"/>
                    <a:gd name="connsiteX16" fmla="*/ 648652 w 775335"/>
                    <a:gd name="connsiteY16" fmla="*/ 231457 h 408622"/>
                    <a:gd name="connsiteX17" fmla="*/ 633413 w 775335"/>
                    <a:gd name="connsiteY17" fmla="*/ 257175 h 408622"/>
                    <a:gd name="connsiteX18" fmla="*/ 635318 w 775335"/>
                    <a:gd name="connsiteY18" fmla="*/ 269557 h 408622"/>
                    <a:gd name="connsiteX19" fmla="*/ 615315 w 775335"/>
                    <a:gd name="connsiteY19" fmla="*/ 283845 h 408622"/>
                    <a:gd name="connsiteX20" fmla="*/ 601027 w 775335"/>
                    <a:gd name="connsiteY20" fmla="*/ 328613 h 408622"/>
                    <a:gd name="connsiteX21" fmla="*/ 588645 w 775335"/>
                    <a:gd name="connsiteY21" fmla="*/ 337185 h 408622"/>
                    <a:gd name="connsiteX22" fmla="*/ 563880 w 775335"/>
                    <a:gd name="connsiteY22" fmla="*/ 334328 h 408622"/>
                    <a:gd name="connsiteX23" fmla="*/ 540068 w 775335"/>
                    <a:gd name="connsiteY23" fmla="*/ 353378 h 408622"/>
                    <a:gd name="connsiteX24" fmla="*/ 526732 w 775335"/>
                    <a:gd name="connsiteY24" fmla="*/ 348615 h 408622"/>
                    <a:gd name="connsiteX25" fmla="*/ 496252 w 775335"/>
                    <a:gd name="connsiteY25" fmla="*/ 357188 h 408622"/>
                    <a:gd name="connsiteX26" fmla="*/ 486727 w 775335"/>
                    <a:gd name="connsiteY26" fmla="*/ 352425 h 408622"/>
                    <a:gd name="connsiteX27" fmla="*/ 460057 w 775335"/>
                    <a:gd name="connsiteY27" fmla="*/ 349567 h 408622"/>
                    <a:gd name="connsiteX28" fmla="*/ 449580 w 775335"/>
                    <a:gd name="connsiteY28" fmla="*/ 351472 h 408622"/>
                    <a:gd name="connsiteX29" fmla="*/ 421957 w 775335"/>
                    <a:gd name="connsiteY29" fmla="*/ 347663 h 408622"/>
                    <a:gd name="connsiteX30" fmla="*/ 412432 w 775335"/>
                    <a:gd name="connsiteY30" fmla="*/ 350520 h 408622"/>
                    <a:gd name="connsiteX31" fmla="*/ 398145 w 775335"/>
                    <a:gd name="connsiteY31" fmla="*/ 365760 h 408622"/>
                    <a:gd name="connsiteX32" fmla="*/ 377190 w 775335"/>
                    <a:gd name="connsiteY32" fmla="*/ 375285 h 408622"/>
                    <a:gd name="connsiteX33" fmla="*/ 361950 w 775335"/>
                    <a:gd name="connsiteY33" fmla="*/ 370522 h 408622"/>
                    <a:gd name="connsiteX34" fmla="*/ 341948 w 775335"/>
                    <a:gd name="connsiteY34" fmla="*/ 382905 h 408622"/>
                    <a:gd name="connsiteX35" fmla="*/ 314325 w 775335"/>
                    <a:gd name="connsiteY35" fmla="*/ 386715 h 408622"/>
                    <a:gd name="connsiteX36" fmla="*/ 303848 w 775335"/>
                    <a:gd name="connsiteY36" fmla="*/ 400050 h 408622"/>
                    <a:gd name="connsiteX37" fmla="*/ 280035 w 775335"/>
                    <a:gd name="connsiteY37" fmla="*/ 408622 h 408622"/>
                    <a:gd name="connsiteX38" fmla="*/ 233363 w 775335"/>
                    <a:gd name="connsiteY38" fmla="*/ 406717 h 408622"/>
                    <a:gd name="connsiteX39" fmla="*/ 201930 w 775335"/>
                    <a:gd name="connsiteY39" fmla="*/ 398145 h 408622"/>
                    <a:gd name="connsiteX40" fmla="*/ 189548 w 775335"/>
                    <a:gd name="connsiteY40" fmla="*/ 385763 h 408622"/>
                    <a:gd name="connsiteX41" fmla="*/ 165735 w 775335"/>
                    <a:gd name="connsiteY41" fmla="*/ 380047 h 408622"/>
                    <a:gd name="connsiteX42" fmla="*/ 153352 w 775335"/>
                    <a:gd name="connsiteY42" fmla="*/ 373380 h 408622"/>
                    <a:gd name="connsiteX43" fmla="*/ 132398 w 775335"/>
                    <a:gd name="connsiteY43" fmla="*/ 352425 h 408622"/>
                    <a:gd name="connsiteX44" fmla="*/ 106680 w 775335"/>
                    <a:gd name="connsiteY44" fmla="*/ 335280 h 408622"/>
                    <a:gd name="connsiteX45" fmla="*/ 98107 w 775335"/>
                    <a:gd name="connsiteY45" fmla="*/ 322897 h 408622"/>
                    <a:gd name="connsiteX46" fmla="*/ 81915 w 775335"/>
                    <a:gd name="connsiteY46" fmla="*/ 311467 h 408622"/>
                    <a:gd name="connsiteX47" fmla="*/ 54293 w 775335"/>
                    <a:gd name="connsiteY47" fmla="*/ 300038 h 408622"/>
                    <a:gd name="connsiteX48" fmla="*/ 36195 w 775335"/>
                    <a:gd name="connsiteY48" fmla="*/ 279082 h 408622"/>
                    <a:gd name="connsiteX49" fmla="*/ 22860 w 775335"/>
                    <a:gd name="connsiteY49" fmla="*/ 247650 h 408622"/>
                    <a:gd name="connsiteX50" fmla="*/ 0 w 775335"/>
                    <a:gd name="connsiteY50" fmla="*/ 246697 h 408622"/>
                    <a:gd name="connsiteX51" fmla="*/ 17145 w 775335"/>
                    <a:gd name="connsiteY51" fmla="*/ 230505 h 408622"/>
                    <a:gd name="connsiteX52" fmla="*/ 40957 w 775335"/>
                    <a:gd name="connsiteY52" fmla="*/ 225742 h 408622"/>
                    <a:gd name="connsiteX53" fmla="*/ 43815 w 775335"/>
                    <a:gd name="connsiteY53" fmla="*/ 208597 h 408622"/>
                    <a:gd name="connsiteX54" fmla="*/ 33338 w 775335"/>
                    <a:gd name="connsiteY54" fmla="*/ 193357 h 408622"/>
                    <a:gd name="connsiteX55" fmla="*/ 38100 w 775335"/>
                    <a:gd name="connsiteY55" fmla="*/ 186690 h 408622"/>
                    <a:gd name="connsiteX56" fmla="*/ 34290 w 775335"/>
                    <a:gd name="connsiteY56" fmla="*/ 172403 h 408622"/>
                    <a:gd name="connsiteX57" fmla="*/ 55245 w 775335"/>
                    <a:gd name="connsiteY57" fmla="*/ 160972 h 408622"/>
                    <a:gd name="connsiteX58" fmla="*/ 60007 w 775335"/>
                    <a:gd name="connsiteY58" fmla="*/ 147638 h 408622"/>
                    <a:gd name="connsiteX59" fmla="*/ 55245 w 775335"/>
                    <a:gd name="connsiteY59" fmla="*/ 137160 h 408622"/>
                    <a:gd name="connsiteX60" fmla="*/ 30480 w 775335"/>
                    <a:gd name="connsiteY60" fmla="*/ 130492 h 408622"/>
                    <a:gd name="connsiteX61" fmla="*/ 42863 w 775335"/>
                    <a:gd name="connsiteY61" fmla="*/ 117157 h 408622"/>
                    <a:gd name="connsiteX62" fmla="*/ 66675 w 775335"/>
                    <a:gd name="connsiteY62" fmla="*/ 125730 h 408622"/>
                    <a:gd name="connsiteX63" fmla="*/ 103823 w 775335"/>
                    <a:gd name="connsiteY63" fmla="*/ 122872 h 408622"/>
                    <a:gd name="connsiteX64" fmla="*/ 97155 w 775335"/>
                    <a:gd name="connsiteY64" fmla="*/ 103822 h 408622"/>
                    <a:gd name="connsiteX65" fmla="*/ 102870 w 775335"/>
                    <a:gd name="connsiteY65" fmla="*/ 85725 h 408622"/>
                    <a:gd name="connsiteX66" fmla="*/ 108585 w 775335"/>
                    <a:gd name="connsiteY66" fmla="*/ 79057 h 408622"/>
                    <a:gd name="connsiteX67" fmla="*/ 128588 w 775335"/>
                    <a:gd name="connsiteY67" fmla="*/ 81915 h 408622"/>
                    <a:gd name="connsiteX68" fmla="*/ 168593 w 775335"/>
                    <a:gd name="connsiteY68" fmla="*/ 107632 h 408622"/>
                    <a:gd name="connsiteX69" fmla="*/ 183832 w 775335"/>
                    <a:gd name="connsiteY69" fmla="*/ 114300 h 408622"/>
                    <a:gd name="connsiteX70" fmla="*/ 228600 w 775335"/>
                    <a:gd name="connsiteY70" fmla="*/ 115253 h 408622"/>
                    <a:gd name="connsiteX71" fmla="*/ 295275 w 775335"/>
                    <a:gd name="connsiteY71" fmla="*/ 111442 h 408622"/>
                    <a:gd name="connsiteX72" fmla="*/ 300990 w 775335"/>
                    <a:gd name="connsiteY72" fmla="*/ 101917 h 408622"/>
                    <a:gd name="connsiteX73" fmla="*/ 296227 w 775335"/>
                    <a:gd name="connsiteY73" fmla="*/ 89535 h 408622"/>
                    <a:gd name="connsiteX74" fmla="*/ 300038 w 775335"/>
                    <a:gd name="connsiteY74" fmla="*/ 80010 h 408622"/>
                    <a:gd name="connsiteX75" fmla="*/ 313373 w 775335"/>
                    <a:gd name="connsiteY75" fmla="*/ 73342 h 408622"/>
                    <a:gd name="connsiteX76" fmla="*/ 354330 w 775335"/>
                    <a:gd name="connsiteY76" fmla="*/ 69532 h 408622"/>
                    <a:gd name="connsiteX77" fmla="*/ 377190 w 775335"/>
                    <a:gd name="connsiteY77" fmla="*/ 63817 h 408622"/>
                    <a:gd name="connsiteX78" fmla="*/ 386715 w 775335"/>
                    <a:gd name="connsiteY78" fmla="*/ 49530 h 408622"/>
                    <a:gd name="connsiteX79" fmla="*/ 393382 w 775335"/>
                    <a:gd name="connsiteY79" fmla="*/ 47625 h 408622"/>
                    <a:gd name="connsiteX80" fmla="*/ 426720 w 775335"/>
                    <a:gd name="connsiteY80" fmla="*/ 60960 h 408622"/>
                    <a:gd name="connsiteX81" fmla="*/ 474345 w 775335"/>
                    <a:gd name="connsiteY81" fmla="*/ 37147 h 408622"/>
                    <a:gd name="connsiteX82" fmla="*/ 489585 w 775335"/>
                    <a:gd name="connsiteY82" fmla="*/ 3810 h 408622"/>
                    <a:gd name="connsiteX83" fmla="*/ 506730 w 775335"/>
                    <a:gd name="connsiteY83" fmla="*/ 0 h 408622"/>
                    <a:gd name="connsiteX84" fmla="*/ 532448 w 775335"/>
                    <a:gd name="connsiteY84" fmla="*/ 953 h 408622"/>
                    <a:gd name="connsiteX85" fmla="*/ 556260 w 775335"/>
                    <a:gd name="connsiteY85" fmla="*/ 6667 h 408622"/>
                    <a:gd name="connsiteX86" fmla="*/ 600075 w 775335"/>
                    <a:gd name="connsiteY86" fmla="*/ 0 h 408622"/>
                    <a:gd name="connsiteX87" fmla="*/ 613410 w 775335"/>
                    <a:gd name="connsiteY87" fmla="*/ 8572 h 408622"/>
                    <a:gd name="connsiteX88" fmla="*/ 634365 w 775335"/>
                    <a:gd name="connsiteY88" fmla="*/ 29528 h 408622"/>
                    <a:gd name="connsiteX89" fmla="*/ 640080 w 775335"/>
                    <a:gd name="connsiteY89" fmla="*/ 31432 h 408622"/>
                    <a:gd name="connsiteX90" fmla="*/ 681038 w 775335"/>
                    <a:gd name="connsiteY90" fmla="*/ 20955 h 40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75335" h="408622">
                      <a:moveTo>
                        <a:pt x="681038" y="20955"/>
                      </a:moveTo>
                      <a:lnTo>
                        <a:pt x="695325" y="20955"/>
                      </a:lnTo>
                      <a:lnTo>
                        <a:pt x="708660" y="42863"/>
                      </a:lnTo>
                      <a:lnTo>
                        <a:pt x="729615" y="50482"/>
                      </a:lnTo>
                      <a:lnTo>
                        <a:pt x="738188" y="60960"/>
                      </a:lnTo>
                      <a:lnTo>
                        <a:pt x="760095" y="64770"/>
                      </a:lnTo>
                      <a:lnTo>
                        <a:pt x="768668" y="71438"/>
                      </a:lnTo>
                      <a:lnTo>
                        <a:pt x="775335" y="87630"/>
                      </a:lnTo>
                      <a:lnTo>
                        <a:pt x="754380" y="109538"/>
                      </a:lnTo>
                      <a:lnTo>
                        <a:pt x="710565" y="120015"/>
                      </a:lnTo>
                      <a:lnTo>
                        <a:pt x="692468" y="142875"/>
                      </a:lnTo>
                      <a:lnTo>
                        <a:pt x="681038" y="152400"/>
                      </a:lnTo>
                      <a:lnTo>
                        <a:pt x="681990" y="168592"/>
                      </a:lnTo>
                      <a:lnTo>
                        <a:pt x="668655" y="181928"/>
                      </a:lnTo>
                      <a:lnTo>
                        <a:pt x="661988" y="205740"/>
                      </a:lnTo>
                      <a:lnTo>
                        <a:pt x="648652" y="220028"/>
                      </a:lnTo>
                      <a:lnTo>
                        <a:pt x="648652" y="231457"/>
                      </a:lnTo>
                      <a:lnTo>
                        <a:pt x="633413" y="257175"/>
                      </a:lnTo>
                      <a:lnTo>
                        <a:pt x="635318" y="269557"/>
                      </a:lnTo>
                      <a:lnTo>
                        <a:pt x="615315" y="283845"/>
                      </a:lnTo>
                      <a:lnTo>
                        <a:pt x="601027" y="328613"/>
                      </a:lnTo>
                      <a:lnTo>
                        <a:pt x="588645" y="337185"/>
                      </a:lnTo>
                      <a:lnTo>
                        <a:pt x="563880" y="334328"/>
                      </a:lnTo>
                      <a:lnTo>
                        <a:pt x="540068" y="353378"/>
                      </a:lnTo>
                      <a:lnTo>
                        <a:pt x="526732" y="348615"/>
                      </a:lnTo>
                      <a:lnTo>
                        <a:pt x="496252" y="357188"/>
                      </a:lnTo>
                      <a:lnTo>
                        <a:pt x="486727" y="352425"/>
                      </a:lnTo>
                      <a:lnTo>
                        <a:pt x="460057" y="349567"/>
                      </a:lnTo>
                      <a:lnTo>
                        <a:pt x="449580" y="351472"/>
                      </a:lnTo>
                      <a:lnTo>
                        <a:pt x="421957" y="347663"/>
                      </a:lnTo>
                      <a:lnTo>
                        <a:pt x="412432" y="350520"/>
                      </a:lnTo>
                      <a:lnTo>
                        <a:pt x="398145" y="365760"/>
                      </a:lnTo>
                      <a:lnTo>
                        <a:pt x="377190" y="375285"/>
                      </a:lnTo>
                      <a:lnTo>
                        <a:pt x="361950" y="370522"/>
                      </a:lnTo>
                      <a:lnTo>
                        <a:pt x="341948" y="382905"/>
                      </a:lnTo>
                      <a:lnTo>
                        <a:pt x="314325" y="386715"/>
                      </a:lnTo>
                      <a:lnTo>
                        <a:pt x="303848" y="400050"/>
                      </a:lnTo>
                      <a:lnTo>
                        <a:pt x="280035" y="408622"/>
                      </a:lnTo>
                      <a:lnTo>
                        <a:pt x="233363" y="406717"/>
                      </a:lnTo>
                      <a:lnTo>
                        <a:pt x="201930" y="398145"/>
                      </a:lnTo>
                      <a:lnTo>
                        <a:pt x="189548" y="385763"/>
                      </a:lnTo>
                      <a:lnTo>
                        <a:pt x="165735" y="380047"/>
                      </a:lnTo>
                      <a:lnTo>
                        <a:pt x="153352" y="373380"/>
                      </a:lnTo>
                      <a:lnTo>
                        <a:pt x="132398" y="352425"/>
                      </a:lnTo>
                      <a:lnTo>
                        <a:pt x="106680" y="335280"/>
                      </a:lnTo>
                      <a:lnTo>
                        <a:pt x="98107" y="322897"/>
                      </a:lnTo>
                      <a:lnTo>
                        <a:pt x="81915" y="311467"/>
                      </a:lnTo>
                      <a:lnTo>
                        <a:pt x="54293" y="300038"/>
                      </a:lnTo>
                      <a:lnTo>
                        <a:pt x="36195" y="279082"/>
                      </a:lnTo>
                      <a:lnTo>
                        <a:pt x="22860" y="247650"/>
                      </a:lnTo>
                      <a:lnTo>
                        <a:pt x="0" y="246697"/>
                      </a:lnTo>
                      <a:lnTo>
                        <a:pt x="17145" y="230505"/>
                      </a:lnTo>
                      <a:lnTo>
                        <a:pt x="40957" y="225742"/>
                      </a:lnTo>
                      <a:lnTo>
                        <a:pt x="43815" y="208597"/>
                      </a:lnTo>
                      <a:lnTo>
                        <a:pt x="33338" y="193357"/>
                      </a:lnTo>
                      <a:lnTo>
                        <a:pt x="38100" y="186690"/>
                      </a:lnTo>
                      <a:lnTo>
                        <a:pt x="34290" y="172403"/>
                      </a:lnTo>
                      <a:lnTo>
                        <a:pt x="55245" y="160972"/>
                      </a:lnTo>
                      <a:lnTo>
                        <a:pt x="60007" y="147638"/>
                      </a:lnTo>
                      <a:lnTo>
                        <a:pt x="55245" y="137160"/>
                      </a:lnTo>
                      <a:lnTo>
                        <a:pt x="30480" y="130492"/>
                      </a:lnTo>
                      <a:lnTo>
                        <a:pt x="42863" y="117157"/>
                      </a:lnTo>
                      <a:lnTo>
                        <a:pt x="66675" y="125730"/>
                      </a:lnTo>
                      <a:lnTo>
                        <a:pt x="103823" y="122872"/>
                      </a:lnTo>
                      <a:lnTo>
                        <a:pt x="97155" y="103822"/>
                      </a:lnTo>
                      <a:lnTo>
                        <a:pt x="102870" y="85725"/>
                      </a:lnTo>
                      <a:lnTo>
                        <a:pt x="108585" y="79057"/>
                      </a:lnTo>
                      <a:lnTo>
                        <a:pt x="128588" y="81915"/>
                      </a:lnTo>
                      <a:lnTo>
                        <a:pt x="168593" y="107632"/>
                      </a:lnTo>
                      <a:lnTo>
                        <a:pt x="183832" y="114300"/>
                      </a:lnTo>
                      <a:lnTo>
                        <a:pt x="228600" y="115253"/>
                      </a:lnTo>
                      <a:lnTo>
                        <a:pt x="295275" y="111442"/>
                      </a:lnTo>
                      <a:lnTo>
                        <a:pt x="300990" y="101917"/>
                      </a:lnTo>
                      <a:lnTo>
                        <a:pt x="296227" y="89535"/>
                      </a:lnTo>
                      <a:lnTo>
                        <a:pt x="300038" y="80010"/>
                      </a:lnTo>
                      <a:lnTo>
                        <a:pt x="313373" y="73342"/>
                      </a:lnTo>
                      <a:lnTo>
                        <a:pt x="354330" y="69532"/>
                      </a:lnTo>
                      <a:lnTo>
                        <a:pt x="377190" y="63817"/>
                      </a:lnTo>
                      <a:lnTo>
                        <a:pt x="386715" y="49530"/>
                      </a:lnTo>
                      <a:lnTo>
                        <a:pt x="393382" y="47625"/>
                      </a:lnTo>
                      <a:lnTo>
                        <a:pt x="426720" y="60960"/>
                      </a:lnTo>
                      <a:lnTo>
                        <a:pt x="474345" y="37147"/>
                      </a:lnTo>
                      <a:lnTo>
                        <a:pt x="489585" y="3810"/>
                      </a:lnTo>
                      <a:lnTo>
                        <a:pt x="506730" y="0"/>
                      </a:lnTo>
                      <a:lnTo>
                        <a:pt x="532448" y="953"/>
                      </a:lnTo>
                      <a:lnTo>
                        <a:pt x="556260" y="6667"/>
                      </a:lnTo>
                      <a:lnTo>
                        <a:pt x="600075" y="0"/>
                      </a:lnTo>
                      <a:lnTo>
                        <a:pt x="613410" y="8572"/>
                      </a:lnTo>
                      <a:lnTo>
                        <a:pt x="634365" y="29528"/>
                      </a:lnTo>
                      <a:lnTo>
                        <a:pt x="640080" y="31432"/>
                      </a:lnTo>
                      <a:lnTo>
                        <a:pt x="681038" y="2095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0" name="Ireland" descr="{&quot;Key&quot;:&quot;ireland&quot;,&quot;Name&quot;:&quot;Ireland&quot;,&quot;Value&quot;:1.0,&quot;Formula&quot;:&quot;&quot;,&quot;Text&quot;:&quot;&quot;,&quot;OfficeApplication&quot;:1,&quot;HasValue&quot;:true}">
                  <a:extLst>
                    <a:ext uri="{FF2B5EF4-FFF2-40B4-BE49-F238E27FC236}">
                      <a16:creationId xmlns:a16="http://schemas.microsoft.com/office/drawing/2014/main" id="{09B46FFA-F0FD-2943-66FF-EA8E91963DA0}"/>
                    </a:ext>
                  </a:extLst>
                </p:cNvPr>
                <p:cNvSpPr/>
                <p:nvPr/>
              </p:nvSpPr>
              <p:spPr>
                <a:xfrm>
                  <a:off x="3988117" y="3371307"/>
                  <a:ext cx="497204" cy="552450"/>
                </a:xfrm>
                <a:custGeom>
                  <a:avLst/>
                  <a:gdLst>
                    <a:gd name="connsiteX0" fmla="*/ 481965 w 497204"/>
                    <a:gd name="connsiteY0" fmla="*/ 179070 h 552450"/>
                    <a:gd name="connsiteX1" fmla="*/ 488632 w 497204"/>
                    <a:gd name="connsiteY1" fmla="*/ 189547 h 552450"/>
                    <a:gd name="connsiteX2" fmla="*/ 467677 w 497204"/>
                    <a:gd name="connsiteY2" fmla="*/ 193357 h 552450"/>
                    <a:gd name="connsiteX3" fmla="*/ 481965 w 497204"/>
                    <a:gd name="connsiteY3" fmla="*/ 242888 h 552450"/>
                    <a:gd name="connsiteX4" fmla="*/ 487680 w 497204"/>
                    <a:gd name="connsiteY4" fmla="*/ 251460 h 552450"/>
                    <a:gd name="connsiteX5" fmla="*/ 487680 w 497204"/>
                    <a:gd name="connsiteY5" fmla="*/ 290513 h 552450"/>
                    <a:gd name="connsiteX6" fmla="*/ 496252 w 497204"/>
                    <a:gd name="connsiteY6" fmla="*/ 320992 h 552450"/>
                    <a:gd name="connsiteX7" fmla="*/ 497205 w 497204"/>
                    <a:gd name="connsiteY7" fmla="*/ 344805 h 552450"/>
                    <a:gd name="connsiteX8" fmla="*/ 484822 w 497204"/>
                    <a:gd name="connsiteY8" fmla="*/ 361950 h 552450"/>
                    <a:gd name="connsiteX9" fmla="*/ 476250 w 497204"/>
                    <a:gd name="connsiteY9" fmla="*/ 381952 h 552450"/>
                    <a:gd name="connsiteX10" fmla="*/ 474345 w 497204"/>
                    <a:gd name="connsiteY10" fmla="*/ 399097 h 552450"/>
                    <a:gd name="connsiteX11" fmla="*/ 459105 w 497204"/>
                    <a:gd name="connsiteY11" fmla="*/ 419100 h 552450"/>
                    <a:gd name="connsiteX12" fmla="*/ 444817 w 497204"/>
                    <a:gd name="connsiteY12" fmla="*/ 427672 h 552450"/>
                    <a:gd name="connsiteX13" fmla="*/ 460057 w 497204"/>
                    <a:gd name="connsiteY13" fmla="*/ 441960 h 552450"/>
                    <a:gd name="connsiteX14" fmla="*/ 433388 w 497204"/>
                    <a:gd name="connsiteY14" fmla="*/ 449580 h 552450"/>
                    <a:gd name="connsiteX15" fmla="*/ 408622 w 497204"/>
                    <a:gd name="connsiteY15" fmla="*/ 446722 h 552450"/>
                    <a:gd name="connsiteX16" fmla="*/ 396240 w 497204"/>
                    <a:gd name="connsiteY16" fmla="*/ 454342 h 552450"/>
                    <a:gd name="connsiteX17" fmla="*/ 359092 w 497204"/>
                    <a:gd name="connsiteY17" fmla="*/ 456247 h 552450"/>
                    <a:gd name="connsiteX18" fmla="*/ 323850 w 497204"/>
                    <a:gd name="connsiteY18" fmla="*/ 462915 h 552450"/>
                    <a:gd name="connsiteX19" fmla="*/ 307657 w 497204"/>
                    <a:gd name="connsiteY19" fmla="*/ 480060 h 552450"/>
                    <a:gd name="connsiteX20" fmla="*/ 283845 w 497204"/>
                    <a:gd name="connsiteY20" fmla="*/ 486727 h 552450"/>
                    <a:gd name="connsiteX21" fmla="*/ 274320 w 497204"/>
                    <a:gd name="connsiteY21" fmla="*/ 496252 h 552450"/>
                    <a:gd name="connsiteX22" fmla="*/ 252413 w 497204"/>
                    <a:gd name="connsiteY22" fmla="*/ 503872 h 552450"/>
                    <a:gd name="connsiteX23" fmla="*/ 236220 w 497204"/>
                    <a:gd name="connsiteY23" fmla="*/ 492442 h 552450"/>
                    <a:gd name="connsiteX24" fmla="*/ 226695 w 497204"/>
                    <a:gd name="connsiteY24" fmla="*/ 494347 h 552450"/>
                    <a:gd name="connsiteX25" fmla="*/ 228600 w 497204"/>
                    <a:gd name="connsiteY25" fmla="*/ 514350 h 552450"/>
                    <a:gd name="connsiteX26" fmla="*/ 200977 w 497204"/>
                    <a:gd name="connsiteY26" fmla="*/ 526732 h 552450"/>
                    <a:gd name="connsiteX27" fmla="*/ 183832 w 497204"/>
                    <a:gd name="connsiteY27" fmla="*/ 529590 h 552450"/>
                    <a:gd name="connsiteX28" fmla="*/ 174307 w 497204"/>
                    <a:gd name="connsiteY28" fmla="*/ 536257 h 552450"/>
                    <a:gd name="connsiteX29" fmla="*/ 119063 w 497204"/>
                    <a:gd name="connsiteY29" fmla="*/ 549592 h 552450"/>
                    <a:gd name="connsiteX30" fmla="*/ 100965 w 497204"/>
                    <a:gd name="connsiteY30" fmla="*/ 544830 h 552450"/>
                    <a:gd name="connsiteX31" fmla="*/ 69532 w 497204"/>
                    <a:gd name="connsiteY31" fmla="*/ 552450 h 552450"/>
                    <a:gd name="connsiteX32" fmla="*/ 58102 w 497204"/>
                    <a:gd name="connsiteY32" fmla="*/ 551497 h 552450"/>
                    <a:gd name="connsiteX33" fmla="*/ 73342 w 497204"/>
                    <a:gd name="connsiteY33" fmla="*/ 534352 h 552450"/>
                    <a:gd name="connsiteX34" fmla="*/ 88582 w 497204"/>
                    <a:gd name="connsiteY34" fmla="*/ 521970 h 552450"/>
                    <a:gd name="connsiteX35" fmla="*/ 52388 w 497204"/>
                    <a:gd name="connsiteY35" fmla="*/ 527685 h 552450"/>
                    <a:gd name="connsiteX36" fmla="*/ 39052 w 497204"/>
                    <a:gd name="connsiteY36" fmla="*/ 532447 h 552450"/>
                    <a:gd name="connsiteX37" fmla="*/ 33338 w 497204"/>
                    <a:gd name="connsiteY37" fmla="*/ 526732 h 552450"/>
                    <a:gd name="connsiteX38" fmla="*/ 63817 w 497204"/>
                    <a:gd name="connsiteY38" fmla="*/ 508635 h 552450"/>
                    <a:gd name="connsiteX39" fmla="*/ 32385 w 497204"/>
                    <a:gd name="connsiteY39" fmla="*/ 509588 h 552450"/>
                    <a:gd name="connsiteX40" fmla="*/ 3810 w 497204"/>
                    <a:gd name="connsiteY40" fmla="*/ 505777 h 552450"/>
                    <a:gd name="connsiteX41" fmla="*/ 0 w 497204"/>
                    <a:gd name="connsiteY41" fmla="*/ 496252 h 552450"/>
                    <a:gd name="connsiteX42" fmla="*/ 27622 w 497204"/>
                    <a:gd name="connsiteY42" fmla="*/ 474345 h 552450"/>
                    <a:gd name="connsiteX43" fmla="*/ 50482 w 497204"/>
                    <a:gd name="connsiteY43" fmla="*/ 465772 h 552450"/>
                    <a:gd name="connsiteX44" fmla="*/ 49530 w 497204"/>
                    <a:gd name="connsiteY44" fmla="*/ 457200 h 552450"/>
                    <a:gd name="connsiteX45" fmla="*/ 952 w 497204"/>
                    <a:gd name="connsiteY45" fmla="*/ 458152 h 552450"/>
                    <a:gd name="connsiteX46" fmla="*/ 5715 w 497204"/>
                    <a:gd name="connsiteY46" fmla="*/ 447675 h 552450"/>
                    <a:gd name="connsiteX47" fmla="*/ 21907 w 497204"/>
                    <a:gd name="connsiteY47" fmla="*/ 438150 h 552450"/>
                    <a:gd name="connsiteX48" fmla="*/ 39052 w 497204"/>
                    <a:gd name="connsiteY48" fmla="*/ 437197 h 552450"/>
                    <a:gd name="connsiteX49" fmla="*/ 53340 w 497204"/>
                    <a:gd name="connsiteY49" fmla="*/ 442913 h 552450"/>
                    <a:gd name="connsiteX50" fmla="*/ 63817 w 497204"/>
                    <a:gd name="connsiteY50" fmla="*/ 435292 h 552450"/>
                    <a:gd name="connsiteX51" fmla="*/ 58102 w 497204"/>
                    <a:gd name="connsiteY51" fmla="*/ 419100 h 552450"/>
                    <a:gd name="connsiteX52" fmla="*/ 95250 w 497204"/>
                    <a:gd name="connsiteY52" fmla="*/ 397192 h 552450"/>
                    <a:gd name="connsiteX53" fmla="*/ 123825 w 497204"/>
                    <a:gd name="connsiteY53" fmla="*/ 394335 h 552450"/>
                    <a:gd name="connsiteX54" fmla="*/ 155257 w 497204"/>
                    <a:gd name="connsiteY54" fmla="*/ 387667 h 552450"/>
                    <a:gd name="connsiteX55" fmla="*/ 186690 w 497204"/>
                    <a:gd name="connsiteY55" fmla="*/ 380047 h 552450"/>
                    <a:gd name="connsiteX56" fmla="*/ 163830 w 497204"/>
                    <a:gd name="connsiteY56" fmla="*/ 368617 h 552450"/>
                    <a:gd name="connsiteX57" fmla="*/ 141922 w 497204"/>
                    <a:gd name="connsiteY57" fmla="*/ 385763 h 552450"/>
                    <a:gd name="connsiteX58" fmla="*/ 117157 w 497204"/>
                    <a:gd name="connsiteY58" fmla="*/ 388620 h 552450"/>
                    <a:gd name="connsiteX59" fmla="*/ 99060 w 497204"/>
                    <a:gd name="connsiteY59" fmla="*/ 383857 h 552450"/>
                    <a:gd name="connsiteX60" fmla="*/ 79057 w 497204"/>
                    <a:gd name="connsiteY60" fmla="*/ 383857 h 552450"/>
                    <a:gd name="connsiteX61" fmla="*/ 104775 w 497204"/>
                    <a:gd name="connsiteY61" fmla="*/ 364807 h 552450"/>
                    <a:gd name="connsiteX62" fmla="*/ 120015 w 497204"/>
                    <a:gd name="connsiteY62" fmla="*/ 348615 h 552450"/>
                    <a:gd name="connsiteX63" fmla="*/ 112395 w 497204"/>
                    <a:gd name="connsiteY63" fmla="*/ 341947 h 552450"/>
                    <a:gd name="connsiteX64" fmla="*/ 131445 w 497204"/>
                    <a:gd name="connsiteY64" fmla="*/ 320040 h 552450"/>
                    <a:gd name="connsiteX65" fmla="*/ 165735 w 497204"/>
                    <a:gd name="connsiteY65" fmla="*/ 310515 h 552450"/>
                    <a:gd name="connsiteX66" fmla="*/ 150495 w 497204"/>
                    <a:gd name="connsiteY66" fmla="*/ 298132 h 552450"/>
                    <a:gd name="connsiteX67" fmla="*/ 113347 w 497204"/>
                    <a:gd name="connsiteY67" fmla="*/ 300038 h 552450"/>
                    <a:gd name="connsiteX68" fmla="*/ 100013 w 497204"/>
                    <a:gd name="connsiteY68" fmla="*/ 287655 h 552450"/>
                    <a:gd name="connsiteX69" fmla="*/ 75247 w 497204"/>
                    <a:gd name="connsiteY69" fmla="*/ 288607 h 552450"/>
                    <a:gd name="connsiteX70" fmla="*/ 79057 w 497204"/>
                    <a:gd name="connsiteY70" fmla="*/ 277177 h 552450"/>
                    <a:gd name="connsiteX71" fmla="*/ 45720 w 497204"/>
                    <a:gd name="connsiteY71" fmla="*/ 275272 h 552450"/>
                    <a:gd name="connsiteX72" fmla="*/ 50482 w 497204"/>
                    <a:gd name="connsiteY72" fmla="*/ 265747 h 552450"/>
                    <a:gd name="connsiteX73" fmla="*/ 44767 w 497204"/>
                    <a:gd name="connsiteY73" fmla="*/ 255270 h 552450"/>
                    <a:gd name="connsiteX74" fmla="*/ 71438 w 497204"/>
                    <a:gd name="connsiteY74" fmla="*/ 249555 h 552450"/>
                    <a:gd name="connsiteX75" fmla="*/ 69532 w 497204"/>
                    <a:gd name="connsiteY75" fmla="*/ 230505 h 552450"/>
                    <a:gd name="connsiteX76" fmla="*/ 87630 w 497204"/>
                    <a:gd name="connsiteY76" fmla="*/ 222885 h 552450"/>
                    <a:gd name="connsiteX77" fmla="*/ 106680 w 497204"/>
                    <a:gd name="connsiteY77" fmla="*/ 219075 h 552450"/>
                    <a:gd name="connsiteX78" fmla="*/ 107632 w 497204"/>
                    <a:gd name="connsiteY78" fmla="*/ 208597 h 552450"/>
                    <a:gd name="connsiteX79" fmla="*/ 88582 w 497204"/>
                    <a:gd name="connsiteY79" fmla="*/ 206692 h 552450"/>
                    <a:gd name="connsiteX80" fmla="*/ 69532 w 497204"/>
                    <a:gd name="connsiteY80" fmla="*/ 210502 h 552450"/>
                    <a:gd name="connsiteX81" fmla="*/ 77152 w 497204"/>
                    <a:gd name="connsiteY81" fmla="*/ 190500 h 552450"/>
                    <a:gd name="connsiteX82" fmla="*/ 69532 w 497204"/>
                    <a:gd name="connsiteY82" fmla="*/ 180975 h 552450"/>
                    <a:gd name="connsiteX83" fmla="*/ 65722 w 497204"/>
                    <a:gd name="connsiteY83" fmla="*/ 164782 h 552450"/>
                    <a:gd name="connsiteX84" fmla="*/ 57150 w 497204"/>
                    <a:gd name="connsiteY84" fmla="*/ 155257 h 552450"/>
                    <a:gd name="connsiteX85" fmla="*/ 83820 w 497204"/>
                    <a:gd name="connsiteY85" fmla="*/ 153352 h 552450"/>
                    <a:gd name="connsiteX86" fmla="*/ 95250 w 497204"/>
                    <a:gd name="connsiteY86" fmla="*/ 148590 h 552450"/>
                    <a:gd name="connsiteX87" fmla="*/ 140017 w 497204"/>
                    <a:gd name="connsiteY87" fmla="*/ 149542 h 552450"/>
                    <a:gd name="connsiteX88" fmla="*/ 158115 w 497204"/>
                    <a:gd name="connsiteY88" fmla="*/ 161925 h 552450"/>
                    <a:gd name="connsiteX89" fmla="*/ 174307 w 497204"/>
                    <a:gd name="connsiteY89" fmla="*/ 150495 h 552450"/>
                    <a:gd name="connsiteX90" fmla="*/ 220027 w 497204"/>
                    <a:gd name="connsiteY90" fmla="*/ 159067 h 552450"/>
                    <a:gd name="connsiteX91" fmla="*/ 225742 w 497204"/>
                    <a:gd name="connsiteY91" fmla="*/ 134302 h 552450"/>
                    <a:gd name="connsiteX92" fmla="*/ 261938 w 497204"/>
                    <a:gd name="connsiteY92" fmla="*/ 120015 h 552450"/>
                    <a:gd name="connsiteX93" fmla="*/ 273367 w 497204"/>
                    <a:gd name="connsiteY93" fmla="*/ 100965 h 552450"/>
                    <a:gd name="connsiteX94" fmla="*/ 238125 w 497204"/>
                    <a:gd name="connsiteY94" fmla="*/ 104775 h 552450"/>
                    <a:gd name="connsiteX95" fmla="*/ 203835 w 497204"/>
                    <a:gd name="connsiteY95" fmla="*/ 95250 h 552450"/>
                    <a:gd name="connsiteX96" fmla="*/ 210502 w 497204"/>
                    <a:gd name="connsiteY96" fmla="*/ 87630 h 552450"/>
                    <a:gd name="connsiteX97" fmla="*/ 230505 w 497204"/>
                    <a:gd name="connsiteY97" fmla="*/ 80963 h 552450"/>
                    <a:gd name="connsiteX98" fmla="*/ 248602 w 497204"/>
                    <a:gd name="connsiteY98" fmla="*/ 65722 h 552450"/>
                    <a:gd name="connsiteX99" fmla="*/ 245745 w 497204"/>
                    <a:gd name="connsiteY99" fmla="*/ 55245 h 552450"/>
                    <a:gd name="connsiteX100" fmla="*/ 261938 w 497204"/>
                    <a:gd name="connsiteY100" fmla="*/ 29527 h 552450"/>
                    <a:gd name="connsiteX101" fmla="*/ 291465 w 497204"/>
                    <a:gd name="connsiteY101" fmla="*/ 21907 h 552450"/>
                    <a:gd name="connsiteX102" fmla="*/ 314325 w 497204"/>
                    <a:gd name="connsiteY102" fmla="*/ 21907 h 552450"/>
                    <a:gd name="connsiteX103" fmla="*/ 329565 w 497204"/>
                    <a:gd name="connsiteY103" fmla="*/ 13335 h 552450"/>
                    <a:gd name="connsiteX104" fmla="*/ 340995 w 497204"/>
                    <a:gd name="connsiteY104" fmla="*/ 32385 h 552450"/>
                    <a:gd name="connsiteX105" fmla="*/ 331470 w 497204"/>
                    <a:gd name="connsiteY105" fmla="*/ 41910 h 552450"/>
                    <a:gd name="connsiteX106" fmla="*/ 337185 w 497204"/>
                    <a:gd name="connsiteY106" fmla="*/ 50482 h 552450"/>
                    <a:gd name="connsiteX107" fmla="*/ 348615 w 497204"/>
                    <a:gd name="connsiteY107" fmla="*/ 42863 h 552450"/>
                    <a:gd name="connsiteX108" fmla="*/ 343852 w 497204"/>
                    <a:gd name="connsiteY108" fmla="*/ 22860 h 552450"/>
                    <a:gd name="connsiteX109" fmla="*/ 352425 w 497204"/>
                    <a:gd name="connsiteY109" fmla="*/ 10477 h 552450"/>
                    <a:gd name="connsiteX110" fmla="*/ 370522 w 497204"/>
                    <a:gd name="connsiteY110" fmla="*/ 7620 h 552450"/>
                    <a:gd name="connsiteX111" fmla="*/ 376238 w 497204"/>
                    <a:gd name="connsiteY111" fmla="*/ 0 h 552450"/>
                    <a:gd name="connsiteX112" fmla="*/ 406717 w 497204"/>
                    <a:gd name="connsiteY112" fmla="*/ 16192 h 552450"/>
                    <a:gd name="connsiteX113" fmla="*/ 382905 w 497204"/>
                    <a:gd name="connsiteY113" fmla="*/ 30480 h 552450"/>
                    <a:gd name="connsiteX114" fmla="*/ 378142 w 497204"/>
                    <a:gd name="connsiteY114" fmla="*/ 37147 h 552450"/>
                    <a:gd name="connsiteX115" fmla="*/ 360045 w 497204"/>
                    <a:gd name="connsiteY115" fmla="*/ 45720 h 552450"/>
                    <a:gd name="connsiteX116" fmla="*/ 350520 w 497204"/>
                    <a:gd name="connsiteY116" fmla="*/ 67627 h 552450"/>
                    <a:gd name="connsiteX117" fmla="*/ 339090 w 497204"/>
                    <a:gd name="connsiteY117" fmla="*/ 82867 h 552450"/>
                    <a:gd name="connsiteX118" fmla="*/ 318135 w 497204"/>
                    <a:gd name="connsiteY118" fmla="*/ 90488 h 552450"/>
                    <a:gd name="connsiteX119" fmla="*/ 302895 w 497204"/>
                    <a:gd name="connsiteY119" fmla="*/ 89535 h 552450"/>
                    <a:gd name="connsiteX120" fmla="*/ 300990 w 497204"/>
                    <a:gd name="connsiteY120" fmla="*/ 97155 h 552450"/>
                    <a:gd name="connsiteX121" fmla="*/ 310515 w 497204"/>
                    <a:gd name="connsiteY121" fmla="*/ 110490 h 552450"/>
                    <a:gd name="connsiteX122" fmla="*/ 282892 w 497204"/>
                    <a:gd name="connsiteY122" fmla="*/ 119063 h 552450"/>
                    <a:gd name="connsiteX123" fmla="*/ 273367 w 497204"/>
                    <a:gd name="connsiteY123" fmla="*/ 132397 h 552450"/>
                    <a:gd name="connsiteX124" fmla="*/ 299085 w 497204"/>
                    <a:gd name="connsiteY124" fmla="*/ 151447 h 552450"/>
                    <a:gd name="connsiteX125" fmla="*/ 300990 w 497204"/>
                    <a:gd name="connsiteY125" fmla="*/ 160972 h 552450"/>
                    <a:gd name="connsiteX126" fmla="*/ 320992 w 497204"/>
                    <a:gd name="connsiteY126" fmla="*/ 164782 h 552450"/>
                    <a:gd name="connsiteX127" fmla="*/ 328613 w 497204"/>
                    <a:gd name="connsiteY127" fmla="*/ 171450 h 552450"/>
                    <a:gd name="connsiteX128" fmla="*/ 356235 w 497204"/>
                    <a:gd name="connsiteY128" fmla="*/ 174307 h 552450"/>
                    <a:gd name="connsiteX129" fmla="*/ 379095 w 497204"/>
                    <a:gd name="connsiteY129" fmla="*/ 157163 h 552450"/>
                    <a:gd name="connsiteX130" fmla="*/ 374332 w 497204"/>
                    <a:gd name="connsiteY130" fmla="*/ 148590 h 552450"/>
                    <a:gd name="connsiteX131" fmla="*/ 392430 w 497204"/>
                    <a:gd name="connsiteY131" fmla="*/ 133350 h 552450"/>
                    <a:gd name="connsiteX132" fmla="*/ 404813 w 497204"/>
                    <a:gd name="connsiteY132" fmla="*/ 138113 h 552450"/>
                    <a:gd name="connsiteX133" fmla="*/ 421957 w 497204"/>
                    <a:gd name="connsiteY133" fmla="*/ 163830 h 552450"/>
                    <a:gd name="connsiteX134" fmla="*/ 435292 w 497204"/>
                    <a:gd name="connsiteY134" fmla="*/ 168592 h 552450"/>
                    <a:gd name="connsiteX135" fmla="*/ 434340 w 497204"/>
                    <a:gd name="connsiteY135" fmla="*/ 182880 h 552450"/>
                    <a:gd name="connsiteX136" fmla="*/ 461963 w 497204"/>
                    <a:gd name="connsiteY136" fmla="*/ 182880 h 552450"/>
                    <a:gd name="connsiteX137" fmla="*/ 481965 w 497204"/>
                    <a:gd name="connsiteY137" fmla="*/ 17907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497204" h="552450">
                      <a:moveTo>
                        <a:pt x="481965" y="179070"/>
                      </a:moveTo>
                      <a:lnTo>
                        <a:pt x="488632" y="189547"/>
                      </a:lnTo>
                      <a:lnTo>
                        <a:pt x="467677" y="193357"/>
                      </a:lnTo>
                      <a:lnTo>
                        <a:pt x="481965" y="242888"/>
                      </a:lnTo>
                      <a:lnTo>
                        <a:pt x="487680" y="251460"/>
                      </a:lnTo>
                      <a:lnTo>
                        <a:pt x="487680" y="290513"/>
                      </a:lnTo>
                      <a:lnTo>
                        <a:pt x="496252" y="320992"/>
                      </a:lnTo>
                      <a:lnTo>
                        <a:pt x="497205" y="344805"/>
                      </a:lnTo>
                      <a:lnTo>
                        <a:pt x="484822" y="361950"/>
                      </a:lnTo>
                      <a:lnTo>
                        <a:pt x="476250" y="381952"/>
                      </a:lnTo>
                      <a:lnTo>
                        <a:pt x="474345" y="399097"/>
                      </a:lnTo>
                      <a:lnTo>
                        <a:pt x="459105" y="419100"/>
                      </a:lnTo>
                      <a:lnTo>
                        <a:pt x="444817" y="427672"/>
                      </a:lnTo>
                      <a:lnTo>
                        <a:pt x="460057" y="441960"/>
                      </a:lnTo>
                      <a:lnTo>
                        <a:pt x="433388" y="449580"/>
                      </a:lnTo>
                      <a:lnTo>
                        <a:pt x="408622" y="446722"/>
                      </a:lnTo>
                      <a:lnTo>
                        <a:pt x="396240" y="454342"/>
                      </a:lnTo>
                      <a:lnTo>
                        <a:pt x="359092" y="456247"/>
                      </a:lnTo>
                      <a:lnTo>
                        <a:pt x="323850" y="462915"/>
                      </a:lnTo>
                      <a:lnTo>
                        <a:pt x="307657" y="480060"/>
                      </a:lnTo>
                      <a:lnTo>
                        <a:pt x="283845" y="486727"/>
                      </a:lnTo>
                      <a:lnTo>
                        <a:pt x="274320" y="496252"/>
                      </a:lnTo>
                      <a:lnTo>
                        <a:pt x="252413" y="503872"/>
                      </a:lnTo>
                      <a:lnTo>
                        <a:pt x="236220" y="492442"/>
                      </a:lnTo>
                      <a:lnTo>
                        <a:pt x="226695" y="494347"/>
                      </a:lnTo>
                      <a:lnTo>
                        <a:pt x="228600" y="514350"/>
                      </a:lnTo>
                      <a:lnTo>
                        <a:pt x="200977" y="526732"/>
                      </a:lnTo>
                      <a:lnTo>
                        <a:pt x="183832" y="529590"/>
                      </a:lnTo>
                      <a:lnTo>
                        <a:pt x="174307" y="536257"/>
                      </a:lnTo>
                      <a:lnTo>
                        <a:pt x="119063" y="549592"/>
                      </a:lnTo>
                      <a:lnTo>
                        <a:pt x="100965" y="544830"/>
                      </a:lnTo>
                      <a:lnTo>
                        <a:pt x="69532" y="552450"/>
                      </a:lnTo>
                      <a:lnTo>
                        <a:pt x="58102" y="551497"/>
                      </a:lnTo>
                      <a:lnTo>
                        <a:pt x="73342" y="534352"/>
                      </a:lnTo>
                      <a:lnTo>
                        <a:pt x="88582" y="521970"/>
                      </a:lnTo>
                      <a:lnTo>
                        <a:pt x="52388" y="527685"/>
                      </a:lnTo>
                      <a:lnTo>
                        <a:pt x="39052" y="532447"/>
                      </a:lnTo>
                      <a:lnTo>
                        <a:pt x="33338" y="526732"/>
                      </a:lnTo>
                      <a:lnTo>
                        <a:pt x="63817" y="508635"/>
                      </a:lnTo>
                      <a:lnTo>
                        <a:pt x="32385" y="509588"/>
                      </a:lnTo>
                      <a:lnTo>
                        <a:pt x="3810" y="505777"/>
                      </a:lnTo>
                      <a:lnTo>
                        <a:pt x="0" y="496252"/>
                      </a:lnTo>
                      <a:lnTo>
                        <a:pt x="27622" y="474345"/>
                      </a:lnTo>
                      <a:lnTo>
                        <a:pt x="50482" y="465772"/>
                      </a:lnTo>
                      <a:lnTo>
                        <a:pt x="49530" y="457200"/>
                      </a:lnTo>
                      <a:lnTo>
                        <a:pt x="952" y="458152"/>
                      </a:lnTo>
                      <a:lnTo>
                        <a:pt x="5715" y="447675"/>
                      </a:lnTo>
                      <a:lnTo>
                        <a:pt x="21907" y="438150"/>
                      </a:lnTo>
                      <a:lnTo>
                        <a:pt x="39052" y="437197"/>
                      </a:lnTo>
                      <a:lnTo>
                        <a:pt x="53340" y="442913"/>
                      </a:lnTo>
                      <a:lnTo>
                        <a:pt x="63817" y="435292"/>
                      </a:lnTo>
                      <a:lnTo>
                        <a:pt x="58102" y="419100"/>
                      </a:lnTo>
                      <a:lnTo>
                        <a:pt x="95250" y="397192"/>
                      </a:lnTo>
                      <a:lnTo>
                        <a:pt x="123825" y="394335"/>
                      </a:lnTo>
                      <a:lnTo>
                        <a:pt x="155257" y="387667"/>
                      </a:lnTo>
                      <a:lnTo>
                        <a:pt x="186690" y="380047"/>
                      </a:lnTo>
                      <a:lnTo>
                        <a:pt x="163830" y="368617"/>
                      </a:lnTo>
                      <a:lnTo>
                        <a:pt x="141922" y="385763"/>
                      </a:lnTo>
                      <a:lnTo>
                        <a:pt x="117157" y="388620"/>
                      </a:lnTo>
                      <a:lnTo>
                        <a:pt x="99060" y="383857"/>
                      </a:lnTo>
                      <a:lnTo>
                        <a:pt x="79057" y="383857"/>
                      </a:lnTo>
                      <a:lnTo>
                        <a:pt x="104775" y="364807"/>
                      </a:lnTo>
                      <a:lnTo>
                        <a:pt x="120015" y="348615"/>
                      </a:lnTo>
                      <a:lnTo>
                        <a:pt x="112395" y="341947"/>
                      </a:lnTo>
                      <a:lnTo>
                        <a:pt x="131445" y="320040"/>
                      </a:lnTo>
                      <a:lnTo>
                        <a:pt x="165735" y="310515"/>
                      </a:lnTo>
                      <a:lnTo>
                        <a:pt x="150495" y="298132"/>
                      </a:lnTo>
                      <a:lnTo>
                        <a:pt x="113347" y="300038"/>
                      </a:lnTo>
                      <a:lnTo>
                        <a:pt x="100013" y="287655"/>
                      </a:lnTo>
                      <a:lnTo>
                        <a:pt x="75247" y="288607"/>
                      </a:lnTo>
                      <a:lnTo>
                        <a:pt x="79057" y="277177"/>
                      </a:lnTo>
                      <a:lnTo>
                        <a:pt x="45720" y="275272"/>
                      </a:lnTo>
                      <a:lnTo>
                        <a:pt x="50482" y="265747"/>
                      </a:lnTo>
                      <a:lnTo>
                        <a:pt x="44767" y="255270"/>
                      </a:lnTo>
                      <a:lnTo>
                        <a:pt x="71438" y="249555"/>
                      </a:lnTo>
                      <a:lnTo>
                        <a:pt x="69532" y="230505"/>
                      </a:lnTo>
                      <a:lnTo>
                        <a:pt x="87630" y="222885"/>
                      </a:lnTo>
                      <a:lnTo>
                        <a:pt x="106680" y="219075"/>
                      </a:lnTo>
                      <a:lnTo>
                        <a:pt x="107632" y="208597"/>
                      </a:lnTo>
                      <a:lnTo>
                        <a:pt x="88582" y="206692"/>
                      </a:lnTo>
                      <a:lnTo>
                        <a:pt x="69532" y="210502"/>
                      </a:lnTo>
                      <a:lnTo>
                        <a:pt x="77152" y="190500"/>
                      </a:lnTo>
                      <a:lnTo>
                        <a:pt x="69532" y="180975"/>
                      </a:lnTo>
                      <a:lnTo>
                        <a:pt x="65722" y="164782"/>
                      </a:lnTo>
                      <a:lnTo>
                        <a:pt x="57150" y="155257"/>
                      </a:lnTo>
                      <a:lnTo>
                        <a:pt x="83820" y="153352"/>
                      </a:lnTo>
                      <a:lnTo>
                        <a:pt x="95250" y="148590"/>
                      </a:lnTo>
                      <a:lnTo>
                        <a:pt x="140017" y="149542"/>
                      </a:lnTo>
                      <a:lnTo>
                        <a:pt x="158115" y="161925"/>
                      </a:lnTo>
                      <a:lnTo>
                        <a:pt x="174307" y="150495"/>
                      </a:lnTo>
                      <a:lnTo>
                        <a:pt x="220027" y="159067"/>
                      </a:lnTo>
                      <a:lnTo>
                        <a:pt x="225742" y="134302"/>
                      </a:lnTo>
                      <a:lnTo>
                        <a:pt x="261938" y="120015"/>
                      </a:lnTo>
                      <a:lnTo>
                        <a:pt x="273367" y="100965"/>
                      </a:lnTo>
                      <a:lnTo>
                        <a:pt x="238125" y="104775"/>
                      </a:lnTo>
                      <a:lnTo>
                        <a:pt x="203835" y="95250"/>
                      </a:lnTo>
                      <a:lnTo>
                        <a:pt x="210502" y="87630"/>
                      </a:lnTo>
                      <a:lnTo>
                        <a:pt x="230505" y="80963"/>
                      </a:lnTo>
                      <a:lnTo>
                        <a:pt x="248602" y="65722"/>
                      </a:lnTo>
                      <a:lnTo>
                        <a:pt x="245745" y="55245"/>
                      </a:lnTo>
                      <a:lnTo>
                        <a:pt x="261938" y="29527"/>
                      </a:lnTo>
                      <a:lnTo>
                        <a:pt x="291465" y="21907"/>
                      </a:lnTo>
                      <a:lnTo>
                        <a:pt x="314325" y="21907"/>
                      </a:lnTo>
                      <a:lnTo>
                        <a:pt x="329565" y="13335"/>
                      </a:lnTo>
                      <a:lnTo>
                        <a:pt x="340995" y="32385"/>
                      </a:lnTo>
                      <a:lnTo>
                        <a:pt x="331470" y="41910"/>
                      </a:lnTo>
                      <a:lnTo>
                        <a:pt x="337185" y="50482"/>
                      </a:lnTo>
                      <a:lnTo>
                        <a:pt x="348615" y="42863"/>
                      </a:lnTo>
                      <a:lnTo>
                        <a:pt x="343852" y="22860"/>
                      </a:lnTo>
                      <a:lnTo>
                        <a:pt x="352425" y="10477"/>
                      </a:lnTo>
                      <a:lnTo>
                        <a:pt x="370522" y="7620"/>
                      </a:lnTo>
                      <a:lnTo>
                        <a:pt x="376238" y="0"/>
                      </a:lnTo>
                      <a:lnTo>
                        <a:pt x="406717" y="16192"/>
                      </a:lnTo>
                      <a:lnTo>
                        <a:pt x="382905" y="30480"/>
                      </a:lnTo>
                      <a:lnTo>
                        <a:pt x="378142" y="37147"/>
                      </a:lnTo>
                      <a:lnTo>
                        <a:pt x="360045" y="45720"/>
                      </a:lnTo>
                      <a:lnTo>
                        <a:pt x="350520" y="67627"/>
                      </a:lnTo>
                      <a:lnTo>
                        <a:pt x="339090" y="82867"/>
                      </a:lnTo>
                      <a:lnTo>
                        <a:pt x="318135" y="90488"/>
                      </a:lnTo>
                      <a:lnTo>
                        <a:pt x="302895" y="89535"/>
                      </a:lnTo>
                      <a:lnTo>
                        <a:pt x="300990" y="97155"/>
                      </a:lnTo>
                      <a:lnTo>
                        <a:pt x="310515" y="110490"/>
                      </a:lnTo>
                      <a:lnTo>
                        <a:pt x="282892" y="119063"/>
                      </a:lnTo>
                      <a:lnTo>
                        <a:pt x="273367" y="132397"/>
                      </a:lnTo>
                      <a:lnTo>
                        <a:pt x="299085" y="151447"/>
                      </a:lnTo>
                      <a:lnTo>
                        <a:pt x="300990" y="160972"/>
                      </a:lnTo>
                      <a:lnTo>
                        <a:pt x="320992" y="164782"/>
                      </a:lnTo>
                      <a:lnTo>
                        <a:pt x="328613" y="171450"/>
                      </a:lnTo>
                      <a:lnTo>
                        <a:pt x="356235" y="174307"/>
                      </a:lnTo>
                      <a:lnTo>
                        <a:pt x="379095" y="157163"/>
                      </a:lnTo>
                      <a:lnTo>
                        <a:pt x="374332" y="148590"/>
                      </a:lnTo>
                      <a:lnTo>
                        <a:pt x="392430" y="133350"/>
                      </a:lnTo>
                      <a:lnTo>
                        <a:pt x="404813" y="138113"/>
                      </a:lnTo>
                      <a:lnTo>
                        <a:pt x="421957" y="163830"/>
                      </a:lnTo>
                      <a:lnTo>
                        <a:pt x="435292" y="168592"/>
                      </a:lnTo>
                      <a:lnTo>
                        <a:pt x="434340" y="182880"/>
                      </a:lnTo>
                      <a:lnTo>
                        <a:pt x="461963" y="182880"/>
                      </a:lnTo>
                      <a:lnTo>
                        <a:pt x="481965" y="17907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1" name="Iceland" descr="{&quot;Key&quot;:&quot;iceland&quot;,&quot;Name&quot;:&quot;Iceland&quot;,&quot;Value&quot;:1.0,&quot;Formula&quot;:&quot;&quot;,&quot;Text&quot;:&quot;&quot;,&quot;OfficeApplication&quot;:1,&quot;HasValue&quot;:true}">
                  <a:extLst>
                    <a:ext uri="{FF2B5EF4-FFF2-40B4-BE49-F238E27FC236}">
                      <a16:creationId xmlns:a16="http://schemas.microsoft.com/office/drawing/2014/main" id="{36B82C9C-79E0-7773-CD00-EE0A1E9E51C2}"/>
                    </a:ext>
                  </a:extLst>
                </p:cNvPr>
                <p:cNvSpPr/>
                <p:nvPr/>
              </p:nvSpPr>
              <p:spPr>
                <a:xfrm>
                  <a:off x="2819604" y="1849791"/>
                  <a:ext cx="922794" cy="410527"/>
                </a:xfrm>
                <a:custGeom>
                  <a:avLst/>
                  <a:gdLst>
                    <a:gd name="connsiteX0" fmla="*/ 901065 w 1081087"/>
                    <a:gd name="connsiteY0" fmla="*/ 38100 h 410527"/>
                    <a:gd name="connsiteX1" fmla="*/ 912495 w 1081087"/>
                    <a:gd name="connsiteY1" fmla="*/ 39053 h 410527"/>
                    <a:gd name="connsiteX2" fmla="*/ 939165 w 1081087"/>
                    <a:gd name="connsiteY2" fmla="*/ 31433 h 410527"/>
                    <a:gd name="connsiteX3" fmla="*/ 960120 w 1081087"/>
                    <a:gd name="connsiteY3" fmla="*/ 20955 h 410527"/>
                    <a:gd name="connsiteX4" fmla="*/ 964883 w 1081087"/>
                    <a:gd name="connsiteY4" fmla="*/ 31433 h 410527"/>
                    <a:gd name="connsiteX5" fmla="*/ 941070 w 1081087"/>
                    <a:gd name="connsiteY5" fmla="*/ 54293 h 410527"/>
                    <a:gd name="connsiteX6" fmla="*/ 962025 w 1081087"/>
                    <a:gd name="connsiteY6" fmla="*/ 62865 h 410527"/>
                    <a:gd name="connsiteX7" fmla="*/ 981075 w 1081087"/>
                    <a:gd name="connsiteY7" fmla="*/ 65723 h 410527"/>
                    <a:gd name="connsiteX8" fmla="*/ 980123 w 1081087"/>
                    <a:gd name="connsiteY8" fmla="*/ 81915 h 410527"/>
                    <a:gd name="connsiteX9" fmla="*/ 963930 w 1081087"/>
                    <a:gd name="connsiteY9" fmla="*/ 97155 h 410527"/>
                    <a:gd name="connsiteX10" fmla="*/ 971550 w 1081087"/>
                    <a:gd name="connsiteY10" fmla="*/ 100013 h 410527"/>
                    <a:gd name="connsiteX11" fmla="*/ 1004888 w 1081087"/>
                    <a:gd name="connsiteY11" fmla="*/ 95250 h 410527"/>
                    <a:gd name="connsiteX12" fmla="*/ 1014413 w 1081087"/>
                    <a:gd name="connsiteY12" fmla="*/ 117158 h 410527"/>
                    <a:gd name="connsiteX13" fmla="*/ 1028700 w 1081087"/>
                    <a:gd name="connsiteY13" fmla="*/ 115253 h 410527"/>
                    <a:gd name="connsiteX14" fmla="*/ 1051560 w 1081087"/>
                    <a:gd name="connsiteY14" fmla="*/ 118110 h 410527"/>
                    <a:gd name="connsiteX15" fmla="*/ 1064895 w 1081087"/>
                    <a:gd name="connsiteY15" fmla="*/ 129540 h 410527"/>
                    <a:gd name="connsiteX16" fmla="*/ 1076325 w 1081087"/>
                    <a:gd name="connsiteY16" fmla="*/ 126683 h 410527"/>
                    <a:gd name="connsiteX17" fmla="*/ 1081088 w 1081087"/>
                    <a:gd name="connsiteY17" fmla="*/ 135255 h 410527"/>
                    <a:gd name="connsiteX18" fmla="*/ 1074420 w 1081087"/>
                    <a:gd name="connsiteY18" fmla="*/ 146685 h 410527"/>
                    <a:gd name="connsiteX19" fmla="*/ 1060133 w 1081087"/>
                    <a:gd name="connsiteY19" fmla="*/ 152400 h 410527"/>
                    <a:gd name="connsiteX20" fmla="*/ 1080135 w 1081087"/>
                    <a:gd name="connsiteY20" fmla="*/ 180023 h 410527"/>
                    <a:gd name="connsiteX21" fmla="*/ 1080135 w 1081087"/>
                    <a:gd name="connsiteY21" fmla="*/ 190500 h 410527"/>
                    <a:gd name="connsiteX22" fmla="*/ 1070610 w 1081087"/>
                    <a:gd name="connsiteY22" fmla="*/ 197168 h 410527"/>
                    <a:gd name="connsiteX23" fmla="*/ 1058227 w 1081087"/>
                    <a:gd name="connsiteY23" fmla="*/ 197168 h 410527"/>
                    <a:gd name="connsiteX24" fmla="*/ 1048703 w 1081087"/>
                    <a:gd name="connsiteY24" fmla="*/ 217170 h 410527"/>
                    <a:gd name="connsiteX25" fmla="*/ 1037273 w 1081087"/>
                    <a:gd name="connsiteY25" fmla="*/ 227648 h 410527"/>
                    <a:gd name="connsiteX26" fmla="*/ 1018223 w 1081087"/>
                    <a:gd name="connsiteY26" fmla="*/ 237173 h 410527"/>
                    <a:gd name="connsiteX27" fmla="*/ 993458 w 1081087"/>
                    <a:gd name="connsiteY27" fmla="*/ 232410 h 410527"/>
                    <a:gd name="connsiteX28" fmla="*/ 982980 w 1081087"/>
                    <a:gd name="connsiteY28" fmla="*/ 246698 h 410527"/>
                    <a:gd name="connsiteX29" fmla="*/ 984885 w 1081087"/>
                    <a:gd name="connsiteY29" fmla="*/ 260033 h 410527"/>
                    <a:gd name="connsiteX30" fmla="*/ 972503 w 1081087"/>
                    <a:gd name="connsiteY30" fmla="*/ 272415 h 410527"/>
                    <a:gd name="connsiteX31" fmla="*/ 922020 w 1081087"/>
                    <a:gd name="connsiteY31" fmla="*/ 292418 h 410527"/>
                    <a:gd name="connsiteX32" fmla="*/ 898208 w 1081087"/>
                    <a:gd name="connsiteY32" fmla="*/ 292418 h 410527"/>
                    <a:gd name="connsiteX33" fmla="*/ 873443 w 1081087"/>
                    <a:gd name="connsiteY33" fmla="*/ 297180 h 410527"/>
                    <a:gd name="connsiteX34" fmla="*/ 814388 w 1081087"/>
                    <a:gd name="connsiteY34" fmla="*/ 316230 h 410527"/>
                    <a:gd name="connsiteX35" fmla="*/ 769620 w 1081087"/>
                    <a:gd name="connsiteY35" fmla="*/ 342900 h 410527"/>
                    <a:gd name="connsiteX36" fmla="*/ 750570 w 1081087"/>
                    <a:gd name="connsiteY36" fmla="*/ 349568 h 410527"/>
                    <a:gd name="connsiteX37" fmla="*/ 721043 w 1081087"/>
                    <a:gd name="connsiteY37" fmla="*/ 352425 h 410527"/>
                    <a:gd name="connsiteX38" fmla="*/ 703898 w 1081087"/>
                    <a:gd name="connsiteY38" fmla="*/ 357188 h 410527"/>
                    <a:gd name="connsiteX39" fmla="*/ 647700 w 1081087"/>
                    <a:gd name="connsiteY39" fmla="*/ 364808 h 410527"/>
                    <a:gd name="connsiteX40" fmla="*/ 628650 w 1081087"/>
                    <a:gd name="connsiteY40" fmla="*/ 369570 h 410527"/>
                    <a:gd name="connsiteX41" fmla="*/ 617220 w 1081087"/>
                    <a:gd name="connsiteY41" fmla="*/ 380048 h 410527"/>
                    <a:gd name="connsiteX42" fmla="*/ 612458 w 1081087"/>
                    <a:gd name="connsiteY42" fmla="*/ 393383 h 410527"/>
                    <a:gd name="connsiteX43" fmla="*/ 574358 w 1081087"/>
                    <a:gd name="connsiteY43" fmla="*/ 403860 h 410527"/>
                    <a:gd name="connsiteX44" fmla="*/ 538163 w 1081087"/>
                    <a:gd name="connsiteY44" fmla="*/ 410528 h 410527"/>
                    <a:gd name="connsiteX45" fmla="*/ 477203 w 1081087"/>
                    <a:gd name="connsiteY45" fmla="*/ 405765 h 410527"/>
                    <a:gd name="connsiteX46" fmla="*/ 425767 w 1081087"/>
                    <a:gd name="connsiteY46" fmla="*/ 393383 h 410527"/>
                    <a:gd name="connsiteX47" fmla="*/ 382905 w 1081087"/>
                    <a:gd name="connsiteY47" fmla="*/ 390525 h 410527"/>
                    <a:gd name="connsiteX48" fmla="*/ 346710 w 1081087"/>
                    <a:gd name="connsiteY48" fmla="*/ 366713 h 410527"/>
                    <a:gd name="connsiteX49" fmla="*/ 319088 w 1081087"/>
                    <a:gd name="connsiteY49" fmla="*/ 357188 h 410527"/>
                    <a:gd name="connsiteX50" fmla="*/ 284798 w 1081087"/>
                    <a:gd name="connsiteY50" fmla="*/ 340043 h 410527"/>
                    <a:gd name="connsiteX51" fmla="*/ 262890 w 1081087"/>
                    <a:gd name="connsiteY51" fmla="*/ 350520 h 410527"/>
                    <a:gd name="connsiteX52" fmla="*/ 144780 w 1081087"/>
                    <a:gd name="connsiteY52" fmla="*/ 353378 h 410527"/>
                    <a:gd name="connsiteX53" fmla="*/ 137160 w 1081087"/>
                    <a:gd name="connsiteY53" fmla="*/ 348615 h 410527"/>
                    <a:gd name="connsiteX54" fmla="*/ 135255 w 1081087"/>
                    <a:gd name="connsiteY54" fmla="*/ 328613 h 410527"/>
                    <a:gd name="connsiteX55" fmla="*/ 145733 w 1081087"/>
                    <a:gd name="connsiteY55" fmla="*/ 320993 h 410527"/>
                    <a:gd name="connsiteX56" fmla="*/ 158115 w 1081087"/>
                    <a:gd name="connsiteY56" fmla="*/ 332423 h 410527"/>
                    <a:gd name="connsiteX57" fmla="*/ 205740 w 1081087"/>
                    <a:gd name="connsiteY57" fmla="*/ 321945 h 410527"/>
                    <a:gd name="connsiteX58" fmla="*/ 231458 w 1081087"/>
                    <a:gd name="connsiteY58" fmla="*/ 303848 h 410527"/>
                    <a:gd name="connsiteX59" fmla="*/ 255270 w 1081087"/>
                    <a:gd name="connsiteY59" fmla="*/ 278130 h 410527"/>
                    <a:gd name="connsiteX60" fmla="*/ 221933 w 1081087"/>
                    <a:gd name="connsiteY60" fmla="*/ 289560 h 410527"/>
                    <a:gd name="connsiteX61" fmla="*/ 220028 w 1081087"/>
                    <a:gd name="connsiteY61" fmla="*/ 271463 h 410527"/>
                    <a:gd name="connsiteX62" fmla="*/ 211455 w 1081087"/>
                    <a:gd name="connsiteY62" fmla="*/ 260985 h 410527"/>
                    <a:gd name="connsiteX63" fmla="*/ 195263 w 1081087"/>
                    <a:gd name="connsiteY63" fmla="*/ 253365 h 410527"/>
                    <a:gd name="connsiteX64" fmla="*/ 192405 w 1081087"/>
                    <a:gd name="connsiteY64" fmla="*/ 245745 h 410527"/>
                    <a:gd name="connsiteX65" fmla="*/ 202883 w 1081087"/>
                    <a:gd name="connsiteY65" fmla="*/ 237173 h 410527"/>
                    <a:gd name="connsiteX66" fmla="*/ 180975 w 1081087"/>
                    <a:gd name="connsiteY66" fmla="*/ 225743 h 410527"/>
                    <a:gd name="connsiteX67" fmla="*/ 156210 w 1081087"/>
                    <a:gd name="connsiteY67" fmla="*/ 226695 h 410527"/>
                    <a:gd name="connsiteX68" fmla="*/ 93345 w 1081087"/>
                    <a:gd name="connsiteY68" fmla="*/ 221933 h 410527"/>
                    <a:gd name="connsiteX69" fmla="*/ 57150 w 1081087"/>
                    <a:gd name="connsiteY69" fmla="*/ 231458 h 410527"/>
                    <a:gd name="connsiteX70" fmla="*/ 38100 w 1081087"/>
                    <a:gd name="connsiteY70" fmla="*/ 232410 h 410527"/>
                    <a:gd name="connsiteX71" fmla="*/ 29528 w 1081087"/>
                    <a:gd name="connsiteY71" fmla="*/ 222885 h 410527"/>
                    <a:gd name="connsiteX72" fmla="*/ 29528 w 1081087"/>
                    <a:gd name="connsiteY72" fmla="*/ 212408 h 410527"/>
                    <a:gd name="connsiteX73" fmla="*/ 43815 w 1081087"/>
                    <a:gd name="connsiteY73" fmla="*/ 209550 h 410527"/>
                    <a:gd name="connsiteX74" fmla="*/ 60960 w 1081087"/>
                    <a:gd name="connsiteY74" fmla="*/ 210503 h 410527"/>
                    <a:gd name="connsiteX75" fmla="*/ 100013 w 1081087"/>
                    <a:gd name="connsiteY75" fmla="*/ 204788 h 410527"/>
                    <a:gd name="connsiteX76" fmla="*/ 113348 w 1081087"/>
                    <a:gd name="connsiteY76" fmla="*/ 199073 h 410527"/>
                    <a:gd name="connsiteX77" fmla="*/ 120967 w 1081087"/>
                    <a:gd name="connsiteY77" fmla="*/ 203835 h 410527"/>
                    <a:gd name="connsiteX78" fmla="*/ 155258 w 1081087"/>
                    <a:gd name="connsiteY78" fmla="*/ 193358 h 410527"/>
                    <a:gd name="connsiteX79" fmla="*/ 164783 w 1081087"/>
                    <a:gd name="connsiteY79" fmla="*/ 195263 h 410527"/>
                    <a:gd name="connsiteX80" fmla="*/ 202883 w 1081087"/>
                    <a:gd name="connsiteY80" fmla="*/ 193358 h 410527"/>
                    <a:gd name="connsiteX81" fmla="*/ 244792 w 1081087"/>
                    <a:gd name="connsiteY81" fmla="*/ 192405 h 410527"/>
                    <a:gd name="connsiteX82" fmla="*/ 255270 w 1081087"/>
                    <a:gd name="connsiteY82" fmla="*/ 184785 h 410527"/>
                    <a:gd name="connsiteX83" fmla="*/ 259080 w 1081087"/>
                    <a:gd name="connsiteY83" fmla="*/ 174308 h 410527"/>
                    <a:gd name="connsiteX84" fmla="*/ 232410 w 1081087"/>
                    <a:gd name="connsiteY84" fmla="*/ 182880 h 410527"/>
                    <a:gd name="connsiteX85" fmla="*/ 197167 w 1081087"/>
                    <a:gd name="connsiteY85" fmla="*/ 178118 h 410527"/>
                    <a:gd name="connsiteX86" fmla="*/ 191453 w 1081087"/>
                    <a:gd name="connsiteY86" fmla="*/ 169545 h 410527"/>
                    <a:gd name="connsiteX87" fmla="*/ 225742 w 1081087"/>
                    <a:gd name="connsiteY87" fmla="*/ 154305 h 410527"/>
                    <a:gd name="connsiteX88" fmla="*/ 251460 w 1081087"/>
                    <a:gd name="connsiteY88" fmla="*/ 146685 h 410527"/>
                    <a:gd name="connsiteX89" fmla="*/ 243840 w 1081087"/>
                    <a:gd name="connsiteY89" fmla="*/ 134303 h 410527"/>
                    <a:gd name="connsiteX90" fmla="*/ 213360 w 1081087"/>
                    <a:gd name="connsiteY90" fmla="*/ 136208 h 410527"/>
                    <a:gd name="connsiteX91" fmla="*/ 206692 w 1081087"/>
                    <a:gd name="connsiteY91" fmla="*/ 128588 h 410527"/>
                    <a:gd name="connsiteX92" fmla="*/ 181928 w 1081087"/>
                    <a:gd name="connsiteY92" fmla="*/ 124778 h 410527"/>
                    <a:gd name="connsiteX93" fmla="*/ 164783 w 1081087"/>
                    <a:gd name="connsiteY93" fmla="*/ 127635 h 410527"/>
                    <a:gd name="connsiteX94" fmla="*/ 156210 w 1081087"/>
                    <a:gd name="connsiteY94" fmla="*/ 122873 h 410527"/>
                    <a:gd name="connsiteX95" fmla="*/ 133350 w 1081087"/>
                    <a:gd name="connsiteY95" fmla="*/ 128588 h 410527"/>
                    <a:gd name="connsiteX96" fmla="*/ 83820 w 1081087"/>
                    <a:gd name="connsiteY96" fmla="*/ 137160 h 410527"/>
                    <a:gd name="connsiteX97" fmla="*/ 52388 w 1081087"/>
                    <a:gd name="connsiteY97" fmla="*/ 145733 h 410527"/>
                    <a:gd name="connsiteX98" fmla="*/ 22860 w 1081087"/>
                    <a:gd name="connsiteY98" fmla="*/ 135255 h 410527"/>
                    <a:gd name="connsiteX99" fmla="*/ 0 w 1081087"/>
                    <a:gd name="connsiteY99" fmla="*/ 133350 h 410527"/>
                    <a:gd name="connsiteX100" fmla="*/ 13335 w 1081087"/>
                    <a:gd name="connsiteY100" fmla="*/ 120015 h 410527"/>
                    <a:gd name="connsiteX101" fmla="*/ 32385 w 1081087"/>
                    <a:gd name="connsiteY101" fmla="*/ 119063 h 410527"/>
                    <a:gd name="connsiteX102" fmla="*/ 48578 w 1081087"/>
                    <a:gd name="connsiteY102" fmla="*/ 126683 h 410527"/>
                    <a:gd name="connsiteX103" fmla="*/ 49530 w 1081087"/>
                    <a:gd name="connsiteY103" fmla="*/ 96203 h 410527"/>
                    <a:gd name="connsiteX104" fmla="*/ 60960 w 1081087"/>
                    <a:gd name="connsiteY104" fmla="*/ 99060 h 410527"/>
                    <a:gd name="connsiteX105" fmla="*/ 87630 w 1081087"/>
                    <a:gd name="connsiteY105" fmla="*/ 109538 h 410527"/>
                    <a:gd name="connsiteX106" fmla="*/ 80963 w 1081087"/>
                    <a:gd name="connsiteY106" fmla="*/ 82868 h 410527"/>
                    <a:gd name="connsiteX107" fmla="*/ 101917 w 1081087"/>
                    <a:gd name="connsiteY107" fmla="*/ 83820 h 410527"/>
                    <a:gd name="connsiteX108" fmla="*/ 80963 w 1081087"/>
                    <a:gd name="connsiteY108" fmla="*/ 68580 h 410527"/>
                    <a:gd name="connsiteX109" fmla="*/ 85725 w 1081087"/>
                    <a:gd name="connsiteY109" fmla="*/ 59055 h 410527"/>
                    <a:gd name="connsiteX110" fmla="*/ 100965 w 1081087"/>
                    <a:gd name="connsiteY110" fmla="*/ 56198 h 410527"/>
                    <a:gd name="connsiteX111" fmla="*/ 108585 w 1081087"/>
                    <a:gd name="connsiteY111" fmla="*/ 46673 h 410527"/>
                    <a:gd name="connsiteX112" fmla="*/ 131445 w 1081087"/>
                    <a:gd name="connsiteY112" fmla="*/ 46673 h 410527"/>
                    <a:gd name="connsiteX113" fmla="*/ 153353 w 1081087"/>
                    <a:gd name="connsiteY113" fmla="*/ 57150 h 410527"/>
                    <a:gd name="connsiteX114" fmla="*/ 155258 w 1081087"/>
                    <a:gd name="connsiteY114" fmla="*/ 70485 h 410527"/>
                    <a:gd name="connsiteX115" fmla="*/ 175260 w 1081087"/>
                    <a:gd name="connsiteY115" fmla="*/ 70485 h 410527"/>
                    <a:gd name="connsiteX116" fmla="*/ 185738 w 1081087"/>
                    <a:gd name="connsiteY116" fmla="*/ 62865 h 410527"/>
                    <a:gd name="connsiteX117" fmla="*/ 194310 w 1081087"/>
                    <a:gd name="connsiteY117" fmla="*/ 68580 h 410527"/>
                    <a:gd name="connsiteX118" fmla="*/ 199073 w 1081087"/>
                    <a:gd name="connsiteY118" fmla="*/ 80010 h 410527"/>
                    <a:gd name="connsiteX119" fmla="*/ 210503 w 1081087"/>
                    <a:gd name="connsiteY119" fmla="*/ 80010 h 410527"/>
                    <a:gd name="connsiteX120" fmla="*/ 214313 w 1081087"/>
                    <a:gd name="connsiteY120" fmla="*/ 59055 h 410527"/>
                    <a:gd name="connsiteX121" fmla="*/ 180023 w 1081087"/>
                    <a:gd name="connsiteY121" fmla="*/ 48578 h 410527"/>
                    <a:gd name="connsiteX122" fmla="*/ 177165 w 1081087"/>
                    <a:gd name="connsiteY122" fmla="*/ 35243 h 410527"/>
                    <a:gd name="connsiteX123" fmla="*/ 212408 w 1081087"/>
                    <a:gd name="connsiteY123" fmla="*/ 34290 h 410527"/>
                    <a:gd name="connsiteX124" fmla="*/ 196215 w 1081087"/>
                    <a:gd name="connsiteY124" fmla="*/ 23813 h 410527"/>
                    <a:gd name="connsiteX125" fmla="*/ 167640 w 1081087"/>
                    <a:gd name="connsiteY125" fmla="*/ 25718 h 410527"/>
                    <a:gd name="connsiteX126" fmla="*/ 154305 w 1081087"/>
                    <a:gd name="connsiteY126" fmla="*/ 21908 h 410527"/>
                    <a:gd name="connsiteX127" fmla="*/ 179070 w 1081087"/>
                    <a:gd name="connsiteY127" fmla="*/ 10478 h 410527"/>
                    <a:gd name="connsiteX128" fmla="*/ 211455 w 1081087"/>
                    <a:gd name="connsiteY128" fmla="*/ 10478 h 410527"/>
                    <a:gd name="connsiteX129" fmla="*/ 224790 w 1081087"/>
                    <a:gd name="connsiteY129" fmla="*/ 12383 h 410527"/>
                    <a:gd name="connsiteX130" fmla="*/ 246698 w 1081087"/>
                    <a:gd name="connsiteY130" fmla="*/ 28575 h 410527"/>
                    <a:gd name="connsiteX131" fmla="*/ 265748 w 1081087"/>
                    <a:gd name="connsiteY131" fmla="*/ 34290 h 410527"/>
                    <a:gd name="connsiteX132" fmla="*/ 295275 w 1081087"/>
                    <a:gd name="connsiteY132" fmla="*/ 56198 h 410527"/>
                    <a:gd name="connsiteX133" fmla="*/ 316230 w 1081087"/>
                    <a:gd name="connsiteY133" fmla="*/ 64770 h 410527"/>
                    <a:gd name="connsiteX134" fmla="*/ 316230 w 1081087"/>
                    <a:gd name="connsiteY134" fmla="*/ 76200 h 410527"/>
                    <a:gd name="connsiteX135" fmla="*/ 322898 w 1081087"/>
                    <a:gd name="connsiteY135" fmla="*/ 83820 h 410527"/>
                    <a:gd name="connsiteX136" fmla="*/ 300990 w 1081087"/>
                    <a:gd name="connsiteY136" fmla="*/ 116205 h 410527"/>
                    <a:gd name="connsiteX137" fmla="*/ 309563 w 1081087"/>
                    <a:gd name="connsiteY137" fmla="*/ 122873 h 410527"/>
                    <a:gd name="connsiteX138" fmla="*/ 301942 w 1081087"/>
                    <a:gd name="connsiteY138" fmla="*/ 138113 h 410527"/>
                    <a:gd name="connsiteX139" fmla="*/ 320040 w 1081087"/>
                    <a:gd name="connsiteY139" fmla="*/ 143828 h 410527"/>
                    <a:gd name="connsiteX140" fmla="*/ 329565 w 1081087"/>
                    <a:gd name="connsiteY140" fmla="*/ 160020 h 410527"/>
                    <a:gd name="connsiteX141" fmla="*/ 338138 w 1081087"/>
                    <a:gd name="connsiteY141" fmla="*/ 142875 h 410527"/>
                    <a:gd name="connsiteX142" fmla="*/ 352425 w 1081087"/>
                    <a:gd name="connsiteY142" fmla="*/ 124778 h 410527"/>
                    <a:gd name="connsiteX143" fmla="*/ 374333 w 1081087"/>
                    <a:gd name="connsiteY143" fmla="*/ 112395 h 410527"/>
                    <a:gd name="connsiteX144" fmla="*/ 382905 w 1081087"/>
                    <a:gd name="connsiteY144" fmla="*/ 113348 h 410527"/>
                    <a:gd name="connsiteX145" fmla="*/ 391478 w 1081087"/>
                    <a:gd name="connsiteY145" fmla="*/ 122873 h 410527"/>
                    <a:gd name="connsiteX146" fmla="*/ 400050 w 1081087"/>
                    <a:gd name="connsiteY146" fmla="*/ 123825 h 410527"/>
                    <a:gd name="connsiteX147" fmla="*/ 413385 w 1081087"/>
                    <a:gd name="connsiteY147" fmla="*/ 104775 h 410527"/>
                    <a:gd name="connsiteX148" fmla="*/ 420053 w 1081087"/>
                    <a:gd name="connsiteY148" fmla="*/ 63818 h 410527"/>
                    <a:gd name="connsiteX149" fmla="*/ 436245 w 1081087"/>
                    <a:gd name="connsiteY149" fmla="*/ 55245 h 410527"/>
                    <a:gd name="connsiteX150" fmla="*/ 453390 w 1081087"/>
                    <a:gd name="connsiteY150" fmla="*/ 61913 h 410527"/>
                    <a:gd name="connsiteX151" fmla="*/ 465773 w 1081087"/>
                    <a:gd name="connsiteY151" fmla="*/ 77153 h 410527"/>
                    <a:gd name="connsiteX152" fmla="*/ 490538 w 1081087"/>
                    <a:gd name="connsiteY152" fmla="*/ 97155 h 410527"/>
                    <a:gd name="connsiteX153" fmla="*/ 507683 w 1081087"/>
                    <a:gd name="connsiteY153" fmla="*/ 92393 h 410527"/>
                    <a:gd name="connsiteX154" fmla="*/ 508635 w 1081087"/>
                    <a:gd name="connsiteY154" fmla="*/ 70485 h 410527"/>
                    <a:gd name="connsiteX155" fmla="*/ 518160 w 1081087"/>
                    <a:gd name="connsiteY155" fmla="*/ 58103 h 410527"/>
                    <a:gd name="connsiteX156" fmla="*/ 537210 w 1081087"/>
                    <a:gd name="connsiteY156" fmla="*/ 55245 h 410527"/>
                    <a:gd name="connsiteX157" fmla="*/ 558165 w 1081087"/>
                    <a:gd name="connsiteY157" fmla="*/ 47625 h 410527"/>
                    <a:gd name="connsiteX158" fmla="*/ 580073 w 1081087"/>
                    <a:gd name="connsiteY158" fmla="*/ 45720 h 410527"/>
                    <a:gd name="connsiteX159" fmla="*/ 596265 w 1081087"/>
                    <a:gd name="connsiteY159" fmla="*/ 59055 h 410527"/>
                    <a:gd name="connsiteX160" fmla="*/ 607695 w 1081087"/>
                    <a:gd name="connsiteY160" fmla="*/ 72390 h 410527"/>
                    <a:gd name="connsiteX161" fmla="*/ 623888 w 1081087"/>
                    <a:gd name="connsiteY161" fmla="*/ 82868 h 410527"/>
                    <a:gd name="connsiteX162" fmla="*/ 630555 w 1081087"/>
                    <a:gd name="connsiteY162" fmla="*/ 100013 h 410527"/>
                    <a:gd name="connsiteX163" fmla="*/ 639128 w 1081087"/>
                    <a:gd name="connsiteY163" fmla="*/ 97155 h 410527"/>
                    <a:gd name="connsiteX164" fmla="*/ 637223 w 1081087"/>
                    <a:gd name="connsiteY164" fmla="*/ 80963 h 410527"/>
                    <a:gd name="connsiteX165" fmla="*/ 623888 w 1081087"/>
                    <a:gd name="connsiteY165" fmla="*/ 56198 h 410527"/>
                    <a:gd name="connsiteX166" fmla="*/ 626745 w 1081087"/>
                    <a:gd name="connsiteY166" fmla="*/ 47625 h 410527"/>
                    <a:gd name="connsiteX167" fmla="*/ 665798 w 1081087"/>
                    <a:gd name="connsiteY167" fmla="*/ 49530 h 410527"/>
                    <a:gd name="connsiteX168" fmla="*/ 694373 w 1081087"/>
                    <a:gd name="connsiteY168" fmla="*/ 71438 h 410527"/>
                    <a:gd name="connsiteX169" fmla="*/ 706755 w 1081087"/>
                    <a:gd name="connsiteY169" fmla="*/ 68580 h 410527"/>
                    <a:gd name="connsiteX170" fmla="*/ 741045 w 1081087"/>
                    <a:gd name="connsiteY170" fmla="*/ 41910 h 410527"/>
                    <a:gd name="connsiteX171" fmla="*/ 762953 w 1081087"/>
                    <a:gd name="connsiteY171" fmla="*/ 49530 h 410527"/>
                    <a:gd name="connsiteX172" fmla="*/ 780098 w 1081087"/>
                    <a:gd name="connsiteY172" fmla="*/ 50483 h 410527"/>
                    <a:gd name="connsiteX173" fmla="*/ 806768 w 1081087"/>
                    <a:gd name="connsiteY173" fmla="*/ 42863 h 410527"/>
                    <a:gd name="connsiteX174" fmla="*/ 814388 w 1081087"/>
                    <a:gd name="connsiteY174" fmla="*/ 31433 h 410527"/>
                    <a:gd name="connsiteX175" fmla="*/ 805815 w 1081087"/>
                    <a:gd name="connsiteY175" fmla="*/ 9525 h 410527"/>
                    <a:gd name="connsiteX176" fmla="*/ 811530 w 1081087"/>
                    <a:gd name="connsiteY176" fmla="*/ 5715 h 410527"/>
                    <a:gd name="connsiteX177" fmla="*/ 836295 w 1081087"/>
                    <a:gd name="connsiteY177" fmla="*/ 0 h 410527"/>
                    <a:gd name="connsiteX178" fmla="*/ 862013 w 1081087"/>
                    <a:gd name="connsiteY178" fmla="*/ 953 h 410527"/>
                    <a:gd name="connsiteX179" fmla="*/ 886778 w 1081087"/>
                    <a:gd name="connsiteY179" fmla="*/ 20955 h 410527"/>
                    <a:gd name="connsiteX180" fmla="*/ 885825 w 1081087"/>
                    <a:gd name="connsiteY180" fmla="*/ 30480 h 410527"/>
                    <a:gd name="connsiteX181" fmla="*/ 901065 w 1081087"/>
                    <a:gd name="connsiteY181" fmla="*/ 38100 h 4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081087" h="410527">
                      <a:moveTo>
                        <a:pt x="901065" y="38100"/>
                      </a:moveTo>
                      <a:lnTo>
                        <a:pt x="912495" y="39053"/>
                      </a:lnTo>
                      <a:lnTo>
                        <a:pt x="939165" y="31433"/>
                      </a:lnTo>
                      <a:lnTo>
                        <a:pt x="960120" y="20955"/>
                      </a:lnTo>
                      <a:lnTo>
                        <a:pt x="964883" y="31433"/>
                      </a:lnTo>
                      <a:lnTo>
                        <a:pt x="941070" y="54293"/>
                      </a:lnTo>
                      <a:lnTo>
                        <a:pt x="962025" y="62865"/>
                      </a:lnTo>
                      <a:lnTo>
                        <a:pt x="981075" y="65723"/>
                      </a:lnTo>
                      <a:lnTo>
                        <a:pt x="980123" y="81915"/>
                      </a:lnTo>
                      <a:lnTo>
                        <a:pt x="963930" y="97155"/>
                      </a:lnTo>
                      <a:lnTo>
                        <a:pt x="971550" y="100013"/>
                      </a:lnTo>
                      <a:lnTo>
                        <a:pt x="1004888" y="95250"/>
                      </a:lnTo>
                      <a:lnTo>
                        <a:pt x="1014413" y="117158"/>
                      </a:lnTo>
                      <a:lnTo>
                        <a:pt x="1028700" y="115253"/>
                      </a:lnTo>
                      <a:lnTo>
                        <a:pt x="1051560" y="118110"/>
                      </a:lnTo>
                      <a:lnTo>
                        <a:pt x="1064895" y="129540"/>
                      </a:lnTo>
                      <a:lnTo>
                        <a:pt x="1076325" y="126683"/>
                      </a:lnTo>
                      <a:lnTo>
                        <a:pt x="1081088" y="135255"/>
                      </a:lnTo>
                      <a:lnTo>
                        <a:pt x="1074420" y="146685"/>
                      </a:lnTo>
                      <a:lnTo>
                        <a:pt x="1060133" y="152400"/>
                      </a:lnTo>
                      <a:lnTo>
                        <a:pt x="1080135" y="180023"/>
                      </a:lnTo>
                      <a:lnTo>
                        <a:pt x="1080135" y="190500"/>
                      </a:lnTo>
                      <a:lnTo>
                        <a:pt x="1070610" y="197168"/>
                      </a:lnTo>
                      <a:lnTo>
                        <a:pt x="1058227" y="197168"/>
                      </a:lnTo>
                      <a:lnTo>
                        <a:pt x="1048703" y="217170"/>
                      </a:lnTo>
                      <a:lnTo>
                        <a:pt x="1037273" y="227648"/>
                      </a:lnTo>
                      <a:lnTo>
                        <a:pt x="1018223" y="237173"/>
                      </a:lnTo>
                      <a:lnTo>
                        <a:pt x="993458" y="232410"/>
                      </a:lnTo>
                      <a:lnTo>
                        <a:pt x="982980" y="246698"/>
                      </a:lnTo>
                      <a:lnTo>
                        <a:pt x="984885" y="260033"/>
                      </a:lnTo>
                      <a:lnTo>
                        <a:pt x="972503" y="272415"/>
                      </a:lnTo>
                      <a:lnTo>
                        <a:pt x="922020" y="292418"/>
                      </a:lnTo>
                      <a:lnTo>
                        <a:pt x="898208" y="292418"/>
                      </a:lnTo>
                      <a:lnTo>
                        <a:pt x="873443" y="297180"/>
                      </a:lnTo>
                      <a:lnTo>
                        <a:pt x="814388" y="316230"/>
                      </a:lnTo>
                      <a:lnTo>
                        <a:pt x="769620" y="342900"/>
                      </a:lnTo>
                      <a:lnTo>
                        <a:pt x="750570" y="349568"/>
                      </a:lnTo>
                      <a:lnTo>
                        <a:pt x="721043" y="352425"/>
                      </a:lnTo>
                      <a:lnTo>
                        <a:pt x="703898" y="357188"/>
                      </a:lnTo>
                      <a:lnTo>
                        <a:pt x="647700" y="364808"/>
                      </a:lnTo>
                      <a:lnTo>
                        <a:pt x="628650" y="369570"/>
                      </a:lnTo>
                      <a:lnTo>
                        <a:pt x="617220" y="380048"/>
                      </a:lnTo>
                      <a:lnTo>
                        <a:pt x="612458" y="393383"/>
                      </a:lnTo>
                      <a:lnTo>
                        <a:pt x="574358" y="403860"/>
                      </a:lnTo>
                      <a:lnTo>
                        <a:pt x="538163" y="410528"/>
                      </a:lnTo>
                      <a:lnTo>
                        <a:pt x="477203" y="405765"/>
                      </a:lnTo>
                      <a:lnTo>
                        <a:pt x="425767" y="393383"/>
                      </a:lnTo>
                      <a:lnTo>
                        <a:pt x="382905" y="390525"/>
                      </a:lnTo>
                      <a:lnTo>
                        <a:pt x="346710" y="366713"/>
                      </a:lnTo>
                      <a:lnTo>
                        <a:pt x="319088" y="357188"/>
                      </a:lnTo>
                      <a:lnTo>
                        <a:pt x="284798" y="340043"/>
                      </a:lnTo>
                      <a:lnTo>
                        <a:pt x="262890" y="350520"/>
                      </a:lnTo>
                      <a:lnTo>
                        <a:pt x="144780" y="353378"/>
                      </a:lnTo>
                      <a:lnTo>
                        <a:pt x="137160" y="348615"/>
                      </a:lnTo>
                      <a:lnTo>
                        <a:pt x="135255" y="328613"/>
                      </a:lnTo>
                      <a:lnTo>
                        <a:pt x="145733" y="320993"/>
                      </a:lnTo>
                      <a:lnTo>
                        <a:pt x="158115" y="332423"/>
                      </a:lnTo>
                      <a:lnTo>
                        <a:pt x="205740" y="321945"/>
                      </a:lnTo>
                      <a:lnTo>
                        <a:pt x="231458" y="303848"/>
                      </a:lnTo>
                      <a:lnTo>
                        <a:pt x="255270" y="278130"/>
                      </a:lnTo>
                      <a:lnTo>
                        <a:pt x="221933" y="289560"/>
                      </a:lnTo>
                      <a:lnTo>
                        <a:pt x="220028" y="271463"/>
                      </a:lnTo>
                      <a:lnTo>
                        <a:pt x="211455" y="260985"/>
                      </a:lnTo>
                      <a:lnTo>
                        <a:pt x="195263" y="253365"/>
                      </a:lnTo>
                      <a:lnTo>
                        <a:pt x="192405" y="245745"/>
                      </a:lnTo>
                      <a:lnTo>
                        <a:pt x="202883" y="237173"/>
                      </a:lnTo>
                      <a:lnTo>
                        <a:pt x="180975" y="225743"/>
                      </a:lnTo>
                      <a:lnTo>
                        <a:pt x="156210" y="226695"/>
                      </a:lnTo>
                      <a:lnTo>
                        <a:pt x="93345" y="221933"/>
                      </a:lnTo>
                      <a:lnTo>
                        <a:pt x="57150" y="231458"/>
                      </a:lnTo>
                      <a:lnTo>
                        <a:pt x="38100" y="232410"/>
                      </a:lnTo>
                      <a:lnTo>
                        <a:pt x="29528" y="222885"/>
                      </a:lnTo>
                      <a:lnTo>
                        <a:pt x="29528" y="212408"/>
                      </a:lnTo>
                      <a:lnTo>
                        <a:pt x="43815" y="209550"/>
                      </a:lnTo>
                      <a:lnTo>
                        <a:pt x="60960" y="210503"/>
                      </a:lnTo>
                      <a:lnTo>
                        <a:pt x="100013" y="204788"/>
                      </a:lnTo>
                      <a:lnTo>
                        <a:pt x="113348" y="199073"/>
                      </a:lnTo>
                      <a:lnTo>
                        <a:pt x="120967" y="203835"/>
                      </a:lnTo>
                      <a:lnTo>
                        <a:pt x="155258" y="193358"/>
                      </a:lnTo>
                      <a:lnTo>
                        <a:pt x="164783" y="195263"/>
                      </a:lnTo>
                      <a:lnTo>
                        <a:pt x="202883" y="193358"/>
                      </a:lnTo>
                      <a:lnTo>
                        <a:pt x="244792" y="192405"/>
                      </a:lnTo>
                      <a:lnTo>
                        <a:pt x="255270" y="184785"/>
                      </a:lnTo>
                      <a:lnTo>
                        <a:pt x="259080" y="174308"/>
                      </a:lnTo>
                      <a:lnTo>
                        <a:pt x="232410" y="182880"/>
                      </a:lnTo>
                      <a:lnTo>
                        <a:pt x="197167" y="178118"/>
                      </a:lnTo>
                      <a:lnTo>
                        <a:pt x="191453" y="169545"/>
                      </a:lnTo>
                      <a:lnTo>
                        <a:pt x="225742" y="154305"/>
                      </a:lnTo>
                      <a:lnTo>
                        <a:pt x="251460" y="146685"/>
                      </a:lnTo>
                      <a:lnTo>
                        <a:pt x="243840" y="134303"/>
                      </a:lnTo>
                      <a:lnTo>
                        <a:pt x="213360" y="136208"/>
                      </a:lnTo>
                      <a:lnTo>
                        <a:pt x="206692" y="128588"/>
                      </a:lnTo>
                      <a:lnTo>
                        <a:pt x="181928" y="124778"/>
                      </a:lnTo>
                      <a:lnTo>
                        <a:pt x="164783" y="127635"/>
                      </a:lnTo>
                      <a:lnTo>
                        <a:pt x="156210" y="122873"/>
                      </a:lnTo>
                      <a:lnTo>
                        <a:pt x="133350" y="128588"/>
                      </a:lnTo>
                      <a:lnTo>
                        <a:pt x="83820" y="137160"/>
                      </a:lnTo>
                      <a:lnTo>
                        <a:pt x="52388" y="145733"/>
                      </a:lnTo>
                      <a:lnTo>
                        <a:pt x="22860" y="135255"/>
                      </a:lnTo>
                      <a:lnTo>
                        <a:pt x="0" y="133350"/>
                      </a:lnTo>
                      <a:lnTo>
                        <a:pt x="13335" y="120015"/>
                      </a:lnTo>
                      <a:lnTo>
                        <a:pt x="32385" y="119063"/>
                      </a:lnTo>
                      <a:lnTo>
                        <a:pt x="48578" y="126683"/>
                      </a:lnTo>
                      <a:lnTo>
                        <a:pt x="49530" y="96203"/>
                      </a:lnTo>
                      <a:lnTo>
                        <a:pt x="60960" y="99060"/>
                      </a:lnTo>
                      <a:lnTo>
                        <a:pt x="87630" y="109538"/>
                      </a:lnTo>
                      <a:lnTo>
                        <a:pt x="80963" y="82868"/>
                      </a:lnTo>
                      <a:lnTo>
                        <a:pt x="101917" y="83820"/>
                      </a:lnTo>
                      <a:lnTo>
                        <a:pt x="80963" y="68580"/>
                      </a:lnTo>
                      <a:lnTo>
                        <a:pt x="85725" y="59055"/>
                      </a:lnTo>
                      <a:lnTo>
                        <a:pt x="100965" y="56198"/>
                      </a:lnTo>
                      <a:lnTo>
                        <a:pt x="108585" y="46673"/>
                      </a:lnTo>
                      <a:lnTo>
                        <a:pt x="131445" y="46673"/>
                      </a:lnTo>
                      <a:lnTo>
                        <a:pt x="153353" y="57150"/>
                      </a:lnTo>
                      <a:lnTo>
                        <a:pt x="155258" y="70485"/>
                      </a:lnTo>
                      <a:lnTo>
                        <a:pt x="175260" y="70485"/>
                      </a:lnTo>
                      <a:lnTo>
                        <a:pt x="185738" y="62865"/>
                      </a:lnTo>
                      <a:lnTo>
                        <a:pt x="194310" y="68580"/>
                      </a:lnTo>
                      <a:lnTo>
                        <a:pt x="199073" y="80010"/>
                      </a:lnTo>
                      <a:lnTo>
                        <a:pt x="210503" y="80010"/>
                      </a:lnTo>
                      <a:lnTo>
                        <a:pt x="214313" y="59055"/>
                      </a:lnTo>
                      <a:lnTo>
                        <a:pt x="180023" y="48578"/>
                      </a:lnTo>
                      <a:lnTo>
                        <a:pt x="177165" y="35243"/>
                      </a:lnTo>
                      <a:lnTo>
                        <a:pt x="212408" y="34290"/>
                      </a:lnTo>
                      <a:lnTo>
                        <a:pt x="196215" y="23813"/>
                      </a:lnTo>
                      <a:lnTo>
                        <a:pt x="167640" y="25718"/>
                      </a:lnTo>
                      <a:lnTo>
                        <a:pt x="154305" y="21908"/>
                      </a:lnTo>
                      <a:lnTo>
                        <a:pt x="179070" y="10478"/>
                      </a:lnTo>
                      <a:lnTo>
                        <a:pt x="211455" y="10478"/>
                      </a:lnTo>
                      <a:lnTo>
                        <a:pt x="224790" y="12383"/>
                      </a:lnTo>
                      <a:lnTo>
                        <a:pt x="246698" y="28575"/>
                      </a:lnTo>
                      <a:lnTo>
                        <a:pt x="265748" y="34290"/>
                      </a:lnTo>
                      <a:lnTo>
                        <a:pt x="295275" y="56198"/>
                      </a:lnTo>
                      <a:lnTo>
                        <a:pt x="316230" y="64770"/>
                      </a:lnTo>
                      <a:lnTo>
                        <a:pt x="316230" y="76200"/>
                      </a:lnTo>
                      <a:lnTo>
                        <a:pt x="322898" y="83820"/>
                      </a:lnTo>
                      <a:lnTo>
                        <a:pt x="300990" y="116205"/>
                      </a:lnTo>
                      <a:lnTo>
                        <a:pt x="309563" y="122873"/>
                      </a:lnTo>
                      <a:lnTo>
                        <a:pt x="301942" y="138113"/>
                      </a:lnTo>
                      <a:lnTo>
                        <a:pt x="320040" y="143828"/>
                      </a:lnTo>
                      <a:lnTo>
                        <a:pt x="329565" y="160020"/>
                      </a:lnTo>
                      <a:lnTo>
                        <a:pt x="338138" y="142875"/>
                      </a:lnTo>
                      <a:lnTo>
                        <a:pt x="352425" y="124778"/>
                      </a:lnTo>
                      <a:lnTo>
                        <a:pt x="374333" y="112395"/>
                      </a:lnTo>
                      <a:lnTo>
                        <a:pt x="382905" y="113348"/>
                      </a:lnTo>
                      <a:lnTo>
                        <a:pt x="391478" y="122873"/>
                      </a:lnTo>
                      <a:lnTo>
                        <a:pt x="400050" y="123825"/>
                      </a:lnTo>
                      <a:lnTo>
                        <a:pt x="413385" y="104775"/>
                      </a:lnTo>
                      <a:lnTo>
                        <a:pt x="420053" y="63818"/>
                      </a:lnTo>
                      <a:lnTo>
                        <a:pt x="436245" y="55245"/>
                      </a:lnTo>
                      <a:lnTo>
                        <a:pt x="453390" y="61913"/>
                      </a:lnTo>
                      <a:lnTo>
                        <a:pt x="465773" y="77153"/>
                      </a:lnTo>
                      <a:lnTo>
                        <a:pt x="490538" y="97155"/>
                      </a:lnTo>
                      <a:lnTo>
                        <a:pt x="507683" y="92393"/>
                      </a:lnTo>
                      <a:lnTo>
                        <a:pt x="508635" y="70485"/>
                      </a:lnTo>
                      <a:lnTo>
                        <a:pt x="518160" y="58103"/>
                      </a:lnTo>
                      <a:lnTo>
                        <a:pt x="537210" y="55245"/>
                      </a:lnTo>
                      <a:lnTo>
                        <a:pt x="558165" y="47625"/>
                      </a:lnTo>
                      <a:lnTo>
                        <a:pt x="580073" y="45720"/>
                      </a:lnTo>
                      <a:lnTo>
                        <a:pt x="596265" y="59055"/>
                      </a:lnTo>
                      <a:lnTo>
                        <a:pt x="607695" y="72390"/>
                      </a:lnTo>
                      <a:lnTo>
                        <a:pt x="623888" y="82868"/>
                      </a:lnTo>
                      <a:lnTo>
                        <a:pt x="630555" y="100013"/>
                      </a:lnTo>
                      <a:lnTo>
                        <a:pt x="639128" y="97155"/>
                      </a:lnTo>
                      <a:lnTo>
                        <a:pt x="637223" y="80963"/>
                      </a:lnTo>
                      <a:lnTo>
                        <a:pt x="623888" y="56198"/>
                      </a:lnTo>
                      <a:lnTo>
                        <a:pt x="626745" y="47625"/>
                      </a:lnTo>
                      <a:lnTo>
                        <a:pt x="665798" y="49530"/>
                      </a:lnTo>
                      <a:lnTo>
                        <a:pt x="694373" y="71438"/>
                      </a:lnTo>
                      <a:lnTo>
                        <a:pt x="706755" y="68580"/>
                      </a:lnTo>
                      <a:lnTo>
                        <a:pt x="741045" y="41910"/>
                      </a:lnTo>
                      <a:lnTo>
                        <a:pt x="762953" y="49530"/>
                      </a:lnTo>
                      <a:lnTo>
                        <a:pt x="780098" y="50483"/>
                      </a:lnTo>
                      <a:lnTo>
                        <a:pt x="806768" y="42863"/>
                      </a:lnTo>
                      <a:lnTo>
                        <a:pt x="814388" y="31433"/>
                      </a:lnTo>
                      <a:lnTo>
                        <a:pt x="805815" y="9525"/>
                      </a:lnTo>
                      <a:lnTo>
                        <a:pt x="811530" y="5715"/>
                      </a:lnTo>
                      <a:lnTo>
                        <a:pt x="836295" y="0"/>
                      </a:lnTo>
                      <a:lnTo>
                        <a:pt x="862013" y="953"/>
                      </a:lnTo>
                      <a:lnTo>
                        <a:pt x="886778" y="20955"/>
                      </a:lnTo>
                      <a:lnTo>
                        <a:pt x="885825" y="30480"/>
                      </a:lnTo>
                      <a:lnTo>
                        <a:pt x="901065" y="3810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2" name="Italy" descr="{&quot;Key&quot;:&quot;italy&quot;,&quot;Name&quot;:&quot;Italy&quot;,&quot;Value&quot;:1.0,&quot;Formula&quot;:&quot;&quot;,&quot;Text&quot;:&quot;&quot;,&quot;OfficeApplication&quot;:1,&quot;HasValue&quot;:true}">
                  <a:extLst>
                    <a:ext uri="{FF2B5EF4-FFF2-40B4-BE49-F238E27FC236}">
                      <a16:creationId xmlns:a16="http://schemas.microsoft.com/office/drawing/2014/main" id="{6E01590C-6FAE-8D40-D231-882DF5CBA93C}"/>
                    </a:ext>
                  </a:extLst>
                </p:cNvPr>
                <p:cNvSpPr/>
                <p:nvPr/>
              </p:nvSpPr>
              <p:spPr>
                <a:xfrm>
                  <a:off x="5944552" y="4560979"/>
                  <a:ext cx="1464945" cy="1538287"/>
                </a:xfrm>
                <a:custGeom>
                  <a:avLst/>
                  <a:gdLst>
                    <a:gd name="connsiteX0" fmla="*/ 1128712 w 1464945"/>
                    <a:gd name="connsiteY0" fmla="*/ 1309687 h 1538287"/>
                    <a:gd name="connsiteX1" fmla="*/ 1117283 w 1464945"/>
                    <a:gd name="connsiteY1" fmla="*/ 1333500 h 1538287"/>
                    <a:gd name="connsiteX2" fmla="*/ 1090612 w 1464945"/>
                    <a:gd name="connsiteY2" fmla="*/ 1374458 h 1538287"/>
                    <a:gd name="connsiteX3" fmla="*/ 1076325 w 1464945"/>
                    <a:gd name="connsiteY3" fmla="*/ 1423035 h 1538287"/>
                    <a:gd name="connsiteX4" fmla="*/ 1079183 w 1464945"/>
                    <a:gd name="connsiteY4" fmla="*/ 1442085 h 1538287"/>
                    <a:gd name="connsiteX5" fmla="*/ 1094423 w 1464945"/>
                    <a:gd name="connsiteY5" fmla="*/ 1455420 h 1538287"/>
                    <a:gd name="connsiteX6" fmla="*/ 1087755 w 1464945"/>
                    <a:gd name="connsiteY6" fmla="*/ 1460183 h 1538287"/>
                    <a:gd name="connsiteX7" fmla="*/ 1102995 w 1464945"/>
                    <a:gd name="connsiteY7" fmla="*/ 1477328 h 1538287"/>
                    <a:gd name="connsiteX8" fmla="*/ 1103948 w 1464945"/>
                    <a:gd name="connsiteY8" fmla="*/ 1489710 h 1538287"/>
                    <a:gd name="connsiteX9" fmla="*/ 1086803 w 1464945"/>
                    <a:gd name="connsiteY9" fmla="*/ 1507808 h 1538287"/>
                    <a:gd name="connsiteX10" fmla="*/ 1082992 w 1464945"/>
                    <a:gd name="connsiteY10" fmla="*/ 1524000 h 1538287"/>
                    <a:gd name="connsiteX11" fmla="*/ 1083945 w 1464945"/>
                    <a:gd name="connsiteY11" fmla="*/ 1538287 h 1538287"/>
                    <a:gd name="connsiteX12" fmla="*/ 1056323 w 1464945"/>
                    <a:gd name="connsiteY12" fmla="*/ 1532573 h 1538287"/>
                    <a:gd name="connsiteX13" fmla="*/ 1042987 w 1464945"/>
                    <a:gd name="connsiteY13" fmla="*/ 1535430 h 1538287"/>
                    <a:gd name="connsiteX14" fmla="*/ 1007745 w 1464945"/>
                    <a:gd name="connsiteY14" fmla="*/ 1522095 h 1538287"/>
                    <a:gd name="connsiteX15" fmla="*/ 989647 w 1464945"/>
                    <a:gd name="connsiteY15" fmla="*/ 1495425 h 1538287"/>
                    <a:gd name="connsiteX16" fmla="*/ 961072 w 1464945"/>
                    <a:gd name="connsiteY16" fmla="*/ 1476375 h 1538287"/>
                    <a:gd name="connsiteX17" fmla="*/ 932497 w 1464945"/>
                    <a:gd name="connsiteY17" fmla="*/ 1476375 h 1538287"/>
                    <a:gd name="connsiteX18" fmla="*/ 919162 w 1464945"/>
                    <a:gd name="connsiteY18" fmla="*/ 1471612 h 1538287"/>
                    <a:gd name="connsiteX19" fmla="*/ 891540 w 1464945"/>
                    <a:gd name="connsiteY19" fmla="*/ 1453515 h 1538287"/>
                    <a:gd name="connsiteX20" fmla="*/ 862965 w 1464945"/>
                    <a:gd name="connsiteY20" fmla="*/ 1440180 h 1538287"/>
                    <a:gd name="connsiteX21" fmla="*/ 838200 w 1464945"/>
                    <a:gd name="connsiteY21" fmla="*/ 1420178 h 1538287"/>
                    <a:gd name="connsiteX22" fmla="*/ 822008 w 1464945"/>
                    <a:gd name="connsiteY22" fmla="*/ 1416367 h 1538287"/>
                    <a:gd name="connsiteX23" fmla="*/ 807720 w 1464945"/>
                    <a:gd name="connsiteY23" fmla="*/ 1406842 h 1538287"/>
                    <a:gd name="connsiteX24" fmla="*/ 780097 w 1464945"/>
                    <a:gd name="connsiteY24" fmla="*/ 1406842 h 1538287"/>
                    <a:gd name="connsiteX25" fmla="*/ 758190 w 1464945"/>
                    <a:gd name="connsiteY25" fmla="*/ 1391603 h 1538287"/>
                    <a:gd name="connsiteX26" fmla="*/ 745808 w 1464945"/>
                    <a:gd name="connsiteY26" fmla="*/ 1369695 h 1538287"/>
                    <a:gd name="connsiteX27" fmla="*/ 758190 w 1464945"/>
                    <a:gd name="connsiteY27" fmla="*/ 1334453 h 1538287"/>
                    <a:gd name="connsiteX28" fmla="*/ 771525 w 1464945"/>
                    <a:gd name="connsiteY28" fmla="*/ 1326833 h 1538287"/>
                    <a:gd name="connsiteX29" fmla="*/ 780097 w 1464945"/>
                    <a:gd name="connsiteY29" fmla="*/ 1315403 h 1538287"/>
                    <a:gd name="connsiteX30" fmla="*/ 802005 w 1464945"/>
                    <a:gd name="connsiteY30" fmla="*/ 1337310 h 1538287"/>
                    <a:gd name="connsiteX31" fmla="*/ 819150 w 1464945"/>
                    <a:gd name="connsiteY31" fmla="*/ 1329690 h 1538287"/>
                    <a:gd name="connsiteX32" fmla="*/ 832485 w 1464945"/>
                    <a:gd name="connsiteY32" fmla="*/ 1314450 h 1538287"/>
                    <a:gd name="connsiteX33" fmla="*/ 855345 w 1464945"/>
                    <a:gd name="connsiteY33" fmla="*/ 1315403 h 1538287"/>
                    <a:gd name="connsiteX34" fmla="*/ 860108 w 1464945"/>
                    <a:gd name="connsiteY34" fmla="*/ 1323975 h 1538287"/>
                    <a:gd name="connsiteX35" fmla="*/ 873442 w 1464945"/>
                    <a:gd name="connsiteY35" fmla="*/ 1326833 h 1538287"/>
                    <a:gd name="connsiteX36" fmla="*/ 897255 w 1464945"/>
                    <a:gd name="connsiteY36" fmla="*/ 1342073 h 1538287"/>
                    <a:gd name="connsiteX37" fmla="*/ 910590 w 1464945"/>
                    <a:gd name="connsiteY37" fmla="*/ 1345883 h 1538287"/>
                    <a:gd name="connsiteX38" fmla="*/ 942975 w 1464945"/>
                    <a:gd name="connsiteY38" fmla="*/ 1336358 h 1538287"/>
                    <a:gd name="connsiteX39" fmla="*/ 971550 w 1464945"/>
                    <a:gd name="connsiteY39" fmla="*/ 1340167 h 1538287"/>
                    <a:gd name="connsiteX40" fmla="*/ 998220 w 1464945"/>
                    <a:gd name="connsiteY40" fmla="*/ 1335405 h 1538287"/>
                    <a:gd name="connsiteX41" fmla="*/ 1014412 w 1464945"/>
                    <a:gd name="connsiteY41" fmla="*/ 1329690 h 1538287"/>
                    <a:gd name="connsiteX42" fmla="*/ 1025842 w 1464945"/>
                    <a:gd name="connsiteY42" fmla="*/ 1320165 h 1538287"/>
                    <a:gd name="connsiteX43" fmla="*/ 1039178 w 1464945"/>
                    <a:gd name="connsiteY43" fmla="*/ 1317308 h 1538287"/>
                    <a:gd name="connsiteX44" fmla="*/ 1072515 w 1464945"/>
                    <a:gd name="connsiteY44" fmla="*/ 1320165 h 1538287"/>
                    <a:gd name="connsiteX45" fmla="*/ 1091565 w 1464945"/>
                    <a:gd name="connsiteY45" fmla="*/ 1308735 h 1538287"/>
                    <a:gd name="connsiteX46" fmla="*/ 1099185 w 1464945"/>
                    <a:gd name="connsiteY46" fmla="*/ 1310640 h 1538287"/>
                    <a:gd name="connsiteX47" fmla="*/ 1118235 w 1464945"/>
                    <a:gd name="connsiteY47" fmla="*/ 1299210 h 1538287"/>
                    <a:gd name="connsiteX48" fmla="*/ 1128712 w 1464945"/>
                    <a:gd name="connsiteY48" fmla="*/ 1309687 h 1538287"/>
                    <a:gd name="connsiteX49" fmla="*/ 382905 w 1464945"/>
                    <a:gd name="connsiteY49" fmla="*/ 914400 h 1538287"/>
                    <a:gd name="connsiteX50" fmla="*/ 389572 w 1464945"/>
                    <a:gd name="connsiteY50" fmla="*/ 922972 h 1538287"/>
                    <a:gd name="connsiteX51" fmla="*/ 406717 w 1464945"/>
                    <a:gd name="connsiteY51" fmla="*/ 970597 h 1538287"/>
                    <a:gd name="connsiteX52" fmla="*/ 401003 w 1464945"/>
                    <a:gd name="connsiteY52" fmla="*/ 985837 h 1538287"/>
                    <a:gd name="connsiteX53" fmla="*/ 388620 w 1464945"/>
                    <a:gd name="connsiteY53" fmla="*/ 1004887 h 1538287"/>
                    <a:gd name="connsiteX54" fmla="*/ 396240 w 1464945"/>
                    <a:gd name="connsiteY54" fmla="*/ 1031558 h 1538287"/>
                    <a:gd name="connsiteX55" fmla="*/ 390525 w 1464945"/>
                    <a:gd name="connsiteY55" fmla="*/ 1141095 h 1538287"/>
                    <a:gd name="connsiteX56" fmla="*/ 384810 w 1464945"/>
                    <a:gd name="connsiteY56" fmla="*/ 1168717 h 1538287"/>
                    <a:gd name="connsiteX57" fmla="*/ 376237 w 1464945"/>
                    <a:gd name="connsiteY57" fmla="*/ 1172528 h 1538287"/>
                    <a:gd name="connsiteX58" fmla="*/ 348615 w 1464945"/>
                    <a:gd name="connsiteY58" fmla="*/ 1161098 h 1538287"/>
                    <a:gd name="connsiteX59" fmla="*/ 334328 w 1464945"/>
                    <a:gd name="connsiteY59" fmla="*/ 1163955 h 1538287"/>
                    <a:gd name="connsiteX60" fmla="*/ 322897 w 1464945"/>
                    <a:gd name="connsiteY60" fmla="*/ 1158240 h 1538287"/>
                    <a:gd name="connsiteX61" fmla="*/ 320040 w 1464945"/>
                    <a:gd name="connsiteY61" fmla="*/ 1186815 h 1538287"/>
                    <a:gd name="connsiteX62" fmla="*/ 302895 w 1464945"/>
                    <a:gd name="connsiteY62" fmla="*/ 1206817 h 1538287"/>
                    <a:gd name="connsiteX63" fmla="*/ 274320 w 1464945"/>
                    <a:gd name="connsiteY63" fmla="*/ 1204912 h 1538287"/>
                    <a:gd name="connsiteX64" fmla="*/ 267653 w 1464945"/>
                    <a:gd name="connsiteY64" fmla="*/ 1199198 h 1538287"/>
                    <a:gd name="connsiteX65" fmla="*/ 244792 w 1464945"/>
                    <a:gd name="connsiteY65" fmla="*/ 1163003 h 1538287"/>
                    <a:gd name="connsiteX66" fmla="*/ 240982 w 1464945"/>
                    <a:gd name="connsiteY66" fmla="*/ 1122045 h 1538287"/>
                    <a:gd name="connsiteX67" fmla="*/ 246697 w 1464945"/>
                    <a:gd name="connsiteY67" fmla="*/ 1109662 h 1538287"/>
                    <a:gd name="connsiteX68" fmla="*/ 246697 w 1464945"/>
                    <a:gd name="connsiteY68" fmla="*/ 1085850 h 1538287"/>
                    <a:gd name="connsiteX69" fmla="*/ 257175 w 1464945"/>
                    <a:gd name="connsiteY69" fmla="*/ 1084898 h 1538287"/>
                    <a:gd name="connsiteX70" fmla="*/ 257175 w 1464945"/>
                    <a:gd name="connsiteY70" fmla="*/ 1068705 h 1538287"/>
                    <a:gd name="connsiteX71" fmla="*/ 240030 w 1464945"/>
                    <a:gd name="connsiteY71" fmla="*/ 1057275 h 1538287"/>
                    <a:gd name="connsiteX72" fmla="*/ 240030 w 1464945"/>
                    <a:gd name="connsiteY72" fmla="*/ 1039178 h 1538287"/>
                    <a:gd name="connsiteX73" fmla="*/ 246697 w 1464945"/>
                    <a:gd name="connsiteY73" fmla="*/ 1025842 h 1538287"/>
                    <a:gd name="connsiteX74" fmla="*/ 245745 w 1464945"/>
                    <a:gd name="connsiteY74" fmla="*/ 1001078 h 1538287"/>
                    <a:gd name="connsiteX75" fmla="*/ 238125 w 1464945"/>
                    <a:gd name="connsiteY75" fmla="*/ 992505 h 1538287"/>
                    <a:gd name="connsiteX76" fmla="*/ 230505 w 1464945"/>
                    <a:gd name="connsiteY76" fmla="*/ 970597 h 1538287"/>
                    <a:gd name="connsiteX77" fmla="*/ 209550 w 1464945"/>
                    <a:gd name="connsiteY77" fmla="*/ 947737 h 1538287"/>
                    <a:gd name="connsiteX78" fmla="*/ 210503 w 1464945"/>
                    <a:gd name="connsiteY78" fmla="*/ 915353 h 1538287"/>
                    <a:gd name="connsiteX79" fmla="*/ 242888 w 1464945"/>
                    <a:gd name="connsiteY79" fmla="*/ 921067 h 1538287"/>
                    <a:gd name="connsiteX80" fmla="*/ 255270 w 1464945"/>
                    <a:gd name="connsiteY80" fmla="*/ 918210 h 1538287"/>
                    <a:gd name="connsiteX81" fmla="*/ 284797 w 1464945"/>
                    <a:gd name="connsiteY81" fmla="*/ 903922 h 1538287"/>
                    <a:gd name="connsiteX82" fmla="*/ 304800 w 1464945"/>
                    <a:gd name="connsiteY82" fmla="*/ 880110 h 1538287"/>
                    <a:gd name="connsiteX83" fmla="*/ 318135 w 1464945"/>
                    <a:gd name="connsiteY83" fmla="*/ 875347 h 1538287"/>
                    <a:gd name="connsiteX84" fmla="*/ 332422 w 1464945"/>
                    <a:gd name="connsiteY84" fmla="*/ 858203 h 1538287"/>
                    <a:gd name="connsiteX85" fmla="*/ 339090 w 1464945"/>
                    <a:gd name="connsiteY85" fmla="*/ 866775 h 1538287"/>
                    <a:gd name="connsiteX86" fmla="*/ 360045 w 1464945"/>
                    <a:gd name="connsiteY86" fmla="*/ 874395 h 1538287"/>
                    <a:gd name="connsiteX87" fmla="*/ 371475 w 1464945"/>
                    <a:gd name="connsiteY87" fmla="*/ 888683 h 1538287"/>
                    <a:gd name="connsiteX88" fmla="*/ 380047 w 1464945"/>
                    <a:gd name="connsiteY88" fmla="*/ 893445 h 1538287"/>
                    <a:gd name="connsiteX89" fmla="*/ 373380 w 1464945"/>
                    <a:gd name="connsiteY89" fmla="*/ 906780 h 1538287"/>
                    <a:gd name="connsiteX90" fmla="*/ 382905 w 1464945"/>
                    <a:gd name="connsiteY90" fmla="*/ 914400 h 1538287"/>
                    <a:gd name="connsiteX91" fmla="*/ 461962 w 1464945"/>
                    <a:gd name="connsiteY91" fmla="*/ 621030 h 1538287"/>
                    <a:gd name="connsiteX92" fmla="*/ 464820 w 1464945"/>
                    <a:gd name="connsiteY92" fmla="*/ 634365 h 1538287"/>
                    <a:gd name="connsiteX93" fmla="*/ 441008 w 1464945"/>
                    <a:gd name="connsiteY93" fmla="*/ 639128 h 1538287"/>
                    <a:gd name="connsiteX94" fmla="*/ 430530 w 1464945"/>
                    <a:gd name="connsiteY94" fmla="*/ 628650 h 1538287"/>
                    <a:gd name="connsiteX95" fmla="*/ 458153 w 1464945"/>
                    <a:gd name="connsiteY95" fmla="*/ 626745 h 1538287"/>
                    <a:gd name="connsiteX96" fmla="*/ 461962 w 1464945"/>
                    <a:gd name="connsiteY96" fmla="*/ 621030 h 1538287"/>
                    <a:gd name="connsiteX97" fmla="*/ 822960 w 1464945"/>
                    <a:gd name="connsiteY97" fmla="*/ 81915 h 1538287"/>
                    <a:gd name="connsiteX98" fmla="*/ 821055 w 1464945"/>
                    <a:gd name="connsiteY98" fmla="*/ 90488 h 1538287"/>
                    <a:gd name="connsiteX99" fmla="*/ 789622 w 1464945"/>
                    <a:gd name="connsiteY99" fmla="*/ 112395 h 1538287"/>
                    <a:gd name="connsiteX100" fmla="*/ 796290 w 1464945"/>
                    <a:gd name="connsiteY100" fmla="*/ 125730 h 1538287"/>
                    <a:gd name="connsiteX101" fmla="*/ 818197 w 1464945"/>
                    <a:gd name="connsiteY101" fmla="*/ 132397 h 1538287"/>
                    <a:gd name="connsiteX102" fmla="*/ 802958 w 1464945"/>
                    <a:gd name="connsiteY102" fmla="*/ 152400 h 1538287"/>
                    <a:gd name="connsiteX103" fmla="*/ 805815 w 1464945"/>
                    <a:gd name="connsiteY103" fmla="*/ 161925 h 1538287"/>
                    <a:gd name="connsiteX104" fmla="*/ 818197 w 1464945"/>
                    <a:gd name="connsiteY104" fmla="*/ 163830 h 1538287"/>
                    <a:gd name="connsiteX105" fmla="*/ 814387 w 1464945"/>
                    <a:gd name="connsiteY105" fmla="*/ 182880 h 1538287"/>
                    <a:gd name="connsiteX106" fmla="*/ 832485 w 1464945"/>
                    <a:gd name="connsiteY106" fmla="*/ 193357 h 1538287"/>
                    <a:gd name="connsiteX107" fmla="*/ 846772 w 1464945"/>
                    <a:gd name="connsiteY107" fmla="*/ 205740 h 1538287"/>
                    <a:gd name="connsiteX108" fmla="*/ 848678 w 1464945"/>
                    <a:gd name="connsiteY108" fmla="*/ 218122 h 1538287"/>
                    <a:gd name="connsiteX109" fmla="*/ 834390 w 1464945"/>
                    <a:gd name="connsiteY109" fmla="*/ 219075 h 1538287"/>
                    <a:gd name="connsiteX110" fmla="*/ 841058 w 1464945"/>
                    <a:gd name="connsiteY110" fmla="*/ 213360 h 1538287"/>
                    <a:gd name="connsiteX111" fmla="*/ 822008 w 1464945"/>
                    <a:gd name="connsiteY111" fmla="*/ 192405 h 1538287"/>
                    <a:gd name="connsiteX112" fmla="*/ 802958 w 1464945"/>
                    <a:gd name="connsiteY112" fmla="*/ 200978 h 1538287"/>
                    <a:gd name="connsiteX113" fmla="*/ 772478 w 1464945"/>
                    <a:gd name="connsiteY113" fmla="*/ 192405 h 1538287"/>
                    <a:gd name="connsiteX114" fmla="*/ 752475 w 1464945"/>
                    <a:gd name="connsiteY114" fmla="*/ 211455 h 1538287"/>
                    <a:gd name="connsiteX115" fmla="*/ 738187 w 1464945"/>
                    <a:gd name="connsiteY115" fmla="*/ 215265 h 1538287"/>
                    <a:gd name="connsiteX116" fmla="*/ 721995 w 1464945"/>
                    <a:gd name="connsiteY116" fmla="*/ 225742 h 1538287"/>
                    <a:gd name="connsiteX117" fmla="*/ 691515 w 1464945"/>
                    <a:gd name="connsiteY117" fmla="*/ 237172 h 1538287"/>
                    <a:gd name="connsiteX118" fmla="*/ 674370 w 1464945"/>
                    <a:gd name="connsiteY118" fmla="*/ 233363 h 1538287"/>
                    <a:gd name="connsiteX119" fmla="*/ 664845 w 1464945"/>
                    <a:gd name="connsiteY119" fmla="*/ 240030 h 1538287"/>
                    <a:gd name="connsiteX120" fmla="*/ 661035 w 1464945"/>
                    <a:gd name="connsiteY120" fmla="*/ 269557 h 1538287"/>
                    <a:gd name="connsiteX121" fmla="*/ 668655 w 1464945"/>
                    <a:gd name="connsiteY121" fmla="*/ 275272 h 1538287"/>
                    <a:gd name="connsiteX122" fmla="*/ 682942 w 1464945"/>
                    <a:gd name="connsiteY122" fmla="*/ 300038 h 1538287"/>
                    <a:gd name="connsiteX123" fmla="*/ 699135 w 1464945"/>
                    <a:gd name="connsiteY123" fmla="*/ 310515 h 1538287"/>
                    <a:gd name="connsiteX124" fmla="*/ 692467 w 1464945"/>
                    <a:gd name="connsiteY124" fmla="*/ 328613 h 1538287"/>
                    <a:gd name="connsiteX125" fmla="*/ 683895 w 1464945"/>
                    <a:gd name="connsiteY125" fmla="*/ 335280 h 1538287"/>
                    <a:gd name="connsiteX126" fmla="*/ 671512 w 1464945"/>
                    <a:gd name="connsiteY126" fmla="*/ 330517 h 1538287"/>
                    <a:gd name="connsiteX127" fmla="*/ 668655 w 1464945"/>
                    <a:gd name="connsiteY127" fmla="*/ 346710 h 1538287"/>
                    <a:gd name="connsiteX128" fmla="*/ 677228 w 1464945"/>
                    <a:gd name="connsiteY128" fmla="*/ 389572 h 1538287"/>
                    <a:gd name="connsiteX129" fmla="*/ 690562 w 1464945"/>
                    <a:gd name="connsiteY129" fmla="*/ 420053 h 1538287"/>
                    <a:gd name="connsiteX130" fmla="*/ 701992 w 1464945"/>
                    <a:gd name="connsiteY130" fmla="*/ 432435 h 1538287"/>
                    <a:gd name="connsiteX131" fmla="*/ 727710 w 1464945"/>
                    <a:gd name="connsiteY131" fmla="*/ 453390 h 1538287"/>
                    <a:gd name="connsiteX132" fmla="*/ 753428 w 1464945"/>
                    <a:gd name="connsiteY132" fmla="*/ 463867 h 1538287"/>
                    <a:gd name="connsiteX133" fmla="*/ 802005 w 1464945"/>
                    <a:gd name="connsiteY133" fmla="*/ 499110 h 1538287"/>
                    <a:gd name="connsiteX134" fmla="*/ 828675 w 1464945"/>
                    <a:gd name="connsiteY134" fmla="*/ 509588 h 1538287"/>
                    <a:gd name="connsiteX135" fmla="*/ 835342 w 1464945"/>
                    <a:gd name="connsiteY135" fmla="*/ 516255 h 1538287"/>
                    <a:gd name="connsiteX136" fmla="*/ 852487 w 1464945"/>
                    <a:gd name="connsiteY136" fmla="*/ 542925 h 1538287"/>
                    <a:gd name="connsiteX137" fmla="*/ 867728 w 1464945"/>
                    <a:gd name="connsiteY137" fmla="*/ 573405 h 1538287"/>
                    <a:gd name="connsiteX138" fmla="*/ 884872 w 1464945"/>
                    <a:gd name="connsiteY138" fmla="*/ 621983 h 1538287"/>
                    <a:gd name="connsiteX139" fmla="*/ 897255 w 1464945"/>
                    <a:gd name="connsiteY139" fmla="*/ 645795 h 1538287"/>
                    <a:gd name="connsiteX140" fmla="*/ 919162 w 1464945"/>
                    <a:gd name="connsiteY140" fmla="*/ 673417 h 1538287"/>
                    <a:gd name="connsiteX141" fmla="*/ 964883 w 1464945"/>
                    <a:gd name="connsiteY141" fmla="*/ 712470 h 1538287"/>
                    <a:gd name="connsiteX142" fmla="*/ 1005840 w 1464945"/>
                    <a:gd name="connsiteY142" fmla="*/ 740092 h 1538287"/>
                    <a:gd name="connsiteX143" fmla="*/ 1043940 w 1464945"/>
                    <a:gd name="connsiteY143" fmla="*/ 758190 h 1538287"/>
                    <a:gd name="connsiteX144" fmla="*/ 1072515 w 1464945"/>
                    <a:gd name="connsiteY144" fmla="*/ 761047 h 1538287"/>
                    <a:gd name="connsiteX145" fmla="*/ 1139190 w 1464945"/>
                    <a:gd name="connsiteY145" fmla="*/ 757237 h 1538287"/>
                    <a:gd name="connsiteX146" fmla="*/ 1163955 w 1464945"/>
                    <a:gd name="connsiteY146" fmla="*/ 763905 h 1538287"/>
                    <a:gd name="connsiteX147" fmla="*/ 1167765 w 1464945"/>
                    <a:gd name="connsiteY147" fmla="*/ 775335 h 1538287"/>
                    <a:gd name="connsiteX148" fmla="*/ 1163955 w 1464945"/>
                    <a:gd name="connsiteY148" fmla="*/ 783908 h 1538287"/>
                    <a:gd name="connsiteX149" fmla="*/ 1136333 w 1464945"/>
                    <a:gd name="connsiteY149" fmla="*/ 803910 h 1538287"/>
                    <a:gd name="connsiteX150" fmla="*/ 1136333 w 1464945"/>
                    <a:gd name="connsiteY150" fmla="*/ 820103 h 1538287"/>
                    <a:gd name="connsiteX151" fmla="*/ 1150620 w 1464945"/>
                    <a:gd name="connsiteY151" fmla="*/ 831533 h 1538287"/>
                    <a:gd name="connsiteX152" fmla="*/ 1218248 w 1464945"/>
                    <a:gd name="connsiteY152" fmla="*/ 862012 h 1538287"/>
                    <a:gd name="connsiteX153" fmla="*/ 1286828 w 1464945"/>
                    <a:gd name="connsiteY153" fmla="*/ 886778 h 1538287"/>
                    <a:gd name="connsiteX154" fmla="*/ 1307783 w 1464945"/>
                    <a:gd name="connsiteY154" fmla="*/ 900112 h 1538287"/>
                    <a:gd name="connsiteX155" fmla="*/ 1333500 w 1464945"/>
                    <a:gd name="connsiteY155" fmla="*/ 920115 h 1538287"/>
                    <a:gd name="connsiteX156" fmla="*/ 1394460 w 1464945"/>
                    <a:gd name="connsiteY156" fmla="*/ 947737 h 1538287"/>
                    <a:gd name="connsiteX157" fmla="*/ 1404937 w 1464945"/>
                    <a:gd name="connsiteY157" fmla="*/ 961072 h 1538287"/>
                    <a:gd name="connsiteX158" fmla="*/ 1443037 w 1464945"/>
                    <a:gd name="connsiteY158" fmla="*/ 989647 h 1538287"/>
                    <a:gd name="connsiteX159" fmla="*/ 1460183 w 1464945"/>
                    <a:gd name="connsiteY159" fmla="*/ 1012508 h 1538287"/>
                    <a:gd name="connsiteX160" fmla="*/ 1464945 w 1464945"/>
                    <a:gd name="connsiteY160" fmla="*/ 1029653 h 1538287"/>
                    <a:gd name="connsiteX161" fmla="*/ 1450658 w 1464945"/>
                    <a:gd name="connsiteY161" fmla="*/ 1071562 h 1538287"/>
                    <a:gd name="connsiteX162" fmla="*/ 1435417 w 1464945"/>
                    <a:gd name="connsiteY162" fmla="*/ 1066800 h 1538287"/>
                    <a:gd name="connsiteX163" fmla="*/ 1417320 w 1464945"/>
                    <a:gd name="connsiteY163" fmla="*/ 1054417 h 1538287"/>
                    <a:gd name="connsiteX164" fmla="*/ 1387792 w 1464945"/>
                    <a:gd name="connsiteY164" fmla="*/ 1002983 h 1538287"/>
                    <a:gd name="connsiteX165" fmla="*/ 1340167 w 1464945"/>
                    <a:gd name="connsiteY165" fmla="*/ 998220 h 1538287"/>
                    <a:gd name="connsiteX166" fmla="*/ 1312545 w 1464945"/>
                    <a:gd name="connsiteY166" fmla="*/ 985837 h 1538287"/>
                    <a:gd name="connsiteX167" fmla="*/ 1305878 w 1464945"/>
                    <a:gd name="connsiteY167" fmla="*/ 972503 h 1538287"/>
                    <a:gd name="connsiteX168" fmla="*/ 1283970 w 1464945"/>
                    <a:gd name="connsiteY168" fmla="*/ 968692 h 1538287"/>
                    <a:gd name="connsiteX169" fmla="*/ 1271587 w 1464945"/>
                    <a:gd name="connsiteY169" fmla="*/ 977265 h 1538287"/>
                    <a:gd name="connsiteX170" fmla="*/ 1258253 w 1464945"/>
                    <a:gd name="connsiteY170" fmla="*/ 996315 h 1538287"/>
                    <a:gd name="connsiteX171" fmla="*/ 1243965 w 1464945"/>
                    <a:gd name="connsiteY171" fmla="*/ 1024890 h 1538287"/>
                    <a:gd name="connsiteX172" fmla="*/ 1229678 w 1464945"/>
                    <a:gd name="connsiteY172" fmla="*/ 1065848 h 1538287"/>
                    <a:gd name="connsiteX173" fmla="*/ 1229678 w 1464945"/>
                    <a:gd name="connsiteY173" fmla="*/ 1082040 h 1538287"/>
                    <a:gd name="connsiteX174" fmla="*/ 1240155 w 1464945"/>
                    <a:gd name="connsiteY174" fmla="*/ 1098233 h 1538287"/>
                    <a:gd name="connsiteX175" fmla="*/ 1267778 w 1464945"/>
                    <a:gd name="connsiteY175" fmla="*/ 1107758 h 1538287"/>
                    <a:gd name="connsiteX176" fmla="*/ 1290637 w 1464945"/>
                    <a:gd name="connsiteY176" fmla="*/ 1122045 h 1538287"/>
                    <a:gd name="connsiteX177" fmla="*/ 1305878 w 1464945"/>
                    <a:gd name="connsiteY177" fmla="*/ 1137285 h 1538287"/>
                    <a:gd name="connsiteX178" fmla="*/ 1308735 w 1464945"/>
                    <a:gd name="connsiteY178" fmla="*/ 1173480 h 1538287"/>
                    <a:gd name="connsiteX179" fmla="*/ 1317308 w 1464945"/>
                    <a:gd name="connsiteY179" fmla="*/ 1193483 h 1538287"/>
                    <a:gd name="connsiteX180" fmla="*/ 1308735 w 1464945"/>
                    <a:gd name="connsiteY180" fmla="*/ 1205865 h 1538287"/>
                    <a:gd name="connsiteX181" fmla="*/ 1290637 w 1464945"/>
                    <a:gd name="connsiteY181" fmla="*/ 1203008 h 1538287"/>
                    <a:gd name="connsiteX182" fmla="*/ 1266825 w 1464945"/>
                    <a:gd name="connsiteY182" fmla="*/ 1209675 h 1538287"/>
                    <a:gd name="connsiteX183" fmla="*/ 1250633 w 1464945"/>
                    <a:gd name="connsiteY183" fmla="*/ 1223010 h 1538287"/>
                    <a:gd name="connsiteX184" fmla="*/ 1243965 w 1464945"/>
                    <a:gd name="connsiteY184" fmla="*/ 1236345 h 1538287"/>
                    <a:gd name="connsiteX185" fmla="*/ 1248728 w 1464945"/>
                    <a:gd name="connsiteY185" fmla="*/ 1268730 h 1538287"/>
                    <a:gd name="connsiteX186" fmla="*/ 1245870 w 1464945"/>
                    <a:gd name="connsiteY186" fmla="*/ 1282065 h 1538287"/>
                    <a:gd name="connsiteX187" fmla="*/ 1214437 w 1464945"/>
                    <a:gd name="connsiteY187" fmla="*/ 1305878 h 1538287"/>
                    <a:gd name="connsiteX188" fmla="*/ 1199198 w 1464945"/>
                    <a:gd name="connsiteY188" fmla="*/ 1329690 h 1538287"/>
                    <a:gd name="connsiteX189" fmla="*/ 1189673 w 1464945"/>
                    <a:gd name="connsiteY189" fmla="*/ 1351598 h 1538287"/>
                    <a:gd name="connsiteX190" fmla="*/ 1148715 w 1464945"/>
                    <a:gd name="connsiteY190" fmla="*/ 1351598 h 1538287"/>
                    <a:gd name="connsiteX191" fmla="*/ 1138237 w 1464945"/>
                    <a:gd name="connsiteY191" fmla="*/ 1337310 h 1538287"/>
                    <a:gd name="connsiteX192" fmla="*/ 1137285 w 1464945"/>
                    <a:gd name="connsiteY192" fmla="*/ 1316355 h 1538287"/>
                    <a:gd name="connsiteX193" fmla="*/ 1143000 w 1464945"/>
                    <a:gd name="connsiteY193" fmla="*/ 1303973 h 1538287"/>
                    <a:gd name="connsiteX194" fmla="*/ 1158240 w 1464945"/>
                    <a:gd name="connsiteY194" fmla="*/ 1297305 h 1538287"/>
                    <a:gd name="connsiteX195" fmla="*/ 1166812 w 1464945"/>
                    <a:gd name="connsiteY195" fmla="*/ 1270635 h 1538287"/>
                    <a:gd name="connsiteX196" fmla="*/ 1162050 w 1464945"/>
                    <a:gd name="connsiteY196" fmla="*/ 1251585 h 1538287"/>
                    <a:gd name="connsiteX197" fmla="*/ 1172528 w 1464945"/>
                    <a:gd name="connsiteY197" fmla="*/ 1236345 h 1538287"/>
                    <a:gd name="connsiteX198" fmla="*/ 1199198 w 1464945"/>
                    <a:gd name="connsiteY198" fmla="*/ 1229678 h 1538287"/>
                    <a:gd name="connsiteX199" fmla="*/ 1199198 w 1464945"/>
                    <a:gd name="connsiteY199" fmla="*/ 1202055 h 1538287"/>
                    <a:gd name="connsiteX200" fmla="*/ 1185862 w 1464945"/>
                    <a:gd name="connsiteY200" fmla="*/ 1189673 h 1538287"/>
                    <a:gd name="connsiteX201" fmla="*/ 1172528 w 1464945"/>
                    <a:gd name="connsiteY201" fmla="*/ 1141095 h 1538287"/>
                    <a:gd name="connsiteX202" fmla="*/ 1149667 w 1464945"/>
                    <a:gd name="connsiteY202" fmla="*/ 1100137 h 1538287"/>
                    <a:gd name="connsiteX203" fmla="*/ 1136333 w 1464945"/>
                    <a:gd name="connsiteY203" fmla="*/ 1063942 h 1538287"/>
                    <a:gd name="connsiteX204" fmla="*/ 1125855 w 1464945"/>
                    <a:gd name="connsiteY204" fmla="*/ 1046797 h 1538287"/>
                    <a:gd name="connsiteX205" fmla="*/ 1112520 w 1464945"/>
                    <a:gd name="connsiteY205" fmla="*/ 1037272 h 1538287"/>
                    <a:gd name="connsiteX206" fmla="*/ 1077278 w 1464945"/>
                    <a:gd name="connsiteY206" fmla="*/ 1034415 h 1538287"/>
                    <a:gd name="connsiteX207" fmla="*/ 1033462 w 1464945"/>
                    <a:gd name="connsiteY207" fmla="*/ 1009650 h 1538287"/>
                    <a:gd name="connsiteX208" fmla="*/ 1030605 w 1464945"/>
                    <a:gd name="connsiteY208" fmla="*/ 999172 h 1538287"/>
                    <a:gd name="connsiteX209" fmla="*/ 1036320 w 1464945"/>
                    <a:gd name="connsiteY209" fmla="*/ 988695 h 1538287"/>
                    <a:gd name="connsiteX210" fmla="*/ 1025842 w 1464945"/>
                    <a:gd name="connsiteY210" fmla="*/ 962025 h 1538287"/>
                    <a:gd name="connsiteX211" fmla="*/ 1006792 w 1464945"/>
                    <a:gd name="connsiteY211" fmla="*/ 945833 h 1538287"/>
                    <a:gd name="connsiteX212" fmla="*/ 982028 w 1464945"/>
                    <a:gd name="connsiteY212" fmla="*/ 951547 h 1538287"/>
                    <a:gd name="connsiteX213" fmla="*/ 970597 w 1464945"/>
                    <a:gd name="connsiteY213" fmla="*/ 950595 h 1538287"/>
                    <a:gd name="connsiteX214" fmla="*/ 969645 w 1464945"/>
                    <a:gd name="connsiteY214" fmla="*/ 936308 h 1538287"/>
                    <a:gd name="connsiteX215" fmla="*/ 950595 w 1464945"/>
                    <a:gd name="connsiteY215" fmla="*/ 923925 h 1538287"/>
                    <a:gd name="connsiteX216" fmla="*/ 924878 w 1464945"/>
                    <a:gd name="connsiteY216" fmla="*/ 922020 h 1538287"/>
                    <a:gd name="connsiteX217" fmla="*/ 918210 w 1464945"/>
                    <a:gd name="connsiteY217" fmla="*/ 915353 h 1538287"/>
                    <a:gd name="connsiteX218" fmla="*/ 893445 w 1464945"/>
                    <a:gd name="connsiteY218" fmla="*/ 877253 h 1538287"/>
                    <a:gd name="connsiteX219" fmla="*/ 877253 w 1464945"/>
                    <a:gd name="connsiteY219" fmla="*/ 861060 h 1538287"/>
                    <a:gd name="connsiteX220" fmla="*/ 855345 w 1464945"/>
                    <a:gd name="connsiteY220" fmla="*/ 862012 h 1538287"/>
                    <a:gd name="connsiteX221" fmla="*/ 818197 w 1464945"/>
                    <a:gd name="connsiteY221" fmla="*/ 853440 h 1538287"/>
                    <a:gd name="connsiteX222" fmla="*/ 799147 w 1464945"/>
                    <a:gd name="connsiteY222" fmla="*/ 860108 h 1538287"/>
                    <a:gd name="connsiteX223" fmla="*/ 768667 w 1464945"/>
                    <a:gd name="connsiteY223" fmla="*/ 835342 h 1538287"/>
                    <a:gd name="connsiteX224" fmla="*/ 741997 w 1464945"/>
                    <a:gd name="connsiteY224" fmla="*/ 826770 h 1538287"/>
                    <a:gd name="connsiteX225" fmla="*/ 687705 w 1464945"/>
                    <a:gd name="connsiteY225" fmla="*/ 776287 h 1538287"/>
                    <a:gd name="connsiteX226" fmla="*/ 670560 w 1464945"/>
                    <a:gd name="connsiteY226" fmla="*/ 757237 h 1538287"/>
                    <a:gd name="connsiteX227" fmla="*/ 637222 w 1464945"/>
                    <a:gd name="connsiteY227" fmla="*/ 736283 h 1538287"/>
                    <a:gd name="connsiteX228" fmla="*/ 615315 w 1464945"/>
                    <a:gd name="connsiteY228" fmla="*/ 705803 h 1538287"/>
                    <a:gd name="connsiteX229" fmla="*/ 598170 w 1464945"/>
                    <a:gd name="connsiteY229" fmla="*/ 694372 h 1538287"/>
                    <a:gd name="connsiteX230" fmla="*/ 560070 w 1464945"/>
                    <a:gd name="connsiteY230" fmla="*/ 681037 h 1538287"/>
                    <a:gd name="connsiteX231" fmla="*/ 557212 w 1464945"/>
                    <a:gd name="connsiteY231" fmla="*/ 668655 h 1538287"/>
                    <a:gd name="connsiteX232" fmla="*/ 527685 w 1464945"/>
                    <a:gd name="connsiteY232" fmla="*/ 639128 h 1538287"/>
                    <a:gd name="connsiteX233" fmla="*/ 511492 w 1464945"/>
                    <a:gd name="connsiteY233" fmla="*/ 629603 h 1538287"/>
                    <a:gd name="connsiteX234" fmla="*/ 499110 w 1464945"/>
                    <a:gd name="connsiteY234" fmla="*/ 609600 h 1538287"/>
                    <a:gd name="connsiteX235" fmla="*/ 475297 w 1464945"/>
                    <a:gd name="connsiteY235" fmla="*/ 604837 h 1538287"/>
                    <a:gd name="connsiteX236" fmla="*/ 476250 w 1464945"/>
                    <a:gd name="connsiteY236" fmla="*/ 579120 h 1538287"/>
                    <a:gd name="connsiteX237" fmla="*/ 464820 w 1464945"/>
                    <a:gd name="connsiteY237" fmla="*/ 545783 h 1538287"/>
                    <a:gd name="connsiteX238" fmla="*/ 448628 w 1464945"/>
                    <a:gd name="connsiteY238" fmla="*/ 524828 h 1538287"/>
                    <a:gd name="connsiteX239" fmla="*/ 437197 w 1464945"/>
                    <a:gd name="connsiteY239" fmla="*/ 474345 h 1538287"/>
                    <a:gd name="connsiteX240" fmla="*/ 429578 w 1464945"/>
                    <a:gd name="connsiteY240" fmla="*/ 460057 h 1538287"/>
                    <a:gd name="connsiteX241" fmla="*/ 412433 w 1464945"/>
                    <a:gd name="connsiteY241" fmla="*/ 449580 h 1538287"/>
                    <a:gd name="connsiteX242" fmla="*/ 374333 w 1464945"/>
                    <a:gd name="connsiteY242" fmla="*/ 438150 h 1538287"/>
                    <a:gd name="connsiteX243" fmla="*/ 320040 w 1464945"/>
                    <a:gd name="connsiteY243" fmla="*/ 405765 h 1538287"/>
                    <a:gd name="connsiteX244" fmla="*/ 309562 w 1464945"/>
                    <a:gd name="connsiteY244" fmla="*/ 404813 h 1538287"/>
                    <a:gd name="connsiteX245" fmla="*/ 277178 w 1464945"/>
                    <a:gd name="connsiteY245" fmla="*/ 392430 h 1538287"/>
                    <a:gd name="connsiteX246" fmla="*/ 257175 w 1464945"/>
                    <a:gd name="connsiteY246" fmla="*/ 390525 h 1538287"/>
                    <a:gd name="connsiteX247" fmla="*/ 232410 w 1464945"/>
                    <a:gd name="connsiteY247" fmla="*/ 401955 h 1538287"/>
                    <a:gd name="connsiteX248" fmla="*/ 202882 w 1464945"/>
                    <a:gd name="connsiteY248" fmla="*/ 432435 h 1538287"/>
                    <a:gd name="connsiteX249" fmla="*/ 179070 w 1464945"/>
                    <a:gd name="connsiteY249" fmla="*/ 464820 h 1538287"/>
                    <a:gd name="connsiteX250" fmla="*/ 170497 w 1464945"/>
                    <a:gd name="connsiteY250" fmla="*/ 470535 h 1538287"/>
                    <a:gd name="connsiteX251" fmla="*/ 138113 w 1464945"/>
                    <a:gd name="connsiteY251" fmla="*/ 481965 h 1538287"/>
                    <a:gd name="connsiteX252" fmla="*/ 109538 w 1464945"/>
                    <a:gd name="connsiteY252" fmla="*/ 486728 h 1538287"/>
                    <a:gd name="connsiteX253" fmla="*/ 107632 w 1464945"/>
                    <a:gd name="connsiteY253" fmla="*/ 472440 h 1538287"/>
                    <a:gd name="connsiteX254" fmla="*/ 127635 w 1464945"/>
                    <a:gd name="connsiteY254" fmla="*/ 447675 h 1538287"/>
                    <a:gd name="connsiteX255" fmla="*/ 124778 w 1464945"/>
                    <a:gd name="connsiteY255" fmla="*/ 428625 h 1538287"/>
                    <a:gd name="connsiteX256" fmla="*/ 93345 w 1464945"/>
                    <a:gd name="connsiteY256" fmla="*/ 434340 h 1538287"/>
                    <a:gd name="connsiteX257" fmla="*/ 44767 w 1464945"/>
                    <a:gd name="connsiteY257" fmla="*/ 411480 h 1538287"/>
                    <a:gd name="connsiteX258" fmla="*/ 36195 w 1464945"/>
                    <a:gd name="connsiteY258" fmla="*/ 402907 h 1538287"/>
                    <a:gd name="connsiteX259" fmla="*/ 35242 w 1464945"/>
                    <a:gd name="connsiteY259" fmla="*/ 389572 h 1538287"/>
                    <a:gd name="connsiteX260" fmla="*/ 28575 w 1464945"/>
                    <a:gd name="connsiteY260" fmla="*/ 377190 h 1538287"/>
                    <a:gd name="connsiteX261" fmla="*/ 41910 w 1464945"/>
                    <a:gd name="connsiteY261" fmla="*/ 353378 h 1538287"/>
                    <a:gd name="connsiteX262" fmla="*/ 49530 w 1464945"/>
                    <a:gd name="connsiteY262" fmla="*/ 346710 h 1538287"/>
                    <a:gd name="connsiteX263" fmla="*/ 44767 w 1464945"/>
                    <a:gd name="connsiteY263" fmla="*/ 330517 h 1538287"/>
                    <a:gd name="connsiteX264" fmla="*/ 14288 w 1464945"/>
                    <a:gd name="connsiteY264" fmla="*/ 317182 h 1538287"/>
                    <a:gd name="connsiteX265" fmla="*/ 0 w 1464945"/>
                    <a:gd name="connsiteY265" fmla="*/ 287655 h 1538287"/>
                    <a:gd name="connsiteX266" fmla="*/ 7620 w 1464945"/>
                    <a:gd name="connsiteY266" fmla="*/ 283845 h 1538287"/>
                    <a:gd name="connsiteX267" fmla="*/ 25717 w 1464945"/>
                    <a:gd name="connsiteY267" fmla="*/ 285750 h 1538287"/>
                    <a:gd name="connsiteX268" fmla="*/ 41910 w 1464945"/>
                    <a:gd name="connsiteY268" fmla="*/ 273367 h 1538287"/>
                    <a:gd name="connsiteX269" fmla="*/ 53340 w 1464945"/>
                    <a:gd name="connsiteY269" fmla="*/ 270510 h 1538287"/>
                    <a:gd name="connsiteX270" fmla="*/ 60960 w 1464945"/>
                    <a:gd name="connsiteY270" fmla="*/ 246697 h 1538287"/>
                    <a:gd name="connsiteX271" fmla="*/ 43815 w 1464945"/>
                    <a:gd name="connsiteY271" fmla="*/ 231457 h 1538287"/>
                    <a:gd name="connsiteX272" fmla="*/ 27622 w 1464945"/>
                    <a:gd name="connsiteY272" fmla="*/ 206692 h 1538287"/>
                    <a:gd name="connsiteX273" fmla="*/ 19050 w 1464945"/>
                    <a:gd name="connsiteY273" fmla="*/ 200978 h 1538287"/>
                    <a:gd name="connsiteX274" fmla="*/ 18097 w 1464945"/>
                    <a:gd name="connsiteY274" fmla="*/ 185738 h 1538287"/>
                    <a:gd name="connsiteX275" fmla="*/ 42863 w 1464945"/>
                    <a:gd name="connsiteY275" fmla="*/ 169545 h 1538287"/>
                    <a:gd name="connsiteX276" fmla="*/ 56197 w 1464945"/>
                    <a:gd name="connsiteY276" fmla="*/ 176213 h 1538287"/>
                    <a:gd name="connsiteX277" fmla="*/ 79057 w 1464945"/>
                    <a:gd name="connsiteY277" fmla="*/ 171450 h 1538287"/>
                    <a:gd name="connsiteX278" fmla="*/ 103822 w 1464945"/>
                    <a:gd name="connsiteY278" fmla="*/ 161925 h 1538287"/>
                    <a:gd name="connsiteX279" fmla="*/ 133350 w 1464945"/>
                    <a:gd name="connsiteY279" fmla="*/ 169545 h 1538287"/>
                    <a:gd name="connsiteX280" fmla="*/ 156210 w 1464945"/>
                    <a:gd name="connsiteY280" fmla="*/ 156210 h 1538287"/>
                    <a:gd name="connsiteX281" fmla="*/ 171450 w 1464945"/>
                    <a:gd name="connsiteY281" fmla="*/ 135255 h 1538287"/>
                    <a:gd name="connsiteX282" fmla="*/ 165735 w 1464945"/>
                    <a:gd name="connsiteY282" fmla="*/ 120967 h 1538287"/>
                    <a:gd name="connsiteX283" fmla="*/ 198120 w 1464945"/>
                    <a:gd name="connsiteY283" fmla="*/ 93345 h 1538287"/>
                    <a:gd name="connsiteX284" fmla="*/ 207645 w 1464945"/>
                    <a:gd name="connsiteY284" fmla="*/ 99060 h 1538287"/>
                    <a:gd name="connsiteX285" fmla="*/ 209550 w 1464945"/>
                    <a:gd name="connsiteY285" fmla="*/ 122872 h 1538287"/>
                    <a:gd name="connsiteX286" fmla="*/ 232410 w 1464945"/>
                    <a:gd name="connsiteY286" fmla="*/ 141922 h 1538287"/>
                    <a:gd name="connsiteX287" fmla="*/ 253365 w 1464945"/>
                    <a:gd name="connsiteY287" fmla="*/ 147638 h 1538287"/>
                    <a:gd name="connsiteX288" fmla="*/ 249555 w 1464945"/>
                    <a:gd name="connsiteY288" fmla="*/ 159067 h 1538287"/>
                    <a:gd name="connsiteX289" fmla="*/ 261938 w 1464945"/>
                    <a:gd name="connsiteY289" fmla="*/ 170497 h 1538287"/>
                    <a:gd name="connsiteX290" fmla="*/ 270510 w 1464945"/>
                    <a:gd name="connsiteY290" fmla="*/ 183832 h 1538287"/>
                    <a:gd name="connsiteX291" fmla="*/ 281940 w 1464945"/>
                    <a:gd name="connsiteY291" fmla="*/ 177165 h 1538287"/>
                    <a:gd name="connsiteX292" fmla="*/ 275272 w 1464945"/>
                    <a:gd name="connsiteY292" fmla="*/ 160972 h 1538287"/>
                    <a:gd name="connsiteX293" fmla="*/ 277178 w 1464945"/>
                    <a:gd name="connsiteY293" fmla="*/ 151447 h 1538287"/>
                    <a:gd name="connsiteX294" fmla="*/ 298133 w 1464945"/>
                    <a:gd name="connsiteY294" fmla="*/ 126682 h 1538287"/>
                    <a:gd name="connsiteX295" fmla="*/ 302895 w 1464945"/>
                    <a:gd name="connsiteY295" fmla="*/ 116205 h 1538287"/>
                    <a:gd name="connsiteX296" fmla="*/ 302895 w 1464945"/>
                    <a:gd name="connsiteY296" fmla="*/ 88582 h 1538287"/>
                    <a:gd name="connsiteX297" fmla="*/ 321945 w 1464945"/>
                    <a:gd name="connsiteY297" fmla="*/ 87630 h 1538287"/>
                    <a:gd name="connsiteX298" fmla="*/ 329565 w 1464945"/>
                    <a:gd name="connsiteY298" fmla="*/ 107632 h 1538287"/>
                    <a:gd name="connsiteX299" fmla="*/ 348615 w 1464945"/>
                    <a:gd name="connsiteY299" fmla="*/ 115253 h 1538287"/>
                    <a:gd name="connsiteX300" fmla="*/ 376237 w 1464945"/>
                    <a:gd name="connsiteY300" fmla="*/ 104775 h 1538287"/>
                    <a:gd name="connsiteX301" fmla="*/ 382905 w 1464945"/>
                    <a:gd name="connsiteY301" fmla="*/ 105728 h 1538287"/>
                    <a:gd name="connsiteX302" fmla="*/ 396240 w 1464945"/>
                    <a:gd name="connsiteY302" fmla="*/ 123825 h 1538287"/>
                    <a:gd name="connsiteX303" fmla="*/ 407670 w 1464945"/>
                    <a:gd name="connsiteY303" fmla="*/ 120967 h 1538287"/>
                    <a:gd name="connsiteX304" fmla="*/ 393383 w 1464945"/>
                    <a:gd name="connsiteY304" fmla="*/ 87630 h 1538287"/>
                    <a:gd name="connsiteX305" fmla="*/ 399097 w 1464945"/>
                    <a:gd name="connsiteY305" fmla="*/ 70485 h 1538287"/>
                    <a:gd name="connsiteX306" fmla="*/ 411480 w 1464945"/>
                    <a:gd name="connsiteY306" fmla="*/ 67628 h 1538287"/>
                    <a:gd name="connsiteX307" fmla="*/ 421005 w 1464945"/>
                    <a:gd name="connsiteY307" fmla="*/ 76200 h 1538287"/>
                    <a:gd name="connsiteX308" fmla="*/ 439103 w 1464945"/>
                    <a:gd name="connsiteY308" fmla="*/ 78105 h 1538287"/>
                    <a:gd name="connsiteX309" fmla="*/ 434340 w 1464945"/>
                    <a:gd name="connsiteY309" fmla="*/ 60960 h 1538287"/>
                    <a:gd name="connsiteX310" fmla="*/ 439103 w 1464945"/>
                    <a:gd name="connsiteY310" fmla="*/ 31432 h 1538287"/>
                    <a:gd name="connsiteX311" fmla="*/ 467678 w 1464945"/>
                    <a:gd name="connsiteY311" fmla="*/ 34290 h 1538287"/>
                    <a:gd name="connsiteX312" fmla="*/ 476250 w 1464945"/>
                    <a:gd name="connsiteY312" fmla="*/ 41910 h 1538287"/>
                    <a:gd name="connsiteX313" fmla="*/ 496253 w 1464945"/>
                    <a:gd name="connsiteY313" fmla="*/ 45720 h 1538287"/>
                    <a:gd name="connsiteX314" fmla="*/ 506730 w 1464945"/>
                    <a:gd name="connsiteY314" fmla="*/ 41910 h 1538287"/>
                    <a:gd name="connsiteX315" fmla="*/ 518160 w 1464945"/>
                    <a:gd name="connsiteY315" fmla="*/ 20955 h 1538287"/>
                    <a:gd name="connsiteX316" fmla="*/ 531495 w 1464945"/>
                    <a:gd name="connsiteY316" fmla="*/ 15240 h 1538287"/>
                    <a:gd name="connsiteX317" fmla="*/ 563880 w 1464945"/>
                    <a:gd name="connsiteY317" fmla="*/ 12382 h 1538287"/>
                    <a:gd name="connsiteX318" fmla="*/ 593408 w 1464945"/>
                    <a:gd name="connsiteY318" fmla="*/ 14288 h 1538287"/>
                    <a:gd name="connsiteX319" fmla="*/ 638175 w 1464945"/>
                    <a:gd name="connsiteY319" fmla="*/ 0 h 1538287"/>
                    <a:gd name="connsiteX320" fmla="*/ 638175 w 1464945"/>
                    <a:gd name="connsiteY320" fmla="*/ 21907 h 1538287"/>
                    <a:gd name="connsiteX321" fmla="*/ 667703 w 1464945"/>
                    <a:gd name="connsiteY321" fmla="*/ 55245 h 1538287"/>
                    <a:gd name="connsiteX322" fmla="*/ 678180 w 1464945"/>
                    <a:gd name="connsiteY322" fmla="*/ 60007 h 1538287"/>
                    <a:gd name="connsiteX323" fmla="*/ 760095 w 1464945"/>
                    <a:gd name="connsiteY323" fmla="*/ 74295 h 1538287"/>
                    <a:gd name="connsiteX324" fmla="*/ 798195 w 1464945"/>
                    <a:gd name="connsiteY324" fmla="*/ 77153 h 1538287"/>
                    <a:gd name="connsiteX325" fmla="*/ 822960 w 1464945"/>
                    <a:gd name="connsiteY325" fmla="*/ 81915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1464945" h="1538287">
                      <a:moveTo>
                        <a:pt x="1128712" y="1309687"/>
                      </a:moveTo>
                      <a:lnTo>
                        <a:pt x="1117283" y="1333500"/>
                      </a:lnTo>
                      <a:lnTo>
                        <a:pt x="1090612" y="1374458"/>
                      </a:lnTo>
                      <a:lnTo>
                        <a:pt x="1076325" y="1423035"/>
                      </a:lnTo>
                      <a:lnTo>
                        <a:pt x="1079183" y="1442085"/>
                      </a:lnTo>
                      <a:lnTo>
                        <a:pt x="1094423" y="1455420"/>
                      </a:lnTo>
                      <a:lnTo>
                        <a:pt x="1087755" y="1460183"/>
                      </a:lnTo>
                      <a:lnTo>
                        <a:pt x="1102995" y="1477328"/>
                      </a:lnTo>
                      <a:lnTo>
                        <a:pt x="1103948" y="1489710"/>
                      </a:lnTo>
                      <a:lnTo>
                        <a:pt x="1086803" y="1507808"/>
                      </a:lnTo>
                      <a:lnTo>
                        <a:pt x="1082992" y="1524000"/>
                      </a:lnTo>
                      <a:lnTo>
                        <a:pt x="1083945" y="1538287"/>
                      </a:lnTo>
                      <a:lnTo>
                        <a:pt x="1056323" y="1532573"/>
                      </a:lnTo>
                      <a:lnTo>
                        <a:pt x="1042987" y="1535430"/>
                      </a:lnTo>
                      <a:lnTo>
                        <a:pt x="1007745" y="1522095"/>
                      </a:lnTo>
                      <a:lnTo>
                        <a:pt x="989647" y="1495425"/>
                      </a:lnTo>
                      <a:lnTo>
                        <a:pt x="961072" y="1476375"/>
                      </a:lnTo>
                      <a:lnTo>
                        <a:pt x="932497" y="1476375"/>
                      </a:lnTo>
                      <a:lnTo>
                        <a:pt x="919162" y="1471612"/>
                      </a:lnTo>
                      <a:lnTo>
                        <a:pt x="891540" y="1453515"/>
                      </a:lnTo>
                      <a:lnTo>
                        <a:pt x="862965" y="1440180"/>
                      </a:lnTo>
                      <a:lnTo>
                        <a:pt x="838200" y="1420178"/>
                      </a:lnTo>
                      <a:lnTo>
                        <a:pt x="822008" y="1416367"/>
                      </a:lnTo>
                      <a:lnTo>
                        <a:pt x="807720" y="1406842"/>
                      </a:lnTo>
                      <a:lnTo>
                        <a:pt x="780097" y="1406842"/>
                      </a:lnTo>
                      <a:lnTo>
                        <a:pt x="758190" y="1391603"/>
                      </a:lnTo>
                      <a:lnTo>
                        <a:pt x="745808" y="1369695"/>
                      </a:lnTo>
                      <a:lnTo>
                        <a:pt x="758190" y="1334453"/>
                      </a:lnTo>
                      <a:lnTo>
                        <a:pt x="771525" y="1326833"/>
                      </a:lnTo>
                      <a:lnTo>
                        <a:pt x="780097" y="1315403"/>
                      </a:lnTo>
                      <a:lnTo>
                        <a:pt x="802005" y="1337310"/>
                      </a:lnTo>
                      <a:lnTo>
                        <a:pt x="819150" y="1329690"/>
                      </a:lnTo>
                      <a:lnTo>
                        <a:pt x="832485" y="1314450"/>
                      </a:lnTo>
                      <a:lnTo>
                        <a:pt x="855345" y="1315403"/>
                      </a:lnTo>
                      <a:lnTo>
                        <a:pt x="860108" y="1323975"/>
                      </a:lnTo>
                      <a:lnTo>
                        <a:pt x="873442" y="1326833"/>
                      </a:lnTo>
                      <a:lnTo>
                        <a:pt x="897255" y="1342073"/>
                      </a:lnTo>
                      <a:lnTo>
                        <a:pt x="910590" y="1345883"/>
                      </a:lnTo>
                      <a:lnTo>
                        <a:pt x="942975" y="1336358"/>
                      </a:lnTo>
                      <a:lnTo>
                        <a:pt x="971550" y="1340167"/>
                      </a:lnTo>
                      <a:lnTo>
                        <a:pt x="998220" y="1335405"/>
                      </a:lnTo>
                      <a:lnTo>
                        <a:pt x="1014412" y="1329690"/>
                      </a:lnTo>
                      <a:lnTo>
                        <a:pt x="1025842" y="1320165"/>
                      </a:lnTo>
                      <a:lnTo>
                        <a:pt x="1039178" y="1317308"/>
                      </a:lnTo>
                      <a:lnTo>
                        <a:pt x="1072515" y="1320165"/>
                      </a:lnTo>
                      <a:lnTo>
                        <a:pt x="1091565" y="1308735"/>
                      </a:lnTo>
                      <a:lnTo>
                        <a:pt x="1099185" y="1310640"/>
                      </a:lnTo>
                      <a:lnTo>
                        <a:pt x="1118235" y="1299210"/>
                      </a:lnTo>
                      <a:lnTo>
                        <a:pt x="1128712" y="1309687"/>
                      </a:lnTo>
                      <a:close/>
                      <a:moveTo>
                        <a:pt x="382905" y="914400"/>
                      </a:moveTo>
                      <a:lnTo>
                        <a:pt x="389572" y="922972"/>
                      </a:lnTo>
                      <a:lnTo>
                        <a:pt x="406717" y="970597"/>
                      </a:lnTo>
                      <a:lnTo>
                        <a:pt x="401003" y="985837"/>
                      </a:lnTo>
                      <a:lnTo>
                        <a:pt x="388620" y="1004887"/>
                      </a:lnTo>
                      <a:lnTo>
                        <a:pt x="396240" y="1031558"/>
                      </a:lnTo>
                      <a:lnTo>
                        <a:pt x="390525" y="1141095"/>
                      </a:lnTo>
                      <a:lnTo>
                        <a:pt x="384810" y="1168717"/>
                      </a:lnTo>
                      <a:lnTo>
                        <a:pt x="376237" y="1172528"/>
                      </a:lnTo>
                      <a:lnTo>
                        <a:pt x="348615" y="1161098"/>
                      </a:lnTo>
                      <a:lnTo>
                        <a:pt x="334328" y="1163955"/>
                      </a:lnTo>
                      <a:lnTo>
                        <a:pt x="322897" y="1158240"/>
                      </a:lnTo>
                      <a:lnTo>
                        <a:pt x="320040" y="1186815"/>
                      </a:lnTo>
                      <a:lnTo>
                        <a:pt x="302895" y="1206817"/>
                      </a:lnTo>
                      <a:lnTo>
                        <a:pt x="274320" y="1204912"/>
                      </a:lnTo>
                      <a:lnTo>
                        <a:pt x="267653" y="1199198"/>
                      </a:lnTo>
                      <a:lnTo>
                        <a:pt x="244792" y="1163003"/>
                      </a:lnTo>
                      <a:lnTo>
                        <a:pt x="240982" y="1122045"/>
                      </a:lnTo>
                      <a:lnTo>
                        <a:pt x="246697" y="1109662"/>
                      </a:lnTo>
                      <a:lnTo>
                        <a:pt x="246697" y="1085850"/>
                      </a:lnTo>
                      <a:lnTo>
                        <a:pt x="257175" y="1084898"/>
                      </a:lnTo>
                      <a:lnTo>
                        <a:pt x="257175" y="1068705"/>
                      </a:lnTo>
                      <a:lnTo>
                        <a:pt x="240030" y="1057275"/>
                      </a:lnTo>
                      <a:lnTo>
                        <a:pt x="240030" y="1039178"/>
                      </a:lnTo>
                      <a:lnTo>
                        <a:pt x="246697" y="1025842"/>
                      </a:lnTo>
                      <a:lnTo>
                        <a:pt x="245745" y="1001078"/>
                      </a:lnTo>
                      <a:lnTo>
                        <a:pt x="238125" y="992505"/>
                      </a:lnTo>
                      <a:lnTo>
                        <a:pt x="230505" y="970597"/>
                      </a:lnTo>
                      <a:lnTo>
                        <a:pt x="209550" y="947737"/>
                      </a:lnTo>
                      <a:lnTo>
                        <a:pt x="210503" y="915353"/>
                      </a:lnTo>
                      <a:lnTo>
                        <a:pt x="242888" y="921067"/>
                      </a:lnTo>
                      <a:lnTo>
                        <a:pt x="255270" y="918210"/>
                      </a:lnTo>
                      <a:lnTo>
                        <a:pt x="284797" y="903922"/>
                      </a:lnTo>
                      <a:lnTo>
                        <a:pt x="304800" y="880110"/>
                      </a:lnTo>
                      <a:lnTo>
                        <a:pt x="318135" y="875347"/>
                      </a:lnTo>
                      <a:lnTo>
                        <a:pt x="332422" y="858203"/>
                      </a:lnTo>
                      <a:lnTo>
                        <a:pt x="339090" y="866775"/>
                      </a:lnTo>
                      <a:lnTo>
                        <a:pt x="360045" y="874395"/>
                      </a:lnTo>
                      <a:lnTo>
                        <a:pt x="371475" y="888683"/>
                      </a:lnTo>
                      <a:lnTo>
                        <a:pt x="380047" y="893445"/>
                      </a:lnTo>
                      <a:lnTo>
                        <a:pt x="373380" y="906780"/>
                      </a:lnTo>
                      <a:lnTo>
                        <a:pt x="382905" y="914400"/>
                      </a:lnTo>
                      <a:close/>
                      <a:moveTo>
                        <a:pt x="461962" y="621030"/>
                      </a:moveTo>
                      <a:lnTo>
                        <a:pt x="464820" y="634365"/>
                      </a:lnTo>
                      <a:lnTo>
                        <a:pt x="441008" y="639128"/>
                      </a:lnTo>
                      <a:lnTo>
                        <a:pt x="430530" y="628650"/>
                      </a:lnTo>
                      <a:lnTo>
                        <a:pt x="458153" y="626745"/>
                      </a:lnTo>
                      <a:lnTo>
                        <a:pt x="461962" y="621030"/>
                      </a:lnTo>
                      <a:close/>
                      <a:moveTo>
                        <a:pt x="822960" y="81915"/>
                      </a:moveTo>
                      <a:lnTo>
                        <a:pt x="821055" y="90488"/>
                      </a:lnTo>
                      <a:lnTo>
                        <a:pt x="789622" y="112395"/>
                      </a:lnTo>
                      <a:lnTo>
                        <a:pt x="796290" y="125730"/>
                      </a:lnTo>
                      <a:lnTo>
                        <a:pt x="818197" y="132397"/>
                      </a:lnTo>
                      <a:lnTo>
                        <a:pt x="802958" y="152400"/>
                      </a:lnTo>
                      <a:lnTo>
                        <a:pt x="805815" y="161925"/>
                      </a:lnTo>
                      <a:lnTo>
                        <a:pt x="818197" y="163830"/>
                      </a:lnTo>
                      <a:lnTo>
                        <a:pt x="814387" y="182880"/>
                      </a:lnTo>
                      <a:lnTo>
                        <a:pt x="832485" y="193357"/>
                      </a:lnTo>
                      <a:lnTo>
                        <a:pt x="846772" y="205740"/>
                      </a:lnTo>
                      <a:lnTo>
                        <a:pt x="848678" y="218122"/>
                      </a:lnTo>
                      <a:lnTo>
                        <a:pt x="834390" y="219075"/>
                      </a:lnTo>
                      <a:lnTo>
                        <a:pt x="841058" y="213360"/>
                      </a:lnTo>
                      <a:lnTo>
                        <a:pt x="822008" y="192405"/>
                      </a:lnTo>
                      <a:lnTo>
                        <a:pt x="802958" y="200978"/>
                      </a:lnTo>
                      <a:lnTo>
                        <a:pt x="772478" y="192405"/>
                      </a:lnTo>
                      <a:lnTo>
                        <a:pt x="752475" y="211455"/>
                      </a:lnTo>
                      <a:lnTo>
                        <a:pt x="738187" y="215265"/>
                      </a:lnTo>
                      <a:lnTo>
                        <a:pt x="721995" y="225742"/>
                      </a:lnTo>
                      <a:lnTo>
                        <a:pt x="691515" y="237172"/>
                      </a:lnTo>
                      <a:lnTo>
                        <a:pt x="674370" y="233363"/>
                      </a:lnTo>
                      <a:lnTo>
                        <a:pt x="664845" y="240030"/>
                      </a:lnTo>
                      <a:lnTo>
                        <a:pt x="661035" y="269557"/>
                      </a:lnTo>
                      <a:lnTo>
                        <a:pt x="668655" y="275272"/>
                      </a:lnTo>
                      <a:lnTo>
                        <a:pt x="682942" y="300038"/>
                      </a:lnTo>
                      <a:lnTo>
                        <a:pt x="699135" y="310515"/>
                      </a:lnTo>
                      <a:lnTo>
                        <a:pt x="692467" y="328613"/>
                      </a:lnTo>
                      <a:lnTo>
                        <a:pt x="683895" y="335280"/>
                      </a:lnTo>
                      <a:lnTo>
                        <a:pt x="671512" y="330517"/>
                      </a:lnTo>
                      <a:lnTo>
                        <a:pt x="668655" y="346710"/>
                      </a:lnTo>
                      <a:lnTo>
                        <a:pt x="677228" y="389572"/>
                      </a:lnTo>
                      <a:lnTo>
                        <a:pt x="690562" y="420053"/>
                      </a:lnTo>
                      <a:lnTo>
                        <a:pt x="701992" y="432435"/>
                      </a:lnTo>
                      <a:lnTo>
                        <a:pt x="727710" y="453390"/>
                      </a:lnTo>
                      <a:lnTo>
                        <a:pt x="753428" y="463867"/>
                      </a:lnTo>
                      <a:lnTo>
                        <a:pt x="802005" y="499110"/>
                      </a:lnTo>
                      <a:lnTo>
                        <a:pt x="828675" y="509588"/>
                      </a:lnTo>
                      <a:lnTo>
                        <a:pt x="835342" y="516255"/>
                      </a:lnTo>
                      <a:lnTo>
                        <a:pt x="852487" y="542925"/>
                      </a:lnTo>
                      <a:lnTo>
                        <a:pt x="867728" y="573405"/>
                      </a:lnTo>
                      <a:lnTo>
                        <a:pt x="884872" y="621983"/>
                      </a:lnTo>
                      <a:lnTo>
                        <a:pt x="897255" y="645795"/>
                      </a:lnTo>
                      <a:lnTo>
                        <a:pt x="919162" y="673417"/>
                      </a:lnTo>
                      <a:lnTo>
                        <a:pt x="964883" y="712470"/>
                      </a:lnTo>
                      <a:lnTo>
                        <a:pt x="1005840" y="740092"/>
                      </a:lnTo>
                      <a:lnTo>
                        <a:pt x="1043940" y="758190"/>
                      </a:lnTo>
                      <a:lnTo>
                        <a:pt x="1072515" y="761047"/>
                      </a:lnTo>
                      <a:lnTo>
                        <a:pt x="1139190" y="757237"/>
                      </a:lnTo>
                      <a:lnTo>
                        <a:pt x="1163955" y="763905"/>
                      </a:lnTo>
                      <a:lnTo>
                        <a:pt x="1167765" y="775335"/>
                      </a:lnTo>
                      <a:lnTo>
                        <a:pt x="1163955" y="783908"/>
                      </a:lnTo>
                      <a:lnTo>
                        <a:pt x="1136333" y="803910"/>
                      </a:lnTo>
                      <a:lnTo>
                        <a:pt x="1136333" y="820103"/>
                      </a:lnTo>
                      <a:lnTo>
                        <a:pt x="1150620" y="831533"/>
                      </a:lnTo>
                      <a:lnTo>
                        <a:pt x="1218248" y="862012"/>
                      </a:lnTo>
                      <a:lnTo>
                        <a:pt x="1286828" y="886778"/>
                      </a:lnTo>
                      <a:lnTo>
                        <a:pt x="1307783" y="900112"/>
                      </a:lnTo>
                      <a:lnTo>
                        <a:pt x="1333500" y="920115"/>
                      </a:lnTo>
                      <a:lnTo>
                        <a:pt x="1394460" y="947737"/>
                      </a:lnTo>
                      <a:lnTo>
                        <a:pt x="1404937" y="961072"/>
                      </a:lnTo>
                      <a:lnTo>
                        <a:pt x="1443037" y="989647"/>
                      </a:lnTo>
                      <a:lnTo>
                        <a:pt x="1460183" y="1012508"/>
                      </a:lnTo>
                      <a:lnTo>
                        <a:pt x="1464945" y="1029653"/>
                      </a:lnTo>
                      <a:lnTo>
                        <a:pt x="1450658" y="1071562"/>
                      </a:lnTo>
                      <a:lnTo>
                        <a:pt x="1435417" y="1066800"/>
                      </a:lnTo>
                      <a:lnTo>
                        <a:pt x="1417320" y="1054417"/>
                      </a:lnTo>
                      <a:lnTo>
                        <a:pt x="1387792" y="1002983"/>
                      </a:lnTo>
                      <a:lnTo>
                        <a:pt x="1340167" y="998220"/>
                      </a:lnTo>
                      <a:lnTo>
                        <a:pt x="1312545" y="985837"/>
                      </a:lnTo>
                      <a:lnTo>
                        <a:pt x="1305878" y="972503"/>
                      </a:lnTo>
                      <a:lnTo>
                        <a:pt x="1283970" y="968692"/>
                      </a:lnTo>
                      <a:lnTo>
                        <a:pt x="1271587" y="977265"/>
                      </a:lnTo>
                      <a:lnTo>
                        <a:pt x="1258253" y="996315"/>
                      </a:lnTo>
                      <a:lnTo>
                        <a:pt x="1243965" y="1024890"/>
                      </a:lnTo>
                      <a:lnTo>
                        <a:pt x="1229678" y="1065848"/>
                      </a:lnTo>
                      <a:lnTo>
                        <a:pt x="1229678" y="1082040"/>
                      </a:lnTo>
                      <a:lnTo>
                        <a:pt x="1240155" y="1098233"/>
                      </a:lnTo>
                      <a:lnTo>
                        <a:pt x="1267778" y="1107758"/>
                      </a:lnTo>
                      <a:lnTo>
                        <a:pt x="1290637" y="1122045"/>
                      </a:lnTo>
                      <a:lnTo>
                        <a:pt x="1305878" y="1137285"/>
                      </a:lnTo>
                      <a:lnTo>
                        <a:pt x="1308735" y="1173480"/>
                      </a:lnTo>
                      <a:lnTo>
                        <a:pt x="1317308" y="1193483"/>
                      </a:lnTo>
                      <a:lnTo>
                        <a:pt x="1308735" y="1205865"/>
                      </a:lnTo>
                      <a:lnTo>
                        <a:pt x="1290637" y="1203008"/>
                      </a:lnTo>
                      <a:lnTo>
                        <a:pt x="1266825" y="1209675"/>
                      </a:lnTo>
                      <a:lnTo>
                        <a:pt x="1250633" y="1223010"/>
                      </a:lnTo>
                      <a:lnTo>
                        <a:pt x="1243965" y="1236345"/>
                      </a:lnTo>
                      <a:lnTo>
                        <a:pt x="1248728" y="1268730"/>
                      </a:lnTo>
                      <a:lnTo>
                        <a:pt x="1245870" y="1282065"/>
                      </a:lnTo>
                      <a:lnTo>
                        <a:pt x="1214437" y="1305878"/>
                      </a:lnTo>
                      <a:lnTo>
                        <a:pt x="1199198" y="1329690"/>
                      </a:lnTo>
                      <a:lnTo>
                        <a:pt x="1189673" y="1351598"/>
                      </a:lnTo>
                      <a:lnTo>
                        <a:pt x="1148715" y="1351598"/>
                      </a:lnTo>
                      <a:lnTo>
                        <a:pt x="1138237" y="1337310"/>
                      </a:lnTo>
                      <a:lnTo>
                        <a:pt x="1137285" y="1316355"/>
                      </a:lnTo>
                      <a:lnTo>
                        <a:pt x="1143000" y="1303973"/>
                      </a:lnTo>
                      <a:lnTo>
                        <a:pt x="1158240" y="1297305"/>
                      </a:lnTo>
                      <a:lnTo>
                        <a:pt x="1166812" y="1270635"/>
                      </a:lnTo>
                      <a:lnTo>
                        <a:pt x="1162050" y="1251585"/>
                      </a:lnTo>
                      <a:lnTo>
                        <a:pt x="1172528" y="1236345"/>
                      </a:lnTo>
                      <a:lnTo>
                        <a:pt x="1199198" y="1229678"/>
                      </a:lnTo>
                      <a:lnTo>
                        <a:pt x="1199198" y="1202055"/>
                      </a:lnTo>
                      <a:lnTo>
                        <a:pt x="1185862" y="1189673"/>
                      </a:lnTo>
                      <a:lnTo>
                        <a:pt x="1172528" y="1141095"/>
                      </a:lnTo>
                      <a:lnTo>
                        <a:pt x="1149667" y="1100137"/>
                      </a:lnTo>
                      <a:lnTo>
                        <a:pt x="1136333" y="1063942"/>
                      </a:lnTo>
                      <a:lnTo>
                        <a:pt x="1125855" y="1046797"/>
                      </a:lnTo>
                      <a:lnTo>
                        <a:pt x="1112520" y="1037272"/>
                      </a:lnTo>
                      <a:lnTo>
                        <a:pt x="1077278" y="1034415"/>
                      </a:lnTo>
                      <a:lnTo>
                        <a:pt x="1033462" y="1009650"/>
                      </a:lnTo>
                      <a:lnTo>
                        <a:pt x="1030605" y="999172"/>
                      </a:lnTo>
                      <a:lnTo>
                        <a:pt x="1036320" y="988695"/>
                      </a:lnTo>
                      <a:lnTo>
                        <a:pt x="1025842" y="962025"/>
                      </a:lnTo>
                      <a:lnTo>
                        <a:pt x="1006792" y="945833"/>
                      </a:lnTo>
                      <a:lnTo>
                        <a:pt x="982028" y="951547"/>
                      </a:lnTo>
                      <a:lnTo>
                        <a:pt x="970597" y="950595"/>
                      </a:lnTo>
                      <a:lnTo>
                        <a:pt x="969645" y="936308"/>
                      </a:lnTo>
                      <a:lnTo>
                        <a:pt x="950595" y="923925"/>
                      </a:lnTo>
                      <a:lnTo>
                        <a:pt x="924878" y="922020"/>
                      </a:lnTo>
                      <a:lnTo>
                        <a:pt x="918210" y="915353"/>
                      </a:lnTo>
                      <a:lnTo>
                        <a:pt x="893445" y="877253"/>
                      </a:lnTo>
                      <a:lnTo>
                        <a:pt x="877253" y="861060"/>
                      </a:lnTo>
                      <a:lnTo>
                        <a:pt x="855345" y="862012"/>
                      </a:lnTo>
                      <a:lnTo>
                        <a:pt x="818197" y="853440"/>
                      </a:lnTo>
                      <a:lnTo>
                        <a:pt x="799147" y="860108"/>
                      </a:lnTo>
                      <a:lnTo>
                        <a:pt x="768667" y="835342"/>
                      </a:lnTo>
                      <a:lnTo>
                        <a:pt x="741997" y="826770"/>
                      </a:lnTo>
                      <a:lnTo>
                        <a:pt x="687705" y="776287"/>
                      </a:lnTo>
                      <a:lnTo>
                        <a:pt x="670560" y="757237"/>
                      </a:lnTo>
                      <a:lnTo>
                        <a:pt x="637222" y="736283"/>
                      </a:lnTo>
                      <a:lnTo>
                        <a:pt x="615315" y="705803"/>
                      </a:lnTo>
                      <a:lnTo>
                        <a:pt x="598170" y="694372"/>
                      </a:lnTo>
                      <a:lnTo>
                        <a:pt x="560070" y="681037"/>
                      </a:lnTo>
                      <a:lnTo>
                        <a:pt x="557212" y="668655"/>
                      </a:lnTo>
                      <a:lnTo>
                        <a:pt x="527685" y="639128"/>
                      </a:lnTo>
                      <a:lnTo>
                        <a:pt x="511492" y="629603"/>
                      </a:lnTo>
                      <a:lnTo>
                        <a:pt x="499110" y="609600"/>
                      </a:lnTo>
                      <a:lnTo>
                        <a:pt x="475297" y="604837"/>
                      </a:lnTo>
                      <a:lnTo>
                        <a:pt x="476250" y="579120"/>
                      </a:lnTo>
                      <a:lnTo>
                        <a:pt x="464820" y="545783"/>
                      </a:lnTo>
                      <a:lnTo>
                        <a:pt x="448628" y="524828"/>
                      </a:lnTo>
                      <a:lnTo>
                        <a:pt x="437197" y="474345"/>
                      </a:lnTo>
                      <a:lnTo>
                        <a:pt x="429578" y="460057"/>
                      </a:lnTo>
                      <a:lnTo>
                        <a:pt x="412433" y="449580"/>
                      </a:lnTo>
                      <a:lnTo>
                        <a:pt x="374333" y="438150"/>
                      </a:lnTo>
                      <a:lnTo>
                        <a:pt x="320040" y="405765"/>
                      </a:lnTo>
                      <a:lnTo>
                        <a:pt x="309562" y="404813"/>
                      </a:lnTo>
                      <a:lnTo>
                        <a:pt x="277178" y="392430"/>
                      </a:lnTo>
                      <a:lnTo>
                        <a:pt x="257175" y="390525"/>
                      </a:lnTo>
                      <a:lnTo>
                        <a:pt x="232410" y="401955"/>
                      </a:lnTo>
                      <a:lnTo>
                        <a:pt x="202882" y="432435"/>
                      </a:lnTo>
                      <a:lnTo>
                        <a:pt x="179070" y="464820"/>
                      </a:lnTo>
                      <a:lnTo>
                        <a:pt x="170497" y="470535"/>
                      </a:lnTo>
                      <a:lnTo>
                        <a:pt x="138113" y="481965"/>
                      </a:lnTo>
                      <a:lnTo>
                        <a:pt x="109538" y="486728"/>
                      </a:lnTo>
                      <a:lnTo>
                        <a:pt x="107632" y="472440"/>
                      </a:lnTo>
                      <a:lnTo>
                        <a:pt x="127635" y="447675"/>
                      </a:lnTo>
                      <a:lnTo>
                        <a:pt x="124778" y="428625"/>
                      </a:lnTo>
                      <a:lnTo>
                        <a:pt x="93345" y="434340"/>
                      </a:lnTo>
                      <a:lnTo>
                        <a:pt x="44767" y="411480"/>
                      </a:lnTo>
                      <a:lnTo>
                        <a:pt x="36195" y="402907"/>
                      </a:lnTo>
                      <a:lnTo>
                        <a:pt x="35242" y="389572"/>
                      </a:lnTo>
                      <a:lnTo>
                        <a:pt x="28575" y="377190"/>
                      </a:lnTo>
                      <a:lnTo>
                        <a:pt x="41910" y="353378"/>
                      </a:lnTo>
                      <a:lnTo>
                        <a:pt x="49530" y="346710"/>
                      </a:lnTo>
                      <a:lnTo>
                        <a:pt x="44767" y="330517"/>
                      </a:lnTo>
                      <a:lnTo>
                        <a:pt x="14288" y="317182"/>
                      </a:lnTo>
                      <a:lnTo>
                        <a:pt x="0" y="287655"/>
                      </a:lnTo>
                      <a:lnTo>
                        <a:pt x="7620" y="283845"/>
                      </a:lnTo>
                      <a:lnTo>
                        <a:pt x="25717" y="285750"/>
                      </a:lnTo>
                      <a:lnTo>
                        <a:pt x="41910" y="273367"/>
                      </a:lnTo>
                      <a:lnTo>
                        <a:pt x="53340" y="270510"/>
                      </a:lnTo>
                      <a:lnTo>
                        <a:pt x="60960" y="246697"/>
                      </a:lnTo>
                      <a:lnTo>
                        <a:pt x="43815" y="231457"/>
                      </a:lnTo>
                      <a:lnTo>
                        <a:pt x="27622" y="206692"/>
                      </a:lnTo>
                      <a:lnTo>
                        <a:pt x="19050" y="200978"/>
                      </a:lnTo>
                      <a:lnTo>
                        <a:pt x="18097" y="185738"/>
                      </a:lnTo>
                      <a:lnTo>
                        <a:pt x="42863" y="169545"/>
                      </a:lnTo>
                      <a:lnTo>
                        <a:pt x="56197" y="176213"/>
                      </a:lnTo>
                      <a:lnTo>
                        <a:pt x="79057" y="171450"/>
                      </a:lnTo>
                      <a:lnTo>
                        <a:pt x="103822" y="161925"/>
                      </a:lnTo>
                      <a:lnTo>
                        <a:pt x="133350" y="169545"/>
                      </a:lnTo>
                      <a:lnTo>
                        <a:pt x="156210" y="156210"/>
                      </a:lnTo>
                      <a:lnTo>
                        <a:pt x="171450" y="135255"/>
                      </a:lnTo>
                      <a:lnTo>
                        <a:pt x="165735" y="120967"/>
                      </a:lnTo>
                      <a:lnTo>
                        <a:pt x="198120" y="93345"/>
                      </a:lnTo>
                      <a:lnTo>
                        <a:pt x="207645" y="99060"/>
                      </a:lnTo>
                      <a:lnTo>
                        <a:pt x="209550" y="122872"/>
                      </a:lnTo>
                      <a:lnTo>
                        <a:pt x="232410" y="141922"/>
                      </a:lnTo>
                      <a:lnTo>
                        <a:pt x="253365" y="147638"/>
                      </a:lnTo>
                      <a:lnTo>
                        <a:pt x="249555" y="159067"/>
                      </a:lnTo>
                      <a:lnTo>
                        <a:pt x="261938" y="170497"/>
                      </a:lnTo>
                      <a:lnTo>
                        <a:pt x="270510" y="183832"/>
                      </a:lnTo>
                      <a:lnTo>
                        <a:pt x="281940" y="177165"/>
                      </a:lnTo>
                      <a:lnTo>
                        <a:pt x="275272" y="160972"/>
                      </a:lnTo>
                      <a:lnTo>
                        <a:pt x="277178" y="151447"/>
                      </a:lnTo>
                      <a:lnTo>
                        <a:pt x="298133" y="126682"/>
                      </a:lnTo>
                      <a:lnTo>
                        <a:pt x="302895" y="116205"/>
                      </a:lnTo>
                      <a:lnTo>
                        <a:pt x="302895" y="88582"/>
                      </a:lnTo>
                      <a:lnTo>
                        <a:pt x="321945" y="87630"/>
                      </a:lnTo>
                      <a:lnTo>
                        <a:pt x="329565" y="107632"/>
                      </a:lnTo>
                      <a:lnTo>
                        <a:pt x="348615" y="115253"/>
                      </a:lnTo>
                      <a:lnTo>
                        <a:pt x="376237" y="104775"/>
                      </a:lnTo>
                      <a:lnTo>
                        <a:pt x="382905" y="105728"/>
                      </a:lnTo>
                      <a:lnTo>
                        <a:pt x="396240" y="123825"/>
                      </a:lnTo>
                      <a:lnTo>
                        <a:pt x="407670" y="120967"/>
                      </a:lnTo>
                      <a:lnTo>
                        <a:pt x="393383" y="87630"/>
                      </a:lnTo>
                      <a:lnTo>
                        <a:pt x="399097" y="70485"/>
                      </a:lnTo>
                      <a:lnTo>
                        <a:pt x="411480" y="67628"/>
                      </a:lnTo>
                      <a:lnTo>
                        <a:pt x="421005" y="76200"/>
                      </a:lnTo>
                      <a:lnTo>
                        <a:pt x="439103" y="78105"/>
                      </a:lnTo>
                      <a:lnTo>
                        <a:pt x="434340" y="60960"/>
                      </a:lnTo>
                      <a:lnTo>
                        <a:pt x="439103" y="31432"/>
                      </a:lnTo>
                      <a:lnTo>
                        <a:pt x="467678" y="34290"/>
                      </a:lnTo>
                      <a:lnTo>
                        <a:pt x="476250" y="41910"/>
                      </a:lnTo>
                      <a:lnTo>
                        <a:pt x="496253" y="45720"/>
                      </a:lnTo>
                      <a:lnTo>
                        <a:pt x="506730" y="41910"/>
                      </a:lnTo>
                      <a:lnTo>
                        <a:pt x="518160" y="20955"/>
                      </a:lnTo>
                      <a:lnTo>
                        <a:pt x="531495" y="15240"/>
                      </a:lnTo>
                      <a:lnTo>
                        <a:pt x="563880" y="12382"/>
                      </a:lnTo>
                      <a:lnTo>
                        <a:pt x="593408" y="14288"/>
                      </a:lnTo>
                      <a:lnTo>
                        <a:pt x="638175" y="0"/>
                      </a:lnTo>
                      <a:lnTo>
                        <a:pt x="638175" y="21907"/>
                      </a:lnTo>
                      <a:lnTo>
                        <a:pt x="667703" y="55245"/>
                      </a:lnTo>
                      <a:lnTo>
                        <a:pt x="678180" y="60007"/>
                      </a:lnTo>
                      <a:lnTo>
                        <a:pt x="760095" y="74295"/>
                      </a:lnTo>
                      <a:lnTo>
                        <a:pt x="798195" y="77153"/>
                      </a:lnTo>
                      <a:lnTo>
                        <a:pt x="822960" y="8191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3" name="Liechtenstein" descr="{&quot;Key&quot;:&quot;liechtenstein&quot;,&quot;Name&quot;:&quot;Liechtenstein&quot;,&quot;Value&quot;:1.0,&quot;Formula&quot;:&quot;&quot;,&quot;Text&quot;:&quot;&quot;,&quot;OfficeApplication&quot;:1,&quot;HasValue&quot;:true}">
                  <a:extLst>
                    <a:ext uri="{FF2B5EF4-FFF2-40B4-BE49-F238E27FC236}">
                      <a16:creationId xmlns:a16="http://schemas.microsoft.com/office/drawing/2014/main" id="{05B10087-B2F6-4799-BE65-534732899E41}"/>
                    </a:ext>
                  </a:extLst>
                </p:cNvPr>
                <p:cNvSpPr/>
                <p:nvPr/>
              </p:nvSpPr>
              <p:spPr>
                <a:xfrm>
                  <a:off x="6268402" y="4533357"/>
                  <a:ext cx="15240" cy="31432"/>
                </a:xfrm>
                <a:custGeom>
                  <a:avLst/>
                  <a:gdLst>
                    <a:gd name="connsiteX0" fmla="*/ 12383 w 15240"/>
                    <a:gd name="connsiteY0" fmla="*/ 31432 h 31432"/>
                    <a:gd name="connsiteX1" fmla="*/ 953 w 15240"/>
                    <a:gd name="connsiteY1" fmla="*/ 30480 h 31432"/>
                    <a:gd name="connsiteX2" fmla="*/ 0 w 15240"/>
                    <a:gd name="connsiteY2" fmla="*/ 14288 h 31432"/>
                    <a:gd name="connsiteX3" fmla="*/ 4763 w 15240"/>
                    <a:gd name="connsiteY3" fmla="*/ 0 h 31432"/>
                    <a:gd name="connsiteX4" fmla="*/ 15240 w 15240"/>
                    <a:gd name="connsiteY4" fmla="*/ 23813 h 31432"/>
                    <a:gd name="connsiteX5" fmla="*/ 12383 w 15240"/>
                    <a:gd name="connsiteY5" fmla="*/ 31432 h 3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 h="31432">
                      <a:moveTo>
                        <a:pt x="12383" y="31432"/>
                      </a:moveTo>
                      <a:lnTo>
                        <a:pt x="953" y="30480"/>
                      </a:lnTo>
                      <a:lnTo>
                        <a:pt x="0" y="14288"/>
                      </a:lnTo>
                      <a:lnTo>
                        <a:pt x="4763" y="0"/>
                      </a:lnTo>
                      <a:lnTo>
                        <a:pt x="15240" y="23813"/>
                      </a:lnTo>
                      <a:lnTo>
                        <a:pt x="12383" y="31432"/>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4" name="Lithuania" descr="{&quot;Key&quot;:&quot;lithuania&quot;,&quot;Name&quot;:&quot;Lithuania&quot;,&quot;Value&quot;:1.0,&quot;Formula&quot;:&quot;&quot;,&quot;Text&quot;:&quot;&quot;,&quot;OfficeApplication&quot;:1,&quot;HasValue&quot;:true}">
                  <a:extLst>
                    <a:ext uri="{FF2B5EF4-FFF2-40B4-BE49-F238E27FC236}">
                      <a16:creationId xmlns:a16="http://schemas.microsoft.com/office/drawing/2014/main" id="{5AC5DE99-3DA5-9F27-003C-2EEDEE17C08C}"/>
                    </a:ext>
                  </a:extLst>
                </p:cNvPr>
                <p:cNvSpPr/>
                <p:nvPr/>
              </p:nvSpPr>
              <p:spPr>
                <a:xfrm>
                  <a:off x="7460932" y="3222717"/>
                  <a:ext cx="645794" cy="355282"/>
                </a:xfrm>
                <a:custGeom>
                  <a:avLst/>
                  <a:gdLst>
                    <a:gd name="connsiteX0" fmla="*/ 615315 w 645794"/>
                    <a:gd name="connsiteY0" fmla="*/ 103822 h 355282"/>
                    <a:gd name="connsiteX1" fmla="*/ 615315 w 645794"/>
                    <a:gd name="connsiteY1" fmla="*/ 120967 h 355282"/>
                    <a:gd name="connsiteX2" fmla="*/ 608648 w 645794"/>
                    <a:gd name="connsiteY2" fmla="*/ 150495 h 355282"/>
                    <a:gd name="connsiteX3" fmla="*/ 645795 w 645794"/>
                    <a:gd name="connsiteY3" fmla="*/ 160020 h 355282"/>
                    <a:gd name="connsiteX4" fmla="*/ 633413 w 645794"/>
                    <a:gd name="connsiteY4" fmla="*/ 169545 h 355282"/>
                    <a:gd name="connsiteX5" fmla="*/ 629603 w 645794"/>
                    <a:gd name="connsiteY5" fmla="*/ 180022 h 355282"/>
                    <a:gd name="connsiteX6" fmla="*/ 595313 w 645794"/>
                    <a:gd name="connsiteY6" fmla="*/ 179070 h 355282"/>
                    <a:gd name="connsiteX7" fmla="*/ 585788 w 645794"/>
                    <a:gd name="connsiteY7" fmla="*/ 198120 h 355282"/>
                    <a:gd name="connsiteX8" fmla="*/ 578168 w 645794"/>
                    <a:gd name="connsiteY8" fmla="*/ 203835 h 355282"/>
                    <a:gd name="connsiteX9" fmla="*/ 553403 w 645794"/>
                    <a:gd name="connsiteY9" fmla="*/ 209550 h 355282"/>
                    <a:gd name="connsiteX10" fmla="*/ 542925 w 645794"/>
                    <a:gd name="connsiteY10" fmla="*/ 238125 h 355282"/>
                    <a:gd name="connsiteX11" fmla="*/ 546735 w 645794"/>
                    <a:gd name="connsiteY11" fmla="*/ 260032 h 355282"/>
                    <a:gd name="connsiteX12" fmla="*/ 537210 w 645794"/>
                    <a:gd name="connsiteY12" fmla="*/ 274320 h 355282"/>
                    <a:gd name="connsiteX13" fmla="*/ 532448 w 645794"/>
                    <a:gd name="connsiteY13" fmla="*/ 293370 h 355282"/>
                    <a:gd name="connsiteX14" fmla="*/ 550545 w 645794"/>
                    <a:gd name="connsiteY14" fmla="*/ 298132 h 355282"/>
                    <a:gd name="connsiteX15" fmla="*/ 559118 w 645794"/>
                    <a:gd name="connsiteY15" fmla="*/ 308610 h 355282"/>
                    <a:gd name="connsiteX16" fmla="*/ 559118 w 645794"/>
                    <a:gd name="connsiteY16" fmla="*/ 318135 h 355282"/>
                    <a:gd name="connsiteX17" fmla="*/ 540068 w 645794"/>
                    <a:gd name="connsiteY17" fmla="*/ 320040 h 355282"/>
                    <a:gd name="connsiteX18" fmla="*/ 523875 w 645794"/>
                    <a:gd name="connsiteY18" fmla="*/ 298132 h 355282"/>
                    <a:gd name="connsiteX19" fmla="*/ 514350 w 645794"/>
                    <a:gd name="connsiteY19" fmla="*/ 304800 h 355282"/>
                    <a:gd name="connsiteX20" fmla="*/ 494348 w 645794"/>
                    <a:gd name="connsiteY20" fmla="*/ 309563 h 355282"/>
                    <a:gd name="connsiteX21" fmla="*/ 481013 w 645794"/>
                    <a:gd name="connsiteY21" fmla="*/ 320992 h 355282"/>
                    <a:gd name="connsiteX22" fmla="*/ 461963 w 645794"/>
                    <a:gd name="connsiteY22" fmla="*/ 319088 h 355282"/>
                    <a:gd name="connsiteX23" fmla="*/ 454343 w 645794"/>
                    <a:gd name="connsiteY23" fmla="*/ 343853 h 355282"/>
                    <a:gd name="connsiteX24" fmla="*/ 437198 w 645794"/>
                    <a:gd name="connsiteY24" fmla="*/ 342900 h 355282"/>
                    <a:gd name="connsiteX25" fmla="*/ 405765 w 645794"/>
                    <a:gd name="connsiteY25" fmla="*/ 355282 h 355282"/>
                    <a:gd name="connsiteX26" fmla="*/ 390525 w 645794"/>
                    <a:gd name="connsiteY26" fmla="*/ 346710 h 355282"/>
                    <a:gd name="connsiteX27" fmla="*/ 355282 w 645794"/>
                    <a:gd name="connsiteY27" fmla="*/ 349567 h 355282"/>
                    <a:gd name="connsiteX28" fmla="*/ 340043 w 645794"/>
                    <a:gd name="connsiteY28" fmla="*/ 352425 h 355282"/>
                    <a:gd name="connsiteX29" fmla="*/ 312420 w 645794"/>
                    <a:gd name="connsiteY29" fmla="*/ 348615 h 355282"/>
                    <a:gd name="connsiteX30" fmla="*/ 304800 w 645794"/>
                    <a:gd name="connsiteY30" fmla="*/ 320040 h 355282"/>
                    <a:gd name="connsiteX31" fmla="*/ 294323 w 645794"/>
                    <a:gd name="connsiteY31" fmla="*/ 311467 h 355282"/>
                    <a:gd name="connsiteX32" fmla="*/ 251460 w 645794"/>
                    <a:gd name="connsiteY32" fmla="*/ 290513 h 355282"/>
                    <a:gd name="connsiteX33" fmla="*/ 229553 w 645794"/>
                    <a:gd name="connsiteY33" fmla="*/ 283845 h 355282"/>
                    <a:gd name="connsiteX34" fmla="*/ 223838 w 645794"/>
                    <a:gd name="connsiteY34" fmla="*/ 289560 h 355282"/>
                    <a:gd name="connsiteX35" fmla="*/ 211455 w 645794"/>
                    <a:gd name="connsiteY35" fmla="*/ 270510 h 355282"/>
                    <a:gd name="connsiteX36" fmla="*/ 211455 w 645794"/>
                    <a:gd name="connsiteY36" fmla="*/ 250507 h 355282"/>
                    <a:gd name="connsiteX37" fmla="*/ 220980 w 645794"/>
                    <a:gd name="connsiteY37" fmla="*/ 220980 h 355282"/>
                    <a:gd name="connsiteX38" fmla="*/ 208598 w 645794"/>
                    <a:gd name="connsiteY38" fmla="*/ 208597 h 355282"/>
                    <a:gd name="connsiteX39" fmla="*/ 195263 w 645794"/>
                    <a:gd name="connsiteY39" fmla="*/ 202882 h 355282"/>
                    <a:gd name="connsiteX40" fmla="*/ 186690 w 645794"/>
                    <a:gd name="connsiteY40" fmla="*/ 190500 h 355282"/>
                    <a:gd name="connsiteX41" fmla="*/ 132398 w 645794"/>
                    <a:gd name="connsiteY41" fmla="*/ 189547 h 355282"/>
                    <a:gd name="connsiteX42" fmla="*/ 109538 w 645794"/>
                    <a:gd name="connsiteY42" fmla="*/ 183832 h 355282"/>
                    <a:gd name="connsiteX43" fmla="*/ 72390 w 645794"/>
                    <a:gd name="connsiteY43" fmla="*/ 170497 h 355282"/>
                    <a:gd name="connsiteX44" fmla="*/ 53340 w 645794"/>
                    <a:gd name="connsiteY44" fmla="*/ 159067 h 355282"/>
                    <a:gd name="connsiteX45" fmla="*/ 36195 w 645794"/>
                    <a:gd name="connsiteY45" fmla="*/ 160972 h 355282"/>
                    <a:gd name="connsiteX46" fmla="*/ 30480 w 645794"/>
                    <a:gd name="connsiteY46" fmla="*/ 149542 h 355282"/>
                    <a:gd name="connsiteX47" fmla="*/ 32385 w 645794"/>
                    <a:gd name="connsiteY47" fmla="*/ 134303 h 355282"/>
                    <a:gd name="connsiteX48" fmla="*/ 21907 w 645794"/>
                    <a:gd name="connsiteY48" fmla="*/ 111442 h 355282"/>
                    <a:gd name="connsiteX49" fmla="*/ 6668 w 645794"/>
                    <a:gd name="connsiteY49" fmla="*/ 83820 h 355282"/>
                    <a:gd name="connsiteX50" fmla="*/ 0 w 645794"/>
                    <a:gd name="connsiteY50" fmla="*/ 47625 h 355282"/>
                    <a:gd name="connsiteX51" fmla="*/ 26670 w 645794"/>
                    <a:gd name="connsiteY51" fmla="*/ 31432 h 355282"/>
                    <a:gd name="connsiteX52" fmla="*/ 60960 w 645794"/>
                    <a:gd name="connsiteY52" fmla="*/ 13335 h 355282"/>
                    <a:gd name="connsiteX53" fmla="*/ 105728 w 645794"/>
                    <a:gd name="connsiteY53" fmla="*/ 0 h 355282"/>
                    <a:gd name="connsiteX54" fmla="*/ 161925 w 645794"/>
                    <a:gd name="connsiteY54" fmla="*/ 4763 h 355282"/>
                    <a:gd name="connsiteX55" fmla="*/ 202882 w 645794"/>
                    <a:gd name="connsiteY55" fmla="*/ 3810 h 355282"/>
                    <a:gd name="connsiteX56" fmla="*/ 212407 w 645794"/>
                    <a:gd name="connsiteY56" fmla="*/ 12382 h 355282"/>
                    <a:gd name="connsiteX57" fmla="*/ 227648 w 645794"/>
                    <a:gd name="connsiteY57" fmla="*/ 5715 h 355282"/>
                    <a:gd name="connsiteX58" fmla="*/ 274320 w 645794"/>
                    <a:gd name="connsiteY58" fmla="*/ 10478 h 355282"/>
                    <a:gd name="connsiteX59" fmla="*/ 296228 w 645794"/>
                    <a:gd name="connsiteY59" fmla="*/ 11430 h 355282"/>
                    <a:gd name="connsiteX60" fmla="*/ 331470 w 645794"/>
                    <a:gd name="connsiteY60" fmla="*/ 20003 h 355282"/>
                    <a:gd name="connsiteX61" fmla="*/ 375285 w 645794"/>
                    <a:gd name="connsiteY61" fmla="*/ 16192 h 355282"/>
                    <a:gd name="connsiteX62" fmla="*/ 391478 w 645794"/>
                    <a:gd name="connsiteY62" fmla="*/ 3810 h 355282"/>
                    <a:gd name="connsiteX63" fmla="*/ 413385 w 645794"/>
                    <a:gd name="connsiteY63" fmla="*/ 1905 h 355282"/>
                    <a:gd name="connsiteX64" fmla="*/ 436245 w 645794"/>
                    <a:gd name="connsiteY64" fmla="*/ 29528 h 355282"/>
                    <a:gd name="connsiteX65" fmla="*/ 494348 w 645794"/>
                    <a:gd name="connsiteY65" fmla="*/ 39053 h 355282"/>
                    <a:gd name="connsiteX66" fmla="*/ 502920 w 645794"/>
                    <a:gd name="connsiteY66" fmla="*/ 42863 h 355282"/>
                    <a:gd name="connsiteX67" fmla="*/ 554355 w 645794"/>
                    <a:gd name="connsiteY67" fmla="*/ 72390 h 355282"/>
                    <a:gd name="connsiteX68" fmla="*/ 579120 w 645794"/>
                    <a:gd name="connsiteY68" fmla="*/ 92392 h 355282"/>
                    <a:gd name="connsiteX69" fmla="*/ 593407 w 645794"/>
                    <a:gd name="connsiteY69" fmla="*/ 99060 h 355282"/>
                    <a:gd name="connsiteX70" fmla="*/ 615315 w 645794"/>
                    <a:gd name="connsiteY70" fmla="*/ 103822 h 35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5794" h="355282">
                      <a:moveTo>
                        <a:pt x="615315" y="103822"/>
                      </a:moveTo>
                      <a:lnTo>
                        <a:pt x="615315" y="120967"/>
                      </a:lnTo>
                      <a:lnTo>
                        <a:pt x="608648" y="150495"/>
                      </a:lnTo>
                      <a:lnTo>
                        <a:pt x="645795" y="160020"/>
                      </a:lnTo>
                      <a:lnTo>
                        <a:pt x="633413" y="169545"/>
                      </a:lnTo>
                      <a:lnTo>
                        <a:pt x="629603" y="180022"/>
                      </a:lnTo>
                      <a:lnTo>
                        <a:pt x="595313" y="179070"/>
                      </a:lnTo>
                      <a:lnTo>
                        <a:pt x="585788" y="198120"/>
                      </a:lnTo>
                      <a:lnTo>
                        <a:pt x="578168" y="203835"/>
                      </a:lnTo>
                      <a:lnTo>
                        <a:pt x="553403" y="209550"/>
                      </a:lnTo>
                      <a:lnTo>
                        <a:pt x="542925" y="238125"/>
                      </a:lnTo>
                      <a:lnTo>
                        <a:pt x="546735" y="260032"/>
                      </a:lnTo>
                      <a:lnTo>
                        <a:pt x="537210" y="274320"/>
                      </a:lnTo>
                      <a:lnTo>
                        <a:pt x="532448" y="293370"/>
                      </a:lnTo>
                      <a:lnTo>
                        <a:pt x="550545" y="298132"/>
                      </a:lnTo>
                      <a:lnTo>
                        <a:pt x="559118" y="308610"/>
                      </a:lnTo>
                      <a:lnTo>
                        <a:pt x="559118" y="318135"/>
                      </a:lnTo>
                      <a:lnTo>
                        <a:pt x="540068" y="320040"/>
                      </a:lnTo>
                      <a:lnTo>
                        <a:pt x="523875" y="298132"/>
                      </a:lnTo>
                      <a:lnTo>
                        <a:pt x="514350" y="304800"/>
                      </a:lnTo>
                      <a:lnTo>
                        <a:pt x="494348" y="309563"/>
                      </a:lnTo>
                      <a:lnTo>
                        <a:pt x="481013" y="320992"/>
                      </a:lnTo>
                      <a:lnTo>
                        <a:pt x="461963" y="319088"/>
                      </a:lnTo>
                      <a:lnTo>
                        <a:pt x="454343" y="343853"/>
                      </a:lnTo>
                      <a:lnTo>
                        <a:pt x="437198" y="342900"/>
                      </a:lnTo>
                      <a:lnTo>
                        <a:pt x="405765" y="355282"/>
                      </a:lnTo>
                      <a:lnTo>
                        <a:pt x="390525" y="346710"/>
                      </a:lnTo>
                      <a:lnTo>
                        <a:pt x="355282" y="349567"/>
                      </a:lnTo>
                      <a:lnTo>
                        <a:pt x="340043" y="352425"/>
                      </a:lnTo>
                      <a:lnTo>
                        <a:pt x="312420" y="348615"/>
                      </a:lnTo>
                      <a:lnTo>
                        <a:pt x="304800" y="320040"/>
                      </a:lnTo>
                      <a:lnTo>
                        <a:pt x="294323" y="311467"/>
                      </a:lnTo>
                      <a:lnTo>
                        <a:pt x="251460" y="290513"/>
                      </a:lnTo>
                      <a:lnTo>
                        <a:pt x="229553" y="283845"/>
                      </a:lnTo>
                      <a:lnTo>
                        <a:pt x="223838" y="289560"/>
                      </a:lnTo>
                      <a:lnTo>
                        <a:pt x="211455" y="270510"/>
                      </a:lnTo>
                      <a:lnTo>
                        <a:pt x="211455" y="250507"/>
                      </a:lnTo>
                      <a:lnTo>
                        <a:pt x="220980" y="220980"/>
                      </a:lnTo>
                      <a:lnTo>
                        <a:pt x="208598" y="208597"/>
                      </a:lnTo>
                      <a:lnTo>
                        <a:pt x="195263" y="202882"/>
                      </a:lnTo>
                      <a:lnTo>
                        <a:pt x="186690" y="190500"/>
                      </a:lnTo>
                      <a:lnTo>
                        <a:pt x="132398" y="189547"/>
                      </a:lnTo>
                      <a:lnTo>
                        <a:pt x="109538" y="183832"/>
                      </a:lnTo>
                      <a:lnTo>
                        <a:pt x="72390" y="170497"/>
                      </a:lnTo>
                      <a:lnTo>
                        <a:pt x="53340" y="159067"/>
                      </a:lnTo>
                      <a:lnTo>
                        <a:pt x="36195" y="160972"/>
                      </a:lnTo>
                      <a:lnTo>
                        <a:pt x="30480" y="149542"/>
                      </a:lnTo>
                      <a:lnTo>
                        <a:pt x="32385" y="134303"/>
                      </a:lnTo>
                      <a:lnTo>
                        <a:pt x="21907" y="111442"/>
                      </a:lnTo>
                      <a:lnTo>
                        <a:pt x="6668" y="83820"/>
                      </a:lnTo>
                      <a:lnTo>
                        <a:pt x="0" y="47625"/>
                      </a:lnTo>
                      <a:lnTo>
                        <a:pt x="26670" y="31432"/>
                      </a:lnTo>
                      <a:lnTo>
                        <a:pt x="60960" y="13335"/>
                      </a:lnTo>
                      <a:lnTo>
                        <a:pt x="105728" y="0"/>
                      </a:lnTo>
                      <a:lnTo>
                        <a:pt x="161925" y="4763"/>
                      </a:lnTo>
                      <a:lnTo>
                        <a:pt x="202882" y="3810"/>
                      </a:lnTo>
                      <a:lnTo>
                        <a:pt x="212407" y="12382"/>
                      </a:lnTo>
                      <a:lnTo>
                        <a:pt x="227648" y="5715"/>
                      </a:lnTo>
                      <a:lnTo>
                        <a:pt x="274320" y="10478"/>
                      </a:lnTo>
                      <a:lnTo>
                        <a:pt x="296228" y="11430"/>
                      </a:lnTo>
                      <a:lnTo>
                        <a:pt x="331470" y="20003"/>
                      </a:lnTo>
                      <a:lnTo>
                        <a:pt x="375285" y="16192"/>
                      </a:lnTo>
                      <a:lnTo>
                        <a:pt x="391478" y="3810"/>
                      </a:lnTo>
                      <a:lnTo>
                        <a:pt x="413385" y="1905"/>
                      </a:lnTo>
                      <a:lnTo>
                        <a:pt x="436245" y="29528"/>
                      </a:lnTo>
                      <a:lnTo>
                        <a:pt x="494348" y="39053"/>
                      </a:lnTo>
                      <a:lnTo>
                        <a:pt x="502920" y="42863"/>
                      </a:lnTo>
                      <a:lnTo>
                        <a:pt x="554355" y="72390"/>
                      </a:lnTo>
                      <a:lnTo>
                        <a:pt x="579120" y="92392"/>
                      </a:lnTo>
                      <a:lnTo>
                        <a:pt x="593407" y="99060"/>
                      </a:lnTo>
                      <a:lnTo>
                        <a:pt x="615315" y="103822"/>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15" name="Luxembourg" descr="{&quot;Key&quot;:&quot;luxembourg&quot;,&quot;Name&quot;:&quot;Luxembourg&quot;,&quot;Value&quot;:1.0,&quot;Formula&quot;:&quot;&quot;,&quot;Text&quot;:&quot;&quot;,&quot;OfficeApplication&quot;:1,&quot;HasValue&quot;:true}">
                  <a:extLst>
                    <a:ext uri="{FF2B5EF4-FFF2-40B4-BE49-F238E27FC236}">
                      <a16:creationId xmlns:a16="http://schemas.microsoft.com/office/drawing/2014/main" id="{E50D9BBB-A4CF-57CF-66FE-FD451CA38992}"/>
                    </a:ext>
                  </a:extLst>
                </p:cNvPr>
                <p:cNvSpPr/>
                <p:nvPr/>
              </p:nvSpPr>
              <p:spPr>
                <a:xfrm>
                  <a:off x="5817869" y="4112352"/>
                  <a:ext cx="87630" cy="103822"/>
                </a:xfrm>
                <a:custGeom>
                  <a:avLst/>
                  <a:gdLst>
                    <a:gd name="connsiteX0" fmla="*/ 43815 w 87630"/>
                    <a:gd name="connsiteY0" fmla="*/ 6668 h 103822"/>
                    <a:gd name="connsiteX1" fmla="*/ 46673 w 87630"/>
                    <a:gd name="connsiteY1" fmla="*/ 27622 h 103822"/>
                    <a:gd name="connsiteX2" fmla="*/ 60960 w 87630"/>
                    <a:gd name="connsiteY2" fmla="*/ 42863 h 103822"/>
                    <a:gd name="connsiteX3" fmla="*/ 87630 w 87630"/>
                    <a:gd name="connsiteY3" fmla="*/ 53340 h 103822"/>
                    <a:gd name="connsiteX4" fmla="*/ 87630 w 87630"/>
                    <a:gd name="connsiteY4" fmla="*/ 66675 h 103822"/>
                    <a:gd name="connsiteX5" fmla="*/ 79058 w 87630"/>
                    <a:gd name="connsiteY5" fmla="*/ 75247 h 103822"/>
                    <a:gd name="connsiteX6" fmla="*/ 73343 w 87630"/>
                    <a:gd name="connsiteY6" fmla="*/ 103822 h 103822"/>
                    <a:gd name="connsiteX7" fmla="*/ 60960 w 87630"/>
                    <a:gd name="connsiteY7" fmla="*/ 97155 h 103822"/>
                    <a:gd name="connsiteX8" fmla="*/ 41910 w 87630"/>
                    <a:gd name="connsiteY8" fmla="*/ 102870 h 103822"/>
                    <a:gd name="connsiteX9" fmla="*/ 28575 w 87630"/>
                    <a:gd name="connsiteY9" fmla="*/ 102870 h 103822"/>
                    <a:gd name="connsiteX10" fmla="*/ 8573 w 87630"/>
                    <a:gd name="connsiteY10" fmla="*/ 91440 h 103822"/>
                    <a:gd name="connsiteX11" fmla="*/ 19050 w 87630"/>
                    <a:gd name="connsiteY11" fmla="*/ 75247 h 103822"/>
                    <a:gd name="connsiteX12" fmla="*/ 0 w 87630"/>
                    <a:gd name="connsiteY12" fmla="*/ 52388 h 103822"/>
                    <a:gd name="connsiteX13" fmla="*/ 1905 w 87630"/>
                    <a:gd name="connsiteY13" fmla="*/ 36195 h 103822"/>
                    <a:gd name="connsiteX14" fmla="*/ 15240 w 87630"/>
                    <a:gd name="connsiteY14" fmla="*/ 12382 h 103822"/>
                    <a:gd name="connsiteX15" fmla="*/ 27623 w 87630"/>
                    <a:gd name="connsiteY15" fmla="*/ 0 h 103822"/>
                    <a:gd name="connsiteX16" fmla="*/ 43815 w 87630"/>
                    <a:gd name="connsiteY16" fmla="*/ 6668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630" h="103822">
                      <a:moveTo>
                        <a:pt x="43815" y="6668"/>
                      </a:moveTo>
                      <a:lnTo>
                        <a:pt x="46673" y="27622"/>
                      </a:lnTo>
                      <a:lnTo>
                        <a:pt x="60960" y="42863"/>
                      </a:lnTo>
                      <a:lnTo>
                        <a:pt x="87630" y="53340"/>
                      </a:lnTo>
                      <a:lnTo>
                        <a:pt x="87630" y="66675"/>
                      </a:lnTo>
                      <a:lnTo>
                        <a:pt x="79058" y="75247"/>
                      </a:lnTo>
                      <a:lnTo>
                        <a:pt x="73343" y="103822"/>
                      </a:lnTo>
                      <a:lnTo>
                        <a:pt x="60960" y="97155"/>
                      </a:lnTo>
                      <a:lnTo>
                        <a:pt x="41910" y="102870"/>
                      </a:lnTo>
                      <a:lnTo>
                        <a:pt x="28575" y="102870"/>
                      </a:lnTo>
                      <a:lnTo>
                        <a:pt x="8573" y="91440"/>
                      </a:lnTo>
                      <a:lnTo>
                        <a:pt x="19050" y="75247"/>
                      </a:lnTo>
                      <a:lnTo>
                        <a:pt x="0" y="52388"/>
                      </a:lnTo>
                      <a:lnTo>
                        <a:pt x="1905" y="36195"/>
                      </a:lnTo>
                      <a:lnTo>
                        <a:pt x="15240" y="12382"/>
                      </a:lnTo>
                      <a:lnTo>
                        <a:pt x="27623" y="0"/>
                      </a:lnTo>
                      <a:lnTo>
                        <a:pt x="43815" y="6668"/>
                      </a:lnTo>
                      <a:close/>
                    </a:path>
                  </a:pathLst>
                </a:custGeom>
                <a:solidFill>
                  <a:srgbClr val="6FA9C3"/>
                </a:solidFill>
                <a:ln w="953" cap="rnd">
                  <a:solidFill>
                    <a:srgbClr val="B5C1B5"/>
                  </a:solidFill>
                  <a:prstDash val="solid"/>
                  <a:round/>
                </a:ln>
              </p:spPr>
              <p:txBody>
                <a:bodyPr rtlCol="0" anchor="ctr"/>
                <a:lstStyle/>
                <a:p>
                  <a:endParaRPr lang="en-US" sz="600"/>
                </a:p>
              </p:txBody>
            </p:sp>
            <p:sp>
              <p:nvSpPr>
                <p:cNvPr id="3116" name="Latvia" descr="{&quot;Key&quot;:&quot;latvia&quot;,&quot;Name&quot;:&quot;Latvia&quot;,&quot;Value&quot;:1.0,&quot;Formula&quot;:&quot;&quot;,&quot;Text&quot;:&quot;&quot;,&quot;OfficeApplication&quot;:1,&quot;HasValue&quot;:true}">
                  <a:extLst>
                    <a:ext uri="{FF2B5EF4-FFF2-40B4-BE49-F238E27FC236}">
                      <a16:creationId xmlns:a16="http://schemas.microsoft.com/office/drawing/2014/main" id="{10F98231-0946-60D9-0ACB-2D3174C298B2}"/>
                    </a:ext>
                  </a:extLst>
                </p:cNvPr>
                <p:cNvSpPr/>
                <p:nvPr/>
              </p:nvSpPr>
              <p:spPr>
                <a:xfrm>
                  <a:off x="7447597" y="2992211"/>
                  <a:ext cx="789622" cy="334327"/>
                </a:xfrm>
                <a:custGeom>
                  <a:avLst/>
                  <a:gdLst>
                    <a:gd name="connsiteX0" fmla="*/ 663892 w 789622"/>
                    <a:gd name="connsiteY0" fmla="*/ 74295 h 334327"/>
                    <a:gd name="connsiteX1" fmla="*/ 681990 w 789622"/>
                    <a:gd name="connsiteY1" fmla="*/ 77153 h 334327"/>
                    <a:gd name="connsiteX2" fmla="*/ 686752 w 789622"/>
                    <a:gd name="connsiteY2" fmla="*/ 87630 h 334327"/>
                    <a:gd name="connsiteX3" fmla="*/ 717232 w 789622"/>
                    <a:gd name="connsiteY3" fmla="*/ 103822 h 334327"/>
                    <a:gd name="connsiteX4" fmla="*/ 723900 w 789622"/>
                    <a:gd name="connsiteY4" fmla="*/ 124778 h 334327"/>
                    <a:gd name="connsiteX5" fmla="*/ 716280 w 789622"/>
                    <a:gd name="connsiteY5" fmla="*/ 140018 h 334327"/>
                    <a:gd name="connsiteX6" fmla="*/ 713422 w 789622"/>
                    <a:gd name="connsiteY6" fmla="*/ 169545 h 334327"/>
                    <a:gd name="connsiteX7" fmla="*/ 730567 w 789622"/>
                    <a:gd name="connsiteY7" fmla="*/ 166688 h 334327"/>
                    <a:gd name="connsiteX8" fmla="*/ 740092 w 789622"/>
                    <a:gd name="connsiteY8" fmla="*/ 172403 h 334327"/>
                    <a:gd name="connsiteX9" fmla="*/ 742950 w 789622"/>
                    <a:gd name="connsiteY9" fmla="*/ 183833 h 334327"/>
                    <a:gd name="connsiteX10" fmla="*/ 759142 w 789622"/>
                    <a:gd name="connsiteY10" fmla="*/ 203835 h 334327"/>
                    <a:gd name="connsiteX11" fmla="*/ 771525 w 789622"/>
                    <a:gd name="connsiteY11" fmla="*/ 211455 h 334327"/>
                    <a:gd name="connsiteX12" fmla="*/ 789622 w 789622"/>
                    <a:gd name="connsiteY12" fmla="*/ 251460 h 334327"/>
                    <a:gd name="connsiteX13" fmla="*/ 786765 w 789622"/>
                    <a:gd name="connsiteY13" fmla="*/ 267653 h 334327"/>
                    <a:gd name="connsiteX14" fmla="*/ 774382 w 789622"/>
                    <a:gd name="connsiteY14" fmla="*/ 269558 h 334327"/>
                    <a:gd name="connsiteX15" fmla="*/ 761047 w 789622"/>
                    <a:gd name="connsiteY15" fmla="*/ 277178 h 334327"/>
                    <a:gd name="connsiteX16" fmla="*/ 737235 w 789622"/>
                    <a:gd name="connsiteY16" fmla="*/ 300038 h 334327"/>
                    <a:gd name="connsiteX17" fmla="*/ 733425 w 789622"/>
                    <a:gd name="connsiteY17" fmla="*/ 316230 h 334327"/>
                    <a:gd name="connsiteX18" fmla="*/ 703897 w 789622"/>
                    <a:gd name="connsiteY18" fmla="*/ 315278 h 334327"/>
                    <a:gd name="connsiteX19" fmla="*/ 675322 w 789622"/>
                    <a:gd name="connsiteY19" fmla="*/ 311468 h 334327"/>
                    <a:gd name="connsiteX20" fmla="*/ 664845 w 789622"/>
                    <a:gd name="connsiteY20" fmla="*/ 314325 h 334327"/>
                    <a:gd name="connsiteX21" fmla="*/ 653415 w 789622"/>
                    <a:gd name="connsiteY21" fmla="*/ 328613 h 334327"/>
                    <a:gd name="connsiteX22" fmla="*/ 628650 w 789622"/>
                    <a:gd name="connsiteY22" fmla="*/ 334328 h 334327"/>
                    <a:gd name="connsiteX23" fmla="*/ 606742 w 789622"/>
                    <a:gd name="connsiteY23" fmla="*/ 329565 h 334327"/>
                    <a:gd name="connsiteX24" fmla="*/ 592455 w 789622"/>
                    <a:gd name="connsiteY24" fmla="*/ 322897 h 334327"/>
                    <a:gd name="connsiteX25" fmla="*/ 567690 w 789622"/>
                    <a:gd name="connsiteY25" fmla="*/ 302895 h 334327"/>
                    <a:gd name="connsiteX26" fmla="*/ 516255 w 789622"/>
                    <a:gd name="connsiteY26" fmla="*/ 273368 h 334327"/>
                    <a:gd name="connsiteX27" fmla="*/ 507682 w 789622"/>
                    <a:gd name="connsiteY27" fmla="*/ 269558 h 334327"/>
                    <a:gd name="connsiteX28" fmla="*/ 449580 w 789622"/>
                    <a:gd name="connsiteY28" fmla="*/ 260033 h 334327"/>
                    <a:gd name="connsiteX29" fmla="*/ 426720 w 789622"/>
                    <a:gd name="connsiteY29" fmla="*/ 232410 h 334327"/>
                    <a:gd name="connsiteX30" fmla="*/ 404813 w 789622"/>
                    <a:gd name="connsiteY30" fmla="*/ 234315 h 334327"/>
                    <a:gd name="connsiteX31" fmla="*/ 388620 w 789622"/>
                    <a:gd name="connsiteY31" fmla="*/ 246697 h 334327"/>
                    <a:gd name="connsiteX32" fmla="*/ 344805 w 789622"/>
                    <a:gd name="connsiteY32" fmla="*/ 250508 h 334327"/>
                    <a:gd name="connsiteX33" fmla="*/ 309563 w 789622"/>
                    <a:gd name="connsiteY33" fmla="*/ 241935 h 334327"/>
                    <a:gd name="connsiteX34" fmla="*/ 287655 w 789622"/>
                    <a:gd name="connsiteY34" fmla="*/ 240983 h 334327"/>
                    <a:gd name="connsiteX35" fmla="*/ 240982 w 789622"/>
                    <a:gd name="connsiteY35" fmla="*/ 236220 h 334327"/>
                    <a:gd name="connsiteX36" fmla="*/ 225742 w 789622"/>
                    <a:gd name="connsiteY36" fmla="*/ 242888 h 334327"/>
                    <a:gd name="connsiteX37" fmla="*/ 216217 w 789622"/>
                    <a:gd name="connsiteY37" fmla="*/ 234315 h 334327"/>
                    <a:gd name="connsiteX38" fmla="*/ 175260 w 789622"/>
                    <a:gd name="connsiteY38" fmla="*/ 235268 h 334327"/>
                    <a:gd name="connsiteX39" fmla="*/ 119063 w 789622"/>
                    <a:gd name="connsiteY39" fmla="*/ 230505 h 334327"/>
                    <a:gd name="connsiteX40" fmla="*/ 74295 w 789622"/>
                    <a:gd name="connsiteY40" fmla="*/ 243840 h 334327"/>
                    <a:gd name="connsiteX41" fmla="*/ 40005 w 789622"/>
                    <a:gd name="connsiteY41" fmla="*/ 261938 h 334327"/>
                    <a:gd name="connsiteX42" fmla="*/ 13335 w 789622"/>
                    <a:gd name="connsiteY42" fmla="*/ 278130 h 334327"/>
                    <a:gd name="connsiteX43" fmla="*/ 5715 w 789622"/>
                    <a:gd name="connsiteY43" fmla="*/ 251460 h 334327"/>
                    <a:gd name="connsiteX44" fmla="*/ 0 w 789622"/>
                    <a:gd name="connsiteY44" fmla="*/ 199072 h 334327"/>
                    <a:gd name="connsiteX45" fmla="*/ 952 w 789622"/>
                    <a:gd name="connsiteY45" fmla="*/ 172403 h 334327"/>
                    <a:gd name="connsiteX46" fmla="*/ 19050 w 789622"/>
                    <a:gd name="connsiteY46" fmla="*/ 157163 h 334327"/>
                    <a:gd name="connsiteX47" fmla="*/ 26670 w 789622"/>
                    <a:gd name="connsiteY47" fmla="*/ 145733 h 334327"/>
                    <a:gd name="connsiteX48" fmla="*/ 32385 w 789622"/>
                    <a:gd name="connsiteY48" fmla="*/ 102870 h 334327"/>
                    <a:gd name="connsiteX49" fmla="*/ 56197 w 789622"/>
                    <a:gd name="connsiteY49" fmla="*/ 68580 h 334327"/>
                    <a:gd name="connsiteX50" fmla="*/ 79057 w 789622"/>
                    <a:gd name="connsiteY50" fmla="*/ 64770 h 334327"/>
                    <a:gd name="connsiteX51" fmla="*/ 108585 w 789622"/>
                    <a:gd name="connsiteY51" fmla="*/ 55245 h 334327"/>
                    <a:gd name="connsiteX52" fmla="*/ 141922 w 789622"/>
                    <a:gd name="connsiteY52" fmla="*/ 46672 h 334327"/>
                    <a:gd name="connsiteX53" fmla="*/ 155257 w 789622"/>
                    <a:gd name="connsiteY53" fmla="*/ 64770 h 334327"/>
                    <a:gd name="connsiteX54" fmla="*/ 201930 w 789622"/>
                    <a:gd name="connsiteY54" fmla="*/ 93345 h 334327"/>
                    <a:gd name="connsiteX55" fmla="*/ 213360 w 789622"/>
                    <a:gd name="connsiteY55" fmla="*/ 102870 h 334327"/>
                    <a:gd name="connsiteX56" fmla="*/ 235267 w 789622"/>
                    <a:gd name="connsiteY56" fmla="*/ 135255 h 334327"/>
                    <a:gd name="connsiteX57" fmla="*/ 277177 w 789622"/>
                    <a:gd name="connsiteY57" fmla="*/ 152400 h 334327"/>
                    <a:gd name="connsiteX58" fmla="*/ 306705 w 789622"/>
                    <a:gd name="connsiteY58" fmla="*/ 146685 h 334327"/>
                    <a:gd name="connsiteX59" fmla="*/ 340995 w 789622"/>
                    <a:gd name="connsiteY59" fmla="*/ 123825 h 334327"/>
                    <a:gd name="connsiteX60" fmla="*/ 350520 w 789622"/>
                    <a:gd name="connsiteY60" fmla="*/ 113347 h 334327"/>
                    <a:gd name="connsiteX61" fmla="*/ 350520 w 789622"/>
                    <a:gd name="connsiteY61" fmla="*/ 102870 h 334327"/>
                    <a:gd name="connsiteX62" fmla="*/ 339090 w 789622"/>
                    <a:gd name="connsiteY62" fmla="*/ 58103 h 334327"/>
                    <a:gd name="connsiteX63" fmla="*/ 328613 w 789622"/>
                    <a:gd name="connsiteY63" fmla="*/ 39053 h 334327"/>
                    <a:gd name="connsiteX64" fmla="*/ 329565 w 789622"/>
                    <a:gd name="connsiteY64" fmla="*/ 26670 h 334327"/>
                    <a:gd name="connsiteX65" fmla="*/ 409575 w 789622"/>
                    <a:gd name="connsiteY65" fmla="*/ 0 h 334327"/>
                    <a:gd name="connsiteX66" fmla="*/ 423863 w 789622"/>
                    <a:gd name="connsiteY66" fmla="*/ 9525 h 334327"/>
                    <a:gd name="connsiteX67" fmla="*/ 434340 w 789622"/>
                    <a:gd name="connsiteY67" fmla="*/ 2858 h 334327"/>
                    <a:gd name="connsiteX68" fmla="*/ 487680 w 789622"/>
                    <a:gd name="connsiteY68" fmla="*/ 26670 h 334327"/>
                    <a:gd name="connsiteX69" fmla="*/ 509588 w 789622"/>
                    <a:gd name="connsiteY69" fmla="*/ 31433 h 334327"/>
                    <a:gd name="connsiteX70" fmla="*/ 515302 w 789622"/>
                    <a:gd name="connsiteY70" fmla="*/ 38100 h 334327"/>
                    <a:gd name="connsiteX71" fmla="*/ 548640 w 789622"/>
                    <a:gd name="connsiteY71" fmla="*/ 63818 h 334327"/>
                    <a:gd name="connsiteX72" fmla="*/ 575310 w 789622"/>
                    <a:gd name="connsiteY72" fmla="*/ 74295 h 334327"/>
                    <a:gd name="connsiteX73" fmla="*/ 613410 w 789622"/>
                    <a:gd name="connsiteY73" fmla="*/ 62865 h 334327"/>
                    <a:gd name="connsiteX74" fmla="*/ 645795 w 789622"/>
                    <a:gd name="connsiteY74" fmla="*/ 72390 h 334327"/>
                    <a:gd name="connsiteX75" fmla="*/ 663892 w 789622"/>
                    <a:gd name="connsiteY75" fmla="*/ 74295 h 3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789622" h="334327">
                      <a:moveTo>
                        <a:pt x="663892" y="74295"/>
                      </a:moveTo>
                      <a:lnTo>
                        <a:pt x="681990" y="77153"/>
                      </a:lnTo>
                      <a:lnTo>
                        <a:pt x="686752" y="87630"/>
                      </a:lnTo>
                      <a:lnTo>
                        <a:pt x="717232" y="103822"/>
                      </a:lnTo>
                      <a:lnTo>
                        <a:pt x="723900" y="124778"/>
                      </a:lnTo>
                      <a:lnTo>
                        <a:pt x="716280" y="140018"/>
                      </a:lnTo>
                      <a:lnTo>
                        <a:pt x="713422" y="169545"/>
                      </a:lnTo>
                      <a:lnTo>
                        <a:pt x="730567" y="166688"/>
                      </a:lnTo>
                      <a:lnTo>
                        <a:pt x="740092" y="172403"/>
                      </a:lnTo>
                      <a:lnTo>
                        <a:pt x="742950" y="183833"/>
                      </a:lnTo>
                      <a:lnTo>
                        <a:pt x="759142" y="203835"/>
                      </a:lnTo>
                      <a:lnTo>
                        <a:pt x="771525" y="211455"/>
                      </a:lnTo>
                      <a:lnTo>
                        <a:pt x="789622" y="251460"/>
                      </a:lnTo>
                      <a:lnTo>
                        <a:pt x="786765" y="267653"/>
                      </a:lnTo>
                      <a:lnTo>
                        <a:pt x="774382" y="269558"/>
                      </a:lnTo>
                      <a:lnTo>
                        <a:pt x="761047" y="277178"/>
                      </a:lnTo>
                      <a:lnTo>
                        <a:pt x="737235" y="300038"/>
                      </a:lnTo>
                      <a:lnTo>
                        <a:pt x="733425" y="316230"/>
                      </a:lnTo>
                      <a:lnTo>
                        <a:pt x="703897" y="315278"/>
                      </a:lnTo>
                      <a:lnTo>
                        <a:pt x="675322" y="311468"/>
                      </a:lnTo>
                      <a:lnTo>
                        <a:pt x="664845" y="314325"/>
                      </a:lnTo>
                      <a:lnTo>
                        <a:pt x="653415" y="328613"/>
                      </a:lnTo>
                      <a:lnTo>
                        <a:pt x="628650" y="334328"/>
                      </a:lnTo>
                      <a:lnTo>
                        <a:pt x="606742" y="329565"/>
                      </a:lnTo>
                      <a:lnTo>
                        <a:pt x="592455" y="322897"/>
                      </a:lnTo>
                      <a:lnTo>
                        <a:pt x="567690" y="302895"/>
                      </a:lnTo>
                      <a:lnTo>
                        <a:pt x="516255" y="273368"/>
                      </a:lnTo>
                      <a:lnTo>
                        <a:pt x="507682" y="269558"/>
                      </a:lnTo>
                      <a:lnTo>
                        <a:pt x="449580" y="260033"/>
                      </a:lnTo>
                      <a:lnTo>
                        <a:pt x="426720" y="232410"/>
                      </a:lnTo>
                      <a:lnTo>
                        <a:pt x="404813" y="234315"/>
                      </a:lnTo>
                      <a:lnTo>
                        <a:pt x="388620" y="246697"/>
                      </a:lnTo>
                      <a:lnTo>
                        <a:pt x="344805" y="250508"/>
                      </a:lnTo>
                      <a:lnTo>
                        <a:pt x="309563" y="241935"/>
                      </a:lnTo>
                      <a:lnTo>
                        <a:pt x="287655" y="240983"/>
                      </a:lnTo>
                      <a:lnTo>
                        <a:pt x="240982" y="236220"/>
                      </a:lnTo>
                      <a:lnTo>
                        <a:pt x="225742" y="242888"/>
                      </a:lnTo>
                      <a:lnTo>
                        <a:pt x="216217" y="234315"/>
                      </a:lnTo>
                      <a:lnTo>
                        <a:pt x="175260" y="235268"/>
                      </a:lnTo>
                      <a:lnTo>
                        <a:pt x="119063" y="230505"/>
                      </a:lnTo>
                      <a:lnTo>
                        <a:pt x="74295" y="243840"/>
                      </a:lnTo>
                      <a:lnTo>
                        <a:pt x="40005" y="261938"/>
                      </a:lnTo>
                      <a:lnTo>
                        <a:pt x="13335" y="278130"/>
                      </a:lnTo>
                      <a:lnTo>
                        <a:pt x="5715" y="251460"/>
                      </a:lnTo>
                      <a:lnTo>
                        <a:pt x="0" y="199072"/>
                      </a:lnTo>
                      <a:lnTo>
                        <a:pt x="952" y="172403"/>
                      </a:lnTo>
                      <a:lnTo>
                        <a:pt x="19050" y="157163"/>
                      </a:lnTo>
                      <a:lnTo>
                        <a:pt x="26670" y="145733"/>
                      </a:lnTo>
                      <a:lnTo>
                        <a:pt x="32385" y="102870"/>
                      </a:lnTo>
                      <a:lnTo>
                        <a:pt x="56197" y="68580"/>
                      </a:lnTo>
                      <a:lnTo>
                        <a:pt x="79057" y="64770"/>
                      </a:lnTo>
                      <a:lnTo>
                        <a:pt x="108585" y="55245"/>
                      </a:lnTo>
                      <a:lnTo>
                        <a:pt x="141922" y="46672"/>
                      </a:lnTo>
                      <a:lnTo>
                        <a:pt x="155257" y="64770"/>
                      </a:lnTo>
                      <a:lnTo>
                        <a:pt x="201930" y="93345"/>
                      </a:lnTo>
                      <a:lnTo>
                        <a:pt x="213360" y="102870"/>
                      </a:lnTo>
                      <a:lnTo>
                        <a:pt x="235267" y="135255"/>
                      </a:lnTo>
                      <a:lnTo>
                        <a:pt x="277177" y="152400"/>
                      </a:lnTo>
                      <a:lnTo>
                        <a:pt x="306705" y="146685"/>
                      </a:lnTo>
                      <a:lnTo>
                        <a:pt x="340995" y="123825"/>
                      </a:lnTo>
                      <a:lnTo>
                        <a:pt x="350520" y="113347"/>
                      </a:lnTo>
                      <a:lnTo>
                        <a:pt x="350520" y="102870"/>
                      </a:lnTo>
                      <a:lnTo>
                        <a:pt x="339090" y="58103"/>
                      </a:lnTo>
                      <a:lnTo>
                        <a:pt x="328613" y="39053"/>
                      </a:lnTo>
                      <a:lnTo>
                        <a:pt x="329565" y="26670"/>
                      </a:lnTo>
                      <a:lnTo>
                        <a:pt x="409575" y="0"/>
                      </a:lnTo>
                      <a:lnTo>
                        <a:pt x="423863" y="9525"/>
                      </a:lnTo>
                      <a:lnTo>
                        <a:pt x="434340" y="2858"/>
                      </a:lnTo>
                      <a:lnTo>
                        <a:pt x="487680" y="26670"/>
                      </a:lnTo>
                      <a:lnTo>
                        <a:pt x="509588" y="31433"/>
                      </a:lnTo>
                      <a:lnTo>
                        <a:pt x="515302" y="38100"/>
                      </a:lnTo>
                      <a:lnTo>
                        <a:pt x="548640" y="63818"/>
                      </a:lnTo>
                      <a:lnTo>
                        <a:pt x="575310" y="74295"/>
                      </a:lnTo>
                      <a:lnTo>
                        <a:pt x="613410" y="62865"/>
                      </a:lnTo>
                      <a:lnTo>
                        <a:pt x="645795" y="72390"/>
                      </a:lnTo>
                      <a:lnTo>
                        <a:pt x="663892" y="7429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7" name="Moldova" descr="{&quot;Key&quot;:&quot;moldova&quot;,&quot;Name&quot;:&quot;Moldova&quot;,&quot;Value&quot;:1.0,&quot;Formula&quot;:&quot;&quot;,&quot;Text&quot;:&quot;&quot;,&quot;OfficeApplication&quot;:1,&quot;HasValue&quot;:true}">
                  <a:extLst>
                    <a:ext uri="{FF2B5EF4-FFF2-40B4-BE49-F238E27FC236}">
                      <a16:creationId xmlns:a16="http://schemas.microsoft.com/office/drawing/2014/main" id="{B9881D75-DF9B-7F84-0ED6-0E823CC779F5}"/>
                    </a:ext>
                  </a:extLst>
                </p:cNvPr>
                <p:cNvSpPr/>
                <p:nvPr/>
              </p:nvSpPr>
              <p:spPr>
                <a:xfrm>
                  <a:off x="8247697" y="4357144"/>
                  <a:ext cx="448627" cy="442912"/>
                </a:xfrm>
                <a:custGeom>
                  <a:avLst/>
                  <a:gdLst>
                    <a:gd name="connsiteX0" fmla="*/ 242888 w 448627"/>
                    <a:gd name="connsiteY0" fmla="*/ 442913 h 442912"/>
                    <a:gd name="connsiteX1" fmla="*/ 223838 w 448627"/>
                    <a:gd name="connsiteY1" fmla="*/ 421005 h 442912"/>
                    <a:gd name="connsiteX2" fmla="*/ 232410 w 448627"/>
                    <a:gd name="connsiteY2" fmla="*/ 414338 h 442912"/>
                    <a:gd name="connsiteX3" fmla="*/ 219075 w 448627"/>
                    <a:gd name="connsiteY3" fmla="*/ 366713 h 442912"/>
                    <a:gd name="connsiteX4" fmla="*/ 218122 w 448627"/>
                    <a:gd name="connsiteY4" fmla="*/ 341947 h 442912"/>
                    <a:gd name="connsiteX5" fmla="*/ 226695 w 448627"/>
                    <a:gd name="connsiteY5" fmla="*/ 296227 h 442912"/>
                    <a:gd name="connsiteX6" fmla="*/ 221932 w 448627"/>
                    <a:gd name="connsiteY6" fmla="*/ 268605 h 442912"/>
                    <a:gd name="connsiteX7" fmla="*/ 208597 w 448627"/>
                    <a:gd name="connsiteY7" fmla="*/ 246697 h 442912"/>
                    <a:gd name="connsiteX8" fmla="*/ 195263 w 448627"/>
                    <a:gd name="connsiteY8" fmla="*/ 219075 h 442912"/>
                    <a:gd name="connsiteX9" fmla="*/ 166688 w 448627"/>
                    <a:gd name="connsiteY9" fmla="*/ 199072 h 442912"/>
                    <a:gd name="connsiteX10" fmla="*/ 154305 w 448627"/>
                    <a:gd name="connsiteY10" fmla="*/ 182880 h 442912"/>
                    <a:gd name="connsiteX11" fmla="*/ 134302 w 448627"/>
                    <a:gd name="connsiteY11" fmla="*/ 165735 h 442912"/>
                    <a:gd name="connsiteX12" fmla="*/ 110490 w 448627"/>
                    <a:gd name="connsiteY12" fmla="*/ 135255 h 442912"/>
                    <a:gd name="connsiteX13" fmla="*/ 96202 w 448627"/>
                    <a:gd name="connsiteY13" fmla="*/ 122872 h 442912"/>
                    <a:gd name="connsiteX14" fmla="*/ 67627 w 448627"/>
                    <a:gd name="connsiteY14" fmla="*/ 76200 h 442912"/>
                    <a:gd name="connsiteX15" fmla="*/ 43815 w 448627"/>
                    <a:gd name="connsiteY15" fmla="*/ 47625 h 442912"/>
                    <a:gd name="connsiteX16" fmla="*/ 20002 w 448627"/>
                    <a:gd name="connsiteY16" fmla="*/ 32385 h 442912"/>
                    <a:gd name="connsiteX17" fmla="*/ 0 w 448627"/>
                    <a:gd name="connsiteY17" fmla="*/ 32385 h 442912"/>
                    <a:gd name="connsiteX18" fmla="*/ 1905 w 448627"/>
                    <a:gd name="connsiteY18" fmla="*/ 26670 h 442912"/>
                    <a:gd name="connsiteX19" fmla="*/ 23813 w 448627"/>
                    <a:gd name="connsiteY19" fmla="*/ 13335 h 442912"/>
                    <a:gd name="connsiteX20" fmla="*/ 30480 w 448627"/>
                    <a:gd name="connsiteY20" fmla="*/ 15240 h 442912"/>
                    <a:gd name="connsiteX21" fmla="*/ 68580 w 448627"/>
                    <a:gd name="connsiteY21" fmla="*/ 16192 h 442912"/>
                    <a:gd name="connsiteX22" fmla="*/ 80010 w 448627"/>
                    <a:gd name="connsiteY22" fmla="*/ 6667 h 442912"/>
                    <a:gd name="connsiteX23" fmla="*/ 87630 w 448627"/>
                    <a:gd name="connsiteY23" fmla="*/ 9525 h 442912"/>
                    <a:gd name="connsiteX24" fmla="*/ 102870 w 448627"/>
                    <a:gd name="connsiteY24" fmla="*/ 0 h 442912"/>
                    <a:gd name="connsiteX25" fmla="*/ 136207 w 448627"/>
                    <a:gd name="connsiteY25" fmla="*/ 9525 h 442912"/>
                    <a:gd name="connsiteX26" fmla="*/ 170497 w 448627"/>
                    <a:gd name="connsiteY26" fmla="*/ 32385 h 442912"/>
                    <a:gd name="connsiteX27" fmla="*/ 194310 w 448627"/>
                    <a:gd name="connsiteY27" fmla="*/ 35242 h 442912"/>
                    <a:gd name="connsiteX28" fmla="*/ 200025 w 448627"/>
                    <a:gd name="connsiteY28" fmla="*/ 46672 h 442912"/>
                    <a:gd name="connsiteX29" fmla="*/ 253365 w 448627"/>
                    <a:gd name="connsiteY29" fmla="*/ 52388 h 442912"/>
                    <a:gd name="connsiteX30" fmla="*/ 266700 w 448627"/>
                    <a:gd name="connsiteY30" fmla="*/ 70485 h 442912"/>
                    <a:gd name="connsiteX31" fmla="*/ 280035 w 448627"/>
                    <a:gd name="connsiteY31" fmla="*/ 80010 h 442912"/>
                    <a:gd name="connsiteX32" fmla="*/ 293370 w 448627"/>
                    <a:gd name="connsiteY32" fmla="*/ 73342 h 442912"/>
                    <a:gd name="connsiteX33" fmla="*/ 306705 w 448627"/>
                    <a:gd name="connsiteY33" fmla="*/ 86677 h 442912"/>
                    <a:gd name="connsiteX34" fmla="*/ 312420 w 448627"/>
                    <a:gd name="connsiteY34" fmla="*/ 108585 h 442912"/>
                    <a:gd name="connsiteX35" fmla="*/ 306705 w 448627"/>
                    <a:gd name="connsiteY35" fmla="*/ 138113 h 442912"/>
                    <a:gd name="connsiteX36" fmla="*/ 312420 w 448627"/>
                    <a:gd name="connsiteY36" fmla="*/ 149542 h 442912"/>
                    <a:gd name="connsiteX37" fmla="*/ 334327 w 448627"/>
                    <a:gd name="connsiteY37" fmla="*/ 160972 h 442912"/>
                    <a:gd name="connsiteX38" fmla="*/ 361950 w 448627"/>
                    <a:gd name="connsiteY38" fmla="*/ 180022 h 442912"/>
                    <a:gd name="connsiteX39" fmla="*/ 361950 w 448627"/>
                    <a:gd name="connsiteY39" fmla="*/ 202882 h 442912"/>
                    <a:gd name="connsiteX40" fmla="*/ 370522 w 448627"/>
                    <a:gd name="connsiteY40" fmla="*/ 220980 h 442912"/>
                    <a:gd name="connsiteX41" fmla="*/ 389572 w 448627"/>
                    <a:gd name="connsiteY41" fmla="*/ 233363 h 442912"/>
                    <a:gd name="connsiteX42" fmla="*/ 409575 w 448627"/>
                    <a:gd name="connsiteY42" fmla="*/ 240982 h 442912"/>
                    <a:gd name="connsiteX43" fmla="*/ 419100 w 448627"/>
                    <a:gd name="connsiteY43" fmla="*/ 256222 h 442912"/>
                    <a:gd name="connsiteX44" fmla="*/ 421005 w 448627"/>
                    <a:gd name="connsiteY44" fmla="*/ 283845 h 442912"/>
                    <a:gd name="connsiteX45" fmla="*/ 448627 w 448627"/>
                    <a:gd name="connsiteY45" fmla="*/ 300038 h 442912"/>
                    <a:gd name="connsiteX46" fmla="*/ 442913 w 448627"/>
                    <a:gd name="connsiteY46" fmla="*/ 306705 h 442912"/>
                    <a:gd name="connsiteX47" fmla="*/ 415290 w 448627"/>
                    <a:gd name="connsiteY47" fmla="*/ 310515 h 442912"/>
                    <a:gd name="connsiteX48" fmla="*/ 403860 w 448627"/>
                    <a:gd name="connsiteY48" fmla="*/ 298132 h 442912"/>
                    <a:gd name="connsiteX49" fmla="*/ 388620 w 448627"/>
                    <a:gd name="connsiteY49" fmla="*/ 303847 h 442912"/>
                    <a:gd name="connsiteX50" fmla="*/ 368617 w 448627"/>
                    <a:gd name="connsiteY50" fmla="*/ 296227 h 442912"/>
                    <a:gd name="connsiteX51" fmla="*/ 350520 w 448627"/>
                    <a:gd name="connsiteY51" fmla="*/ 294322 h 442912"/>
                    <a:gd name="connsiteX52" fmla="*/ 330517 w 448627"/>
                    <a:gd name="connsiteY52" fmla="*/ 284797 h 442912"/>
                    <a:gd name="connsiteX53" fmla="*/ 306705 w 448627"/>
                    <a:gd name="connsiteY53" fmla="*/ 300038 h 442912"/>
                    <a:gd name="connsiteX54" fmla="*/ 311467 w 448627"/>
                    <a:gd name="connsiteY54" fmla="*/ 320040 h 442912"/>
                    <a:gd name="connsiteX55" fmla="*/ 320992 w 448627"/>
                    <a:gd name="connsiteY55" fmla="*/ 336232 h 442912"/>
                    <a:gd name="connsiteX56" fmla="*/ 317182 w 448627"/>
                    <a:gd name="connsiteY56" fmla="*/ 355282 h 442912"/>
                    <a:gd name="connsiteX57" fmla="*/ 295275 w 448627"/>
                    <a:gd name="connsiteY57" fmla="*/ 371475 h 442912"/>
                    <a:gd name="connsiteX58" fmla="*/ 295275 w 448627"/>
                    <a:gd name="connsiteY58" fmla="*/ 383857 h 442912"/>
                    <a:gd name="connsiteX59" fmla="*/ 271463 w 448627"/>
                    <a:gd name="connsiteY59" fmla="*/ 411480 h 442912"/>
                    <a:gd name="connsiteX60" fmla="*/ 276225 w 448627"/>
                    <a:gd name="connsiteY60" fmla="*/ 424815 h 442912"/>
                    <a:gd name="connsiteX61" fmla="*/ 272415 w 448627"/>
                    <a:gd name="connsiteY61" fmla="*/ 434340 h 442912"/>
                    <a:gd name="connsiteX62" fmla="*/ 253365 w 448627"/>
                    <a:gd name="connsiteY62" fmla="*/ 436245 h 442912"/>
                    <a:gd name="connsiteX63" fmla="*/ 242888 w 448627"/>
                    <a:gd name="connsiteY63" fmla="*/ 442913 h 44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48627" h="442912">
                      <a:moveTo>
                        <a:pt x="242888" y="442913"/>
                      </a:moveTo>
                      <a:lnTo>
                        <a:pt x="223838" y="421005"/>
                      </a:lnTo>
                      <a:lnTo>
                        <a:pt x="232410" y="414338"/>
                      </a:lnTo>
                      <a:lnTo>
                        <a:pt x="219075" y="366713"/>
                      </a:lnTo>
                      <a:lnTo>
                        <a:pt x="218122" y="341947"/>
                      </a:lnTo>
                      <a:lnTo>
                        <a:pt x="226695" y="296227"/>
                      </a:lnTo>
                      <a:lnTo>
                        <a:pt x="221932" y="268605"/>
                      </a:lnTo>
                      <a:lnTo>
                        <a:pt x="208597" y="246697"/>
                      </a:lnTo>
                      <a:lnTo>
                        <a:pt x="195263" y="219075"/>
                      </a:lnTo>
                      <a:lnTo>
                        <a:pt x="166688" y="199072"/>
                      </a:lnTo>
                      <a:lnTo>
                        <a:pt x="154305" y="182880"/>
                      </a:lnTo>
                      <a:lnTo>
                        <a:pt x="134302" y="165735"/>
                      </a:lnTo>
                      <a:lnTo>
                        <a:pt x="110490" y="135255"/>
                      </a:lnTo>
                      <a:lnTo>
                        <a:pt x="96202" y="122872"/>
                      </a:lnTo>
                      <a:lnTo>
                        <a:pt x="67627" y="76200"/>
                      </a:lnTo>
                      <a:lnTo>
                        <a:pt x="43815" y="47625"/>
                      </a:lnTo>
                      <a:lnTo>
                        <a:pt x="20002" y="32385"/>
                      </a:lnTo>
                      <a:lnTo>
                        <a:pt x="0" y="32385"/>
                      </a:lnTo>
                      <a:lnTo>
                        <a:pt x="1905" y="26670"/>
                      </a:lnTo>
                      <a:lnTo>
                        <a:pt x="23813" y="13335"/>
                      </a:lnTo>
                      <a:lnTo>
                        <a:pt x="30480" y="15240"/>
                      </a:lnTo>
                      <a:lnTo>
                        <a:pt x="68580" y="16192"/>
                      </a:lnTo>
                      <a:lnTo>
                        <a:pt x="80010" y="6667"/>
                      </a:lnTo>
                      <a:lnTo>
                        <a:pt x="87630" y="9525"/>
                      </a:lnTo>
                      <a:lnTo>
                        <a:pt x="102870" y="0"/>
                      </a:lnTo>
                      <a:lnTo>
                        <a:pt x="136207" y="9525"/>
                      </a:lnTo>
                      <a:lnTo>
                        <a:pt x="170497" y="32385"/>
                      </a:lnTo>
                      <a:lnTo>
                        <a:pt x="194310" y="35242"/>
                      </a:lnTo>
                      <a:lnTo>
                        <a:pt x="200025" y="46672"/>
                      </a:lnTo>
                      <a:lnTo>
                        <a:pt x="253365" y="52388"/>
                      </a:lnTo>
                      <a:lnTo>
                        <a:pt x="266700" y="70485"/>
                      </a:lnTo>
                      <a:lnTo>
                        <a:pt x="280035" y="80010"/>
                      </a:lnTo>
                      <a:lnTo>
                        <a:pt x="293370" y="73342"/>
                      </a:lnTo>
                      <a:lnTo>
                        <a:pt x="306705" y="86677"/>
                      </a:lnTo>
                      <a:lnTo>
                        <a:pt x="312420" y="108585"/>
                      </a:lnTo>
                      <a:lnTo>
                        <a:pt x="306705" y="138113"/>
                      </a:lnTo>
                      <a:lnTo>
                        <a:pt x="312420" y="149542"/>
                      </a:lnTo>
                      <a:lnTo>
                        <a:pt x="334327" y="160972"/>
                      </a:lnTo>
                      <a:lnTo>
                        <a:pt x="361950" y="180022"/>
                      </a:lnTo>
                      <a:lnTo>
                        <a:pt x="361950" y="202882"/>
                      </a:lnTo>
                      <a:lnTo>
                        <a:pt x="370522" y="220980"/>
                      </a:lnTo>
                      <a:lnTo>
                        <a:pt x="389572" y="233363"/>
                      </a:lnTo>
                      <a:lnTo>
                        <a:pt x="409575" y="240982"/>
                      </a:lnTo>
                      <a:lnTo>
                        <a:pt x="419100" y="256222"/>
                      </a:lnTo>
                      <a:lnTo>
                        <a:pt x="421005" y="283845"/>
                      </a:lnTo>
                      <a:lnTo>
                        <a:pt x="448627" y="300038"/>
                      </a:lnTo>
                      <a:lnTo>
                        <a:pt x="442913" y="306705"/>
                      </a:lnTo>
                      <a:lnTo>
                        <a:pt x="415290" y="310515"/>
                      </a:lnTo>
                      <a:lnTo>
                        <a:pt x="403860" y="298132"/>
                      </a:lnTo>
                      <a:lnTo>
                        <a:pt x="388620" y="303847"/>
                      </a:lnTo>
                      <a:lnTo>
                        <a:pt x="368617" y="296227"/>
                      </a:lnTo>
                      <a:lnTo>
                        <a:pt x="350520" y="294322"/>
                      </a:lnTo>
                      <a:lnTo>
                        <a:pt x="330517" y="284797"/>
                      </a:lnTo>
                      <a:lnTo>
                        <a:pt x="306705" y="300038"/>
                      </a:lnTo>
                      <a:lnTo>
                        <a:pt x="311467" y="320040"/>
                      </a:lnTo>
                      <a:lnTo>
                        <a:pt x="320992" y="336232"/>
                      </a:lnTo>
                      <a:lnTo>
                        <a:pt x="317182" y="355282"/>
                      </a:lnTo>
                      <a:lnTo>
                        <a:pt x="295275" y="371475"/>
                      </a:lnTo>
                      <a:lnTo>
                        <a:pt x="295275" y="383857"/>
                      </a:lnTo>
                      <a:lnTo>
                        <a:pt x="271463" y="411480"/>
                      </a:lnTo>
                      <a:lnTo>
                        <a:pt x="276225" y="424815"/>
                      </a:lnTo>
                      <a:lnTo>
                        <a:pt x="272415" y="434340"/>
                      </a:lnTo>
                      <a:lnTo>
                        <a:pt x="253365" y="436245"/>
                      </a:lnTo>
                      <a:lnTo>
                        <a:pt x="242888" y="44291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8" name="Macedonia" descr="{&quot;Key&quot;:&quot;macedonia&quot;,&quot;Name&quot;:&quot;Macedonia&quot;,&quot;Value&quot;:1.0,&quot;Formula&quot;:&quot;&quot;,&quot;Text&quot;:&quot;&quot;,&quot;OfficeApplication&quot;:1,&quot;HasValue&quot;:true}">
                  <a:extLst>
                    <a:ext uri="{FF2B5EF4-FFF2-40B4-BE49-F238E27FC236}">
                      <a16:creationId xmlns:a16="http://schemas.microsoft.com/office/drawing/2014/main" id="{1F329C54-D98D-44EE-0D80-8988E0F4754E}"/>
                    </a:ext>
                  </a:extLst>
                </p:cNvPr>
                <p:cNvSpPr/>
                <p:nvPr/>
              </p:nvSpPr>
              <p:spPr>
                <a:xfrm>
                  <a:off x="7629525" y="5256304"/>
                  <a:ext cx="305752" cy="223837"/>
                </a:xfrm>
                <a:custGeom>
                  <a:avLst/>
                  <a:gdLst>
                    <a:gd name="connsiteX0" fmla="*/ 217170 w 305752"/>
                    <a:gd name="connsiteY0" fmla="*/ 6668 h 223837"/>
                    <a:gd name="connsiteX1" fmla="*/ 248602 w 305752"/>
                    <a:gd name="connsiteY1" fmla="*/ 37148 h 223837"/>
                    <a:gd name="connsiteX2" fmla="*/ 280988 w 305752"/>
                    <a:gd name="connsiteY2" fmla="*/ 54293 h 223837"/>
                    <a:gd name="connsiteX3" fmla="*/ 297180 w 305752"/>
                    <a:gd name="connsiteY3" fmla="*/ 85725 h 223837"/>
                    <a:gd name="connsiteX4" fmla="*/ 305752 w 305752"/>
                    <a:gd name="connsiteY4" fmla="*/ 95250 h 223837"/>
                    <a:gd name="connsiteX5" fmla="*/ 300990 w 305752"/>
                    <a:gd name="connsiteY5" fmla="*/ 111443 h 223837"/>
                    <a:gd name="connsiteX6" fmla="*/ 300990 w 305752"/>
                    <a:gd name="connsiteY6" fmla="*/ 151448 h 223837"/>
                    <a:gd name="connsiteX7" fmla="*/ 281940 w 305752"/>
                    <a:gd name="connsiteY7" fmla="*/ 154305 h 223837"/>
                    <a:gd name="connsiteX8" fmla="*/ 280035 w 305752"/>
                    <a:gd name="connsiteY8" fmla="*/ 174308 h 223837"/>
                    <a:gd name="connsiteX9" fmla="*/ 252413 w 305752"/>
                    <a:gd name="connsiteY9" fmla="*/ 183833 h 223837"/>
                    <a:gd name="connsiteX10" fmla="*/ 220980 w 305752"/>
                    <a:gd name="connsiteY10" fmla="*/ 178118 h 223837"/>
                    <a:gd name="connsiteX11" fmla="*/ 192405 w 305752"/>
                    <a:gd name="connsiteY11" fmla="*/ 181928 h 223837"/>
                    <a:gd name="connsiteX12" fmla="*/ 184785 w 305752"/>
                    <a:gd name="connsiteY12" fmla="*/ 184785 h 223837"/>
                    <a:gd name="connsiteX13" fmla="*/ 168593 w 305752"/>
                    <a:gd name="connsiteY13" fmla="*/ 208598 h 223837"/>
                    <a:gd name="connsiteX14" fmla="*/ 145732 w 305752"/>
                    <a:gd name="connsiteY14" fmla="*/ 220980 h 223837"/>
                    <a:gd name="connsiteX15" fmla="*/ 123825 w 305752"/>
                    <a:gd name="connsiteY15" fmla="*/ 215265 h 223837"/>
                    <a:gd name="connsiteX16" fmla="*/ 115252 w 305752"/>
                    <a:gd name="connsiteY16" fmla="*/ 220980 h 223837"/>
                    <a:gd name="connsiteX17" fmla="*/ 71438 w 305752"/>
                    <a:gd name="connsiteY17" fmla="*/ 223838 h 223837"/>
                    <a:gd name="connsiteX18" fmla="*/ 59055 w 305752"/>
                    <a:gd name="connsiteY18" fmla="*/ 213360 h 223837"/>
                    <a:gd name="connsiteX19" fmla="*/ 43815 w 305752"/>
                    <a:gd name="connsiteY19" fmla="*/ 215265 h 223837"/>
                    <a:gd name="connsiteX20" fmla="*/ 31432 w 305752"/>
                    <a:gd name="connsiteY20" fmla="*/ 192405 h 223837"/>
                    <a:gd name="connsiteX21" fmla="*/ 20002 w 305752"/>
                    <a:gd name="connsiteY21" fmla="*/ 181928 h 223837"/>
                    <a:gd name="connsiteX22" fmla="*/ 8573 w 305752"/>
                    <a:gd name="connsiteY22" fmla="*/ 160973 h 223837"/>
                    <a:gd name="connsiteX23" fmla="*/ 6668 w 305752"/>
                    <a:gd name="connsiteY23" fmla="*/ 142875 h 223837"/>
                    <a:gd name="connsiteX24" fmla="*/ 0 w 305752"/>
                    <a:gd name="connsiteY24" fmla="*/ 123825 h 223837"/>
                    <a:gd name="connsiteX25" fmla="*/ 7620 w 305752"/>
                    <a:gd name="connsiteY25" fmla="*/ 116205 h 223837"/>
                    <a:gd name="connsiteX26" fmla="*/ 4763 w 305752"/>
                    <a:gd name="connsiteY26" fmla="*/ 96203 h 223837"/>
                    <a:gd name="connsiteX27" fmla="*/ 9525 w 305752"/>
                    <a:gd name="connsiteY27" fmla="*/ 71438 h 223837"/>
                    <a:gd name="connsiteX28" fmla="*/ 25718 w 305752"/>
                    <a:gd name="connsiteY28" fmla="*/ 74295 h 223837"/>
                    <a:gd name="connsiteX29" fmla="*/ 30480 w 305752"/>
                    <a:gd name="connsiteY29" fmla="*/ 66675 h 223837"/>
                    <a:gd name="connsiteX30" fmla="*/ 32385 w 305752"/>
                    <a:gd name="connsiteY30" fmla="*/ 41910 h 223837"/>
                    <a:gd name="connsiteX31" fmla="*/ 64770 w 305752"/>
                    <a:gd name="connsiteY31" fmla="*/ 27623 h 223837"/>
                    <a:gd name="connsiteX32" fmla="*/ 74295 w 305752"/>
                    <a:gd name="connsiteY32" fmla="*/ 26670 h 223837"/>
                    <a:gd name="connsiteX33" fmla="*/ 89535 w 305752"/>
                    <a:gd name="connsiteY33" fmla="*/ 38100 h 223837"/>
                    <a:gd name="connsiteX34" fmla="*/ 103823 w 305752"/>
                    <a:gd name="connsiteY34" fmla="*/ 20003 h 223837"/>
                    <a:gd name="connsiteX35" fmla="*/ 123825 w 305752"/>
                    <a:gd name="connsiteY35" fmla="*/ 16193 h 223837"/>
                    <a:gd name="connsiteX36" fmla="*/ 144780 w 305752"/>
                    <a:gd name="connsiteY36" fmla="*/ 13335 h 223837"/>
                    <a:gd name="connsiteX37" fmla="*/ 163830 w 305752"/>
                    <a:gd name="connsiteY37" fmla="*/ 4763 h 223837"/>
                    <a:gd name="connsiteX38" fmla="*/ 181927 w 305752"/>
                    <a:gd name="connsiteY38" fmla="*/ 7620 h 223837"/>
                    <a:gd name="connsiteX39" fmla="*/ 203835 w 305752"/>
                    <a:gd name="connsiteY39" fmla="*/ 0 h 223837"/>
                    <a:gd name="connsiteX40" fmla="*/ 217170 w 305752"/>
                    <a:gd name="connsiteY40" fmla="*/ 6668 h 22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5752" h="223837">
                      <a:moveTo>
                        <a:pt x="217170" y="6668"/>
                      </a:moveTo>
                      <a:lnTo>
                        <a:pt x="248602" y="37148"/>
                      </a:lnTo>
                      <a:lnTo>
                        <a:pt x="280988" y="54293"/>
                      </a:lnTo>
                      <a:lnTo>
                        <a:pt x="297180" y="85725"/>
                      </a:lnTo>
                      <a:lnTo>
                        <a:pt x="305752" y="95250"/>
                      </a:lnTo>
                      <a:lnTo>
                        <a:pt x="300990" y="111443"/>
                      </a:lnTo>
                      <a:lnTo>
                        <a:pt x="300990" y="151448"/>
                      </a:lnTo>
                      <a:lnTo>
                        <a:pt x="281940" y="154305"/>
                      </a:lnTo>
                      <a:lnTo>
                        <a:pt x="280035" y="174308"/>
                      </a:lnTo>
                      <a:lnTo>
                        <a:pt x="252413" y="183833"/>
                      </a:lnTo>
                      <a:lnTo>
                        <a:pt x="220980" y="178118"/>
                      </a:lnTo>
                      <a:lnTo>
                        <a:pt x="192405" y="181928"/>
                      </a:lnTo>
                      <a:lnTo>
                        <a:pt x="184785" y="184785"/>
                      </a:lnTo>
                      <a:lnTo>
                        <a:pt x="168593" y="208598"/>
                      </a:lnTo>
                      <a:lnTo>
                        <a:pt x="145732" y="220980"/>
                      </a:lnTo>
                      <a:lnTo>
                        <a:pt x="123825" y="215265"/>
                      </a:lnTo>
                      <a:lnTo>
                        <a:pt x="115252" y="220980"/>
                      </a:lnTo>
                      <a:lnTo>
                        <a:pt x="71438" y="223838"/>
                      </a:lnTo>
                      <a:lnTo>
                        <a:pt x="59055" y="213360"/>
                      </a:lnTo>
                      <a:lnTo>
                        <a:pt x="43815" y="215265"/>
                      </a:lnTo>
                      <a:lnTo>
                        <a:pt x="31432" y="192405"/>
                      </a:lnTo>
                      <a:lnTo>
                        <a:pt x="20002" y="181928"/>
                      </a:lnTo>
                      <a:lnTo>
                        <a:pt x="8573" y="160973"/>
                      </a:lnTo>
                      <a:lnTo>
                        <a:pt x="6668" y="142875"/>
                      </a:lnTo>
                      <a:lnTo>
                        <a:pt x="0" y="123825"/>
                      </a:lnTo>
                      <a:lnTo>
                        <a:pt x="7620" y="116205"/>
                      </a:lnTo>
                      <a:lnTo>
                        <a:pt x="4763" y="96203"/>
                      </a:lnTo>
                      <a:lnTo>
                        <a:pt x="9525" y="71438"/>
                      </a:lnTo>
                      <a:lnTo>
                        <a:pt x="25718" y="74295"/>
                      </a:lnTo>
                      <a:lnTo>
                        <a:pt x="30480" y="66675"/>
                      </a:lnTo>
                      <a:lnTo>
                        <a:pt x="32385" y="41910"/>
                      </a:lnTo>
                      <a:lnTo>
                        <a:pt x="64770" y="27623"/>
                      </a:lnTo>
                      <a:lnTo>
                        <a:pt x="74295" y="26670"/>
                      </a:lnTo>
                      <a:lnTo>
                        <a:pt x="89535" y="38100"/>
                      </a:lnTo>
                      <a:lnTo>
                        <a:pt x="103823" y="20003"/>
                      </a:lnTo>
                      <a:lnTo>
                        <a:pt x="123825" y="16193"/>
                      </a:lnTo>
                      <a:lnTo>
                        <a:pt x="144780" y="13335"/>
                      </a:lnTo>
                      <a:lnTo>
                        <a:pt x="163830" y="4763"/>
                      </a:lnTo>
                      <a:lnTo>
                        <a:pt x="181927" y="7620"/>
                      </a:lnTo>
                      <a:lnTo>
                        <a:pt x="203835" y="0"/>
                      </a:lnTo>
                      <a:lnTo>
                        <a:pt x="217170" y="666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19" name="Montenegro" descr="{&quot;Key&quot;:&quot;montenegro&quot;,&quot;Name&quot;:&quot;Montenegro&quot;,&quot;Value&quot;:1.0,&quot;Formula&quot;:&quot;&quot;,&quot;Text&quot;:&quot;&quot;,&quot;OfficeApplication&quot;:1,&quot;HasValue&quot;:true}">
                  <a:extLst>
                    <a:ext uri="{FF2B5EF4-FFF2-40B4-BE49-F238E27FC236}">
                      <a16:creationId xmlns:a16="http://schemas.microsoft.com/office/drawing/2014/main" id="{4945AD3B-A0DD-7D0C-8B60-59521658D234}"/>
                    </a:ext>
                  </a:extLst>
                </p:cNvPr>
                <p:cNvSpPr/>
                <p:nvPr/>
              </p:nvSpPr>
              <p:spPr>
                <a:xfrm>
                  <a:off x="7369492" y="5082949"/>
                  <a:ext cx="229552" cy="245744"/>
                </a:xfrm>
                <a:custGeom>
                  <a:avLst/>
                  <a:gdLst>
                    <a:gd name="connsiteX0" fmla="*/ 82868 w 229552"/>
                    <a:gd name="connsiteY0" fmla="*/ 0 h 245744"/>
                    <a:gd name="connsiteX1" fmla="*/ 86677 w 229552"/>
                    <a:gd name="connsiteY1" fmla="*/ 11430 h 245744"/>
                    <a:gd name="connsiteX2" fmla="*/ 111443 w 229552"/>
                    <a:gd name="connsiteY2" fmla="*/ 27622 h 245744"/>
                    <a:gd name="connsiteX3" fmla="*/ 129540 w 229552"/>
                    <a:gd name="connsiteY3" fmla="*/ 46672 h 245744"/>
                    <a:gd name="connsiteX4" fmla="*/ 158115 w 229552"/>
                    <a:gd name="connsiteY4" fmla="*/ 61913 h 245744"/>
                    <a:gd name="connsiteX5" fmla="*/ 178118 w 229552"/>
                    <a:gd name="connsiteY5" fmla="*/ 66675 h 245744"/>
                    <a:gd name="connsiteX6" fmla="*/ 228600 w 229552"/>
                    <a:gd name="connsiteY6" fmla="*/ 94297 h 245744"/>
                    <a:gd name="connsiteX7" fmla="*/ 229552 w 229552"/>
                    <a:gd name="connsiteY7" fmla="*/ 103822 h 245744"/>
                    <a:gd name="connsiteX8" fmla="*/ 214313 w 229552"/>
                    <a:gd name="connsiteY8" fmla="*/ 107632 h 245744"/>
                    <a:gd name="connsiteX9" fmla="*/ 212407 w 229552"/>
                    <a:gd name="connsiteY9" fmla="*/ 114300 h 245744"/>
                    <a:gd name="connsiteX10" fmla="*/ 193357 w 229552"/>
                    <a:gd name="connsiteY10" fmla="*/ 118110 h 245744"/>
                    <a:gd name="connsiteX11" fmla="*/ 201930 w 229552"/>
                    <a:gd name="connsiteY11" fmla="*/ 132397 h 245744"/>
                    <a:gd name="connsiteX12" fmla="*/ 200025 w 229552"/>
                    <a:gd name="connsiteY12" fmla="*/ 144780 h 245744"/>
                    <a:gd name="connsiteX13" fmla="*/ 167640 w 229552"/>
                    <a:gd name="connsiteY13" fmla="*/ 156210 h 245744"/>
                    <a:gd name="connsiteX14" fmla="*/ 160020 w 229552"/>
                    <a:gd name="connsiteY14" fmla="*/ 136207 h 245744"/>
                    <a:gd name="connsiteX15" fmla="*/ 149543 w 229552"/>
                    <a:gd name="connsiteY15" fmla="*/ 133350 h 245744"/>
                    <a:gd name="connsiteX16" fmla="*/ 119063 w 229552"/>
                    <a:gd name="connsiteY16" fmla="*/ 183832 h 245744"/>
                    <a:gd name="connsiteX17" fmla="*/ 111443 w 229552"/>
                    <a:gd name="connsiteY17" fmla="*/ 186690 h 245744"/>
                    <a:gd name="connsiteX18" fmla="*/ 87630 w 229552"/>
                    <a:gd name="connsiteY18" fmla="*/ 184785 h 245744"/>
                    <a:gd name="connsiteX19" fmla="*/ 102870 w 229552"/>
                    <a:gd name="connsiteY19" fmla="*/ 202882 h 245744"/>
                    <a:gd name="connsiteX20" fmla="*/ 119063 w 229552"/>
                    <a:gd name="connsiteY20" fmla="*/ 210502 h 245744"/>
                    <a:gd name="connsiteX21" fmla="*/ 121920 w 229552"/>
                    <a:gd name="connsiteY21" fmla="*/ 216217 h 245744"/>
                    <a:gd name="connsiteX22" fmla="*/ 121920 w 229552"/>
                    <a:gd name="connsiteY22" fmla="*/ 245745 h 245744"/>
                    <a:gd name="connsiteX23" fmla="*/ 101918 w 229552"/>
                    <a:gd name="connsiteY23" fmla="*/ 234315 h 245744"/>
                    <a:gd name="connsiteX24" fmla="*/ 93345 w 229552"/>
                    <a:gd name="connsiteY24" fmla="*/ 217170 h 245744"/>
                    <a:gd name="connsiteX25" fmla="*/ 63818 w 229552"/>
                    <a:gd name="connsiteY25" fmla="*/ 189547 h 245744"/>
                    <a:gd name="connsiteX26" fmla="*/ 30480 w 229552"/>
                    <a:gd name="connsiteY26" fmla="*/ 170497 h 245744"/>
                    <a:gd name="connsiteX27" fmla="*/ 31432 w 229552"/>
                    <a:gd name="connsiteY27" fmla="*/ 160972 h 245744"/>
                    <a:gd name="connsiteX28" fmla="*/ 16193 w 229552"/>
                    <a:gd name="connsiteY28" fmla="*/ 161925 h 245744"/>
                    <a:gd name="connsiteX29" fmla="*/ 4763 w 229552"/>
                    <a:gd name="connsiteY29" fmla="*/ 143827 h 245744"/>
                    <a:gd name="connsiteX30" fmla="*/ 15240 w 229552"/>
                    <a:gd name="connsiteY30" fmla="*/ 134302 h 245744"/>
                    <a:gd name="connsiteX31" fmla="*/ 16193 w 229552"/>
                    <a:gd name="connsiteY31" fmla="*/ 126682 h 245744"/>
                    <a:gd name="connsiteX32" fmla="*/ 5715 w 229552"/>
                    <a:gd name="connsiteY32" fmla="*/ 111442 h 245744"/>
                    <a:gd name="connsiteX33" fmla="*/ 0 w 229552"/>
                    <a:gd name="connsiteY33" fmla="*/ 82867 h 245744"/>
                    <a:gd name="connsiteX34" fmla="*/ 4763 w 229552"/>
                    <a:gd name="connsiteY34" fmla="*/ 76200 h 245744"/>
                    <a:gd name="connsiteX35" fmla="*/ 20955 w 229552"/>
                    <a:gd name="connsiteY35" fmla="*/ 74295 h 245744"/>
                    <a:gd name="connsiteX36" fmla="*/ 20002 w 229552"/>
                    <a:gd name="connsiteY36" fmla="*/ 60007 h 245744"/>
                    <a:gd name="connsiteX37" fmla="*/ 24765 w 229552"/>
                    <a:gd name="connsiteY37" fmla="*/ 43815 h 245744"/>
                    <a:gd name="connsiteX38" fmla="*/ 43815 w 229552"/>
                    <a:gd name="connsiteY38" fmla="*/ 27622 h 245744"/>
                    <a:gd name="connsiteX39" fmla="*/ 65722 w 229552"/>
                    <a:gd name="connsiteY39" fmla="*/ 25717 h 245744"/>
                    <a:gd name="connsiteX40" fmla="*/ 52388 w 229552"/>
                    <a:gd name="connsiteY40" fmla="*/ 4763 h 245744"/>
                    <a:gd name="connsiteX41" fmla="*/ 82868 w 229552"/>
                    <a:gd name="connsiteY41" fmla="*/ 0 h 24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9552" h="245744">
                      <a:moveTo>
                        <a:pt x="82868" y="0"/>
                      </a:moveTo>
                      <a:lnTo>
                        <a:pt x="86677" y="11430"/>
                      </a:lnTo>
                      <a:lnTo>
                        <a:pt x="111443" y="27622"/>
                      </a:lnTo>
                      <a:lnTo>
                        <a:pt x="129540" y="46672"/>
                      </a:lnTo>
                      <a:lnTo>
                        <a:pt x="158115" y="61913"/>
                      </a:lnTo>
                      <a:lnTo>
                        <a:pt x="178118" y="66675"/>
                      </a:lnTo>
                      <a:lnTo>
                        <a:pt x="228600" y="94297"/>
                      </a:lnTo>
                      <a:lnTo>
                        <a:pt x="229552" y="103822"/>
                      </a:lnTo>
                      <a:lnTo>
                        <a:pt x="214313" y="107632"/>
                      </a:lnTo>
                      <a:lnTo>
                        <a:pt x="212407" y="114300"/>
                      </a:lnTo>
                      <a:lnTo>
                        <a:pt x="193357" y="118110"/>
                      </a:lnTo>
                      <a:lnTo>
                        <a:pt x="201930" y="132397"/>
                      </a:lnTo>
                      <a:lnTo>
                        <a:pt x="200025" y="144780"/>
                      </a:lnTo>
                      <a:lnTo>
                        <a:pt x="167640" y="156210"/>
                      </a:lnTo>
                      <a:lnTo>
                        <a:pt x="160020" y="136207"/>
                      </a:lnTo>
                      <a:lnTo>
                        <a:pt x="149543" y="133350"/>
                      </a:lnTo>
                      <a:lnTo>
                        <a:pt x="119063" y="183832"/>
                      </a:lnTo>
                      <a:lnTo>
                        <a:pt x="111443" y="186690"/>
                      </a:lnTo>
                      <a:lnTo>
                        <a:pt x="87630" y="184785"/>
                      </a:lnTo>
                      <a:lnTo>
                        <a:pt x="102870" y="202882"/>
                      </a:lnTo>
                      <a:lnTo>
                        <a:pt x="119063" y="210502"/>
                      </a:lnTo>
                      <a:lnTo>
                        <a:pt x="121920" y="216217"/>
                      </a:lnTo>
                      <a:lnTo>
                        <a:pt x="121920" y="245745"/>
                      </a:lnTo>
                      <a:lnTo>
                        <a:pt x="101918" y="234315"/>
                      </a:lnTo>
                      <a:lnTo>
                        <a:pt x="93345" y="217170"/>
                      </a:lnTo>
                      <a:lnTo>
                        <a:pt x="63818" y="189547"/>
                      </a:lnTo>
                      <a:lnTo>
                        <a:pt x="30480" y="170497"/>
                      </a:lnTo>
                      <a:lnTo>
                        <a:pt x="31432" y="160972"/>
                      </a:lnTo>
                      <a:lnTo>
                        <a:pt x="16193" y="161925"/>
                      </a:lnTo>
                      <a:lnTo>
                        <a:pt x="4763" y="143827"/>
                      </a:lnTo>
                      <a:lnTo>
                        <a:pt x="15240" y="134302"/>
                      </a:lnTo>
                      <a:lnTo>
                        <a:pt x="16193" y="126682"/>
                      </a:lnTo>
                      <a:lnTo>
                        <a:pt x="5715" y="111442"/>
                      </a:lnTo>
                      <a:lnTo>
                        <a:pt x="0" y="82867"/>
                      </a:lnTo>
                      <a:lnTo>
                        <a:pt x="4763" y="76200"/>
                      </a:lnTo>
                      <a:lnTo>
                        <a:pt x="20955" y="74295"/>
                      </a:lnTo>
                      <a:lnTo>
                        <a:pt x="20002" y="60007"/>
                      </a:lnTo>
                      <a:lnTo>
                        <a:pt x="24765" y="43815"/>
                      </a:lnTo>
                      <a:lnTo>
                        <a:pt x="43815" y="27622"/>
                      </a:lnTo>
                      <a:lnTo>
                        <a:pt x="65722" y="25717"/>
                      </a:lnTo>
                      <a:lnTo>
                        <a:pt x="52388" y="4763"/>
                      </a:lnTo>
                      <a:lnTo>
                        <a:pt x="82868" y="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0" name="Norway" descr="{&quot;Key&quot;:&quot;norway&quot;,&quot;Name&quot;:&quot;Norway&quot;,&quot;Value&quot;:1.0,&quot;Formula&quot;:&quot;&quot;,&quot;Text&quot;:&quot;&quot;,&quot;OfficeApplication&quot;:1,&quot;HasValue&quot;:true}">
                  <a:extLst>
                    <a:ext uri="{FF2B5EF4-FFF2-40B4-BE49-F238E27FC236}">
                      <a16:creationId xmlns:a16="http://schemas.microsoft.com/office/drawing/2014/main" id="{1659B677-3CFE-4CA4-0A5F-97ACED2647D8}"/>
                    </a:ext>
                  </a:extLst>
                </p:cNvPr>
                <p:cNvSpPr/>
                <p:nvPr/>
              </p:nvSpPr>
              <p:spPr>
                <a:xfrm>
                  <a:off x="4319587" y="207102"/>
                  <a:ext cx="3788092" cy="2790825"/>
                </a:xfrm>
                <a:custGeom>
                  <a:avLst/>
                  <a:gdLst>
                    <a:gd name="connsiteX0" fmla="*/ 1376363 w 3788092"/>
                    <a:gd name="connsiteY0" fmla="*/ 2475548 h 2790825"/>
                    <a:gd name="connsiteX1" fmla="*/ 1377315 w 3788092"/>
                    <a:gd name="connsiteY1" fmla="*/ 2491740 h 2790825"/>
                    <a:gd name="connsiteX2" fmla="*/ 1367790 w 3788092"/>
                    <a:gd name="connsiteY2" fmla="*/ 2490788 h 2790825"/>
                    <a:gd name="connsiteX3" fmla="*/ 1361123 w 3788092"/>
                    <a:gd name="connsiteY3" fmla="*/ 2480310 h 2790825"/>
                    <a:gd name="connsiteX4" fmla="*/ 1359218 w 3788092"/>
                    <a:gd name="connsiteY4" fmla="*/ 2461260 h 2790825"/>
                    <a:gd name="connsiteX5" fmla="*/ 1365885 w 3788092"/>
                    <a:gd name="connsiteY5" fmla="*/ 2456498 h 2790825"/>
                    <a:gd name="connsiteX6" fmla="*/ 1376363 w 3788092"/>
                    <a:gd name="connsiteY6" fmla="*/ 2475548 h 2790825"/>
                    <a:gd name="connsiteX7" fmla="*/ 1359218 w 3788092"/>
                    <a:gd name="connsiteY7" fmla="*/ 2369820 h 2790825"/>
                    <a:gd name="connsiteX8" fmla="*/ 1342073 w 3788092"/>
                    <a:gd name="connsiteY8" fmla="*/ 2369820 h 2790825"/>
                    <a:gd name="connsiteX9" fmla="*/ 1344930 w 3788092"/>
                    <a:gd name="connsiteY9" fmla="*/ 2357438 h 2790825"/>
                    <a:gd name="connsiteX10" fmla="*/ 1353503 w 3788092"/>
                    <a:gd name="connsiteY10" fmla="*/ 2354580 h 2790825"/>
                    <a:gd name="connsiteX11" fmla="*/ 1359218 w 3788092"/>
                    <a:gd name="connsiteY11" fmla="*/ 2369820 h 2790825"/>
                    <a:gd name="connsiteX12" fmla="*/ 1668780 w 3788092"/>
                    <a:gd name="connsiteY12" fmla="*/ 2065973 h 2790825"/>
                    <a:gd name="connsiteX13" fmla="*/ 1646873 w 3788092"/>
                    <a:gd name="connsiteY13" fmla="*/ 2064068 h 2790825"/>
                    <a:gd name="connsiteX14" fmla="*/ 1637348 w 3788092"/>
                    <a:gd name="connsiteY14" fmla="*/ 2056448 h 2790825"/>
                    <a:gd name="connsiteX15" fmla="*/ 1664018 w 3788092"/>
                    <a:gd name="connsiteY15" fmla="*/ 2048828 h 2790825"/>
                    <a:gd name="connsiteX16" fmla="*/ 1670685 w 3788092"/>
                    <a:gd name="connsiteY16" fmla="*/ 2053590 h 2790825"/>
                    <a:gd name="connsiteX17" fmla="*/ 1668780 w 3788092"/>
                    <a:gd name="connsiteY17" fmla="*/ 2065973 h 2790825"/>
                    <a:gd name="connsiteX18" fmla="*/ 1703070 w 3788092"/>
                    <a:gd name="connsiteY18" fmla="*/ 2022158 h 2790825"/>
                    <a:gd name="connsiteX19" fmla="*/ 1700213 w 3788092"/>
                    <a:gd name="connsiteY19" fmla="*/ 2013585 h 2790825"/>
                    <a:gd name="connsiteX20" fmla="*/ 1725930 w 3788092"/>
                    <a:gd name="connsiteY20" fmla="*/ 2007870 h 2790825"/>
                    <a:gd name="connsiteX21" fmla="*/ 1734503 w 3788092"/>
                    <a:gd name="connsiteY21" fmla="*/ 2017395 h 2790825"/>
                    <a:gd name="connsiteX22" fmla="*/ 1703070 w 3788092"/>
                    <a:gd name="connsiteY22" fmla="*/ 2022158 h 2790825"/>
                    <a:gd name="connsiteX23" fmla="*/ 1969770 w 3788092"/>
                    <a:gd name="connsiteY23" fmla="*/ 1864043 h 2790825"/>
                    <a:gd name="connsiteX24" fmla="*/ 1929765 w 3788092"/>
                    <a:gd name="connsiteY24" fmla="*/ 1866900 h 2790825"/>
                    <a:gd name="connsiteX25" fmla="*/ 1926907 w 3788092"/>
                    <a:gd name="connsiteY25" fmla="*/ 1856423 h 2790825"/>
                    <a:gd name="connsiteX26" fmla="*/ 1946910 w 3788092"/>
                    <a:gd name="connsiteY26" fmla="*/ 1848803 h 2790825"/>
                    <a:gd name="connsiteX27" fmla="*/ 1958340 w 3788092"/>
                    <a:gd name="connsiteY27" fmla="*/ 1848803 h 2790825"/>
                    <a:gd name="connsiteX28" fmla="*/ 1969770 w 3788092"/>
                    <a:gd name="connsiteY28" fmla="*/ 1864043 h 2790825"/>
                    <a:gd name="connsiteX29" fmla="*/ 2034540 w 3788092"/>
                    <a:gd name="connsiteY29" fmla="*/ 1764030 h 2790825"/>
                    <a:gd name="connsiteX30" fmla="*/ 2015490 w 3788092"/>
                    <a:gd name="connsiteY30" fmla="*/ 1766888 h 2790825"/>
                    <a:gd name="connsiteX31" fmla="*/ 2016443 w 3788092"/>
                    <a:gd name="connsiteY31" fmla="*/ 1756410 h 2790825"/>
                    <a:gd name="connsiteX32" fmla="*/ 2033588 w 3788092"/>
                    <a:gd name="connsiteY32" fmla="*/ 1753553 h 2790825"/>
                    <a:gd name="connsiteX33" fmla="*/ 2034540 w 3788092"/>
                    <a:gd name="connsiteY33" fmla="*/ 1764030 h 2790825"/>
                    <a:gd name="connsiteX34" fmla="*/ 2073593 w 3788092"/>
                    <a:gd name="connsiteY34" fmla="*/ 1709738 h 2790825"/>
                    <a:gd name="connsiteX35" fmla="*/ 2072640 w 3788092"/>
                    <a:gd name="connsiteY35" fmla="*/ 1699260 h 2790825"/>
                    <a:gd name="connsiteX36" fmla="*/ 2082165 w 3788092"/>
                    <a:gd name="connsiteY36" fmla="*/ 1687830 h 2790825"/>
                    <a:gd name="connsiteX37" fmla="*/ 2091690 w 3788092"/>
                    <a:gd name="connsiteY37" fmla="*/ 1691640 h 2790825"/>
                    <a:gd name="connsiteX38" fmla="*/ 2088832 w 3788092"/>
                    <a:gd name="connsiteY38" fmla="*/ 1705928 h 2790825"/>
                    <a:gd name="connsiteX39" fmla="*/ 2073593 w 3788092"/>
                    <a:gd name="connsiteY39" fmla="*/ 1709738 h 2790825"/>
                    <a:gd name="connsiteX40" fmla="*/ 2103120 w 3788092"/>
                    <a:gd name="connsiteY40" fmla="*/ 1472565 h 2790825"/>
                    <a:gd name="connsiteX41" fmla="*/ 2088832 w 3788092"/>
                    <a:gd name="connsiteY41" fmla="*/ 1479233 h 2790825"/>
                    <a:gd name="connsiteX42" fmla="*/ 2099310 w 3788092"/>
                    <a:gd name="connsiteY42" fmla="*/ 1454468 h 2790825"/>
                    <a:gd name="connsiteX43" fmla="*/ 2109788 w 3788092"/>
                    <a:gd name="connsiteY43" fmla="*/ 1447800 h 2790825"/>
                    <a:gd name="connsiteX44" fmla="*/ 2113598 w 3788092"/>
                    <a:gd name="connsiteY44" fmla="*/ 1462088 h 2790825"/>
                    <a:gd name="connsiteX45" fmla="*/ 2103120 w 3788092"/>
                    <a:gd name="connsiteY45" fmla="*/ 1472565 h 2790825"/>
                    <a:gd name="connsiteX46" fmla="*/ 2184083 w 3788092"/>
                    <a:gd name="connsiteY46" fmla="*/ 1423035 h 2790825"/>
                    <a:gd name="connsiteX47" fmla="*/ 2205990 w 3788092"/>
                    <a:gd name="connsiteY47" fmla="*/ 1424940 h 2790825"/>
                    <a:gd name="connsiteX48" fmla="*/ 2201227 w 3788092"/>
                    <a:gd name="connsiteY48" fmla="*/ 1432560 h 2790825"/>
                    <a:gd name="connsiteX49" fmla="*/ 2187893 w 3788092"/>
                    <a:gd name="connsiteY49" fmla="*/ 1435418 h 2790825"/>
                    <a:gd name="connsiteX50" fmla="*/ 2177415 w 3788092"/>
                    <a:gd name="connsiteY50" fmla="*/ 1443038 h 2790825"/>
                    <a:gd name="connsiteX51" fmla="*/ 2159318 w 3788092"/>
                    <a:gd name="connsiteY51" fmla="*/ 1444943 h 2790825"/>
                    <a:gd name="connsiteX52" fmla="*/ 2141220 w 3788092"/>
                    <a:gd name="connsiteY52" fmla="*/ 1454468 h 2790825"/>
                    <a:gd name="connsiteX53" fmla="*/ 2125980 w 3788092"/>
                    <a:gd name="connsiteY53" fmla="*/ 1457325 h 2790825"/>
                    <a:gd name="connsiteX54" fmla="*/ 2122170 w 3788092"/>
                    <a:gd name="connsiteY54" fmla="*/ 1445895 h 2790825"/>
                    <a:gd name="connsiteX55" fmla="*/ 2130743 w 3788092"/>
                    <a:gd name="connsiteY55" fmla="*/ 1436370 h 2790825"/>
                    <a:gd name="connsiteX56" fmla="*/ 2143125 w 3788092"/>
                    <a:gd name="connsiteY56" fmla="*/ 1436370 h 2790825"/>
                    <a:gd name="connsiteX57" fmla="*/ 2152650 w 3788092"/>
                    <a:gd name="connsiteY57" fmla="*/ 1424940 h 2790825"/>
                    <a:gd name="connsiteX58" fmla="*/ 2184083 w 3788092"/>
                    <a:gd name="connsiteY58" fmla="*/ 1423035 h 2790825"/>
                    <a:gd name="connsiteX59" fmla="*/ 2302193 w 3788092"/>
                    <a:gd name="connsiteY59" fmla="*/ 1337310 h 2790825"/>
                    <a:gd name="connsiteX60" fmla="*/ 2323148 w 3788092"/>
                    <a:gd name="connsiteY60" fmla="*/ 1357313 h 2790825"/>
                    <a:gd name="connsiteX61" fmla="*/ 2320290 w 3788092"/>
                    <a:gd name="connsiteY61" fmla="*/ 1371600 h 2790825"/>
                    <a:gd name="connsiteX62" fmla="*/ 2308860 w 3788092"/>
                    <a:gd name="connsiteY62" fmla="*/ 1378268 h 2790825"/>
                    <a:gd name="connsiteX63" fmla="*/ 2277427 w 3788092"/>
                    <a:gd name="connsiteY63" fmla="*/ 1379220 h 2790825"/>
                    <a:gd name="connsiteX64" fmla="*/ 2262188 w 3788092"/>
                    <a:gd name="connsiteY64" fmla="*/ 1370648 h 2790825"/>
                    <a:gd name="connsiteX65" fmla="*/ 2241233 w 3788092"/>
                    <a:gd name="connsiteY65" fmla="*/ 1376363 h 2790825"/>
                    <a:gd name="connsiteX66" fmla="*/ 2225993 w 3788092"/>
                    <a:gd name="connsiteY66" fmla="*/ 1365885 h 2790825"/>
                    <a:gd name="connsiteX67" fmla="*/ 2241233 w 3788092"/>
                    <a:gd name="connsiteY67" fmla="*/ 1352550 h 2790825"/>
                    <a:gd name="connsiteX68" fmla="*/ 2265998 w 3788092"/>
                    <a:gd name="connsiteY68" fmla="*/ 1356360 h 2790825"/>
                    <a:gd name="connsiteX69" fmla="*/ 2270760 w 3788092"/>
                    <a:gd name="connsiteY69" fmla="*/ 1340168 h 2790825"/>
                    <a:gd name="connsiteX70" fmla="*/ 2286952 w 3788092"/>
                    <a:gd name="connsiteY70" fmla="*/ 1343025 h 2790825"/>
                    <a:gd name="connsiteX71" fmla="*/ 2290763 w 3788092"/>
                    <a:gd name="connsiteY71" fmla="*/ 1328738 h 2790825"/>
                    <a:gd name="connsiteX72" fmla="*/ 2302193 w 3788092"/>
                    <a:gd name="connsiteY72" fmla="*/ 1337310 h 2790825"/>
                    <a:gd name="connsiteX73" fmla="*/ 2362200 w 3788092"/>
                    <a:gd name="connsiteY73" fmla="*/ 1384935 h 2790825"/>
                    <a:gd name="connsiteX74" fmla="*/ 2374583 w 3788092"/>
                    <a:gd name="connsiteY74" fmla="*/ 1374458 h 2790825"/>
                    <a:gd name="connsiteX75" fmla="*/ 2388870 w 3788092"/>
                    <a:gd name="connsiteY75" fmla="*/ 1370648 h 2790825"/>
                    <a:gd name="connsiteX76" fmla="*/ 2394585 w 3788092"/>
                    <a:gd name="connsiteY76" fmla="*/ 1349693 h 2790825"/>
                    <a:gd name="connsiteX77" fmla="*/ 2411730 w 3788092"/>
                    <a:gd name="connsiteY77" fmla="*/ 1344930 h 2790825"/>
                    <a:gd name="connsiteX78" fmla="*/ 2426970 w 3788092"/>
                    <a:gd name="connsiteY78" fmla="*/ 1354455 h 2790825"/>
                    <a:gd name="connsiteX79" fmla="*/ 2435543 w 3788092"/>
                    <a:gd name="connsiteY79" fmla="*/ 1365885 h 2790825"/>
                    <a:gd name="connsiteX80" fmla="*/ 2433638 w 3788092"/>
                    <a:gd name="connsiteY80" fmla="*/ 1376363 h 2790825"/>
                    <a:gd name="connsiteX81" fmla="*/ 2404110 w 3788092"/>
                    <a:gd name="connsiteY81" fmla="*/ 1387793 h 2790825"/>
                    <a:gd name="connsiteX82" fmla="*/ 2380298 w 3788092"/>
                    <a:gd name="connsiteY82" fmla="*/ 1406843 h 2790825"/>
                    <a:gd name="connsiteX83" fmla="*/ 2365058 w 3788092"/>
                    <a:gd name="connsiteY83" fmla="*/ 1404938 h 2790825"/>
                    <a:gd name="connsiteX84" fmla="*/ 2358390 w 3788092"/>
                    <a:gd name="connsiteY84" fmla="*/ 1411605 h 2790825"/>
                    <a:gd name="connsiteX85" fmla="*/ 2335530 w 3788092"/>
                    <a:gd name="connsiteY85" fmla="*/ 1417320 h 2790825"/>
                    <a:gd name="connsiteX86" fmla="*/ 2319338 w 3788092"/>
                    <a:gd name="connsiteY86" fmla="*/ 1408748 h 2790825"/>
                    <a:gd name="connsiteX87" fmla="*/ 2310765 w 3788092"/>
                    <a:gd name="connsiteY87" fmla="*/ 1417320 h 2790825"/>
                    <a:gd name="connsiteX88" fmla="*/ 2297430 w 3788092"/>
                    <a:gd name="connsiteY88" fmla="*/ 1421130 h 2790825"/>
                    <a:gd name="connsiteX89" fmla="*/ 2286000 w 3788092"/>
                    <a:gd name="connsiteY89" fmla="*/ 1417320 h 2790825"/>
                    <a:gd name="connsiteX90" fmla="*/ 2258377 w 3788092"/>
                    <a:gd name="connsiteY90" fmla="*/ 1431608 h 2790825"/>
                    <a:gd name="connsiteX91" fmla="*/ 2231708 w 3788092"/>
                    <a:gd name="connsiteY91" fmla="*/ 1434465 h 2790825"/>
                    <a:gd name="connsiteX92" fmla="*/ 2222183 w 3788092"/>
                    <a:gd name="connsiteY92" fmla="*/ 1423988 h 2790825"/>
                    <a:gd name="connsiteX93" fmla="*/ 2251710 w 3788092"/>
                    <a:gd name="connsiteY93" fmla="*/ 1405890 h 2790825"/>
                    <a:gd name="connsiteX94" fmla="*/ 2300288 w 3788092"/>
                    <a:gd name="connsiteY94" fmla="*/ 1400175 h 2790825"/>
                    <a:gd name="connsiteX95" fmla="*/ 2327910 w 3788092"/>
                    <a:gd name="connsiteY95" fmla="*/ 1378268 h 2790825"/>
                    <a:gd name="connsiteX96" fmla="*/ 2331720 w 3788092"/>
                    <a:gd name="connsiteY96" fmla="*/ 1354455 h 2790825"/>
                    <a:gd name="connsiteX97" fmla="*/ 2337435 w 3788092"/>
                    <a:gd name="connsiteY97" fmla="*/ 1345883 h 2790825"/>
                    <a:gd name="connsiteX98" fmla="*/ 2325052 w 3788092"/>
                    <a:gd name="connsiteY98" fmla="*/ 1340168 h 2790825"/>
                    <a:gd name="connsiteX99" fmla="*/ 2326958 w 3788092"/>
                    <a:gd name="connsiteY99" fmla="*/ 1323975 h 2790825"/>
                    <a:gd name="connsiteX100" fmla="*/ 2349818 w 3788092"/>
                    <a:gd name="connsiteY100" fmla="*/ 1307783 h 2790825"/>
                    <a:gd name="connsiteX101" fmla="*/ 2362200 w 3788092"/>
                    <a:gd name="connsiteY101" fmla="*/ 1294448 h 2790825"/>
                    <a:gd name="connsiteX102" fmla="*/ 2376488 w 3788092"/>
                    <a:gd name="connsiteY102" fmla="*/ 1291590 h 2790825"/>
                    <a:gd name="connsiteX103" fmla="*/ 2385060 w 3788092"/>
                    <a:gd name="connsiteY103" fmla="*/ 1302068 h 2790825"/>
                    <a:gd name="connsiteX104" fmla="*/ 2374583 w 3788092"/>
                    <a:gd name="connsiteY104" fmla="*/ 1315403 h 2790825"/>
                    <a:gd name="connsiteX105" fmla="*/ 2359343 w 3788092"/>
                    <a:gd name="connsiteY105" fmla="*/ 1326833 h 2790825"/>
                    <a:gd name="connsiteX106" fmla="*/ 2369820 w 3788092"/>
                    <a:gd name="connsiteY106" fmla="*/ 1341120 h 2790825"/>
                    <a:gd name="connsiteX107" fmla="*/ 2375535 w 3788092"/>
                    <a:gd name="connsiteY107" fmla="*/ 1363980 h 2790825"/>
                    <a:gd name="connsiteX108" fmla="*/ 2362200 w 3788092"/>
                    <a:gd name="connsiteY108" fmla="*/ 1384935 h 2790825"/>
                    <a:gd name="connsiteX109" fmla="*/ 2509838 w 3788092"/>
                    <a:gd name="connsiteY109" fmla="*/ 1254443 h 2790825"/>
                    <a:gd name="connsiteX110" fmla="*/ 2523173 w 3788092"/>
                    <a:gd name="connsiteY110" fmla="*/ 1262063 h 2790825"/>
                    <a:gd name="connsiteX111" fmla="*/ 2537460 w 3788092"/>
                    <a:gd name="connsiteY111" fmla="*/ 1259205 h 2790825"/>
                    <a:gd name="connsiteX112" fmla="*/ 2559368 w 3788092"/>
                    <a:gd name="connsiteY112" fmla="*/ 1265873 h 2790825"/>
                    <a:gd name="connsiteX113" fmla="*/ 2568893 w 3788092"/>
                    <a:gd name="connsiteY113" fmla="*/ 1280160 h 2790825"/>
                    <a:gd name="connsiteX114" fmla="*/ 2557463 w 3788092"/>
                    <a:gd name="connsiteY114" fmla="*/ 1288733 h 2790825"/>
                    <a:gd name="connsiteX115" fmla="*/ 2561273 w 3788092"/>
                    <a:gd name="connsiteY115" fmla="*/ 1304925 h 2790825"/>
                    <a:gd name="connsiteX116" fmla="*/ 2525077 w 3788092"/>
                    <a:gd name="connsiteY116" fmla="*/ 1309688 h 2790825"/>
                    <a:gd name="connsiteX117" fmla="*/ 2516505 w 3788092"/>
                    <a:gd name="connsiteY117" fmla="*/ 1304925 h 2790825"/>
                    <a:gd name="connsiteX118" fmla="*/ 2502218 w 3788092"/>
                    <a:gd name="connsiteY118" fmla="*/ 1313498 h 2790825"/>
                    <a:gd name="connsiteX119" fmla="*/ 2488883 w 3788092"/>
                    <a:gd name="connsiteY119" fmla="*/ 1326833 h 2790825"/>
                    <a:gd name="connsiteX120" fmla="*/ 2467927 w 3788092"/>
                    <a:gd name="connsiteY120" fmla="*/ 1321118 h 2790825"/>
                    <a:gd name="connsiteX121" fmla="*/ 2469833 w 3788092"/>
                    <a:gd name="connsiteY121" fmla="*/ 1305878 h 2790825"/>
                    <a:gd name="connsiteX122" fmla="*/ 2466975 w 3788092"/>
                    <a:gd name="connsiteY122" fmla="*/ 1283970 h 2790825"/>
                    <a:gd name="connsiteX123" fmla="*/ 2473643 w 3788092"/>
                    <a:gd name="connsiteY123" fmla="*/ 1279208 h 2790825"/>
                    <a:gd name="connsiteX124" fmla="*/ 2501265 w 3788092"/>
                    <a:gd name="connsiteY124" fmla="*/ 1282065 h 2790825"/>
                    <a:gd name="connsiteX125" fmla="*/ 2497455 w 3788092"/>
                    <a:gd name="connsiteY125" fmla="*/ 1263015 h 2790825"/>
                    <a:gd name="connsiteX126" fmla="*/ 2509838 w 3788092"/>
                    <a:gd name="connsiteY126" fmla="*/ 1254443 h 2790825"/>
                    <a:gd name="connsiteX127" fmla="*/ 3690938 w 3788092"/>
                    <a:gd name="connsiteY127" fmla="*/ 1229678 h 2790825"/>
                    <a:gd name="connsiteX128" fmla="*/ 3673793 w 3788092"/>
                    <a:gd name="connsiteY128" fmla="*/ 1233488 h 2790825"/>
                    <a:gd name="connsiteX129" fmla="*/ 3675698 w 3788092"/>
                    <a:gd name="connsiteY129" fmla="*/ 1216343 h 2790825"/>
                    <a:gd name="connsiteX130" fmla="*/ 3690938 w 3788092"/>
                    <a:gd name="connsiteY130" fmla="*/ 1229678 h 2790825"/>
                    <a:gd name="connsiteX131" fmla="*/ 2810827 w 3788092"/>
                    <a:gd name="connsiteY131" fmla="*/ 1193483 h 2790825"/>
                    <a:gd name="connsiteX132" fmla="*/ 2798445 w 3788092"/>
                    <a:gd name="connsiteY132" fmla="*/ 1197293 h 2790825"/>
                    <a:gd name="connsiteX133" fmla="*/ 2781300 w 3788092"/>
                    <a:gd name="connsiteY133" fmla="*/ 1194435 h 2790825"/>
                    <a:gd name="connsiteX134" fmla="*/ 2774633 w 3788092"/>
                    <a:gd name="connsiteY134" fmla="*/ 1184910 h 2790825"/>
                    <a:gd name="connsiteX135" fmla="*/ 2795588 w 3788092"/>
                    <a:gd name="connsiteY135" fmla="*/ 1175385 h 2790825"/>
                    <a:gd name="connsiteX136" fmla="*/ 2811780 w 3788092"/>
                    <a:gd name="connsiteY136" fmla="*/ 1178243 h 2790825"/>
                    <a:gd name="connsiteX137" fmla="*/ 2810827 w 3788092"/>
                    <a:gd name="connsiteY137" fmla="*/ 1193483 h 2790825"/>
                    <a:gd name="connsiteX138" fmla="*/ 2667000 w 3788092"/>
                    <a:gd name="connsiteY138" fmla="*/ 1196340 h 2790825"/>
                    <a:gd name="connsiteX139" fmla="*/ 2676525 w 3788092"/>
                    <a:gd name="connsiteY139" fmla="*/ 1203008 h 2790825"/>
                    <a:gd name="connsiteX140" fmla="*/ 2690813 w 3788092"/>
                    <a:gd name="connsiteY140" fmla="*/ 1198245 h 2790825"/>
                    <a:gd name="connsiteX141" fmla="*/ 2701290 w 3788092"/>
                    <a:gd name="connsiteY141" fmla="*/ 1207770 h 2790825"/>
                    <a:gd name="connsiteX142" fmla="*/ 2687955 w 3788092"/>
                    <a:gd name="connsiteY142" fmla="*/ 1215390 h 2790825"/>
                    <a:gd name="connsiteX143" fmla="*/ 2680335 w 3788092"/>
                    <a:gd name="connsiteY143" fmla="*/ 1226820 h 2790825"/>
                    <a:gd name="connsiteX144" fmla="*/ 2661285 w 3788092"/>
                    <a:gd name="connsiteY144" fmla="*/ 1227773 h 2790825"/>
                    <a:gd name="connsiteX145" fmla="*/ 2633663 w 3788092"/>
                    <a:gd name="connsiteY145" fmla="*/ 1249680 h 2790825"/>
                    <a:gd name="connsiteX146" fmla="*/ 2632710 w 3788092"/>
                    <a:gd name="connsiteY146" fmla="*/ 1257300 h 2790825"/>
                    <a:gd name="connsiteX147" fmla="*/ 2585085 w 3788092"/>
                    <a:gd name="connsiteY147" fmla="*/ 1262063 h 2790825"/>
                    <a:gd name="connsiteX148" fmla="*/ 2570798 w 3788092"/>
                    <a:gd name="connsiteY148" fmla="*/ 1259205 h 2790825"/>
                    <a:gd name="connsiteX149" fmla="*/ 2586990 w 3788092"/>
                    <a:gd name="connsiteY149" fmla="*/ 1233488 h 2790825"/>
                    <a:gd name="connsiteX150" fmla="*/ 2603183 w 3788092"/>
                    <a:gd name="connsiteY150" fmla="*/ 1233488 h 2790825"/>
                    <a:gd name="connsiteX151" fmla="*/ 2619375 w 3788092"/>
                    <a:gd name="connsiteY151" fmla="*/ 1225868 h 2790825"/>
                    <a:gd name="connsiteX152" fmla="*/ 2616518 w 3788092"/>
                    <a:gd name="connsiteY152" fmla="*/ 1218248 h 2790825"/>
                    <a:gd name="connsiteX153" fmla="*/ 2640330 w 3788092"/>
                    <a:gd name="connsiteY153" fmla="*/ 1199198 h 2790825"/>
                    <a:gd name="connsiteX154" fmla="*/ 2646045 w 3788092"/>
                    <a:gd name="connsiteY154" fmla="*/ 1183005 h 2790825"/>
                    <a:gd name="connsiteX155" fmla="*/ 2659380 w 3788092"/>
                    <a:gd name="connsiteY155" fmla="*/ 1173480 h 2790825"/>
                    <a:gd name="connsiteX156" fmla="*/ 2667000 w 3788092"/>
                    <a:gd name="connsiteY156" fmla="*/ 1196340 h 2790825"/>
                    <a:gd name="connsiteX157" fmla="*/ 2712720 w 3788092"/>
                    <a:gd name="connsiteY157" fmla="*/ 1177290 h 2790825"/>
                    <a:gd name="connsiteX158" fmla="*/ 2726055 w 3788092"/>
                    <a:gd name="connsiteY158" fmla="*/ 1179195 h 2790825"/>
                    <a:gd name="connsiteX159" fmla="*/ 2738438 w 3788092"/>
                    <a:gd name="connsiteY159" fmla="*/ 1194435 h 2790825"/>
                    <a:gd name="connsiteX160" fmla="*/ 2716530 w 3788092"/>
                    <a:gd name="connsiteY160" fmla="*/ 1194435 h 2790825"/>
                    <a:gd name="connsiteX161" fmla="*/ 2697480 w 3788092"/>
                    <a:gd name="connsiteY161" fmla="*/ 1177290 h 2790825"/>
                    <a:gd name="connsiteX162" fmla="*/ 2712720 w 3788092"/>
                    <a:gd name="connsiteY162" fmla="*/ 1177290 h 2790825"/>
                    <a:gd name="connsiteX163" fmla="*/ 3068002 w 3788092"/>
                    <a:gd name="connsiteY163" fmla="*/ 1136333 h 2790825"/>
                    <a:gd name="connsiteX164" fmla="*/ 3072765 w 3788092"/>
                    <a:gd name="connsiteY164" fmla="*/ 1146810 h 2790825"/>
                    <a:gd name="connsiteX165" fmla="*/ 3041333 w 3788092"/>
                    <a:gd name="connsiteY165" fmla="*/ 1166813 h 2790825"/>
                    <a:gd name="connsiteX166" fmla="*/ 3026093 w 3788092"/>
                    <a:gd name="connsiteY166" fmla="*/ 1167765 h 2790825"/>
                    <a:gd name="connsiteX167" fmla="*/ 3006090 w 3788092"/>
                    <a:gd name="connsiteY167" fmla="*/ 1156335 h 2790825"/>
                    <a:gd name="connsiteX168" fmla="*/ 3007043 w 3788092"/>
                    <a:gd name="connsiteY168" fmla="*/ 1148715 h 2790825"/>
                    <a:gd name="connsiteX169" fmla="*/ 3025140 w 3788092"/>
                    <a:gd name="connsiteY169" fmla="*/ 1140143 h 2790825"/>
                    <a:gd name="connsiteX170" fmla="*/ 3033713 w 3788092"/>
                    <a:gd name="connsiteY170" fmla="*/ 1141095 h 2790825"/>
                    <a:gd name="connsiteX171" fmla="*/ 3059430 w 3788092"/>
                    <a:gd name="connsiteY171" fmla="*/ 1127760 h 2790825"/>
                    <a:gd name="connsiteX172" fmla="*/ 3068002 w 3788092"/>
                    <a:gd name="connsiteY172" fmla="*/ 1136333 h 2790825"/>
                    <a:gd name="connsiteX173" fmla="*/ 3105150 w 3788092"/>
                    <a:gd name="connsiteY173" fmla="*/ 1133475 h 2790825"/>
                    <a:gd name="connsiteX174" fmla="*/ 3088005 w 3788092"/>
                    <a:gd name="connsiteY174" fmla="*/ 1138238 h 2790825"/>
                    <a:gd name="connsiteX175" fmla="*/ 3071813 w 3788092"/>
                    <a:gd name="connsiteY175" fmla="*/ 1129665 h 2790825"/>
                    <a:gd name="connsiteX176" fmla="*/ 3069908 w 3788092"/>
                    <a:gd name="connsiteY176" fmla="*/ 1114425 h 2790825"/>
                    <a:gd name="connsiteX177" fmla="*/ 3077527 w 3788092"/>
                    <a:gd name="connsiteY177" fmla="*/ 1111568 h 2790825"/>
                    <a:gd name="connsiteX178" fmla="*/ 3108008 w 3788092"/>
                    <a:gd name="connsiteY178" fmla="*/ 1122998 h 2790825"/>
                    <a:gd name="connsiteX179" fmla="*/ 3105150 w 3788092"/>
                    <a:gd name="connsiteY179" fmla="*/ 1133475 h 2790825"/>
                    <a:gd name="connsiteX180" fmla="*/ 3044190 w 3788092"/>
                    <a:gd name="connsiteY180" fmla="*/ 1102995 h 2790825"/>
                    <a:gd name="connsiteX181" fmla="*/ 3040380 w 3788092"/>
                    <a:gd name="connsiteY181" fmla="*/ 1110615 h 2790825"/>
                    <a:gd name="connsiteX182" fmla="*/ 3014663 w 3788092"/>
                    <a:gd name="connsiteY182" fmla="*/ 1130618 h 2790825"/>
                    <a:gd name="connsiteX183" fmla="*/ 2993708 w 3788092"/>
                    <a:gd name="connsiteY183" fmla="*/ 1137285 h 2790825"/>
                    <a:gd name="connsiteX184" fmla="*/ 2976563 w 3788092"/>
                    <a:gd name="connsiteY184" fmla="*/ 1134428 h 2790825"/>
                    <a:gd name="connsiteX185" fmla="*/ 2968943 w 3788092"/>
                    <a:gd name="connsiteY185" fmla="*/ 1140143 h 2790825"/>
                    <a:gd name="connsiteX186" fmla="*/ 2949893 w 3788092"/>
                    <a:gd name="connsiteY186" fmla="*/ 1140143 h 2790825"/>
                    <a:gd name="connsiteX187" fmla="*/ 2930843 w 3788092"/>
                    <a:gd name="connsiteY187" fmla="*/ 1134428 h 2790825"/>
                    <a:gd name="connsiteX188" fmla="*/ 2911793 w 3788092"/>
                    <a:gd name="connsiteY188" fmla="*/ 1122998 h 2790825"/>
                    <a:gd name="connsiteX189" fmla="*/ 2945130 w 3788092"/>
                    <a:gd name="connsiteY189" fmla="*/ 1122045 h 2790825"/>
                    <a:gd name="connsiteX190" fmla="*/ 2950845 w 3788092"/>
                    <a:gd name="connsiteY190" fmla="*/ 1117283 h 2790825"/>
                    <a:gd name="connsiteX191" fmla="*/ 2965133 w 3788092"/>
                    <a:gd name="connsiteY191" fmla="*/ 1117283 h 2790825"/>
                    <a:gd name="connsiteX192" fmla="*/ 2991802 w 3788092"/>
                    <a:gd name="connsiteY192" fmla="*/ 1113473 h 2790825"/>
                    <a:gd name="connsiteX193" fmla="*/ 3002280 w 3788092"/>
                    <a:gd name="connsiteY193" fmla="*/ 1116330 h 2790825"/>
                    <a:gd name="connsiteX194" fmla="*/ 3022283 w 3788092"/>
                    <a:gd name="connsiteY194" fmla="*/ 1102995 h 2790825"/>
                    <a:gd name="connsiteX195" fmla="*/ 3044190 w 3788092"/>
                    <a:gd name="connsiteY195" fmla="*/ 1102995 h 2790825"/>
                    <a:gd name="connsiteX196" fmla="*/ 3621405 w 3788092"/>
                    <a:gd name="connsiteY196" fmla="*/ 1326833 h 2790825"/>
                    <a:gd name="connsiteX197" fmla="*/ 3605213 w 3788092"/>
                    <a:gd name="connsiteY197" fmla="*/ 1314450 h 2790825"/>
                    <a:gd name="connsiteX198" fmla="*/ 3605213 w 3788092"/>
                    <a:gd name="connsiteY198" fmla="*/ 1307783 h 2790825"/>
                    <a:gd name="connsiteX199" fmla="*/ 3635693 w 3788092"/>
                    <a:gd name="connsiteY199" fmla="*/ 1280160 h 2790825"/>
                    <a:gd name="connsiteX200" fmla="*/ 3642360 w 3788092"/>
                    <a:gd name="connsiteY200" fmla="*/ 1270635 h 2790825"/>
                    <a:gd name="connsiteX201" fmla="*/ 3617595 w 3788092"/>
                    <a:gd name="connsiteY201" fmla="*/ 1244918 h 2790825"/>
                    <a:gd name="connsiteX202" fmla="*/ 3583305 w 3788092"/>
                    <a:gd name="connsiteY202" fmla="*/ 1237298 h 2790825"/>
                    <a:gd name="connsiteX203" fmla="*/ 3543300 w 3788092"/>
                    <a:gd name="connsiteY203" fmla="*/ 1226820 h 2790825"/>
                    <a:gd name="connsiteX204" fmla="*/ 3503295 w 3788092"/>
                    <a:gd name="connsiteY204" fmla="*/ 1207770 h 2790825"/>
                    <a:gd name="connsiteX205" fmla="*/ 3486150 w 3788092"/>
                    <a:gd name="connsiteY205" fmla="*/ 1196340 h 2790825"/>
                    <a:gd name="connsiteX206" fmla="*/ 3458527 w 3788092"/>
                    <a:gd name="connsiteY206" fmla="*/ 1199198 h 2790825"/>
                    <a:gd name="connsiteX207" fmla="*/ 3425190 w 3788092"/>
                    <a:gd name="connsiteY207" fmla="*/ 1214438 h 2790825"/>
                    <a:gd name="connsiteX208" fmla="*/ 3416618 w 3788092"/>
                    <a:gd name="connsiteY208" fmla="*/ 1216343 h 2790825"/>
                    <a:gd name="connsiteX209" fmla="*/ 3380423 w 3788092"/>
                    <a:gd name="connsiteY209" fmla="*/ 1212533 h 2790825"/>
                    <a:gd name="connsiteX210" fmla="*/ 3360420 w 3788092"/>
                    <a:gd name="connsiteY210" fmla="*/ 1214438 h 2790825"/>
                    <a:gd name="connsiteX211" fmla="*/ 3344227 w 3788092"/>
                    <a:gd name="connsiteY211" fmla="*/ 1231583 h 2790825"/>
                    <a:gd name="connsiteX212" fmla="*/ 3319463 w 3788092"/>
                    <a:gd name="connsiteY212" fmla="*/ 1247775 h 2790825"/>
                    <a:gd name="connsiteX213" fmla="*/ 3312795 w 3788092"/>
                    <a:gd name="connsiteY213" fmla="*/ 1283970 h 2790825"/>
                    <a:gd name="connsiteX214" fmla="*/ 3307080 w 3788092"/>
                    <a:gd name="connsiteY214" fmla="*/ 1300163 h 2790825"/>
                    <a:gd name="connsiteX215" fmla="*/ 3313748 w 3788092"/>
                    <a:gd name="connsiteY215" fmla="*/ 1330643 h 2790825"/>
                    <a:gd name="connsiteX216" fmla="*/ 3299460 w 3788092"/>
                    <a:gd name="connsiteY216" fmla="*/ 1343978 h 2790825"/>
                    <a:gd name="connsiteX217" fmla="*/ 3279458 w 3788092"/>
                    <a:gd name="connsiteY217" fmla="*/ 1346835 h 2790825"/>
                    <a:gd name="connsiteX218" fmla="*/ 3264218 w 3788092"/>
                    <a:gd name="connsiteY218" fmla="*/ 1359218 h 2790825"/>
                    <a:gd name="connsiteX219" fmla="*/ 3259455 w 3788092"/>
                    <a:gd name="connsiteY219" fmla="*/ 1375410 h 2790825"/>
                    <a:gd name="connsiteX220" fmla="*/ 3247073 w 3788092"/>
                    <a:gd name="connsiteY220" fmla="*/ 1381125 h 2790825"/>
                    <a:gd name="connsiteX221" fmla="*/ 3222308 w 3788092"/>
                    <a:gd name="connsiteY221" fmla="*/ 1373505 h 2790825"/>
                    <a:gd name="connsiteX222" fmla="*/ 3185160 w 3788092"/>
                    <a:gd name="connsiteY222" fmla="*/ 1365885 h 2790825"/>
                    <a:gd name="connsiteX223" fmla="*/ 3150870 w 3788092"/>
                    <a:gd name="connsiteY223" fmla="*/ 1355408 h 2790825"/>
                    <a:gd name="connsiteX224" fmla="*/ 3136583 w 3788092"/>
                    <a:gd name="connsiteY224" fmla="*/ 1354455 h 2790825"/>
                    <a:gd name="connsiteX225" fmla="*/ 3125152 w 3788092"/>
                    <a:gd name="connsiteY225" fmla="*/ 1365885 h 2790825"/>
                    <a:gd name="connsiteX226" fmla="*/ 3089910 w 3788092"/>
                    <a:gd name="connsiteY226" fmla="*/ 1374458 h 2790825"/>
                    <a:gd name="connsiteX227" fmla="*/ 3072765 w 3788092"/>
                    <a:gd name="connsiteY227" fmla="*/ 1375410 h 2790825"/>
                    <a:gd name="connsiteX228" fmla="*/ 3065145 w 3788092"/>
                    <a:gd name="connsiteY228" fmla="*/ 1370648 h 2790825"/>
                    <a:gd name="connsiteX229" fmla="*/ 2999423 w 3788092"/>
                    <a:gd name="connsiteY229" fmla="*/ 1364933 h 2790825"/>
                    <a:gd name="connsiteX230" fmla="*/ 2986088 w 3788092"/>
                    <a:gd name="connsiteY230" fmla="*/ 1347788 h 2790825"/>
                    <a:gd name="connsiteX231" fmla="*/ 2910840 w 3788092"/>
                    <a:gd name="connsiteY231" fmla="*/ 1295400 h 2790825"/>
                    <a:gd name="connsiteX232" fmla="*/ 2876550 w 3788092"/>
                    <a:gd name="connsiteY232" fmla="*/ 1295400 h 2790825"/>
                    <a:gd name="connsiteX233" fmla="*/ 2858452 w 3788092"/>
                    <a:gd name="connsiteY233" fmla="*/ 1305878 h 2790825"/>
                    <a:gd name="connsiteX234" fmla="*/ 2867977 w 3788092"/>
                    <a:gd name="connsiteY234" fmla="*/ 1319213 h 2790825"/>
                    <a:gd name="connsiteX235" fmla="*/ 2863215 w 3788092"/>
                    <a:gd name="connsiteY235" fmla="*/ 1324928 h 2790825"/>
                    <a:gd name="connsiteX236" fmla="*/ 2845118 w 3788092"/>
                    <a:gd name="connsiteY236" fmla="*/ 1321118 h 2790825"/>
                    <a:gd name="connsiteX237" fmla="*/ 2825115 w 3788092"/>
                    <a:gd name="connsiteY237" fmla="*/ 1321118 h 2790825"/>
                    <a:gd name="connsiteX238" fmla="*/ 2820352 w 3788092"/>
                    <a:gd name="connsiteY238" fmla="*/ 1324928 h 2790825"/>
                    <a:gd name="connsiteX239" fmla="*/ 2771775 w 3788092"/>
                    <a:gd name="connsiteY239" fmla="*/ 1326833 h 2790825"/>
                    <a:gd name="connsiteX240" fmla="*/ 2796540 w 3788092"/>
                    <a:gd name="connsiteY240" fmla="*/ 1342073 h 2790825"/>
                    <a:gd name="connsiteX241" fmla="*/ 2797493 w 3788092"/>
                    <a:gd name="connsiteY241" fmla="*/ 1361123 h 2790825"/>
                    <a:gd name="connsiteX242" fmla="*/ 2784158 w 3788092"/>
                    <a:gd name="connsiteY242" fmla="*/ 1379220 h 2790825"/>
                    <a:gd name="connsiteX243" fmla="*/ 2768918 w 3788092"/>
                    <a:gd name="connsiteY243" fmla="*/ 1387793 h 2790825"/>
                    <a:gd name="connsiteX244" fmla="*/ 2796540 w 3788092"/>
                    <a:gd name="connsiteY244" fmla="*/ 1396365 h 2790825"/>
                    <a:gd name="connsiteX245" fmla="*/ 2772727 w 3788092"/>
                    <a:gd name="connsiteY245" fmla="*/ 1411605 h 2790825"/>
                    <a:gd name="connsiteX246" fmla="*/ 2763202 w 3788092"/>
                    <a:gd name="connsiteY246" fmla="*/ 1410653 h 2790825"/>
                    <a:gd name="connsiteX247" fmla="*/ 2681288 w 3788092"/>
                    <a:gd name="connsiteY247" fmla="*/ 1394460 h 2790825"/>
                    <a:gd name="connsiteX248" fmla="*/ 2653665 w 3788092"/>
                    <a:gd name="connsiteY248" fmla="*/ 1393508 h 2790825"/>
                    <a:gd name="connsiteX249" fmla="*/ 2614613 w 3788092"/>
                    <a:gd name="connsiteY249" fmla="*/ 1384935 h 2790825"/>
                    <a:gd name="connsiteX250" fmla="*/ 2594610 w 3788092"/>
                    <a:gd name="connsiteY250" fmla="*/ 1389698 h 2790825"/>
                    <a:gd name="connsiteX251" fmla="*/ 2594610 w 3788092"/>
                    <a:gd name="connsiteY251" fmla="*/ 1397318 h 2790825"/>
                    <a:gd name="connsiteX252" fmla="*/ 2602230 w 3788092"/>
                    <a:gd name="connsiteY252" fmla="*/ 1431608 h 2790825"/>
                    <a:gd name="connsiteX253" fmla="*/ 2582227 w 3788092"/>
                    <a:gd name="connsiteY253" fmla="*/ 1461135 h 2790825"/>
                    <a:gd name="connsiteX254" fmla="*/ 2522220 w 3788092"/>
                    <a:gd name="connsiteY254" fmla="*/ 1443990 h 2790825"/>
                    <a:gd name="connsiteX255" fmla="*/ 2507933 w 3788092"/>
                    <a:gd name="connsiteY255" fmla="*/ 1452563 h 2790825"/>
                    <a:gd name="connsiteX256" fmla="*/ 2472690 w 3788092"/>
                    <a:gd name="connsiteY256" fmla="*/ 1470660 h 2790825"/>
                    <a:gd name="connsiteX257" fmla="*/ 2458402 w 3788092"/>
                    <a:gd name="connsiteY257" fmla="*/ 1503998 h 2790825"/>
                    <a:gd name="connsiteX258" fmla="*/ 2447925 w 3788092"/>
                    <a:gd name="connsiteY258" fmla="*/ 1514475 h 2790825"/>
                    <a:gd name="connsiteX259" fmla="*/ 2422208 w 3788092"/>
                    <a:gd name="connsiteY259" fmla="*/ 1520190 h 2790825"/>
                    <a:gd name="connsiteX260" fmla="*/ 2417445 w 3788092"/>
                    <a:gd name="connsiteY260" fmla="*/ 1530668 h 2790825"/>
                    <a:gd name="connsiteX261" fmla="*/ 2443163 w 3788092"/>
                    <a:gd name="connsiteY261" fmla="*/ 1552575 h 2790825"/>
                    <a:gd name="connsiteX262" fmla="*/ 2452688 w 3788092"/>
                    <a:gd name="connsiteY262" fmla="*/ 1564958 h 2790825"/>
                    <a:gd name="connsiteX263" fmla="*/ 2450783 w 3788092"/>
                    <a:gd name="connsiteY263" fmla="*/ 1578293 h 2790825"/>
                    <a:gd name="connsiteX264" fmla="*/ 2436495 w 3788092"/>
                    <a:gd name="connsiteY264" fmla="*/ 1587818 h 2790825"/>
                    <a:gd name="connsiteX265" fmla="*/ 2405063 w 3788092"/>
                    <a:gd name="connsiteY265" fmla="*/ 1615440 h 2790825"/>
                    <a:gd name="connsiteX266" fmla="*/ 2376488 w 3788092"/>
                    <a:gd name="connsiteY266" fmla="*/ 1643063 h 2790825"/>
                    <a:gd name="connsiteX267" fmla="*/ 2364105 w 3788092"/>
                    <a:gd name="connsiteY267" fmla="*/ 1651635 h 2790825"/>
                    <a:gd name="connsiteX268" fmla="*/ 2373630 w 3788092"/>
                    <a:gd name="connsiteY268" fmla="*/ 1675448 h 2790825"/>
                    <a:gd name="connsiteX269" fmla="*/ 2342198 w 3788092"/>
                    <a:gd name="connsiteY269" fmla="*/ 1689735 h 2790825"/>
                    <a:gd name="connsiteX270" fmla="*/ 2319338 w 3788092"/>
                    <a:gd name="connsiteY270" fmla="*/ 1694498 h 2790825"/>
                    <a:gd name="connsiteX271" fmla="*/ 2283143 w 3788092"/>
                    <a:gd name="connsiteY271" fmla="*/ 1698308 h 2790825"/>
                    <a:gd name="connsiteX272" fmla="*/ 2296477 w 3788092"/>
                    <a:gd name="connsiteY272" fmla="*/ 1735455 h 2790825"/>
                    <a:gd name="connsiteX273" fmla="*/ 2290763 w 3788092"/>
                    <a:gd name="connsiteY273" fmla="*/ 1761173 h 2790825"/>
                    <a:gd name="connsiteX274" fmla="*/ 2289810 w 3788092"/>
                    <a:gd name="connsiteY274" fmla="*/ 1805940 h 2790825"/>
                    <a:gd name="connsiteX275" fmla="*/ 2258377 w 3788092"/>
                    <a:gd name="connsiteY275" fmla="*/ 1853565 h 2790825"/>
                    <a:gd name="connsiteX276" fmla="*/ 2216468 w 3788092"/>
                    <a:gd name="connsiteY276" fmla="*/ 1901190 h 2790825"/>
                    <a:gd name="connsiteX277" fmla="*/ 2261235 w 3788092"/>
                    <a:gd name="connsiteY277" fmla="*/ 1916430 h 2790825"/>
                    <a:gd name="connsiteX278" fmla="*/ 2271713 w 3788092"/>
                    <a:gd name="connsiteY278" fmla="*/ 1944053 h 2790825"/>
                    <a:gd name="connsiteX279" fmla="*/ 2272665 w 3788092"/>
                    <a:gd name="connsiteY279" fmla="*/ 1955483 h 2790825"/>
                    <a:gd name="connsiteX280" fmla="*/ 2256473 w 3788092"/>
                    <a:gd name="connsiteY280" fmla="*/ 1976438 h 2790825"/>
                    <a:gd name="connsiteX281" fmla="*/ 2188845 w 3788092"/>
                    <a:gd name="connsiteY281" fmla="*/ 1967865 h 2790825"/>
                    <a:gd name="connsiteX282" fmla="*/ 2157413 w 3788092"/>
                    <a:gd name="connsiteY282" fmla="*/ 1971675 h 2790825"/>
                    <a:gd name="connsiteX283" fmla="*/ 2125980 w 3788092"/>
                    <a:gd name="connsiteY283" fmla="*/ 1985963 h 2790825"/>
                    <a:gd name="connsiteX284" fmla="*/ 2092643 w 3788092"/>
                    <a:gd name="connsiteY284" fmla="*/ 2022158 h 2790825"/>
                    <a:gd name="connsiteX285" fmla="*/ 2081213 w 3788092"/>
                    <a:gd name="connsiteY285" fmla="*/ 2031683 h 2790825"/>
                    <a:gd name="connsiteX286" fmla="*/ 2085975 w 3788092"/>
                    <a:gd name="connsiteY286" fmla="*/ 2045970 h 2790825"/>
                    <a:gd name="connsiteX287" fmla="*/ 2066925 w 3788092"/>
                    <a:gd name="connsiteY287" fmla="*/ 2072640 h 2790825"/>
                    <a:gd name="connsiteX288" fmla="*/ 2092643 w 3788092"/>
                    <a:gd name="connsiteY288" fmla="*/ 2111693 h 2790825"/>
                    <a:gd name="connsiteX289" fmla="*/ 2082165 w 3788092"/>
                    <a:gd name="connsiteY289" fmla="*/ 2122170 h 2790825"/>
                    <a:gd name="connsiteX290" fmla="*/ 2087880 w 3788092"/>
                    <a:gd name="connsiteY290" fmla="*/ 2148840 h 2790825"/>
                    <a:gd name="connsiteX291" fmla="*/ 2086927 w 3788092"/>
                    <a:gd name="connsiteY291" fmla="*/ 2165985 h 2790825"/>
                    <a:gd name="connsiteX292" fmla="*/ 2110740 w 3788092"/>
                    <a:gd name="connsiteY292" fmla="*/ 2207895 h 2790825"/>
                    <a:gd name="connsiteX293" fmla="*/ 2110740 w 3788092"/>
                    <a:gd name="connsiteY293" fmla="*/ 2223135 h 2790825"/>
                    <a:gd name="connsiteX294" fmla="*/ 2102168 w 3788092"/>
                    <a:gd name="connsiteY294" fmla="*/ 2284095 h 2790825"/>
                    <a:gd name="connsiteX295" fmla="*/ 2138363 w 3788092"/>
                    <a:gd name="connsiteY295" fmla="*/ 2304098 h 2790825"/>
                    <a:gd name="connsiteX296" fmla="*/ 2149793 w 3788092"/>
                    <a:gd name="connsiteY296" fmla="*/ 2307908 h 2790825"/>
                    <a:gd name="connsiteX297" fmla="*/ 2182177 w 3788092"/>
                    <a:gd name="connsiteY297" fmla="*/ 2333625 h 2790825"/>
                    <a:gd name="connsiteX298" fmla="*/ 2178368 w 3788092"/>
                    <a:gd name="connsiteY298" fmla="*/ 2351723 h 2790825"/>
                    <a:gd name="connsiteX299" fmla="*/ 2165985 w 3788092"/>
                    <a:gd name="connsiteY299" fmla="*/ 2375535 h 2790825"/>
                    <a:gd name="connsiteX300" fmla="*/ 2143125 w 3788092"/>
                    <a:gd name="connsiteY300" fmla="*/ 2375535 h 2790825"/>
                    <a:gd name="connsiteX301" fmla="*/ 2125980 w 3788092"/>
                    <a:gd name="connsiteY301" fmla="*/ 2381250 h 2790825"/>
                    <a:gd name="connsiteX302" fmla="*/ 2128838 w 3788092"/>
                    <a:gd name="connsiteY302" fmla="*/ 2396490 h 2790825"/>
                    <a:gd name="connsiteX303" fmla="*/ 2158365 w 3788092"/>
                    <a:gd name="connsiteY303" fmla="*/ 2443163 h 2790825"/>
                    <a:gd name="connsiteX304" fmla="*/ 2163127 w 3788092"/>
                    <a:gd name="connsiteY304" fmla="*/ 2456498 h 2790825"/>
                    <a:gd name="connsiteX305" fmla="*/ 2157413 w 3788092"/>
                    <a:gd name="connsiteY305" fmla="*/ 2476500 h 2790825"/>
                    <a:gd name="connsiteX306" fmla="*/ 2156460 w 3788092"/>
                    <a:gd name="connsiteY306" fmla="*/ 2503170 h 2790825"/>
                    <a:gd name="connsiteX307" fmla="*/ 2138363 w 3788092"/>
                    <a:gd name="connsiteY307" fmla="*/ 2522220 h 2790825"/>
                    <a:gd name="connsiteX308" fmla="*/ 2125980 w 3788092"/>
                    <a:gd name="connsiteY308" fmla="*/ 2529840 h 2790825"/>
                    <a:gd name="connsiteX309" fmla="*/ 2101215 w 3788092"/>
                    <a:gd name="connsiteY309" fmla="*/ 2536508 h 2790825"/>
                    <a:gd name="connsiteX310" fmla="*/ 2092643 w 3788092"/>
                    <a:gd name="connsiteY310" fmla="*/ 2559368 h 2790825"/>
                    <a:gd name="connsiteX311" fmla="*/ 2078355 w 3788092"/>
                    <a:gd name="connsiteY311" fmla="*/ 2573655 h 2790825"/>
                    <a:gd name="connsiteX312" fmla="*/ 2093595 w 3788092"/>
                    <a:gd name="connsiteY312" fmla="*/ 2615565 h 2790825"/>
                    <a:gd name="connsiteX313" fmla="*/ 2087880 w 3788092"/>
                    <a:gd name="connsiteY313" fmla="*/ 2652713 h 2790825"/>
                    <a:gd name="connsiteX314" fmla="*/ 2081213 w 3788092"/>
                    <a:gd name="connsiteY314" fmla="*/ 2666048 h 2790825"/>
                    <a:gd name="connsiteX315" fmla="*/ 2063115 w 3788092"/>
                    <a:gd name="connsiteY315" fmla="*/ 2667953 h 2790825"/>
                    <a:gd name="connsiteX316" fmla="*/ 2053590 w 3788092"/>
                    <a:gd name="connsiteY316" fmla="*/ 2650808 h 2790825"/>
                    <a:gd name="connsiteX317" fmla="*/ 2049780 w 3788092"/>
                    <a:gd name="connsiteY317" fmla="*/ 2641283 h 2790825"/>
                    <a:gd name="connsiteX318" fmla="*/ 1992630 w 3788092"/>
                    <a:gd name="connsiteY318" fmla="*/ 2629853 h 2790825"/>
                    <a:gd name="connsiteX319" fmla="*/ 1970723 w 3788092"/>
                    <a:gd name="connsiteY319" fmla="*/ 2602230 h 2790825"/>
                    <a:gd name="connsiteX320" fmla="*/ 1966913 w 3788092"/>
                    <a:gd name="connsiteY320" fmla="*/ 2572703 h 2790825"/>
                    <a:gd name="connsiteX321" fmla="*/ 1943100 w 3788092"/>
                    <a:gd name="connsiteY321" fmla="*/ 2584133 h 2790825"/>
                    <a:gd name="connsiteX322" fmla="*/ 1948815 w 3788092"/>
                    <a:gd name="connsiteY322" fmla="*/ 2594610 h 2790825"/>
                    <a:gd name="connsiteX323" fmla="*/ 1948815 w 3788092"/>
                    <a:gd name="connsiteY323" fmla="*/ 2616518 h 2790825"/>
                    <a:gd name="connsiteX324" fmla="*/ 1925002 w 3788092"/>
                    <a:gd name="connsiteY324" fmla="*/ 2653665 h 2790825"/>
                    <a:gd name="connsiteX325" fmla="*/ 1914525 w 3788092"/>
                    <a:gd name="connsiteY325" fmla="*/ 2651760 h 2790825"/>
                    <a:gd name="connsiteX326" fmla="*/ 1902143 w 3788092"/>
                    <a:gd name="connsiteY326" fmla="*/ 2659380 h 2790825"/>
                    <a:gd name="connsiteX327" fmla="*/ 1889760 w 3788092"/>
                    <a:gd name="connsiteY327" fmla="*/ 2661285 h 2790825"/>
                    <a:gd name="connsiteX328" fmla="*/ 1884045 w 3788092"/>
                    <a:gd name="connsiteY328" fmla="*/ 2651760 h 2790825"/>
                    <a:gd name="connsiteX329" fmla="*/ 1873568 w 3788092"/>
                    <a:gd name="connsiteY329" fmla="*/ 2653665 h 2790825"/>
                    <a:gd name="connsiteX330" fmla="*/ 1865948 w 3788092"/>
                    <a:gd name="connsiteY330" fmla="*/ 2663190 h 2790825"/>
                    <a:gd name="connsiteX331" fmla="*/ 1833563 w 3788092"/>
                    <a:gd name="connsiteY331" fmla="*/ 2675573 h 2790825"/>
                    <a:gd name="connsiteX332" fmla="*/ 1843088 w 3788092"/>
                    <a:gd name="connsiteY332" fmla="*/ 2682240 h 2790825"/>
                    <a:gd name="connsiteX333" fmla="*/ 1826895 w 3788092"/>
                    <a:gd name="connsiteY333" fmla="*/ 2691765 h 2790825"/>
                    <a:gd name="connsiteX334" fmla="*/ 1821180 w 3788092"/>
                    <a:gd name="connsiteY334" fmla="*/ 2700338 h 2790825"/>
                    <a:gd name="connsiteX335" fmla="*/ 1795463 w 3788092"/>
                    <a:gd name="connsiteY335" fmla="*/ 2714625 h 2790825"/>
                    <a:gd name="connsiteX336" fmla="*/ 1754505 w 3788092"/>
                    <a:gd name="connsiteY336" fmla="*/ 2751773 h 2790825"/>
                    <a:gd name="connsiteX337" fmla="*/ 1732598 w 3788092"/>
                    <a:gd name="connsiteY337" fmla="*/ 2762250 h 2790825"/>
                    <a:gd name="connsiteX338" fmla="*/ 1717357 w 3788092"/>
                    <a:gd name="connsiteY338" fmla="*/ 2773680 h 2790825"/>
                    <a:gd name="connsiteX339" fmla="*/ 1704023 w 3788092"/>
                    <a:gd name="connsiteY339" fmla="*/ 2773680 h 2790825"/>
                    <a:gd name="connsiteX340" fmla="*/ 1686878 w 3788092"/>
                    <a:gd name="connsiteY340" fmla="*/ 2782253 h 2790825"/>
                    <a:gd name="connsiteX341" fmla="*/ 1643063 w 3788092"/>
                    <a:gd name="connsiteY341" fmla="*/ 2790825 h 2790825"/>
                    <a:gd name="connsiteX342" fmla="*/ 1613535 w 3788092"/>
                    <a:gd name="connsiteY342" fmla="*/ 2787015 h 2790825"/>
                    <a:gd name="connsiteX343" fmla="*/ 1593532 w 3788092"/>
                    <a:gd name="connsiteY343" fmla="*/ 2790825 h 2790825"/>
                    <a:gd name="connsiteX344" fmla="*/ 1583055 w 3788092"/>
                    <a:gd name="connsiteY344" fmla="*/ 2784158 h 2790825"/>
                    <a:gd name="connsiteX345" fmla="*/ 1583055 w 3788092"/>
                    <a:gd name="connsiteY345" fmla="*/ 2773680 h 2790825"/>
                    <a:gd name="connsiteX346" fmla="*/ 1571625 w 3788092"/>
                    <a:gd name="connsiteY346" fmla="*/ 2772728 h 2790825"/>
                    <a:gd name="connsiteX347" fmla="*/ 1564005 w 3788092"/>
                    <a:gd name="connsiteY347" fmla="*/ 2784158 h 2790825"/>
                    <a:gd name="connsiteX348" fmla="*/ 1548765 w 3788092"/>
                    <a:gd name="connsiteY348" fmla="*/ 2780348 h 2790825"/>
                    <a:gd name="connsiteX349" fmla="*/ 1555432 w 3788092"/>
                    <a:gd name="connsiteY349" fmla="*/ 2757488 h 2790825"/>
                    <a:gd name="connsiteX350" fmla="*/ 1525905 w 3788092"/>
                    <a:gd name="connsiteY350" fmla="*/ 2756535 h 2790825"/>
                    <a:gd name="connsiteX351" fmla="*/ 1489710 w 3788092"/>
                    <a:gd name="connsiteY351" fmla="*/ 2741295 h 2790825"/>
                    <a:gd name="connsiteX352" fmla="*/ 1481138 w 3788092"/>
                    <a:gd name="connsiteY352" fmla="*/ 2733675 h 2790825"/>
                    <a:gd name="connsiteX353" fmla="*/ 1451610 w 3788092"/>
                    <a:gd name="connsiteY353" fmla="*/ 2721293 h 2790825"/>
                    <a:gd name="connsiteX354" fmla="*/ 1438275 w 3788092"/>
                    <a:gd name="connsiteY354" fmla="*/ 2707958 h 2790825"/>
                    <a:gd name="connsiteX355" fmla="*/ 1430655 w 3788092"/>
                    <a:gd name="connsiteY355" fmla="*/ 2692718 h 2790825"/>
                    <a:gd name="connsiteX356" fmla="*/ 1433513 w 3788092"/>
                    <a:gd name="connsiteY356" fmla="*/ 2658428 h 2790825"/>
                    <a:gd name="connsiteX357" fmla="*/ 1439228 w 3788092"/>
                    <a:gd name="connsiteY357" fmla="*/ 2653665 h 2790825"/>
                    <a:gd name="connsiteX358" fmla="*/ 1464945 w 3788092"/>
                    <a:gd name="connsiteY358" fmla="*/ 2661285 h 2790825"/>
                    <a:gd name="connsiteX359" fmla="*/ 1491615 w 3788092"/>
                    <a:gd name="connsiteY359" fmla="*/ 2673668 h 2790825"/>
                    <a:gd name="connsiteX360" fmla="*/ 1490663 w 3788092"/>
                    <a:gd name="connsiteY360" fmla="*/ 2662238 h 2790825"/>
                    <a:gd name="connsiteX361" fmla="*/ 1467803 w 3788092"/>
                    <a:gd name="connsiteY361" fmla="*/ 2646998 h 2790825"/>
                    <a:gd name="connsiteX362" fmla="*/ 1475423 w 3788092"/>
                    <a:gd name="connsiteY362" fmla="*/ 2629853 h 2790825"/>
                    <a:gd name="connsiteX363" fmla="*/ 1473518 w 3788092"/>
                    <a:gd name="connsiteY363" fmla="*/ 2614613 h 2790825"/>
                    <a:gd name="connsiteX364" fmla="*/ 1498282 w 3788092"/>
                    <a:gd name="connsiteY364" fmla="*/ 2594610 h 2790825"/>
                    <a:gd name="connsiteX365" fmla="*/ 1494473 w 3788092"/>
                    <a:gd name="connsiteY365" fmla="*/ 2587943 h 2790825"/>
                    <a:gd name="connsiteX366" fmla="*/ 1462088 w 3788092"/>
                    <a:gd name="connsiteY366" fmla="*/ 2606993 h 2790825"/>
                    <a:gd name="connsiteX367" fmla="*/ 1432560 w 3788092"/>
                    <a:gd name="connsiteY367" fmla="*/ 2615565 h 2790825"/>
                    <a:gd name="connsiteX368" fmla="*/ 1422082 w 3788092"/>
                    <a:gd name="connsiteY368" fmla="*/ 2626995 h 2790825"/>
                    <a:gd name="connsiteX369" fmla="*/ 1411605 w 3788092"/>
                    <a:gd name="connsiteY369" fmla="*/ 2632710 h 2790825"/>
                    <a:gd name="connsiteX370" fmla="*/ 1391603 w 3788092"/>
                    <a:gd name="connsiteY370" fmla="*/ 2632710 h 2790825"/>
                    <a:gd name="connsiteX371" fmla="*/ 1386840 w 3788092"/>
                    <a:gd name="connsiteY371" fmla="*/ 2624138 h 2790825"/>
                    <a:gd name="connsiteX372" fmla="*/ 1391603 w 3788092"/>
                    <a:gd name="connsiteY372" fmla="*/ 2592705 h 2790825"/>
                    <a:gd name="connsiteX373" fmla="*/ 1403032 w 3788092"/>
                    <a:gd name="connsiteY373" fmla="*/ 2566988 h 2790825"/>
                    <a:gd name="connsiteX374" fmla="*/ 1420178 w 3788092"/>
                    <a:gd name="connsiteY374" fmla="*/ 2557463 h 2790825"/>
                    <a:gd name="connsiteX375" fmla="*/ 1452563 w 3788092"/>
                    <a:gd name="connsiteY375" fmla="*/ 2564130 h 2790825"/>
                    <a:gd name="connsiteX376" fmla="*/ 1462088 w 3788092"/>
                    <a:gd name="connsiteY376" fmla="*/ 2554605 h 2790825"/>
                    <a:gd name="connsiteX377" fmla="*/ 1474470 w 3788092"/>
                    <a:gd name="connsiteY377" fmla="*/ 2552700 h 2790825"/>
                    <a:gd name="connsiteX378" fmla="*/ 1497330 w 3788092"/>
                    <a:gd name="connsiteY378" fmla="*/ 2541270 h 2790825"/>
                    <a:gd name="connsiteX379" fmla="*/ 1458278 w 3788092"/>
                    <a:gd name="connsiteY379" fmla="*/ 2546033 h 2790825"/>
                    <a:gd name="connsiteX380" fmla="*/ 1446848 w 3788092"/>
                    <a:gd name="connsiteY380" fmla="*/ 2536508 h 2790825"/>
                    <a:gd name="connsiteX381" fmla="*/ 1473518 w 3788092"/>
                    <a:gd name="connsiteY381" fmla="*/ 2513648 h 2790825"/>
                    <a:gd name="connsiteX382" fmla="*/ 1484948 w 3788092"/>
                    <a:gd name="connsiteY382" fmla="*/ 2500313 h 2790825"/>
                    <a:gd name="connsiteX383" fmla="*/ 1487805 w 3788092"/>
                    <a:gd name="connsiteY383" fmla="*/ 2486025 h 2790825"/>
                    <a:gd name="connsiteX384" fmla="*/ 1508760 w 3788092"/>
                    <a:gd name="connsiteY384" fmla="*/ 2469833 h 2790825"/>
                    <a:gd name="connsiteX385" fmla="*/ 1525905 w 3788092"/>
                    <a:gd name="connsiteY385" fmla="*/ 2462213 h 2790825"/>
                    <a:gd name="connsiteX386" fmla="*/ 1541145 w 3788092"/>
                    <a:gd name="connsiteY386" fmla="*/ 2467928 h 2790825"/>
                    <a:gd name="connsiteX387" fmla="*/ 1555432 w 3788092"/>
                    <a:gd name="connsiteY387" fmla="*/ 2449830 h 2790825"/>
                    <a:gd name="connsiteX388" fmla="*/ 1507807 w 3788092"/>
                    <a:gd name="connsiteY388" fmla="*/ 2460308 h 2790825"/>
                    <a:gd name="connsiteX389" fmla="*/ 1488757 w 3788092"/>
                    <a:gd name="connsiteY389" fmla="*/ 2470785 h 2790825"/>
                    <a:gd name="connsiteX390" fmla="*/ 1463040 w 3788092"/>
                    <a:gd name="connsiteY390" fmla="*/ 2497455 h 2790825"/>
                    <a:gd name="connsiteX391" fmla="*/ 1461135 w 3788092"/>
                    <a:gd name="connsiteY391" fmla="*/ 2507933 h 2790825"/>
                    <a:gd name="connsiteX392" fmla="*/ 1442085 w 3788092"/>
                    <a:gd name="connsiteY392" fmla="*/ 2516505 h 2790825"/>
                    <a:gd name="connsiteX393" fmla="*/ 1427798 w 3788092"/>
                    <a:gd name="connsiteY393" fmla="*/ 2530793 h 2790825"/>
                    <a:gd name="connsiteX394" fmla="*/ 1422082 w 3788092"/>
                    <a:gd name="connsiteY394" fmla="*/ 2542223 h 2790825"/>
                    <a:gd name="connsiteX395" fmla="*/ 1395413 w 3788092"/>
                    <a:gd name="connsiteY395" fmla="*/ 2560320 h 2790825"/>
                    <a:gd name="connsiteX396" fmla="*/ 1382078 w 3788092"/>
                    <a:gd name="connsiteY396" fmla="*/ 2563178 h 2790825"/>
                    <a:gd name="connsiteX397" fmla="*/ 1382078 w 3788092"/>
                    <a:gd name="connsiteY397" fmla="*/ 2540318 h 2790825"/>
                    <a:gd name="connsiteX398" fmla="*/ 1392555 w 3788092"/>
                    <a:gd name="connsiteY398" fmla="*/ 2521268 h 2790825"/>
                    <a:gd name="connsiteX399" fmla="*/ 1389698 w 3788092"/>
                    <a:gd name="connsiteY399" fmla="*/ 2506028 h 2790825"/>
                    <a:gd name="connsiteX400" fmla="*/ 1420178 w 3788092"/>
                    <a:gd name="connsiteY400" fmla="*/ 2507933 h 2790825"/>
                    <a:gd name="connsiteX401" fmla="*/ 1437323 w 3788092"/>
                    <a:gd name="connsiteY401" fmla="*/ 2496503 h 2790825"/>
                    <a:gd name="connsiteX402" fmla="*/ 1411605 w 3788092"/>
                    <a:gd name="connsiteY402" fmla="*/ 2496503 h 2790825"/>
                    <a:gd name="connsiteX403" fmla="*/ 1398270 w 3788092"/>
                    <a:gd name="connsiteY403" fmla="*/ 2489835 h 2790825"/>
                    <a:gd name="connsiteX404" fmla="*/ 1386840 w 3788092"/>
                    <a:gd name="connsiteY404" fmla="*/ 2475548 h 2790825"/>
                    <a:gd name="connsiteX405" fmla="*/ 1381125 w 3788092"/>
                    <a:gd name="connsiteY405" fmla="*/ 2457450 h 2790825"/>
                    <a:gd name="connsiteX406" fmla="*/ 1391603 w 3788092"/>
                    <a:gd name="connsiteY406" fmla="*/ 2440305 h 2790825"/>
                    <a:gd name="connsiteX407" fmla="*/ 1370648 w 3788092"/>
                    <a:gd name="connsiteY407" fmla="*/ 2421255 h 2790825"/>
                    <a:gd name="connsiteX408" fmla="*/ 1365885 w 3788092"/>
                    <a:gd name="connsiteY408" fmla="*/ 2400300 h 2790825"/>
                    <a:gd name="connsiteX409" fmla="*/ 1364932 w 3788092"/>
                    <a:gd name="connsiteY409" fmla="*/ 2376488 h 2790825"/>
                    <a:gd name="connsiteX410" fmla="*/ 1373505 w 3788092"/>
                    <a:gd name="connsiteY410" fmla="*/ 2371725 h 2790825"/>
                    <a:gd name="connsiteX411" fmla="*/ 1393507 w 3788092"/>
                    <a:gd name="connsiteY411" fmla="*/ 2375535 h 2790825"/>
                    <a:gd name="connsiteX412" fmla="*/ 1416368 w 3788092"/>
                    <a:gd name="connsiteY412" fmla="*/ 2373630 h 2790825"/>
                    <a:gd name="connsiteX413" fmla="*/ 1465898 w 3788092"/>
                    <a:gd name="connsiteY413" fmla="*/ 2365058 h 2790825"/>
                    <a:gd name="connsiteX414" fmla="*/ 1498282 w 3788092"/>
                    <a:gd name="connsiteY414" fmla="*/ 2370773 h 2790825"/>
                    <a:gd name="connsiteX415" fmla="*/ 1511618 w 3788092"/>
                    <a:gd name="connsiteY415" fmla="*/ 2369820 h 2790825"/>
                    <a:gd name="connsiteX416" fmla="*/ 1530668 w 3788092"/>
                    <a:gd name="connsiteY416" fmla="*/ 2363153 h 2790825"/>
                    <a:gd name="connsiteX417" fmla="*/ 1548765 w 3788092"/>
                    <a:gd name="connsiteY417" fmla="*/ 2362200 h 2790825"/>
                    <a:gd name="connsiteX418" fmla="*/ 1569720 w 3788092"/>
                    <a:gd name="connsiteY418" fmla="*/ 2373630 h 2790825"/>
                    <a:gd name="connsiteX419" fmla="*/ 1576388 w 3788092"/>
                    <a:gd name="connsiteY419" fmla="*/ 2368868 h 2790825"/>
                    <a:gd name="connsiteX420" fmla="*/ 1627823 w 3788092"/>
                    <a:gd name="connsiteY420" fmla="*/ 2357438 h 2790825"/>
                    <a:gd name="connsiteX421" fmla="*/ 1599248 w 3788092"/>
                    <a:gd name="connsiteY421" fmla="*/ 2343150 h 2790825"/>
                    <a:gd name="connsiteX422" fmla="*/ 1600200 w 3788092"/>
                    <a:gd name="connsiteY422" fmla="*/ 2356485 h 2790825"/>
                    <a:gd name="connsiteX423" fmla="*/ 1565910 w 3788092"/>
                    <a:gd name="connsiteY423" fmla="*/ 2359343 h 2790825"/>
                    <a:gd name="connsiteX424" fmla="*/ 1535430 w 3788092"/>
                    <a:gd name="connsiteY424" fmla="*/ 2353628 h 2790825"/>
                    <a:gd name="connsiteX425" fmla="*/ 1523048 w 3788092"/>
                    <a:gd name="connsiteY425" fmla="*/ 2347913 h 2790825"/>
                    <a:gd name="connsiteX426" fmla="*/ 1518285 w 3788092"/>
                    <a:gd name="connsiteY426" fmla="*/ 2360295 h 2790825"/>
                    <a:gd name="connsiteX427" fmla="*/ 1507807 w 3788092"/>
                    <a:gd name="connsiteY427" fmla="*/ 2363153 h 2790825"/>
                    <a:gd name="connsiteX428" fmla="*/ 1475423 w 3788092"/>
                    <a:gd name="connsiteY428" fmla="*/ 2358390 h 2790825"/>
                    <a:gd name="connsiteX429" fmla="*/ 1430655 w 3788092"/>
                    <a:gd name="connsiteY429" fmla="*/ 2361248 h 2790825"/>
                    <a:gd name="connsiteX430" fmla="*/ 1410653 w 3788092"/>
                    <a:gd name="connsiteY430" fmla="*/ 2367915 h 2790825"/>
                    <a:gd name="connsiteX431" fmla="*/ 1397318 w 3788092"/>
                    <a:gd name="connsiteY431" fmla="*/ 2366963 h 2790825"/>
                    <a:gd name="connsiteX432" fmla="*/ 1373505 w 3788092"/>
                    <a:gd name="connsiteY432" fmla="*/ 2355533 h 2790825"/>
                    <a:gd name="connsiteX433" fmla="*/ 1364932 w 3788092"/>
                    <a:gd name="connsiteY433" fmla="*/ 2346960 h 2790825"/>
                    <a:gd name="connsiteX434" fmla="*/ 1362075 w 3788092"/>
                    <a:gd name="connsiteY434" fmla="*/ 2322195 h 2790825"/>
                    <a:gd name="connsiteX435" fmla="*/ 1388745 w 3788092"/>
                    <a:gd name="connsiteY435" fmla="*/ 2319338 h 2790825"/>
                    <a:gd name="connsiteX436" fmla="*/ 1370648 w 3788092"/>
                    <a:gd name="connsiteY436" fmla="*/ 2297430 h 2790825"/>
                    <a:gd name="connsiteX437" fmla="*/ 1352550 w 3788092"/>
                    <a:gd name="connsiteY437" fmla="*/ 2285048 h 2790825"/>
                    <a:gd name="connsiteX438" fmla="*/ 1350645 w 3788092"/>
                    <a:gd name="connsiteY438" fmla="*/ 2271713 h 2790825"/>
                    <a:gd name="connsiteX439" fmla="*/ 1357313 w 3788092"/>
                    <a:gd name="connsiteY439" fmla="*/ 2259330 h 2790825"/>
                    <a:gd name="connsiteX440" fmla="*/ 1371600 w 3788092"/>
                    <a:gd name="connsiteY440" fmla="*/ 2261235 h 2790825"/>
                    <a:gd name="connsiteX441" fmla="*/ 1407795 w 3788092"/>
                    <a:gd name="connsiteY441" fmla="*/ 2260283 h 2790825"/>
                    <a:gd name="connsiteX442" fmla="*/ 1464945 w 3788092"/>
                    <a:gd name="connsiteY442" fmla="*/ 2274570 h 2790825"/>
                    <a:gd name="connsiteX443" fmla="*/ 1511618 w 3788092"/>
                    <a:gd name="connsiteY443" fmla="*/ 2271713 h 2790825"/>
                    <a:gd name="connsiteX444" fmla="*/ 1503998 w 3788092"/>
                    <a:gd name="connsiteY444" fmla="*/ 2265998 h 2790825"/>
                    <a:gd name="connsiteX445" fmla="*/ 1476375 w 3788092"/>
                    <a:gd name="connsiteY445" fmla="*/ 2265998 h 2790825"/>
                    <a:gd name="connsiteX446" fmla="*/ 1407795 w 3788092"/>
                    <a:gd name="connsiteY446" fmla="*/ 2253615 h 2790825"/>
                    <a:gd name="connsiteX447" fmla="*/ 1386840 w 3788092"/>
                    <a:gd name="connsiteY447" fmla="*/ 2254568 h 2790825"/>
                    <a:gd name="connsiteX448" fmla="*/ 1375410 w 3788092"/>
                    <a:gd name="connsiteY448" fmla="*/ 2251710 h 2790825"/>
                    <a:gd name="connsiteX449" fmla="*/ 1368743 w 3788092"/>
                    <a:gd name="connsiteY449" fmla="*/ 2242185 h 2790825"/>
                    <a:gd name="connsiteX450" fmla="*/ 1372553 w 3788092"/>
                    <a:gd name="connsiteY450" fmla="*/ 2224088 h 2790825"/>
                    <a:gd name="connsiteX451" fmla="*/ 1383030 w 3788092"/>
                    <a:gd name="connsiteY451" fmla="*/ 2220278 h 2790825"/>
                    <a:gd name="connsiteX452" fmla="*/ 1394460 w 3788092"/>
                    <a:gd name="connsiteY452" fmla="*/ 2225993 h 2790825"/>
                    <a:gd name="connsiteX453" fmla="*/ 1412557 w 3788092"/>
                    <a:gd name="connsiteY453" fmla="*/ 2204085 h 2790825"/>
                    <a:gd name="connsiteX454" fmla="*/ 1430655 w 3788092"/>
                    <a:gd name="connsiteY454" fmla="*/ 2194560 h 2790825"/>
                    <a:gd name="connsiteX455" fmla="*/ 1449705 w 3788092"/>
                    <a:gd name="connsiteY455" fmla="*/ 2189798 h 2790825"/>
                    <a:gd name="connsiteX456" fmla="*/ 1468755 w 3788092"/>
                    <a:gd name="connsiteY456" fmla="*/ 2199323 h 2790825"/>
                    <a:gd name="connsiteX457" fmla="*/ 1481138 w 3788092"/>
                    <a:gd name="connsiteY457" fmla="*/ 2198370 h 2790825"/>
                    <a:gd name="connsiteX458" fmla="*/ 1519238 w 3788092"/>
                    <a:gd name="connsiteY458" fmla="*/ 2190750 h 2790825"/>
                    <a:gd name="connsiteX459" fmla="*/ 1506855 w 3788092"/>
                    <a:gd name="connsiteY459" fmla="*/ 2185988 h 2790825"/>
                    <a:gd name="connsiteX460" fmla="*/ 1473518 w 3788092"/>
                    <a:gd name="connsiteY460" fmla="*/ 2190750 h 2790825"/>
                    <a:gd name="connsiteX461" fmla="*/ 1471613 w 3788092"/>
                    <a:gd name="connsiteY461" fmla="*/ 2185988 h 2790825"/>
                    <a:gd name="connsiteX462" fmla="*/ 1494473 w 3788092"/>
                    <a:gd name="connsiteY462" fmla="*/ 2164080 h 2790825"/>
                    <a:gd name="connsiteX463" fmla="*/ 1534478 w 3788092"/>
                    <a:gd name="connsiteY463" fmla="*/ 2160270 h 2790825"/>
                    <a:gd name="connsiteX464" fmla="*/ 1590675 w 3788092"/>
                    <a:gd name="connsiteY464" fmla="*/ 2165033 h 2790825"/>
                    <a:gd name="connsiteX465" fmla="*/ 1612582 w 3788092"/>
                    <a:gd name="connsiteY465" fmla="*/ 2172653 h 2790825"/>
                    <a:gd name="connsiteX466" fmla="*/ 1616393 w 3788092"/>
                    <a:gd name="connsiteY466" fmla="*/ 2155508 h 2790825"/>
                    <a:gd name="connsiteX467" fmla="*/ 1666875 w 3788092"/>
                    <a:gd name="connsiteY467" fmla="*/ 2142173 h 2790825"/>
                    <a:gd name="connsiteX468" fmla="*/ 1602105 w 3788092"/>
                    <a:gd name="connsiteY468" fmla="*/ 2149793 h 2790825"/>
                    <a:gd name="connsiteX469" fmla="*/ 1584960 w 3788092"/>
                    <a:gd name="connsiteY469" fmla="*/ 2145030 h 2790825"/>
                    <a:gd name="connsiteX470" fmla="*/ 1538288 w 3788092"/>
                    <a:gd name="connsiteY470" fmla="*/ 2151698 h 2790825"/>
                    <a:gd name="connsiteX471" fmla="*/ 1537335 w 3788092"/>
                    <a:gd name="connsiteY471" fmla="*/ 2139315 h 2790825"/>
                    <a:gd name="connsiteX472" fmla="*/ 1559243 w 3788092"/>
                    <a:gd name="connsiteY472" fmla="*/ 2117408 h 2790825"/>
                    <a:gd name="connsiteX473" fmla="*/ 1598295 w 3788092"/>
                    <a:gd name="connsiteY473" fmla="*/ 2108835 h 2790825"/>
                    <a:gd name="connsiteX474" fmla="*/ 1616393 w 3788092"/>
                    <a:gd name="connsiteY474" fmla="*/ 2098358 h 2790825"/>
                    <a:gd name="connsiteX475" fmla="*/ 1645920 w 3788092"/>
                    <a:gd name="connsiteY475" fmla="*/ 2096453 h 2790825"/>
                    <a:gd name="connsiteX476" fmla="*/ 1670685 w 3788092"/>
                    <a:gd name="connsiteY476" fmla="*/ 2099310 h 2790825"/>
                    <a:gd name="connsiteX477" fmla="*/ 1682115 w 3788092"/>
                    <a:gd name="connsiteY477" fmla="*/ 2111693 h 2790825"/>
                    <a:gd name="connsiteX478" fmla="*/ 1724025 w 3788092"/>
                    <a:gd name="connsiteY478" fmla="*/ 2127885 h 2790825"/>
                    <a:gd name="connsiteX479" fmla="*/ 1675448 w 3788092"/>
                    <a:gd name="connsiteY479" fmla="*/ 2089785 h 2790825"/>
                    <a:gd name="connsiteX480" fmla="*/ 1685925 w 3788092"/>
                    <a:gd name="connsiteY480" fmla="*/ 2073593 h 2790825"/>
                    <a:gd name="connsiteX481" fmla="*/ 1717357 w 3788092"/>
                    <a:gd name="connsiteY481" fmla="*/ 2069783 h 2790825"/>
                    <a:gd name="connsiteX482" fmla="*/ 1717357 w 3788092"/>
                    <a:gd name="connsiteY482" fmla="*/ 2054543 h 2790825"/>
                    <a:gd name="connsiteX483" fmla="*/ 1696403 w 3788092"/>
                    <a:gd name="connsiteY483" fmla="*/ 2051685 h 2790825"/>
                    <a:gd name="connsiteX484" fmla="*/ 1696403 w 3788092"/>
                    <a:gd name="connsiteY484" fmla="*/ 2040255 h 2790825"/>
                    <a:gd name="connsiteX485" fmla="*/ 1714500 w 3788092"/>
                    <a:gd name="connsiteY485" fmla="*/ 2031683 h 2790825"/>
                    <a:gd name="connsiteX486" fmla="*/ 1741170 w 3788092"/>
                    <a:gd name="connsiteY486" fmla="*/ 2025015 h 2790825"/>
                    <a:gd name="connsiteX487" fmla="*/ 1771650 w 3788092"/>
                    <a:gd name="connsiteY487" fmla="*/ 2032635 h 2790825"/>
                    <a:gd name="connsiteX488" fmla="*/ 1765935 w 3788092"/>
                    <a:gd name="connsiteY488" fmla="*/ 2045018 h 2790825"/>
                    <a:gd name="connsiteX489" fmla="*/ 1774507 w 3788092"/>
                    <a:gd name="connsiteY489" fmla="*/ 2049780 h 2790825"/>
                    <a:gd name="connsiteX490" fmla="*/ 1790700 w 3788092"/>
                    <a:gd name="connsiteY490" fmla="*/ 2035493 h 2790825"/>
                    <a:gd name="connsiteX491" fmla="*/ 1827848 w 3788092"/>
                    <a:gd name="connsiteY491" fmla="*/ 2027873 h 2790825"/>
                    <a:gd name="connsiteX492" fmla="*/ 1854518 w 3788092"/>
                    <a:gd name="connsiteY492" fmla="*/ 2047875 h 2790825"/>
                    <a:gd name="connsiteX493" fmla="*/ 1859280 w 3788092"/>
                    <a:gd name="connsiteY493" fmla="*/ 2058353 h 2790825"/>
                    <a:gd name="connsiteX494" fmla="*/ 1869757 w 3788092"/>
                    <a:gd name="connsiteY494" fmla="*/ 2053590 h 2790825"/>
                    <a:gd name="connsiteX495" fmla="*/ 1895475 w 3788092"/>
                    <a:gd name="connsiteY495" fmla="*/ 2048828 h 2790825"/>
                    <a:gd name="connsiteX496" fmla="*/ 1921193 w 3788092"/>
                    <a:gd name="connsiteY496" fmla="*/ 2051685 h 2790825"/>
                    <a:gd name="connsiteX497" fmla="*/ 1938338 w 3788092"/>
                    <a:gd name="connsiteY497" fmla="*/ 2049780 h 2790825"/>
                    <a:gd name="connsiteX498" fmla="*/ 1928813 w 3788092"/>
                    <a:gd name="connsiteY498" fmla="*/ 2037398 h 2790825"/>
                    <a:gd name="connsiteX499" fmla="*/ 1932623 w 3788092"/>
                    <a:gd name="connsiteY499" fmla="*/ 2027873 h 2790825"/>
                    <a:gd name="connsiteX500" fmla="*/ 1955482 w 3788092"/>
                    <a:gd name="connsiteY500" fmla="*/ 2018348 h 2790825"/>
                    <a:gd name="connsiteX501" fmla="*/ 1971675 w 3788092"/>
                    <a:gd name="connsiteY501" fmla="*/ 2015490 h 2790825"/>
                    <a:gd name="connsiteX502" fmla="*/ 1996440 w 3788092"/>
                    <a:gd name="connsiteY502" fmla="*/ 2004060 h 2790825"/>
                    <a:gd name="connsiteX503" fmla="*/ 1988820 w 3788092"/>
                    <a:gd name="connsiteY503" fmla="*/ 1994535 h 2790825"/>
                    <a:gd name="connsiteX504" fmla="*/ 1975485 w 3788092"/>
                    <a:gd name="connsiteY504" fmla="*/ 1991678 h 2790825"/>
                    <a:gd name="connsiteX505" fmla="*/ 2003107 w 3788092"/>
                    <a:gd name="connsiteY505" fmla="*/ 1977390 h 2790825"/>
                    <a:gd name="connsiteX506" fmla="*/ 1986915 w 3788092"/>
                    <a:gd name="connsiteY506" fmla="*/ 1971675 h 2790825"/>
                    <a:gd name="connsiteX507" fmla="*/ 1964055 w 3788092"/>
                    <a:gd name="connsiteY507" fmla="*/ 1980248 h 2790825"/>
                    <a:gd name="connsiteX508" fmla="*/ 1948815 w 3788092"/>
                    <a:gd name="connsiteY508" fmla="*/ 1988820 h 2790825"/>
                    <a:gd name="connsiteX509" fmla="*/ 1963102 w 3788092"/>
                    <a:gd name="connsiteY509" fmla="*/ 1998345 h 2790825"/>
                    <a:gd name="connsiteX510" fmla="*/ 1952625 w 3788092"/>
                    <a:gd name="connsiteY510" fmla="*/ 2008823 h 2790825"/>
                    <a:gd name="connsiteX511" fmla="*/ 1894523 w 3788092"/>
                    <a:gd name="connsiteY511" fmla="*/ 2035493 h 2790825"/>
                    <a:gd name="connsiteX512" fmla="*/ 1865948 w 3788092"/>
                    <a:gd name="connsiteY512" fmla="*/ 2043113 h 2790825"/>
                    <a:gd name="connsiteX513" fmla="*/ 1852613 w 3788092"/>
                    <a:gd name="connsiteY513" fmla="*/ 2042160 h 2790825"/>
                    <a:gd name="connsiteX514" fmla="*/ 1834515 w 3788092"/>
                    <a:gd name="connsiteY514" fmla="*/ 2018348 h 2790825"/>
                    <a:gd name="connsiteX515" fmla="*/ 1814513 w 3788092"/>
                    <a:gd name="connsiteY515" fmla="*/ 2017395 h 2790825"/>
                    <a:gd name="connsiteX516" fmla="*/ 1826895 w 3788092"/>
                    <a:gd name="connsiteY516" fmla="*/ 1996440 h 2790825"/>
                    <a:gd name="connsiteX517" fmla="*/ 1842135 w 3788092"/>
                    <a:gd name="connsiteY517" fmla="*/ 1988820 h 2790825"/>
                    <a:gd name="connsiteX518" fmla="*/ 1855470 w 3788092"/>
                    <a:gd name="connsiteY518" fmla="*/ 1966913 h 2790825"/>
                    <a:gd name="connsiteX519" fmla="*/ 1877378 w 3788092"/>
                    <a:gd name="connsiteY519" fmla="*/ 1954530 h 2790825"/>
                    <a:gd name="connsiteX520" fmla="*/ 1907857 w 3788092"/>
                    <a:gd name="connsiteY520" fmla="*/ 1923098 h 2790825"/>
                    <a:gd name="connsiteX521" fmla="*/ 1934527 w 3788092"/>
                    <a:gd name="connsiteY521" fmla="*/ 1912620 h 2790825"/>
                    <a:gd name="connsiteX522" fmla="*/ 1943100 w 3788092"/>
                    <a:gd name="connsiteY522" fmla="*/ 1902143 h 2790825"/>
                    <a:gd name="connsiteX523" fmla="*/ 1971675 w 3788092"/>
                    <a:gd name="connsiteY523" fmla="*/ 1887855 h 2790825"/>
                    <a:gd name="connsiteX524" fmla="*/ 2000250 w 3788092"/>
                    <a:gd name="connsiteY524" fmla="*/ 1879283 h 2790825"/>
                    <a:gd name="connsiteX525" fmla="*/ 2003107 w 3788092"/>
                    <a:gd name="connsiteY525" fmla="*/ 1869758 h 2790825"/>
                    <a:gd name="connsiteX526" fmla="*/ 1977390 w 3788092"/>
                    <a:gd name="connsiteY526" fmla="*/ 1878330 h 2790825"/>
                    <a:gd name="connsiteX527" fmla="*/ 1981200 w 3788092"/>
                    <a:gd name="connsiteY527" fmla="*/ 1858328 h 2790825"/>
                    <a:gd name="connsiteX528" fmla="*/ 1994535 w 3788092"/>
                    <a:gd name="connsiteY528" fmla="*/ 1848803 h 2790825"/>
                    <a:gd name="connsiteX529" fmla="*/ 2059305 w 3788092"/>
                    <a:gd name="connsiteY529" fmla="*/ 1822133 h 2790825"/>
                    <a:gd name="connsiteX530" fmla="*/ 2074545 w 3788092"/>
                    <a:gd name="connsiteY530" fmla="*/ 1834515 h 2790825"/>
                    <a:gd name="connsiteX531" fmla="*/ 2094548 w 3788092"/>
                    <a:gd name="connsiteY531" fmla="*/ 1832610 h 2790825"/>
                    <a:gd name="connsiteX532" fmla="*/ 2116455 w 3788092"/>
                    <a:gd name="connsiteY532" fmla="*/ 1817370 h 2790825"/>
                    <a:gd name="connsiteX533" fmla="*/ 2113598 w 3788092"/>
                    <a:gd name="connsiteY533" fmla="*/ 1810703 h 2790825"/>
                    <a:gd name="connsiteX534" fmla="*/ 2093595 w 3788092"/>
                    <a:gd name="connsiteY534" fmla="*/ 1820228 h 2790825"/>
                    <a:gd name="connsiteX535" fmla="*/ 2079307 w 3788092"/>
                    <a:gd name="connsiteY535" fmla="*/ 1820228 h 2790825"/>
                    <a:gd name="connsiteX536" fmla="*/ 2075498 w 3788092"/>
                    <a:gd name="connsiteY536" fmla="*/ 1814513 h 2790825"/>
                    <a:gd name="connsiteX537" fmla="*/ 2055495 w 3788092"/>
                    <a:gd name="connsiteY537" fmla="*/ 1809750 h 2790825"/>
                    <a:gd name="connsiteX538" fmla="*/ 2052638 w 3788092"/>
                    <a:gd name="connsiteY538" fmla="*/ 1798320 h 2790825"/>
                    <a:gd name="connsiteX539" fmla="*/ 2065020 w 3788092"/>
                    <a:gd name="connsiteY539" fmla="*/ 1771650 h 2790825"/>
                    <a:gd name="connsiteX540" fmla="*/ 2097405 w 3788092"/>
                    <a:gd name="connsiteY540" fmla="*/ 1740218 h 2790825"/>
                    <a:gd name="connsiteX541" fmla="*/ 2102168 w 3788092"/>
                    <a:gd name="connsiteY541" fmla="*/ 1727835 h 2790825"/>
                    <a:gd name="connsiteX542" fmla="*/ 2114550 w 3788092"/>
                    <a:gd name="connsiteY542" fmla="*/ 1721168 h 2790825"/>
                    <a:gd name="connsiteX543" fmla="*/ 2130743 w 3788092"/>
                    <a:gd name="connsiteY543" fmla="*/ 1723073 h 2790825"/>
                    <a:gd name="connsiteX544" fmla="*/ 2128838 w 3788092"/>
                    <a:gd name="connsiteY544" fmla="*/ 1712595 h 2790825"/>
                    <a:gd name="connsiteX545" fmla="*/ 2108835 w 3788092"/>
                    <a:gd name="connsiteY545" fmla="*/ 1702118 h 2790825"/>
                    <a:gd name="connsiteX546" fmla="*/ 2167890 w 3788092"/>
                    <a:gd name="connsiteY546" fmla="*/ 1691640 h 2790825"/>
                    <a:gd name="connsiteX547" fmla="*/ 2196465 w 3788092"/>
                    <a:gd name="connsiteY547" fmla="*/ 1691640 h 2790825"/>
                    <a:gd name="connsiteX548" fmla="*/ 2219325 w 3788092"/>
                    <a:gd name="connsiteY548" fmla="*/ 1683068 h 2790825"/>
                    <a:gd name="connsiteX549" fmla="*/ 2224088 w 3788092"/>
                    <a:gd name="connsiteY549" fmla="*/ 1673543 h 2790825"/>
                    <a:gd name="connsiteX550" fmla="*/ 2163127 w 3788092"/>
                    <a:gd name="connsiteY550" fmla="*/ 1684020 h 2790825"/>
                    <a:gd name="connsiteX551" fmla="*/ 2140268 w 3788092"/>
                    <a:gd name="connsiteY551" fmla="*/ 1684973 h 2790825"/>
                    <a:gd name="connsiteX552" fmla="*/ 2132648 w 3788092"/>
                    <a:gd name="connsiteY552" fmla="*/ 1659255 h 2790825"/>
                    <a:gd name="connsiteX553" fmla="*/ 2134552 w 3788092"/>
                    <a:gd name="connsiteY553" fmla="*/ 1644968 h 2790825"/>
                    <a:gd name="connsiteX554" fmla="*/ 2152650 w 3788092"/>
                    <a:gd name="connsiteY554" fmla="*/ 1624013 h 2790825"/>
                    <a:gd name="connsiteX555" fmla="*/ 2165985 w 3788092"/>
                    <a:gd name="connsiteY555" fmla="*/ 1622108 h 2790825"/>
                    <a:gd name="connsiteX556" fmla="*/ 2182177 w 3788092"/>
                    <a:gd name="connsiteY556" fmla="*/ 1611630 h 2790825"/>
                    <a:gd name="connsiteX557" fmla="*/ 2183130 w 3788092"/>
                    <a:gd name="connsiteY557" fmla="*/ 1597343 h 2790825"/>
                    <a:gd name="connsiteX558" fmla="*/ 2205038 w 3788092"/>
                    <a:gd name="connsiteY558" fmla="*/ 1589723 h 2790825"/>
                    <a:gd name="connsiteX559" fmla="*/ 2225040 w 3788092"/>
                    <a:gd name="connsiteY559" fmla="*/ 1569720 h 2790825"/>
                    <a:gd name="connsiteX560" fmla="*/ 2246948 w 3788092"/>
                    <a:gd name="connsiteY560" fmla="*/ 1564958 h 2790825"/>
                    <a:gd name="connsiteX561" fmla="*/ 2260283 w 3788092"/>
                    <a:gd name="connsiteY561" fmla="*/ 1566863 h 2790825"/>
                    <a:gd name="connsiteX562" fmla="*/ 2288858 w 3788092"/>
                    <a:gd name="connsiteY562" fmla="*/ 1560195 h 2790825"/>
                    <a:gd name="connsiteX563" fmla="*/ 2351723 w 3788092"/>
                    <a:gd name="connsiteY563" fmla="*/ 1559243 h 2790825"/>
                    <a:gd name="connsiteX564" fmla="*/ 2352675 w 3788092"/>
                    <a:gd name="connsiteY564" fmla="*/ 1553528 h 2790825"/>
                    <a:gd name="connsiteX565" fmla="*/ 2292668 w 3788092"/>
                    <a:gd name="connsiteY565" fmla="*/ 1550670 h 2790825"/>
                    <a:gd name="connsiteX566" fmla="*/ 2259330 w 3788092"/>
                    <a:gd name="connsiteY566" fmla="*/ 1552575 h 2790825"/>
                    <a:gd name="connsiteX567" fmla="*/ 2255520 w 3788092"/>
                    <a:gd name="connsiteY567" fmla="*/ 1546860 h 2790825"/>
                    <a:gd name="connsiteX568" fmla="*/ 2282190 w 3788092"/>
                    <a:gd name="connsiteY568" fmla="*/ 1521143 h 2790825"/>
                    <a:gd name="connsiteX569" fmla="*/ 2301240 w 3788092"/>
                    <a:gd name="connsiteY569" fmla="*/ 1511618 h 2790825"/>
                    <a:gd name="connsiteX570" fmla="*/ 2317433 w 3788092"/>
                    <a:gd name="connsiteY570" fmla="*/ 1513523 h 2790825"/>
                    <a:gd name="connsiteX571" fmla="*/ 2334577 w 3788092"/>
                    <a:gd name="connsiteY571" fmla="*/ 1523048 h 2790825"/>
                    <a:gd name="connsiteX572" fmla="*/ 2340293 w 3788092"/>
                    <a:gd name="connsiteY572" fmla="*/ 1515428 h 2790825"/>
                    <a:gd name="connsiteX573" fmla="*/ 2325052 w 3788092"/>
                    <a:gd name="connsiteY573" fmla="*/ 1501140 h 2790825"/>
                    <a:gd name="connsiteX574" fmla="*/ 2331720 w 3788092"/>
                    <a:gd name="connsiteY574" fmla="*/ 1486853 h 2790825"/>
                    <a:gd name="connsiteX575" fmla="*/ 2306955 w 3788092"/>
                    <a:gd name="connsiteY575" fmla="*/ 1497330 h 2790825"/>
                    <a:gd name="connsiteX576" fmla="*/ 2289810 w 3788092"/>
                    <a:gd name="connsiteY576" fmla="*/ 1500188 h 2790825"/>
                    <a:gd name="connsiteX577" fmla="*/ 2281238 w 3788092"/>
                    <a:gd name="connsiteY577" fmla="*/ 1481138 h 2790825"/>
                    <a:gd name="connsiteX578" fmla="*/ 2303145 w 3788092"/>
                    <a:gd name="connsiteY578" fmla="*/ 1462088 h 2790825"/>
                    <a:gd name="connsiteX579" fmla="*/ 2325052 w 3788092"/>
                    <a:gd name="connsiteY579" fmla="*/ 1462088 h 2790825"/>
                    <a:gd name="connsiteX580" fmla="*/ 2327910 w 3788092"/>
                    <a:gd name="connsiteY580" fmla="*/ 1447800 h 2790825"/>
                    <a:gd name="connsiteX581" fmla="*/ 2359343 w 3788092"/>
                    <a:gd name="connsiteY581" fmla="*/ 1435418 h 2790825"/>
                    <a:gd name="connsiteX582" fmla="*/ 2377440 w 3788092"/>
                    <a:gd name="connsiteY582" fmla="*/ 1433513 h 2790825"/>
                    <a:gd name="connsiteX583" fmla="*/ 2391727 w 3788092"/>
                    <a:gd name="connsiteY583" fmla="*/ 1427798 h 2790825"/>
                    <a:gd name="connsiteX584" fmla="*/ 2397443 w 3788092"/>
                    <a:gd name="connsiteY584" fmla="*/ 1431608 h 2790825"/>
                    <a:gd name="connsiteX585" fmla="*/ 2406015 w 3788092"/>
                    <a:gd name="connsiteY585" fmla="*/ 1453515 h 2790825"/>
                    <a:gd name="connsiteX586" fmla="*/ 2420302 w 3788092"/>
                    <a:gd name="connsiteY586" fmla="*/ 1456373 h 2790825"/>
                    <a:gd name="connsiteX587" fmla="*/ 2429827 w 3788092"/>
                    <a:gd name="connsiteY587" fmla="*/ 1448753 h 2790825"/>
                    <a:gd name="connsiteX588" fmla="*/ 2417445 w 3788092"/>
                    <a:gd name="connsiteY588" fmla="*/ 1438275 h 2790825"/>
                    <a:gd name="connsiteX589" fmla="*/ 2406968 w 3788092"/>
                    <a:gd name="connsiteY589" fmla="*/ 1421130 h 2790825"/>
                    <a:gd name="connsiteX590" fmla="*/ 2426018 w 3788092"/>
                    <a:gd name="connsiteY590" fmla="*/ 1406843 h 2790825"/>
                    <a:gd name="connsiteX591" fmla="*/ 2447925 w 3788092"/>
                    <a:gd name="connsiteY591" fmla="*/ 1404938 h 2790825"/>
                    <a:gd name="connsiteX592" fmla="*/ 2472690 w 3788092"/>
                    <a:gd name="connsiteY592" fmla="*/ 1411605 h 2790825"/>
                    <a:gd name="connsiteX593" fmla="*/ 2494598 w 3788092"/>
                    <a:gd name="connsiteY593" fmla="*/ 1409700 h 2790825"/>
                    <a:gd name="connsiteX594" fmla="*/ 2503170 w 3788092"/>
                    <a:gd name="connsiteY594" fmla="*/ 1398270 h 2790825"/>
                    <a:gd name="connsiteX595" fmla="*/ 2443163 w 3788092"/>
                    <a:gd name="connsiteY595" fmla="*/ 1397318 h 2790825"/>
                    <a:gd name="connsiteX596" fmla="*/ 2435543 w 3788092"/>
                    <a:gd name="connsiteY596" fmla="*/ 1388745 h 2790825"/>
                    <a:gd name="connsiteX597" fmla="*/ 2446973 w 3788092"/>
                    <a:gd name="connsiteY597" fmla="*/ 1377315 h 2790825"/>
                    <a:gd name="connsiteX598" fmla="*/ 2467927 w 3788092"/>
                    <a:gd name="connsiteY598" fmla="*/ 1369695 h 2790825"/>
                    <a:gd name="connsiteX599" fmla="*/ 2491740 w 3788092"/>
                    <a:gd name="connsiteY599" fmla="*/ 1368743 h 2790825"/>
                    <a:gd name="connsiteX600" fmla="*/ 2514600 w 3788092"/>
                    <a:gd name="connsiteY600" fmla="*/ 1355408 h 2790825"/>
                    <a:gd name="connsiteX601" fmla="*/ 2523173 w 3788092"/>
                    <a:gd name="connsiteY601" fmla="*/ 1344930 h 2790825"/>
                    <a:gd name="connsiteX602" fmla="*/ 2526030 w 3788092"/>
                    <a:gd name="connsiteY602" fmla="*/ 1329690 h 2790825"/>
                    <a:gd name="connsiteX603" fmla="*/ 2539365 w 3788092"/>
                    <a:gd name="connsiteY603" fmla="*/ 1317308 h 2790825"/>
                    <a:gd name="connsiteX604" fmla="*/ 2576513 w 3788092"/>
                    <a:gd name="connsiteY604" fmla="*/ 1309688 h 2790825"/>
                    <a:gd name="connsiteX605" fmla="*/ 2570798 w 3788092"/>
                    <a:gd name="connsiteY605" fmla="*/ 1288733 h 2790825"/>
                    <a:gd name="connsiteX606" fmla="*/ 2578418 w 3788092"/>
                    <a:gd name="connsiteY606" fmla="*/ 1275398 h 2790825"/>
                    <a:gd name="connsiteX607" fmla="*/ 2587943 w 3788092"/>
                    <a:gd name="connsiteY607" fmla="*/ 1269683 h 2790825"/>
                    <a:gd name="connsiteX608" fmla="*/ 2607945 w 3788092"/>
                    <a:gd name="connsiteY608" fmla="*/ 1283970 h 2790825"/>
                    <a:gd name="connsiteX609" fmla="*/ 2625090 w 3788092"/>
                    <a:gd name="connsiteY609" fmla="*/ 1288733 h 2790825"/>
                    <a:gd name="connsiteX610" fmla="*/ 2620327 w 3788092"/>
                    <a:gd name="connsiteY610" fmla="*/ 1275398 h 2790825"/>
                    <a:gd name="connsiteX611" fmla="*/ 2623185 w 3788092"/>
                    <a:gd name="connsiteY611" fmla="*/ 1263968 h 2790825"/>
                    <a:gd name="connsiteX612" fmla="*/ 2643188 w 3788092"/>
                    <a:gd name="connsiteY612" fmla="*/ 1263968 h 2790825"/>
                    <a:gd name="connsiteX613" fmla="*/ 2652713 w 3788092"/>
                    <a:gd name="connsiteY613" fmla="*/ 1259205 h 2790825"/>
                    <a:gd name="connsiteX614" fmla="*/ 2655570 w 3788092"/>
                    <a:gd name="connsiteY614" fmla="*/ 1246823 h 2790825"/>
                    <a:gd name="connsiteX615" fmla="*/ 2668905 w 3788092"/>
                    <a:gd name="connsiteY615" fmla="*/ 1235393 h 2790825"/>
                    <a:gd name="connsiteX616" fmla="*/ 2713673 w 3788092"/>
                    <a:gd name="connsiteY616" fmla="*/ 1228725 h 2790825"/>
                    <a:gd name="connsiteX617" fmla="*/ 2718435 w 3788092"/>
                    <a:gd name="connsiteY617" fmla="*/ 1252538 h 2790825"/>
                    <a:gd name="connsiteX618" fmla="*/ 2725102 w 3788092"/>
                    <a:gd name="connsiteY618" fmla="*/ 1265873 h 2790825"/>
                    <a:gd name="connsiteX619" fmla="*/ 2732723 w 3788092"/>
                    <a:gd name="connsiteY619" fmla="*/ 1239203 h 2790825"/>
                    <a:gd name="connsiteX620" fmla="*/ 2747963 w 3788092"/>
                    <a:gd name="connsiteY620" fmla="*/ 1219200 h 2790825"/>
                    <a:gd name="connsiteX621" fmla="*/ 2770823 w 3788092"/>
                    <a:gd name="connsiteY621" fmla="*/ 1210628 h 2790825"/>
                    <a:gd name="connsiteX622" fmla="*/ 2779395 w 3788092"/>
                    <a:gd name="connsiteY622" fmla="*/ 1221105 h 2790825"/>
                    <a:gd name="connsiteX623" fmla="*/ 2775585 w 3788092"/>
                    <a:gd name="connsiteY623" fmla="*/ 1262063 h 2790825"/>
                    <a:gd name="connsiteX624" fmla="*/ 2757488 w 3788092"/>
                    <a:gd name="connsiteY624" fmla="*/ 1284923 h 2790825"/>
                    <a:gd name="connsiteX625" fmla="*/ 2771775 w 3788092"/>
                    <a:gd name="connsiteY625" fmla="*/ 1283018 h 2790825"/>
                    <a:gd name="connsiteX626" fmla="*/ 2795588 w 3788092"/>
                    <a:gd name="connsiteY626" fmla="*/ 1261110 h 2790825"/>
                    <a:gd name="connsiteX627" fmla="*/ 2801302 w 3788092"/>
                    <a:gd name="connsiteY627" fmla="*/ 1249680 h 2790825"/>
                    <a:gd name="connsiteX628" fmla="*/ 2794635 w 3788092"/>
                    <a:gd name="connsiteY628" fmla="*/ 1223010 h 2790825"/>
                    <a:gd name="connsiteX629" fmla="*/ 2800350 w 3788092"/>
                    <a:gd name="connsiteY629" fmla="*/ 1215390 h 2790825"/>
                    <a:gd name="connsiteX630" fmla="*/ 2833688 w 3788092"/>
                    <a:gd name="connsiteY630" fmla="*/ 1214438 h 2790825"/>
                    <a:gd name="connsiteX631" fmla="*/ 2851785 w 3788092"/>
                    <a:gd name="connsiteY631" fmla="*/ 1218248 h 2790825"/>
                    <a:gd name="connsiteX632" fmla="*/ 2858452 w 3788092"/>
                    <a:gd name="connsiteY632" fmla="*/ 1203960 h 2790825"/>
                    <a:gd name="connsiteX633" fmla="*/ 2874645 w 3788092"/>
                    <a:gd name="connsiteY633" fmla="*/ 1203008 h 2790825"/>
                    <a:gd name="connsiteX634" fmla="*/ 2891790 w 3788092"/>
                    <a:gd name="connsiteY634" fmla="*/ 1211580 h 2790825"/>
                    <a:gd name="connsiteX635" fmla="*/ 2930843 w 3788092"/>
                    <a:gd name="connsiteY635" fmla="*/ 1224915 h 2790825"/>
                    <a:gd name="connsiteX636" fmla="*/ 2918460 w 3788092"/>
                    <a:gd name="connsiteY636" fmla="*/ 1203960 h 2790825"/>
                    <a:gd name="connsiteX637" fmla="*/ 2908935 w 3788092"/>
                    <a:gd name="connsiteY637" fmla="*/ 1196340 h 2790825"/>
                    <a:gd name="connsiteX638" fmla="*/ 2888933 w 3788092"/>
                    <a:gd name="connsiteY638" fmla="*/ 1191578 h 2790825"/>
                    <a:gd name="connsiteX639" fmla="*/ 2867977 w 3788092"/>
                    <a:gd name="connsiteY639" fmla="*/ 1182053 h 2790825"/>
                    <a:gd name="connsiteX640" fmla="*/ 2879408 w 3788092"/>
                    <a:gd name="connsiteY640" fmla="*/ 1172528 h 2790825"/>
                    <a:gd name="connsiteX641" fmla="*/ 2902268 w 3788092"/>
                    <a:gd name="connsiteY641" fmla="*/ 1175385 h 2790825"/>
                    <a:gd name="connsiteX642" fmla="*/ 2921318 w 3788092"/>
                    <a:gd name="connsiteY642" fmla="*/ 1167765 h 2790825"/>
                    <a:gd name="connsiteX643" fmla="*/ 2942273 w 3788092"/>
                    <a:gd name="connsiteY643" fmla="*/ 1165860 h 2790825"/>
                    <a:gd name="connsiteX644" fmla="*/ 2952750 w 3788092"/>
                    <a:gd name="connsiteY644" fmla="*/ 1171575 h 2790825"/>
                    <a:gd name="connsiteX645" fmla="*/ 2960370 w 3788092"/>
                    <a:gd name="connsiteY645" fmla="*/ 1162050 h 2790825"/>
                    <a:gd name="connsiteX646" fmla="*/ 2984183 w 3788092"/>
                    <a:gd name="connsiteY646" fmla="*/ 1157288 h 2790825"/>
                    <a:gd name="connsiteX647" fmla="*/ 3010852 w 3788092"/>
                    <a:gd name="connsiteY647" fmla="*/ 1165860 h 2790825"/>
                    <a:gd name="connsiteX648" fmla="*/ 3026093 w 3788092"/>
                    <a:gd name="connsiteY648" fmla="*/ 1191578 h 2790825"/>
                    <a:gd name="connsiteX649" fmla="*/ 3048952 w 3788092"/>
                    <a:gd name="connsiteY649" fmla="*/ 1204913 h 2790825"/>
                    <a:gd name="connsiteX650" fmla="*/ 3048000 w 3788092"/>
                    <a:gd name="connsiteY650" fmla="*/ 1191578 h 2790825"/>
                    <a:gd name="connsiteX651" fmla="*/ 3053715 w 3788092"/>
                    <a:gd name="connsiteY651" fmla="*/ 1173480 h 2790825"/>
                    <a:gd name="connsiteX652" fmla="*/ 3075623 w 3788092"/>
                    <a:gd name="connsiteY652" fmla="*/ 1154430 h 2790825"/>
                    <a:gd name="connsiteX653" fmla="*/ 3095625 w 3788092"/>
                    <a:gd name="connsiteY653" fmla="*/ 1144905 h 2790825"/>
                    <a:gd name="connsiteX654" fmla="*/ 3108960 w 3788092"/>
                    <a:gd name="connsiteY654" fmla="*/ 1143953 h 2790825"/>
                    <a:gd name="connsiteX655" fmla="*/ 3136583 w 3788092"/>
                    <a:gd name="connsiteY655" fmla="*/ 1111568 h 2790825"/>
                    <a:gd name="connsiteX656" fmla="*/ 3121343 w 3788092"/>
                    <a:gd name="connsiteY656" fmla="*/ 1102043 h 2790825"/>
                    <a:gd name="connsiteX657" fmla="*/ 3152775 w 3788092"/>
                    <a:gd name="connsiteY657" fmla="*/ 1080135 h 2790825"/>
                    <a:gd name="connsiteX658" fmla="*/ 3163252 w 3788092"/>
                    <a:gd name="connsiteY658" fmla="*/ 1079183 h 2790825"/>
                    <a:gd name="connsiteX659" fmla="*/ 3214688 w 3788092"/>
                    <a:gd name="connsiteY659" fmla="*/ 1099185 h 2790825"/>
                    <a:gd name="connsiteX660" fmla="*/ 3228975 w 3788092"/>
                    <a:gd name="connsiteY660" fmla="*/ 1090613 h 2790825"/>
                    <a:gd name="connsiteX661" fmla="*/ 3261360 w 3788092"/>
                    <a:gd name="connsiteY661" fmla="*/ 1098233 h 2790825"/>
                    <a:gd name="connsiteX662" fmla="*/ 3253740 w 3788092"/>
                    <a:gd name="connsiteY662" fmla="*/ 1107758 h 2790825"/>
                    <a:gd name="connsiteX663" fmla="*/ 3224213 w 3788092"/>
                    <a:gd name="connsiteY663" fmla="*/ 1135380 h 2790825"/>
                    <a:gd name="connsiteX664" fmla="*/ 3219450 w 3788092"/>
                    <a:gd name="connsiteY664" fmla="*/ 1143000 h 2790825"/>
                    <a:gd name="connsiteX665" fmla="*/ 3218498 w 3788092"/>
                    <a:gd name="connsiteY665" fmla="*/ 1163955 h 2790825"/>
                    <a:gd name="connsiteX666" fmla="*/ 3207068 w 3788092"/>
                    <a:gd name="connsiteY666" fmla="*/ 1177290 h 2790825"/>
                    <a:gd name="connsiteX667" fmla="*/ 3214688 w 3788092"/>
                    <a:gd name="connsiteY667" fmla="*/ 1190625 h 2790825"/>
                    <a:gd name="connsiteX668" fmla="*/ 3229927 w 3788092"/>
                    <a:gd name="connsiteY668" fmla="*/ 1186815 h 2790825"/>
                    <a:gd name="connsiteX669" fmla="*/ 3247073 w 3788092"/>
                    <a:gd name="connsiteY669" fmla="*/ 1174433 h 2790825"/>
                    <a:gd name="connsiteX670" fmla="*/ 3248025 w 3788092"/>
                    <a:gd name="connsiteY670" fmla="*/ 1162050 h 2790825"/>
                    <a:gd name="connsiteX671" fmla="*/ 3288983 w 3788092"/>
                    <a:gd name="connsiteY671" fmla="*/ 1126808 h 2790825"/>
                    <a:gd name="connsiteX672" fmla="*/ 3307080 w 3788092"/>
                    <a:gd name="connsiteY672" fmla="*/ 1106805 h 2790825"/>
                    <a:gd name="connsiteX673" fmla="*/ 3328988 w 3788092"/>
                    <a:gd name="connsiteY673" fmla="*/ 1090613 h 2790825"/>
                    <a:gd name="connsiteX674" fmla="*/ 3343275 w 3788092"/>
                    <a:gd name="connsiteY674" fmla="*/ 1087755 h 2790825"/>
                    <a:gd name="connsiteX675" fmla="*/ 3351848 w 3788092"/>
                    <a:gd name="connsiteY675" fmla="*/ 1098233 h 2790825"/>
                    <a:gd name="connsiteX676" fmla="*/ 3349943 w 3788092"/>
                    <a:gd name="connsiteY676" fmla="*/ 1112520 h 2790825"/>
                    <a:gd name="connsiteX677" fmla="*/ 3351848 w 3788092"/>
                    <a:gd name="connsiteY677" fmla="*/ 1153478 h 2790825"/>
                    <a:gd name="connsiteX678" fmla="*/ 3387090 w 3788092"/>
                    <a:gd name="connsiteY678" fmla="*/ 1140143 h 2790825"/>
                    <a:gd name="connsiteX679" fmla="*/ 3397568 w 3788092"/>
                    <a:gd name="connsiteY679" fmla="*/ 1111568 h 2790825"/>
                    <a:gd name="connsiteX680" fmla="*/ 3408045 w 3788092"/>
                    <a:gd name="connsiteY680" fmla="*/ 1104900 h 2790825"/>
                    <a:gd name="connsiteX681" fmla="*/ 3400425 w 3788092"/>
                    <a:gd name="connsiteY681" fmla="*/ 1091565 h 2790825"/>
                    <a:gd name="connsiteX682" fmla="*/ 3404235 w 3788092"/>
                    <a:gd name="connsiteY682" fmla="*/ 1081088 h 2790825"/>
                    <a:gd name="connsiteX683" fmla="*/ 3426143 w 3788092"/>
                    <a:gd name="connsiteY683" fmla="*/ 1068705 h 2790825"/>
                    <a:gd name="connsiteX684" fmla="*/ 3447098 w 3788092"/>
                    <a:gd name="connsiteY684" fmla="*/ 1072515 h 2790825"/>
                    <a:gd name="connsiteX685" fmla="*/ 3478530 w 3788092"/>
                    <a:gd name="connsiteY685" fmla="*/ 1075373 h 2790825"/>
                    <a:gd name="connsiteX686" fmla="*/ 3504248 w 3788092"/>
                    <a:gd name="connsiteY686" fmla="*/ 1082993 h 2790825"/>
                    <a:gd name="connsiteX687" fmla="*/ 3506152 w 3788092"/>
                    <a:gd name="connsiteY687" fmla="*/ 1096328 h 2790825"/>
                    <a:gd name="connsiteX688" fmla="*/ 3498533 w 3788092"/>
                    <a:gd name="connsiteY688" fmla="*/ 1104900 h 2790825"/>
                    <a:gd name="connsiteX689" fmla="*/ 3470910 w 3788092"/>
                    <a:gd name="connsiteY689" fmla="*/ 1115378 h 2790825"/>
                    <a:gd name="connsiteX690" fmla="*/ 3477577 w 3788092"/>
                    <a:gd name="connsiteY690" fmla="*/ 1122045 h 2790825"/>
                    <a:gd name="connsiteX691" fmla="*/ 3496627 w 3788092"/>
                    <a:gd name="connsiteY691" fmla="*/ 1116330 h 2790825"/>
                    <a:gd name="connsiteX692" fmla="*/ 3505200 w 3788092"/>
                    <a:gd name="connsiteY692" fmla="*/ 1168718 h 2790825"/>
                    <a:gd name="connsiteX693" fmla="*/ 3513773 w 3788092"/>
                    <a:gd name="connsiteY693" fmla="*/ 1148715 h 2790825"/>
                    <a:gd name="connsiteX694" fmla="*/ 3523298 w 3788092"/>
                    <a:gd name="connsiteY694" fmla="*/ 1142048 h 2790825"/>
                    <a:gd name="connsiteX695" fmla="*/ 3524250 w 3788092"/>
                    <a:gd name="connsiteY695" fmla="*/ 1127760 h 2790825"/>
                    <a:gd name="connsiteX696" fmla="*/ 3531870 w 3788092"/>
                    <a:gd name="connsiteY696" fmla="*/ 1109663 h 2790825"/>
                    <a:gd name="connsiteX697" fmla="*/ 3549015 w 3788092"/>
                    <a:gd name="connsiteY697" fmla="*/ 1097280 h 2790825"/>
                    <a:gd name="connsiteX698" fmla="*/ 3574733 w 3788092"/>
                    <a:gd name="connsiteY698" fmla="*/ 1097280 h 2790825"/>
                    <a:gd name="connsiteX699" fmla="*/ 3606165 w 3788092"/>
                    <a:gd name="connsiteY699" fmla="*/ 1113473 h 2790825"/>
                    <a:gd name="connsiteX700" fmla="*/ 3629977 w 3788092"/>
                    <a:gd name="connsiteY700" fmla="*/ 1116330 h 2790825"/>
                    <a:gd name="connsiteX701" fmla="*/ 3647123 w 3788092"/>
                    <a:gd name="connsiteY701" fmla="*/ 1123950 h 2790825"/>
                    <a:gd name="connsiteX702" fmla="*/ 3669983 w 3788092"/>
                    <a:gd name="connsiteY702" fmla="*/ 1117283 h 2790825"/>
                    <a:gd name="connsiteX703" fmla="*/ 3689033 w 3788092"/>
                    <a:gd name="connsiteY703" fmla="*/ 1126808 h 2790825"/>
                    <a:gd name="connsiteX704" fmla="*/ 3689985 w 3788092"/>
                    <a:gd name="connsiteY704" fmla="*/ 1136333 h 2790825"/>
                    <a:gd name="connsiteX705" fmla="*/ 3726180 w 3788092"/>
                    <a:gd name="connsiteY705" fmla="*/ 1139190 h 2790825"/>
                    <a:gd name="connsiteX706" fmla="*/ 3762375 w 3788092"/>
                    <a:gd name="connsiteY706" fmla="*/ 1154430 h 2790825"/>
                    <a:gd name="connsiteX707" fmla="*/ 3768090 w 3788092"/>
                    <a:gd name="connsiteY707" fmla="*/ 1169670 h 2790825"/>
                    <a:gd name="connsiteX708" fmla="*/ 3726180 w 3788092"/>
                    <a:gd name="connsiteY708" fmla="*/ 1179195 h 2790825"/>
                    <a:gd name="connsiteX709" fmla="*/ 3709035 w 3788092"/>
                    <a:gd name="connsiteY709" fmla="*/ 1188720 h 2790825"/>
                    <a:gd name="connsiteX710" fmla="*/ 3677602 w 3788092"/>
                    <a:gd name="connsiteY710" fmla="*/ 1192530 h 2790825"/>
                    <a:gd name="connsiteX711" fmla="*/ 3568065 w 3788092"/>
                    <a:gd name="connsiteY711" fmla="*/ 1185863 h 2790825"/>
                    <a:gd name="connsiteX712" fmla="*/ 3571875 w 3788092"/>
                    <a:gd name="connsiteY712" fmla="*/ 1192530 h 2790825"/>
                    <a:gd name="connsiteX713" fmla="*/ 3650933 w 3788092"/>
                    <a:gd name="connsiteY713" fmla="*/ 1206818 h 2790825"/>
                    <a:gd name="connsiteX714" fmla="*/ 3656648 w 3788092"/>
                    <a:gd name="connsiteY714" fmla="*/ 1211580 h 2790825"/>
                    <a:gd name="connsiteX715" fmla="*/ 3660458 w 3788092"/>
                    <a:gd name="connsiteY715" fmla="*/ 1231583 h 2790825"/>
                    <a:gd name="connsiteX716" fmla="*/ 3677602 w 3788092"/>
                    <a:gd name="connsiteY716" fmla="*/ 1238250 h 2790825"/>
                    <a:gd name="connsiteX717" fmla="*/ 3710940 w 3788092"/>
                    <a:gd name="connsiteY717" fmla="*/ 1236345 h 2790825"/>
                    <a:gd name="connsiteX718" fmla="*/ 3710940 w 3788092"/>
                    <a:gd name="connsiteY718" fmla="*/ 1223963 h 2790825"/>
                    <a:gd name="connsiteX719" fmla="*/ 3741420 w 3788092"/>
                    <a:gd name="connsiteY719" fmla="*/ 1229678 h 2790825"/>
                    <a:gd name="connsiteX720" fmla="*/ 3777615 w 3788092"/>
                    <a:gd name="connsiteY720" fmla="*/ 1231583 h 2790825"/>
                    <a:gd name="connsiteX721" fmla="*/ 3788093 w 3788092"/>
                    <a:gd name="connsiteY721" fmla="*/ 1247775 h 2790825"/>
                    <a:gd name="connsiteX722" fmla="*/ 3785235 w 3788092"/>
                    <a:gd name="connsiteY722" fmla="*/ 1262063 h 2790825"/>
                    <a:gd name="connsiteX723" fmla="*/ 3762375 w 3788092"/>
                    <a:gd name="connsiteY723" fmla="*/ 1263015 h 2790825"/>
                    <a:gd name="connsiteX724" fmla="*/ 3722370 w 3788092"/>
                    <a:gd name="connsiteY724" fmla="*/ 1249680 h 2790825"/>
                    <a:gd name="connsiteX725" fmla="*/ 3718560 w 3788092"/>
                    <a:gd name="connsiteY725" fmla="*/ 1271588 h 2790825"/>
                    <a:gd name="connsiteX726" fmla="*/ 3708083 w 3788092"/>
                    <a:gd name="connsiteY726" fmla="*/ 1280160 h 2790825"/>
                    <a:gd name="connsiteX727" fmla="*/ 3652838 w 3788092"/>
                    <a:gd name="connsiteY727" fmla="*/ 1292543 h 2790825"/>
                    <a:gd name="connsiteX728" fmla="*/ 3642360 w 3788092"/>
                    <a:gd name="connsiteY728" fmla="*/ 1317308 h 2790825"/>
                    <a:gd name="connsiteX729" fmla="*/ 3621405 w 3788092"/>
                    <a:gd name="connsiteY729" fmla="*/ 1326833 h 2790825"/>
                    <a:gd name="connsiteX730" fmla="*/ 3235643 w 3788092"/>
                    <a:gd name="connsiteY730" fmla="*/ 1062990 h 2790825"/>
                    <a:gd name="connsiteX731" fmla="*/ 3270885 w 3788092"/>
                    <a:gd name="connsiteY731" fmla="*/ 1067753 h 2790825"/>
                    <a:gd name="connsiteX732" fmla="*/ 3291840 w 3788092"/>
                    <a:gd name="connsiteY732" fmla="*/ 1081088 h 2790825"/>
                    <a:gd name="connsiteX733" fmla="*/ 3257550 w 3788092"/>
                    <a:gd name="connsiteY733" fmla="*/ 1085850 h 2790825"/>
                    <a:gd name="connsiteX734" fmla="*/ 3241358 w 3788092"/>
                    <a:gd name="connsiteY734" fmla="*/ 1084898 h 2790825"/>
                    <a:gd name="connsiteX735" fmla="*/ 3222308 w 3788092"/>
                    <a:gd name="connsiteY735" fmla="*/ 1067753 h 2790825"/>
                    <a:gd name="connsiteX736" fmla="*/ 3235643 w 3788092"/>
                    <a:gd name="connsiteY736" fmla="*/ 1062990 h 2790825"/>
                    <a:gd name="connsiteX737" fmla="*/ 953 w 3788092"/>
                    <a:gd name="connsiteY737" fmla="*/ 1100138 h 2790825"/>
                    <a:gd name="connsiteX738" fmla="*/ 0 w 3788092"/>
                    <a:gd name="connsiteY738" fmla="*/ 1090613 h 2790825"/>
                    <a:gd name="connsiteX739" fmla="*/ 42863 w 3788092"/>
                    <a:gd name="connsiteY739" fmla="*/ 1076325 h 2790825"/>
                    <a:gd name="connsiteX740" fmla="*/ 60960 w 3788092"/>
                    <a:gd name="connsiteY740" fmla="*/ 1062990 h 2790825"/>
                    <a:gd name="connsiteX741" fmla="*/ 93345 w 3788092"/>
                    <a:gd name="connsiteY741" fmla="*/ 1058228 h 2790825"/>
                    <a:gd name="connsiteX742" fmla="*/ 91440 w 3788092"/>
                    <a:gd name="connsiteY742" fmla="*/ 1075373 h 2790825"/>
                    <a:gd name="connsiteX743" fmla="*/ 62865 w 3788092"/>
                    <a:gd name="connsiteY743" fmla="*/ 1082993 h 2790825"/>
                    <a:gd name="connsiteX744" fmla="*/ 31432 w 3788092"/>
                    <a:gd name="connsiteY744" fmla="*/ 1087755 h 2790825"/>
                    <a:gd name="connsiteX745" fmla="*/ 953 w 3788092"/>
                    <a:gd name="connsiteY745" fmla="*/ 1100138 h 2790825"/>
                    <a:gd name="connsiteX746" fmla="*/ 2565083 w 3788092"/>
                    <a:gd name="connsiteY746" fmla="*/ 671513 h 2790825"/>
                    <a:gd name="connsiteX747" fmla="*/ 2555558 w 3788092"/>
                    <a:gd name="connsiteY747" fmla="*/ 676275 h 2790825"/>
                    <a:gd name="connsiteX748" fmla="*/ 2537460 w 3788092"/>
                    <a:gd name="connsiteY748" fmla="*/ 668655 h 2790825"/>
                    <a:gd name="connsiteX749" fmla="*/ 2529840 w 3788092"/>
                    <a:gd name="connsiteY749" fmla="*/ 657225 h 2790825"/>
                    <a:gd name="connsiteX750" fmla="*/ 2558415 w 3788092"/>
                    <a:gd name="connsiteY750" fmla="*/ 656273 h 2790825"/>
                    <a:gd name="connsiteX751" fmla="*/ 2565083 w 3788092"/>
                    <a:gd name="connsiteY751" fmla="*/ 671513 h 2790825"/>
                    <a:gd name="connsiteX752" fmla="*/ 2656523 w 3788092"/>
                    <a:gd name="connsiteY752" fmla="*/ 194310 h 2790825"/>
                    <a:gd name="connsiteX753" fmla="*/ 2693670 w 3788092"/>
                    <a:gd name="connsiteY753" fmla="*/ 196215 h 2790825"/>
                    <a:gd name="connsiteX754" fmla="*/ 2712720 w 3788092"/>
                    <a:gd name="connsiteY754" fmla="*/ 214313 h 2790825"/>
                    <a:gd name="connsiteX755" fmla="*/ 2726055 w 3788092"/>
                    <a:gd name="connsiteY755" fmla="*/ 233363 h 2790825"/>
                    <a:gd name="connsiteX756" fmla="*/ 2738438 w 3788092"/>
                    <a:gd name="connsiteY756" fmla="*/ 235268 h 2790825"/>
                    <a:gd name="connsiteX757" fmla="*/ 2783205 w 3788092"/>
                    <a:gd name="connsiteY757" fmla="*/ 231458 h 2790825"/>
                    <a:gd name="connsiteX758" fmla="*/ 2815590 w 3788092"/>
                    <a:gd name="connsiteY758" fmla="*/ 238125 h 2790825"/>
                    <a:gd name="connsiteX759" fmla="*/ 2802255 w 3788092"/>
                    <a:gd name="connsiteY759" fmla="*/ 248603 h 2790825"/>
                    <a:gd name="connsiteX760" fmla="*/ 2802255 w 3788092"/>
                    <a:gd name="connsiteY760" fmla="*/ 260033 h 2790825"/>
                    <a:gd name="connsiteX761" fmla="*/ 2854643 w 3788092"/>
                    <a:gd name="connsiteY761" fmla="*/ 272415 h 2790825"/>
                    <a:gd name="connsiteX762" fmla="*/ 2871788 w 3788092"/>
                    <a:gd name="connsiteY762" fmla="*/ 273368 h 2790825"/>
                    <a:gd name="connsiteX763" fmla="*/ 2900363 w 3788092"/>
                    <a:gd name="connsiteY763" fmla="*/ 269558 h 2790825"/>
                    <a:gd name="connsiteX764" fmla="*/ 2962275 w 3788092"/>
                    <a:gd name="connsiteY764" fmla="*/ 285750 h 2790825"/>
                    <a:gd name="connsiteX765" fmla="*/ 2899410 w 3788092"/>
                    <a:gd name="connsiteY765" fmla="*/ 296228 h 2790825"/>
                    <a:gd name="connsiteX766" fmla="*/ 2880360 w 3788092"/>
                    <a:gd name="connsiteY766" fmla="*/ 314325 h 2790825"/>
                    <a:gd name="connsiteX767" fmla="*/ 2845118 w 3788092"/>
                    <a:gd name="connsiteY767" fmla="*/ 326708 h 2790825"/>
                    <a:gd name="connsiteX768" fmla="*/ 2820352 w 3788092"/>
                    <a:gd name="connsiteY768" fmla="*/ 326708 h 2790825"/>
                    <a:gd name="connsiteX769" fmla="*/ 2798445 w 3788092"/>
                    <a:gd name="connsiteY769" fmla="*/ 339090 h 2790825"/>
                    <a:gd name="connsiteX770" fmla="*/ 2777490 w 3788092"/>
                    <a:gd name="connsiteY770" fmla="*/ 340043 h 2790825"/>
                    <a:gd name="connsiteX771" fmla="*/ 2763202 w 3788092"/>
                    <a:gd name="connsiteY771" fmla="*/ 321945 h 2790825"/>
                    <a:gd name="connsiteX772" fmla="*/ 2784158 w 3788092"/>
                    <a:gd name="connsiteY772" fmla="*/ 309563 h 2790825"/>
                    <a:gd name="connsiteX773" fmla="*/ 2754630 w 3788092"/>
                    <a:gd name="connsiteY773" fmla="*/ 305753 h 2790825"/>
                    <a:gd name="connsiteX774" fmla="*/ 2743200 w 3788092"/>
                    <a:gd name="connsiteY774" fmla="*/ 310515 h 2790825"/>
                    <a:gd name="connsiteX775" fmla="*/ 2643188 w 3788092"/>
                    <a:gd name="connsiteY775" fmla="*/ 320040 h 2790825"/>
                    <a:gd name="connsiteX776" fmla="*/ 2632710 w 3788092"/>
                    <a:gd name="connsiteY776" fmla="*/ 318135 h 2790825"/>
                    <a:gd name="connsiteX777" fmla="*/ 2624138 w 3788092"/>
                    <a:gd name="connsiteY777" fmla="*/ 306705 h 2790825"/>
                    <a:gd name="connsiteX778" fmla="*/ 2650808 w 3788092"/>
                    <a:gd name="connsiteY778" fmla="*/ 300990 h 2790825"/>
                    <a:gd name="connsiteX779" fmla="*/ 2652713 w 3788092"/>
                    <a:gd name="connsiteY779" fmla="*/ 290513 h 2790825"/>
                    <a:gd name="connsiteX780" fmla="*/ 2676525 w 3788092"/>
                    <a:gd name="connsiteY780" fmla="*/ 267653 h 2790825"/>
                    <a:gd name="connsiteX781" fmla="*/ 2624138 w 3788092"/>
                    <a:gd name="connsiteY781" fmla="*/ 252413 h 2790825"/>
                    <a:gd name="connsiteX782" fmla="*/ 2605088 w 3788092"/>
                    <a:gd name="connsiteY782" fmla="*/ 240983 h 2790825"/>
                    <a:gd name="connsiteX783" fmla="*/ 2597468 w 3788092"/>
                    <a:gd name="connsiteY783" fmla="*/ 231458 h 2790825"/>
                    <a:gd name="connsiteX784" fmla="*/ 2573655 w 3788092"/>
                    <a:gd name="connsiteY784" fmla="*/ 222885 h 2790825"/>
                    <a:gd name="connsiteX785" fmla="*/ 2573655 w 3788092"/>
                    <a:gd name="connsiteY785" fmla="*/ 213360 h 2790825"/>
                    <a:gd name="connsiteX786" fmla="*/ 2557463 w 3788092"/>
                    <a:gd name="connsiteY786" fmla="*/ 214313 h 2790825"/>
                    <a:gd name="connsiteX787" fmla="*/ 2553652 w 3788092"/>
                    <a:gd name="connsiteY787" fmla="*/ 202883 h 2790825"/>
                    <a:gd name="connsiteX788" fmla="*/ 2656523 w 3788092"/>
                    <a:gd name="connsiteY788" fmla="*/ 194310 h 2790825"/>
                    <a:gd name="connsiteX789" fmla="*/ 3096577 w 3788092"/>
                    <a:gd name="connsiteY789" fmla="*/ 188595 h 2790825"/>
                    <a:gd name="connsiteX790" fmla="*/ 3084195 w 3788092"/>
                    <a:gd name="connsiteY790" fmla="*/ 188595 h 2790825"/>
                    <a:gd name="connsiteX791" fmla="*/ 3059430 w 3788092"/>
                    <a:gd name="connsiteY791" fmla="*/ 180975 h 2790825"/>
                    <a:gd name="connsiteX792" fmla="*/ 3066098 w 3788092"/>
                    <a:gd name="connsiteY792" fmla="*/ 171450 h 2790825"/>
                    <a:gd name="connsiteX793" fmla="*/ 3096577 w 3788092"/>
                    <a:gd name="connsiteY793" fmla="*/ 188595 h 2790825"/>
                    <a:gd name="connsiteX794" fmla="*/ 1785938 w 3788092"/>
                    <a:gd name="connsiteY794" fmla="*/ 192405 h 2790825"/>
                    <a:gd name="connsiteX795" fmla="*/ 1819275 w 3788092"/>
                    <a:gd name="connsiteY795" fmla="*/ 206693 h 2790825"/>
                    <a:gd name="connsiteX796" fmla="*/ 1837373 w 3788092"/>
                    <a:gd name="connsiteY796" fmla="*/ 211455 h 2790825"/>
                    <a:gd name="connsiteX797" fmla="*/ 1859280 w 3788092"/>
                    <a:gd name="connsiteY797" fmla="*/ 225743 h 2790825"/>
                    <a:gd name="connsiteX798" fmla="*/ 1852613 w 3788092"/>
                    <a:gd name="connsiteY798" fmla="*/ 234315 h 2790825"/>
                    <a:gd name="connsiteX799" fmla="*/ 1833563 w 3788092"/>
                    <a:gd name="connsiteY799" fmla="*/ 222885 h 2790825"/>
                    <a:gd name="connsiteX800" fmla="*/ 1799273 w 3788092"/>
                    <a:gd name="connsiteY800" fmla="*/ 210503 h 2790825"/>
                    <a:gd name="connsiteX801" fmla="*/ 1777365 w 3788092"/>
                    <a:gd name="connsiteY801" fmla="*/ 208598 h 2790825"/>
                    <a:gd name="connsiteX802" fmla="*/ 1745932 w 3788092"/>
                    <a:gd name="connsiteY802" fmla="*/ 184785 h 2790825"/>
                    <a:gd name="connsiteX803" fmla="*/ 1731645 w 3788092"/>
                    <a:gd name="connsiteY803" fmla="*/ 177165 h 2790825"/>
                    <a:gd name="connsiteX804" fmla="*/ 1724025 w 3788092"/>
                    <a:gd name="connsiteY804" fmla="*/ 160973 h 2790825"/>
                    <a:gd name="connsiteX805" fmla="*/ 1758315 w 3788092"/>
                    <a:gd name="connsiteY805" fmla="*/ 167640 h 2790825"/>
                    <a:gd name="connsiteX806" fmla="*/ 1773555 w 3788092"/>
                    <a:gd name="connsiteY806" fmla="*/ 177165 h 2790825"/>
                    <a:gd name="connsiteX807" fmla="*/ 1770698 w 3788092"/>
                    <a:gd name="connsiteY807" fmla="*/ 184785 h 2790825"/>
                    <a:gd name="connsiteX808" fmla="*/ 1785938 w 3788092"/>
                    <a:gd name="connsiteY808" fmla="*/ 192405 h 2790825"/>
                    <a:gd name="connsiteX809" fmla="*/ 3268027 w 3788092"/>
                    <a:gd name="connsiteY809" fmla="*/ 160020 h 2790825"/>
                    <a:gd name="connsiteX810" fmla="*/ 3293745 w 3788092"/>
                    <a:gd name="connsiteY810" fmla="*/ 160973 h 2790825"/>
                    <a:gd name="connsiteX811" fmla="*/ 3292793 w 3788092"/>
                    <a:gd name="connsiteY811" fmla="*/ 166688 h 2790825"/>
                    <a:gd name="connsiteX812" fmla="*/ 3223260 w 3788092"/>
                    <a:gd name="connsiteY812" fmla="*/ 162878 h 2790825"/>
                    <a:gd name="connsiteX813" fmla="*/ 3187065 w 3788092"/>
                    <a:gd name="connsiteY813" fmla="*/ 169545 h 2790825"/>
                    <a:gd name="connsiteX814" fmla="*/ 3190875 w 3788092"/>
                    <a:gd name="connsiteY814" fmla="*/ 160973 h 2790825"/>
                    <a:gd name="connsiteX815" fmla="*/ 3213735 w 3788092"/>
                    <a:gd name="connsiteY815" fmla="*/ 155258 h 2790825"/>
                    <a:gd name="connsiteX816" fmla="*/ 3248977 w 3788092"/>
                    <a:gd name="connsiteY816" fmla="*/ 154305 h 2790825"/>
                    <a:gd name="connsiteX817" fmla="*/ 3268027 w 3788092"/>
                    <a:gd name="connsiteY817" fmla="*/ 160020 h 2790825"/>
                    <a:gd name="connsiteX818" fmla="*/ 2221230 w 3788092"/>
                    <a:gd name="connsiteY818" fmla="*/ 57150 h 2790825"/>
                    <a:gd name="connsiteX819" fmla="*/ 2234565 w 3788092"/>
                    <a:gd name="connsiteY819" fmla="*/ 51435 h 2790825"/>
                    <a:gd name="connsiteX820" fmla="*/ 2286000 w 3788092"/>
                    <a:gd name="connsiteY820" fmla="*/ 59055 h 2790825"/>
                    <a:gd name="connsiteX821" fmla="*/ 2309813 w 3788092"/>
                    <a:gd name="connsiteY821" fmla="*/ 67628 h 2790825"/>
                    <a:gd name="connsiteX822" fmla="*/ 2322195 w 3788092"/>
                    <a:gd name="connsiteY822" fmla="*/ 77153 h 2790825"/>
                    <a:gd name="connsiteX823" fmla="*/ 2304098 w 3788092"/>
                    <a:gd name="connsiteY823" fmla="*/ 95250 h 2790825"/>
                    <a:gd name="connsiteX824" fmla="*/ 2320290 w 3788092"/>
                    <a:gd name="connsiteY824" fmla="*/ 104775 h 2790825"/>
                    <a:gd name="connsiteX825" fmla="*/ 2350770 w 3788092"/>
                    <a:gd name="connsiteY825" fmla="*/ 88583 h 2790825"/>
                    <a:gd name="connsiteX826" fmla="*/ 2376488 w 3788092"/>
                    <a:gd name="connsiteY826" fmla="*/ 91440 h 2790825"/>
                    <a:gd name="connsiteX827" fmla="*/ 2392680 w 3788092"/>
                    <a:gd name="connsiteY827" fmla="*/ 100013 h 2790825"/>
                    <a:gd name="connsiteX828" fmla="*/ 2402205 w 3788092"/>
                    <a:gd name="connsiteY828" fmla="*/ 110490 h 2790825"/>
                    <a:gd name="connsiteX829" fmla="*/ 2400300 w 3788092"/>
                    <a:gd name="connsiteY829" fmla="*/ 123825 h 2790825"/>
                    <a:gd name="connsiteX830" fmla="*/ 2429827 w 3788092"/>
                    <a:gd name="connsiteY830" fmla="*/ 134303 h 2790825"/>
                    <a:gd name="connsiteX831" fmla="*/ 2462213 w 3788092"/>
                    <a:gd name="connsiteY831" fmla="*/ 132398 h 2790825"/>
                    <a:gd name="connsiteX832" fmla="*/ 2485073 w 3788092"/>
                    <a:gd name="connsiteY832" fmla="*/ 135255 h 2790825"/>
                    <a:gd name="connsiteX833" fmla="*/ 2499360 w 3788092"/>
                    <a:gd name="connsiteY833" fmla="*/ 144780 h 2790825"/>
                    <a:gd name="connsiteX834" fmla="*/ 2517458 w 3788092"/>
                    <a:gd name="connsiteY834" fmla="*/ 142875 h 2790825"/>
                    <a:gd name="connsiteX835" fmla="*/ 2519363 w 3788092"/>
                    <a:gd name="connsiteY835" fmla="*/ 135255 h 2790825"/>
                    <a:gd name="connsiteX836" fmla="*/ 2544127 w 3788092"/>
                    <a:gd name="connsiteY836" fmla="*/ 137160 h 2790825"/>
                    <a:gd name="connsiteX837" fmla="*/ 2572702 w 3788092"/>
                    <a:gd name="connsiteY837" fmla="*/ 144780 h 2790825"/>
                    <a:gd name="connsiteX838" fmla="*/ 2552700 w 3788092"/>
                    <a:gd name="connsiteY838" fmla="*/ 153353 h 2790825"/>
                    <a:gd name="connsiteX839" fmla="*/ 2572702 w 3788092"/>
                    <a:gd name="connsiteY839" fmla="*/ 160973 h 2790825"/>
                    <a:gd name="connsiteX840" fmla="*/ 2605088 w 3788092"/>
                    <a:gd name="connsiteY840" fmla="*/ 166688 h 2790825"/>
                    <a:gd name="connsiteX841" fmla="*/ 2625090 w 3788092"/>
                    <a:gd name="connsiteY841" fmla="*/ 172403 h 2790825"/>
                    <a:gd name="connsiteX842" fmla="*/ 2610802 w 3788092"/>
                    <a:gd name="connsiteY842" fmla="*/ 185738 h 2790825"/>
                    <a:gd name="connsiteX843" fmla="*/ 2580323 w 3788092"/>
                    <a:gd name="connsiteY843" fmla="*/ 185738 h 2790825"/>
                    <a:gd name="connsiteX844" fmla="*/ 2552700 w 3788092"/>
                    <a:gd name="connsiteY844" fmla="*/ 188595 h 2790825"/>
                    <a:gd name="connsiteX845" fmla="*/ 2501265 w 3788092"/>
                    <a:gd name="connsiteY845" fmla="*/ 191453 h 2790825"/>
                    <a:gd name="connsiteX846" fmla="*/ 2472690 w 3788092"/>
                    <a:gd name="connsiteY846" fmla="*/ 206693 h 2790825"/>
                    <a:gd name="connsiteX847" fmla="*/ 2448877 w 3788092"/>
                    <a:gd name="connsiteY847" fmla="*/ 223838 h 2790825"/>
                    <a:gd name="connsiteX848" fmla="*/ 2445068 w 3788092"/>
                    <a:gd name="connsiteY848" fmla="*/ 239078 h 2790825"/>
                    <a:gd name="connsiteX849" fmla="*/ 2450783 w 3788092"/>
                    <a:gd name="connsiteY849" fmla="*/ 249555 h 2790825"/>
                    <a:gd name="connsiteX850" fmla="*/ 2436495 w 3788092"/>
                    <a:gd name="connsiteY850" fmla="*/ 254318 h 2790825"/>
                    <a:gd name="connsiteX851" fmla="*/ 2405063 w 3788092"/>
                    <a:gd name="connsiteY851" fmla="*/ 256223 h 2790825"/>
                    <a:gd name="connsiteX852" fmla="*/ 2406968 w 3788092"/>
                    <a:gd name="connsiteY852" fmla="*/ 293370 h 2790825"/>
                    <a:gd name="connsiteX853" fmla="*/ 2399348 w 3788092"/>
                    <a:gd name="connsiteY853" fmla="*/ 311468 h 2790825"/>
                    <a:gd name="connsiteX854" fmla="*/ 2367915 w 3788092"/>
                    <a:gd name="connsiteY854" fmla="*/ 314325 h 2790825"/>
                    <a:gd name="connsiteX855" fmla="*/ 2350770 w 3788092"/>
                    <a:gd name="connsiteY855" fmla="*/ 324803 h 2790825"/>
                    <a:gd name="connsiteX856" fmla="*/ 2339340 w 3788092"/>
                    <a:gd name="connsiteY856" fmla="*/ 344805 h 2790825"/>
                    <a:gd name="connsiteX857" fmla="*/ 2319338 w 3788092"/>
                    <a:gd name="connsiteY857" fmla="*/ 363855 h 2790825"/>
                    <a:gd name="connsiteX858" fmla="*/ 2328863 w 3788092"/>
                    <a:gd name="connsiteY858" fmla="*/ 373380 h 2790825"/>
                    <a:gd name="connsiteX859" fmla="*/ 2308860 w 3788092"/>
                    <a:gd name="connsiteY859" fmla="*/ 391478 h 2790825"/>
                    <a:gd name="connsiteX860" fmla="*/ 2320290 w 3788092"/>
                    <a:gd name="connsiteY860" fmla="*/ 408623 h 2790825"/>
                    <a:gd name="connsiteX861" fmla="*/ 2310765 w 3788092"/>
                    <a:gd name="connsiteY861" fmla="*/ 414338 h 2790825"/>
                    <a:gd name="connsiteX862" fmla="*/ 2290763 w 3788092"/>
                    <a:gd name="connsiteY862" fmla="*/ 417195 h 2790825"/>
                    <a:gd name="connsiteX863" fmla="*/ 2269808 w 3788092"/>
                    <a:gd name="connsiteY863" fmla="*/ 414338 h 2790825"/>
                    <a:gd name="connsiteX864" fmla="*/ 2247900 w 3788092"/>
                    <a:gd name="connsiteY864" fmla="*/ 403860 h 2790825"/>
                    <a:gd name="connsiteX865" fmla="*/ 2184083 w 3788092"/>
                    <a:gd name="connsiteY865" fmla="*/ 382905 h 2790825"/>
                    <a:gd name="connsiteX866" fmla="*/ 2143125 w 3788092"/>
                    <a:gd name="connsiteY866" fmla="*/ 360045 h 2790825"/>
                    <a:gd name="connsiteX867" fmla="*/ 2085975 w 3788092"/>
                    <a:gd name="connsiteY867" fmla="*/ 347663 h 2790825"/>
                    <a:gd name="connsiteX868" fmla="*/ 2054543 w 3788092"/>
                    <a:gd name="connsiteY868" fmla="*/ 332423 h 2790825"/>
                    <a:gd name="connsiteX869" fmla="*/ 2040255 w 3788092"/>
                    <a:gd name="connsiteY869" fmla="*/ 320040 h 2790825"/>
                    <a:gd name="connsiteX870" fmla="*/ 2043113 w 3788092"/>
                    <a:gd name="connsiteY870" fmla="*/ 306705 h 2790825"/>
                    <a:gd name="connsiteX871" fmla="*/ 2069782 w 3788092"/>
                    <a:gd name="connsiteY871" fmla="*/ 304800 h 2790825"/>
                    <a:gd name="connsiteX872" fmla="*/ 2097405 w 3788092"/>
                    <a:gd name="connsiteY872" fmla="*/ 311468 h 2790825"/>
                    <a:gd name="connsiteX873" fmla="*/ 2113598 w 3788092"/>
                    <a:gd name="connsiteY873" fmla="*/ 293370 h 2790825"/>
                    <a:gd name="connsiteX874" fmla="*/ 2221230 w 3788092"/>
                    <a:gd name="connsiteY874" fmla="*/ 282893 h 2790825"/>
                    <a:gd name="connsiteX875" fmla="*/ 2290763 w 3788092"/>
                    <a:gd name="connsiteY875" fmla="*/ 280988 h 2790825"/>
                    <a:gd name="connsiteX876" fmla="*/ 2272665 w 3788092"/>
                    <a:gd name="connsiteY876" fmla="*/ 268605 h 2790825"/>
                    <a:gd name="connsiteX877" fmla="*/ 2206943 w 3788092"/>
                    <a:gd name="connsiteY877" fmla="*/ 275273 h 2790825"/>
                    <a:gd name="connsiteX878" fmla="*/ 2165985 w 3788092"/>
                    <a:gd name="connsiteY878" fmla="*/ 273368 h 2790825"/>
                    <a:gd name="connsiteX879" fmla="*/ 2145983 w 3788092"/>
                    <a:gd name="connsiteY879" fmla="*/ 274320 h 2790825"/>
                    <a:gd name="connsiteX880" fmla="*/ 2125980 w 3788092"/>
                    <a:gd name="connsiteY880" fmla="*/ 280035 h 2790825"/>
                    <a:gd name="connsiteX881" fmla="*/ 2085023 w 3788092"/>
                    <a:gd name="connsiteY881" fmla="*/ 284798 h 2790825"/>
                    <a:gd name="connsiteX882" fmla="*/ 2041207 w 3788092"/>
                    <a:gd name="connsiteY882" fmla="*/ 283845 h 2790825"/>
                    <a:gd name="connsiteX883" fmla="*/ 2013585 w 3788092"/>
                    <a:gd name="connsiteY883" fmla="*/ 274320 h 2790825"/>
                    <a:gd name="connsiteX884" fmla="*/ 2001202 w 3788092"/>
                    <a:gd name="connsiteY884" fmla="*/ 255270 h 2790825"/>
                    <a:gd name="connsiteX885" fmla="*/ 2012632 w 3788092"/>
                    <a:gd name="connsiteY885" fmla="*/ 249555 h 2790825"/>
                    <a:gd name="connsiteX886" fmla="*/ 2048827 w 3788092"/>
                    <a:gd name="connsiteY886" fmla="*/ 250508 h 2790825"/>
                    <a:gd name="connsiteX887" fmla="*/ 2109788 w 3788092"/>
                    <a:gd name="connsiteY887" fmla="*/ 241935 h 2790825"/>
                    <a:gd name="connsiteX888" fmla="*/ 2138363 w 3788092"/>
                    <a:gd name="connsiteY888" fmla="*/ 234315 h 2790825"/>
                    <a:gd name="connsiteX889" fmla="*/ 2167890 w 3788092"/>
                    <a:gd name="connsiteY889" fmla="*/ 233363 h 2790825"/>
                    <a:gd name="connsiteX890" fmla="*/ 2163127 w 3788092"/>
                    <a:gd name="connsiteY890" fmla="*/ 225743 h 2790825"/>
                    <a:gd name="connsiteX891" fmla="*/ 2180273 w 3788092"/>
                    <a:gd name="connsiteY891" fmla="*/ 221933 h 2790825"/>
                    <a:gd name="connsiteX892" fmla="*/ 2203133 w 3788092"/>
                    <a:gd name="connsiteY892" fmla="*/ 220028 h 2790825"/>
                    <a:gd name="connsiteX893" fmla="*/ 2256473 w 3788092"/>
                    <a:gd name="connsiteY893" fmla="*/ 220980 h 2790825"/>
                    <a:gd name="connsiteX894" fmla="*/ 2258377 w 3788092"/>
                    <a:gd name="connsiteY894" fmla="*/ 215265 h 2790825"/>
                    <a:gd name="connsiteX895" fmla="*/ 2233613 w 3788092"/>
                    <a:gd name="connsiteY895" fmla="*/ 209550 h 2790825"/>
                    <a:gd name="connsiteX896" fmla="*/ 2225040 w 3788092"/>
                    <a:gd name="connsiteY896" fmla="*/ 203835 h 2790825"/>
                    <a:gd name="connsiteX897" fmla="*/ 2249805 w 3788092"/>
                    <a:gd name="connsiteY897" fmla="*/ 186690 h 2790825"/>
                    <a:gd name="connsiteX898" fmla="*/ 2228850 w 3788092"/>
                    <a:gd name="connsiteY898" fmla="*/ 187643 h 2790825"/>
                    <a:gd name="connsiteX899" fmla="*/ 2200275 w 3788092"/>
                    <a:gd name="connsiteY899" fmla="*/ 200025 h 2790825"/>
                    <a:gd name="connsiteX900" fmla="*/ 2183130 w 3788092"/>
                    <a:gd name="connsiteY900" fmla="*/ 204788 h 2790825"/>
                    <a:gd name="connsiteX901" fmla="*/ 2139315 w 3788092"/>
                    <a:gd name="connsiteY901" fmla="*/ 207645 h 2790825"/>
                    <a:gd name="connsiteX902" fmla="*/ 2123123 w 3788092"/>
                    <a:gd name="connsiteY902" fmla="*/ 192405 h 2790825"/>
                    <a:gd name="connsiteX903" fmla="*/ 2131695 w 3788092"/>
                    <a:gd name="connsiteY903" fmla="*/ 180975 h 2790825"/>
                    <a:gd name="connsiteX904" fmla="*/ 2124075 w 3788092"/>
                    <a:gd name="connsiteY904" fmla="*/ 174308 h 2790825"/>
                    <a:gd name="connsiteX905" fmla="*/ 2111693 w 3788092"/>
                    <a:gd name="connsiteY905" fmla="*/ 186690 h 2790825"/>
                    <a:gd name="connsiteX906" fmla="*/ 2091690 w 3788092"/>
                    <a:gd name="connsiteY906" fmla="*/ 189548 h 2790825"/>
                    <a:gd name="connsiteX907" fmla="*/ 2072640 w 3788092"/>
                    <a:gd name="connsiteY907" fmla="*/ 180975 h 2790825"/>
                    <a:gd name="connsiteX908" fmla="*/ 2054543 w 3788092"/>
                    <a:gd name="connsiteY908" fmla="*/ 185738 h 2790825"/>
                    <a:gd name="connsiteX909" fmla="*/ 2061210 w 3788092"/>
                    <a:gd name="connsiteY909" fmla="*/ 195263 h 2790825"/>
                    <a:gd name="connsiteX910" fmla="*/ 2055495 w 3788092"/>
                    <a:gd name="connsiteY910" fmla="*/ 204788 h 2790825"/>
                    <a:gd name="connsiteX911" fmla="*/ 2074545 w 3788092"/>
                    <a:gd name="connsiteY911" fmla="*/ 213360 h 2790825"/>
                    <a:gd name="connsiteX912" fmla="*/ 2052638 w 3788092"/>
                    <a:gd name="connsiteY912" fmla="*/ 219075 h 2790825"/>
                    <a:gd name="connsiteX913" fmla="*/ 2032635 w 3788092"/>
                    <a:gd name="connsiteY913" fmla="*/ 229553 h 2790825"/>
                    <a:gd name="connsiteX914" fmla="*/ 1995488 w 3788092"/>
                    <a:gd name="connsiteY914" fmla="*/ 231458 h 2790825"/>
                    <a:gd name="connsiteX915" fmla="*/ 1952625 w 3788092"/>
                    <a:gd name="connsiteY915" fmla="*/ 232410 h 2790825"/>
                    <a:gd name="connsiteX916" fmla="*/ 1908810 w 3788092"/>
                    <a:gd name="connsiteY916" fmla="*/ 217170 h 2790825"/>
                    <a:gd name="connsiteX917" fmla="*/ 1887855 w 3788092"/>
                    <a:gd name="connsiteY917" fmla="*/ 205740 h 2790825"/>
                    <a:gd name="connsiteX918" fmla="*/ 1870710 w 3788092"/>
                    <a:gd name="connsiteY918" fmla="*/ 194310 h 2790825"/>
                    <a:gd name="connsiteX919" fmla="*/ 1844993 w 3788092"/>
                    <a:gd name="connsiteY919" fmla="*/ 188595 h 2790825"/>
                    <a:gd name="connsiteX920" fmla="*/ 1828800 w 3788092"/>
                    <a:gd name="connsiteY920" fmla="*/ 180975 h 2790825"/>
                    <a:gd name="connsiteX921" fmla="*/ 1824990 w 3788092"/>
                    <a:gd name="connsiteY921" fmla="*/ 170498 h 2790825"/>
                    <a:gd name="connsiteX922" fmla="*/ 1811655 w 3788092"/>
                    <a:gd name="connsiteY922" fmla="*/ 163830 h 2790825"/>
                    <a:gd name="connsiteX923" fmla="*/ 1804988 w 3788092"/>
                    <a:gd name="connsiteY923" fmla="*/ 152400 h 2790825"/>
                    <a:gd name="connsiteX924" fmla="*/ 1846898 w 3788092"/>
                    <a:gd name="connsiteY924" fmla="*/ 152400 h 2790825"/>
                    <a:gd name="connsiteX925" fmla="*/ 1830705 w 3788092"/>
                    <a:gd name="connsiteY925" fmla="*/ 135255 h 2790825"/>
                    <a:gd name="connsiteX926" fmla="*/ 1835468 w 3788092"/>
                    <a:gd name="connsiteY926" fmla="*/ 120015 h 2790825"/>
                    <a:gd name="connsiteX927" fmla="*/ 1803082 w 3788092"/>
                    <a:gd name="connsiteY927" fmla="*/ 120968 h 2790825"/>
                    <a:gd name="connsiteX928" fmla="*/ 1806893 w 3788092"/>
                    <a:gd name="connsiteY928" fmla="*/ 129540 h 2790825"/>
                    <a:gd name="connsiteX929" fmla="*/ 1785938 w 3788092"/>
                    <a:gd name="connsiteY929" fmla="*/ 139065 h 2790825"/>
                    <a:gd name="connsiteX930" fmla="*/ 1774507 w 3788092"/>
                    <a:gd name="connsiteY930" fmla="*/ 137160 h 2790825"/>
                    <a:gd name="connsiteX931" fmla="*/ 1752600 w 3788092"/>
                    <a:gd name="connsiteY931" fmla="*/ 119063 h 2790825"/>
                    <a:gd name="connsiteX932" fmla="*/ 1729740 w 3788092"/>
                    <a:gd name="connsiteY932" fmla="*/ 96203 h 2790825"/>
                    <a:gd name="connsiteX933" fmla="*/ 1733550 w 3788092"/>
                    <a:gd name="connsiteY933" fmla="*/ 83820 h 2790825"/>
                    <a:gd name="connsiteX934" fmla="*/ 1722120 w 3788092"/>
                    <a:gd name="connsiteY934" fmla="*/ 74295 h 2790825"/>
                    <a:gd name="connsiteX935" fmla="*/ 1736407 w 3788092"/>
                    <a:gd name="connsiteY935" fmla="*/ 67628 h 2790825"/>
                    <a:gd name="connsiteX936" fmla="*/ 1760220 w 3788092"/>
                    <a:gd name="connsiteY936" fmla="*/ 76200 h 2790825"/>
                    <a:gd name="connsiteX937" fmla="*/ 1767840 w 3788092"/>
                    <a:gd name="connsiteY937" fmla="*/ 69533 h 2790825"/>
                    <a:gd name="connsiteX938" fmla="*/ 1804035 w 3788092"/>
                    <a:gd name="connsiteY938" fmla="*/ 65723 h 2790825"/>
                    <a:gd name="connsiteX939" fmla="*/ 1847850 w 3788092"/>
                    <a:gd name="connsiteY939" fmla="*/ 76200 h 2790825"/>
                    <a:gd name="connsiteX940" fmla="*/ 1851660 w 3788092"/>
                    <a:gd name="connsiteY940" fmla="*/ 65723 h 2790825"/>
                    <a:gd name="connsiteX941" fmla="*/ 1891665 w 3788092"/>
                    <a:gd name="connsiteY941" fmla="*/ 70485 h 2790825"/>
                    <a:gd name="connsiteX942" fmla="*/ 1920240 w 3788092"/>
                    <a:gd name="connsiteY942" fmla="*/ 64770 h 2790825"/>
                    <a:gd name="connsiteX943" fmla="*/ 1967865 w 3788092"/>
                    <a:gd name="connsiteY943" fmla="*/ 61913 h 2790825"/>
                    <a:gd name="connsiteX944" fmla="*/ 1986915 w 3788092"/>
                    <a:gd name="connsiteY944" fmla="*/ 65723 h 2790825"/>
                    <a:gd name="connsiteX945" fmla="*/ 1977390 w 3788092"/>
                    <a:gd name="connsiteY945" fmla="*/ 76200 h 2790825"/>
                    <a:gd name="connsiteX946" fmla="*/ 1917382 w 3788092"/>
                    <a:gd name="connsiteY946" fmla="*/ 79058 h 2790825"/>
                    <a:gd name="connsiteX947" fmla="*/ 1879282 w 3788092"/>
                    <a:gd name="connsiteY947" fmla="*/ 91440 h 2790825"/>
                    <a:gd name="connsiteX948" fmla="*/ 1933575 w 3788092"/>
                    <a:gd name="connsiteY948" fmla="*/ 89535 h 2790825"/>
                    <a:gd name="connsiteX949" fmla="*/ 1943100 w 3788092"/>
                    <a:gd name="connsiteY949" fmla="*/ 90488 h 2790825"/>
                    <a:gd name="connsiteX950" fmla="*/ 1948815 w 3788092"/>
                    <a:gd name="connsiteY950" fmla="*/ 100965 h 2790825"/>
                    <a:gd name="connsiteX951" fmla="*/ 1977390 w 3788092"/>
                    <a:gd name="connsiteY951" fmla="*/ 105728 h 2790825"/>
                    <a:gd name="connsiteX952" fmla="*/ 1999298 w 3788092"/>
                    <a:gd name="connsiteY952" fmla="*/ 115253 h 2790825"/>
                    <a:gd name="connsiteX953" fmla="*/ 2006918 w 3788092"/>
                    <a:gd name="connsiteY953" fmla="*/ 110490 h 2790825"/>
                    <a:gd name="connsiteX954" fmla="*/ 2001202 w 3788092"/>
                    <a:gd name="connsiteY954" fmla="*/ 89535 h 2790825"/>
                    <a:gd name="connsiteX955" fmla="*/ 2043113 w 3788092"/>
                    <a:gd name="connsiteY955" fmla="*/ 67628 h 2790825"/>
                    <a:gd name="connsiteX956" fmla="*/ 2063115 w 3788092"/>
                    <a:gd name="connsiteY956" fmla="*/ 71438 h 2790825"/>
                    <a:gd name="connsiteX957" fmla="*/ 2083118 w 3788092"/>
                    <a:gd name="connsiteY957" fmla="*/ 80010 h 2790825"/>
                    <a:gd name="connsiteX958" fmla="*/ 2121218 w 3788092"/>
                    <a:gd name="connsiteY958" fmla="*/ 108585 h 2790825"/>
                    <a:gd name="connsiteX959" fmla="*/ 2143125 w 3788092"/>
                    <a:gd name="connsiteY959" fmla="*/ 126683 h 2790825"/>
                    <a:gd name="connsiteX960" fmla="*/ 2201227 w 3788092"/>
                    <a:gd name="connsiteY960" fmla="*/ 153353 h 2790825"/>
                    <a:gd name="connsiteX961" fmla="*/ 2194560 w 3788092"/>
                    <a:gd name="connsiteY961" fmla="*/ 139065 h 2790825"/>
                    <a:gd name="connsiteX962" fmla="*/ 2154555 w 3788092"/>
                    <a:gd name="connsiteY962" fmla="*/ 96203 h 2790825"/>
                    <a:gd name="connsiteX963" fmla="*/ 2145983 w 3788092"/>
                    <a:gd name="connsiteY963" fmla="*/ 80010 h 2790825"/>
                    <a:gd name="connsiteX964" fmla="*/ 2154555 w 3788092"/>
                    <a:gd name="connsiteY964" fmla="*/ 63818 h 2790825"/>
                    <a:gd name="connsiteX965" fmla="*/ 2165033 w 3788092"/>
                    <a:gd name="connsiteY965" fmla="*/ 59055 h 2790825"/>
                    <a:gd name="connsiteX966" fmla="*/ 2161223 w 3788092"/>
                    <a:gd name="connsiteY966" fmla="*/ 46673 h 2790825"/>
                    <a:gd name="connsiteX967" fmla="*/ 2173605 w 3788092"/>
                    <a:gd name="connsiteY967" fmla="*/ 41910 h 2790825"/>
                    <a:gd name="connsiteX968" fmla="*/ 2196465 w 3788092"/>
                    <a:gd name="connsiteY968" fmla="*/ 44768 h 2790825"/>
                    <a:gd name="connsiteX969" fmla="*/ 2221230 w 3788092"/>
                    <a:gd name="connsiteY969" fmla="*/ 57150 h 2790825"/>
                    <a:gd name="connsiteX970" fmla="*/ 3504248 w 3788092"/>
                    <a:gd name="connsiteY970" fmla="*/ 35243 h 2790825"/>
                    <a:gd name="connsiteX971" fmla="*/ 3428048 w 3788092"/>
                    <a:gd name="connsiteY971" fmla="*/ 39053 h 2790825"/>
                    <a:gd name="connsiteX972" fmla="*/ 3419475 w 3788092"/>
                    <a:gd name="connsiteY972" fmla="*/ 36195 h 2790825"/>
                    <a:gd name="connsiteX973" fmla="*/ 3569018 w 3788092"/>
                    <a:gd name="connsiteY973" fmla="*/ 22860 h 2790825"/>
                    <a:gd name="connsiteX974" fmla="*/ 3585210 w 3788092"/>
                    <a:gd name="connsiteY974" fmla="*/ 27623 h 2790825"/>
                    <a:gd name="connsiteX975" fmla="*/ 3504248 w 3788092"/>
                    <a:gd name="connsiteY975" fmla="*/ 35243 h 2790825"/>
                    <a:gd name="connsiteX976" fmla="*/ 2371725 w 3788092"/>
                    <a:gd name="connsiteY976" fmla="*/ 17145 h 2790825"/>
                    <a:gd name="connsiteX977" fmla="*/ 2354580 w 3788092"/>
                    <a:gd name="connsiteY977" fmla="*/ 22860 h 2790825"/>
                    <a:gd name="connsiteX978" fmla="*/ 2324100 w 3788092"/>
                    <a:gd name="connsiteY978" fmla="*/ 18098 h 2790825"/>
                    <a:gd name="connsiteX979" fmla="*/ 2332673 w 3788092"/>
                    <a:gd name="connsiteY979" fmla="*/ 11430 h 2790825"/>
                    <a:gd name="connsiteX980" fmla="*/ 2371725 w 3788092"/>
                    <a:gd name="connsiteY980" fmla="*/ 17145 h 2790825"/>
                    <a:gd name="connsiteX981" fmla="*/ 2548890 w 3788092"/>
                    <a:gd name="connsiteY981" fmla="*/ 21908 h 2790825"/>
                    <a:gd name="connsiteX982" fmla="*/ 2602230 w 3788092"/>
                    <a:gd name="connsiteY982" fmla="*/ 22860 h 2790825"/>
                    <a:gd name="connsiteX983" fmla="*/ 2616518 w 3788092"/>
                    <a:gd name="connsiteY983" fmla="*/ 31433 h 2790825"/>
                    <a:gd name="connsiteX984" fmla="*/ 2668905 w 3788092"/>
                    <a:gd name="connsiteY984" fmla="*/ 41910 h 2790825"/>
                    <a:gd name="connsiteX985" fmla="*/ 2676525 w 3788092"/>
                    <a:gd name="connsiteY985" fmla="*/ 27623 h 2790825"/>
                    <a:gd name="connsiteX986" fmla="*/ 2670810 w 3788092"/>
                    <a:gd name="connsiteY986" fmla="*/ 6668 h 2790825"/>
                    <a:gd name="connsiteX987" fmla="*/ 2688908 w 3788092"/>
                    <a:gd name="connsiteY987" fmla="*/ 5715 h 2790825"/>
                    <a:gd name="connsiteX988" fmla="*/ 2705100 w 3788092"/>
                    <a:gd name="connsiteY988" fmla="*/ 0 h 2790825"/>
                    <a:gd name="connsiteX989" fmla="*/ 2734627 w 3788092"/>
                    <a:gd name="connsiteY989" fmla="*/ 2857 h 2790825"/>
                    <a:gd name="connsiteX990" fmla="*/ 2736533 w 3788092"/>
                    <a:gd name="connsiteY990" fmla="*/ 15240 h 2790825"/>
                    <a:gd name="connsiteX991" fmla="*/ 2731770 w 3788092"/>
                    <a:gd name="connsiteY991" fmla="*/ 28575 h 2790825"/>
                    <a:gd name="connsiteX992" fmla="*/ 2751773 w 3788092"/>
                    <a:gd name="connsiteY992" fmla="*/ 29528 h 2790825"/>
                    <a:gd name="connsiteX993" fmla="*/ 2778443 w 3788092"/>
                    <a:gd name="connsiteY993" fmla="*/ 26670 h 2790825"/>
                    <a:gd name="connsiteX994" fmla="*/ 2796540 w 3788092"/>
                    <a:gd name="connsiteY994" fmla="*/ 16193 h 2790825"/>
                    <a:gd name="connsiteX995" fmla="*/ 2819400 w 3788092"/>
                    <a:gd name="connsiteY995" fmla="*/ 17145 h 2790825"/>
                    <a:gd name="connsiteX996" fmla="*/ 2831783 w 3788092"/>
                    <a:gd name="connsiteY996" fmla="*/ 11430 h 2790825"/>
                    <a:gd name="connsiteX997" fmla="*/ 2845118 w 3788092"/>
                    <a:gd name="connsiteY997" fmla="*/ 17145 h 2790825"/>
                    <a:gd name="connsiteX998" fmla="*/ 2923223 w 3788092"/>
                    <a:gd name="connsiteY998" fmla="*/ 23813 h 2790825"/>
                    <a:gd name="connsiteX999" fmla="*/ 2954655 w 3788092"/>
                    <a:gd name="connsiteY999" fmla="*/ 29528 h 2790825"/>
                    <a:gd name="connsiteX1000" fmla="*/ 3004185 w 3788092"/>
                    <a:gd name="connsiteY1000" fmla="*/ 29528 h 2790825"/>
                    <a:gd name="connsiteX1001" fmla="*/ 3039427 w 3788092"/>
                    <a:gd name="connsiteY1001" fmla="*/ 31433 h 2790825"/>
                    <a:gd name="connsiteX1002" fmla="*/ 3066098 w 3788092"/>
                    <a:gd name="connsiteY1002" fmla="*/ 40958 h 2790825"/>
                    <a:gd name="connsiteX1003" fmla="*/ 3076575 w 3788092"/>
                    <a:gd name="connsiteY1003" fmla="*/ 57150 h 2790825"/>
                    <a:gd name="connsiteX1004" fmla="*/ 3068002 w 3788092"/>
                    <a:gd name="connsiteY1004" fmla="*/ 60960 h 2790825"/>
                    <a:gd name="connsiteX1005" fmla="*/ 3004185 w 3788092"/>
                    <a:gd name="connsiteY1005" fmla="*/ 80010 h 2790825"/>
                    <a:gd name="connsiteX1006" fmla="*/ 2988945 w 3788092"/>
                    <a:gd name="connsiteY1006" fmla="*/ 86678 h 2790825"/>
                    <a:gd name="connsiteX1007" fmla="*/ 2966085 w 3788092"/>
                    <a:gd name="connsiteY1007" fmla="*/ 108585 h 2790825"/>
                    <a:gd name="connsiteX1008" fmla="*/ 2927033 w 3788092"/>
                    <a:gd name="connsiteY1008" fmla="*/ 115253 h 2790825"/>
                    <a:gd name="connsiteX1009" fmla="*/ 2893695 w 3788092"/>
                    <a:gd name="connsiteY1009" fmla="*/ 112395 h 2790825"/>
                    <a:gd name="connsiteX1010" fmla="*/ 2865120 w 3788092"/>
                    <a:gd name="connsiteY1010" fmla="*/ 119063 h 2790825"/>
                    <a:gd name="connsiteX1011" fmla="*/ 2847023 w 3788092"/>
                    <a:gd name="connsiteY1011" fmla="*/ 128588 h 2790825"/>
                    <a:gd name="connsiteX1012" fmla="*/ 2832735 w 3788092"/>
                    <a:gd name="connsiteY1012" fmla="*/ 130493 h 2790825"/>
                    <a:gd name="connsiteX1013" fmla="*/ 2745105 w 3788092"/>
                    <a:gd name="connsiteY1013" fmla="*/ 126683 h 2790825"/>
                    <a:gd name="connsiteX1014" fmla="*/ 2724150 w 3788092"/>
                    <a:gd name="connsiteY1014" fmla="*/ 116205 h 2790825"/>
                    <a:gd name="connsiteX1015" fmla="*/ 2735580 w 3788092"/>
                    <a:gd name="connsiteY1015" fmla="*/ 107633 h 2790825"/>
                    <a:gd name="connsiteX1016" fmla="*/ 2657475 w 3788092"/>
                    <a:gd name="connsiteY1016" fmla="*/ 110490 h 2790825"/>
                    <a:gd name="connsiteX1017" fmla="*/ 2569845 w 3788092"/>
                    <a:gd name="connsiteY1017" fmla="*/ 109538 h 2790825"/>
                    <a:gd name="connsiteX1018" fmla="*/ 2560320 w 3788092"/>
                    <a:gd name="connsiteY1018" fmla="*/ 104775 h 2790825"/>
                    <a:gd name="connsiteX1019" fmla="*/ 2506980 w 3788092"/>
                    <a:gd name="connsiteY1019" fmla="*/ 100013 h 2790825"/>
                    <a:gd name="connsiteX1020" fmla="*/ 2466975 w 3788092"/>
                    <a:gd name="connsiteY1020" fmla="*/ 89535 h 2790825"/>
                    <a:gd name="connsiteX1021" fmla="*/ 2477452 w 3788092"/>
                    <a:gd name="connsiteY1021" fmla="*/ 84773 h 2790825"/>
                    <a:gd name="connsiteX1022" fmla="*/ 2532698 w 3788092"/>
                    <a:gd name="connsiteY1022" fmla="*/ 84773 h 2790825"/>
                    <a:gd name="connsiteX1023" fmla="*/ 2526030 w 3788092"/>
                    <a:gd name="connsiteY1023" fmla="*/ 70485 h 2790825"/>
                    <a:gd name="connsiteX1024" fmla="*/ 2498408 w 3788092"/>
                    <a:gd name="connsiteY1024" fmla="*/ 69533 h 2790825"/>
                    <a:gd name="connsiteX1025" fmla="*/ 2481263 w 3788092"/>
                    <a:gd name="connsiteY1025" fmla="*/ 73343 h 2790825"/>
                    <a:gd name="connsiteX1026" fmla="*/ 2440305 w 3788092"/>
                    <a:gd name="connsiteY1026" fmla="*/ 75248 h 2790825"/>
                    <a:gd name="connsiteX1027" fmla="*/ 2402205 w 3788092"/>
                    <a:gd name="connsiteY1027" fmla="*/ 74295 h 2790825"/>
                    <a:gd name="connsiteX1028" fmla="*/ 2384108 w 3788092"/>
                    <a:gd name="connsiteY1028" fmla="*/ 71438 h 2790825"/>
                    <a:gd name="connsiteX1029" fmla="*/ 2347913 w 3788092"/>
                    <a:gd name="connsiteY1029" fmla="*/ 61913 h 2790825"/>
                    <a:gd name="connsiteX1030" fmla="*/ 2341245 w 3788092"/>
                    <a:gd name="connsiteY1030" fmla="*/ 54293 h 2790825"/>
                    <a:gd name="connsiteX1031" fmla="*/ 2367915 w 3788092"/>
                    <a:gd name="connsiteY1031" fmla="*/ 50483 h 2790825"/>
                    <a:gd name="connsiteX1032" fmla="*/ 2387918 w 3788092"/>
                    <a:gd name="connsiteY1032" fmla="*/ 43815 h 2790825"/>
                    <a:gd name="connsiteX1033" fmla="*/ 2345055 w 3788092"/>
                    <a:gd name="connsiteY1033" fmla="*/ 40958 h 2790825"/>
                    <a:gd name="connsiteX1034" fmla="*/ 2326958 w 3788092"/>
                    <a:gd name="connsiteY1034" fmla="*/ 38100 h 2790825"/>
                    <a:gd name="connsiteX1035" fmla="*/ 2321243 w 3788092"/>
                    <a:gd name="connsiteY1035" fmla="*/ 29528 h 2790825"/>
                    <a:gd name="connsiteX1036" fmla="*/ 2377440 w 3788092"/>
                    <a:gd name="connsiteY1036" fmla="*/ 27623 h 2790825"/>
                    <a:gd name="connsiteX1037" fmla="*/ 2425065 w 3788092"/>
                    <a:gd name="connsiteY1037" fmla="*/ 35243 h 2790825"/>
                    <a:gd name="connsiteX1038" fmla="*/ 2418398 w 3788092"/>
                    <a:gd name="connsiteY1038" fmla="*/ 14288 h 2790825"/>
                    <a:gd name="connsiteX1039" fmla="*/ 2455545 w 3788092"/>
                    <a:gd name="connsiteY1039" fmla="*/ 24765 h 2790825"/>
                    <a:gd name="connsiteX1040" fmla="*/ 2457450 w 3788092"/>
                    <a:gd name="connsiteY1040" fmla="*/ 14288 h 2790825"/>
                    <a:gd name="connsiteX1041" fmla="*/ 2438400 w 3788092"/>
                    <a:gd name="connsiteY1041" fmla="*/ 953 h 2790825"/>
                    <a:gd name="connsiteX1042" fmla="*/ 2457450 w 3788092"/>
                    <a:gd name="connsiteY1042" fmla="*/ 0 h 2790825"/>
                    <a:gd name="connsiteX1043" fmla="*/ 2500313 w 3788092"/>
                    <a:gd name="connsiteY1043" fmla="*/ 6668 h 2790825"/>
                    <a:gd name="connsiteX1044" fmla="*/ 2548890 w 3788092"/>
                    <a:gd name="connsiteY1044" fmla="*/ 21908 h 279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Lst>
                  <a:rect l="l" t="t" r="r" b="b"/>
                  <a:pathLst>
                    <a:path w="3788092" h="2790825">
                      <a:moveTo>
                        <a:pt x="1376363" y="2475548"/>
                      </a:moveTo>
                      <a:lnTo>
                        <a:pt x="1377315" y="2491740"/>
                      </a:lnTo>
                      <a:lnTo>
                        <a:pt x="1367790" y="2490788"/>
                      </a:lnTo>
                      <a:lnTo>
                        <a:pt x="1361123" y="2480310"/>
                      </a:lnTo>
                      <a:lnTo>
                        <a:pt x="1359218" y="2461260"/>
                      </a:lnTo>
                      <a:lnTo>
                        <a:pt x="1365885" y="2456498"/>
                      </a:lnTo>
                      <a:lnTo>
                        <a:pt x="1376363" y="2475548"/>
                      </a:lnTo>
                      <a:close/>
                      <a:moveTo>
                        <a:pt x="1359218" y="2369820"/>
                      </a:moveTo>
                      <a:lnTo>
                        <a:pt x="1342073" y="2369820"/>
                      </a:lnTo>
                      <a:lnTo>
                        <a:pt x="1344930" y="2357438"/>
                      </a:lnTo>
                      <a:lnTo>
                        <a:pt x="1353503" y="2354580"/>
                      </a:lnTo>
                      <a:lnTo>
                        <a:pt x="1359218" y="2369820"/>
                      </a:lnTo>
                      <a:close/>
                      <a:moveTo>
                        <a:pt x="1668780" y="2065973"/>
                      </a:moveTo>
                      <a:lnTo>
                        <a:pt x="1646873" y="2064068"/>
                      </a:lnTo>
                      <a:lnTo>
                        <a:pt x="1637348" y="2056448"/>
                      </a:lnTo>
                      <a:lnTo>
                        <a:pt x="1664018" y="2048828"/>
                      </a:lnTo>
                      <a:lnTo>
                        <a:pt x="1670685" y="2053590"/>
                      </a:lnTo>
                      <a:lnTo>
                        <a:pt x="1668780" y="2065973"/>
                      </a:lnTo>
                      <a:close/>
                      <a:moveTo>
                        <a:pt x="1703070" y="2022158"/>
                      </a:moveTo>
                      <a:lnTo>
                        <a:pt x="1700213" y="2013585"/>
                      </a:lnTo>
                      <a:lnTo>
                        <a:pt x="1725930" y="2007870"/>
                      </a:lnTo>
                      <a:lnTo>
                        <a:pt x="1734503" y="2017395"/>
                      </a:lnTo>
                      <a:lnTo>
                        <a:pt x="1703070" y="2022158"/>
                      </a:lnTo>
                      <a:close/>
                      <a:moveTo>
                        <a:pt x="1969770" y="1864043"/>
                      </a:moveTo>
                      <a:lnTo>
                        <a:pt x="1929765" y="1866900"/>
                      </a:lnTo>
                      <a:lnTo>
                        <a:pt x="1926907" y="1856423"/>
                      </a:lnTo>
                      <a:lnTo>
                        <a:pt x="1946910" y="1848803"/>
                      </a:lnTo>
                      <a:lnTo>
                        <a:pt x="1958340" y="1848803"/>
                      </a:lnTo>
                      <a:lnTo>
                        <a:pt x="1969770" y="1864043"/>
                      </a:lnTo>
                      <a:close/>
                      <a:moveTo>
                        <a:pt x="2034540" y="1764030"/>
                      </a:moveTo>
                      <a:lnTo>
                        <a:pt x="2015490" y="1766888"/>
                      </a:lnTo>
                      <a:lnTo>
                        <a:pt x="2016443" y="1756410"/>
                      </a:lnTo>
                      <a:lnTo>
                        <a:pt x="2033588" y="1753553"/>
                      </a:lnTo>
                      <a:lnTo>
                        <a:pt x="2034540" y="1764030"/>
                      </a:lnTo>
                      <a:close/>
                      <a:moveTo>
                        <a:pt x="2073593" y="1709738"/>
                      </a:moveTo>
                      <a:lnTo>
                        <a:pt x="2072640" y="1699260"/>
                      </a:lnTo>
                      <a:lnTo>
                        <a:pt x="2082165" y="1687830"/>
                      </a:lnTo>
                      <a:lnTo>
                        <a:pt x="2091690" y="1691640"/>
                      </a:lnTo>
                      <a:lnTo>
                        <a:pt x="2088832" y="1705928"/>
                      </a:lnTo>
                      <a:lnTo>
                        <a:pt x="2073593" y="1709738"/>
                      </a:lnTo>
                      <a:close/>
                      <a:moveTo>
                        <a:pt x="2103120" y="1472565"/>
                      </a:moveTo>
                      <a:lnTo>
                        <a:pt x="2088832" y="1479233"/>
                      </a:lnTo>
                      <a:lnTo>
                        <a:pt x="2099310" y="1454468"/>
                      </a:lnTo>
                      <a:lnTo>
                        <a:pt x="2109788" y="1447800"/>
                      </a:lnTo>
                      <a:lnTo>
                        <a:pt x="2113598" y="1462088"/>
                      </a:lnTo>
                      <a:lnTo>
                        <a:pt x="2103120" y="1472565"/>
                      </a:lnTo>
                      <a:close/>
                      <a:moveTo>
                        <a:pt x="2184083" y="1423035"/>
                      </a:moveTo>
                      <a:lnTo>
                        <a:pt x="2205990" y="1424940"/>
                      </a:lnTo>
                      <a:lnTo>
                        <a:pt x="2201227" y="1432560"/>
                      </a:lnTo>
                      <a:lnTo>
                        <a:pt x="2187893" y="1435418"/>
                      </a:lnTo>
                      <a:lnTo>
                        <a:pt x="2177415" y="1443038"/>
                      </a:lnTo>
                      <a:lnTo>
                        <a:pt x="2159318" y="1444943"/>
                      </a:lnTo>
                      <a:lnTo>
                        <a:pt x="2141220" y="1454468"/>
                      </a:lnTo>
                      <a:lnTo>
                        <a:pt x="2125980" y="1457325"/>
                      </a:lnTo>
                      <a:lnTo>
                        <a:pt x="2122170" y="1445895"/>
                      </a:lnTo>
                      <a:lnTo>
                        <a:pt x="2130743" y="1436370"/>
                      </a:lnTo>
                      <a:lnTo>
                        <a:pt x="2143125" y="1436370"/>
                      </a:lnTo>
                      <a:lnTo>
                        <a:pt x="2152650" y="1424940"/>
                      </a:lnTo>
                      <a:lnTo>
                        <a:pt x="2184083" y="1423035"/>
                      </a:lnTo>
                      <a:close/>
                      <a:moveTo>
                        <a:pt x="2302193" y="1337310"/>
                      </a:moveTo>
                      <a:lnTo>
                        <a:pt x="2323148" y="1357313"/>
                      </a:lnTo>
                      <a:lnTo>
                        <a:pt x="2320290" y="1371600"/>
                      </a:lnTo>
                      <a:lnTo>
                        <a:pt x="2308860" y="1378268"/>
                      </a:lnTo>
                      <a:lnTo>
                        <a:pt x="2277427" y="1379220"/>
                      </a:lnTo>
                      <a:lnTo>
                        <a:pt x="2262188" y="1370648"/>
                      </a:lnTo>
                      <a:lnTo>
                        <a:pt x="2241233" y="1376363"/>
                      </a:lnTo>
                      <a:lnTo>
                        <a:pt x="2225993" y="1365885"/>
                      </a:lnTo>
                      <a:lnTo>
                        <a:pt x="2241233" y="1352550"/>
                      </a:lnTo>
                      <a:lnTo>
                        <a:pt x="2265998" y="1356360"/>
                      </a:lnTo>
                      <a:lnTo>
                        <a:pt x="2270760" y="1340168"/>
                      </a:lnTo>
                      <a:lnTo>
                        <a:pt x="2286952" y="1343025"/>
                      </a:lnTo>
                      <a:lnTo>
                        <a:pt x="2290763" y="1328738"/>
                      </a:lnTo>
                      <a:lnTo>
                        <a:pt x="2302193" y="1337310"/>
                      </a:lnTo>
                      <a:close/>
                      <a:moveTo>
                        <a:pt x="2362200" y="1384935"/>
                      </a:moveTo>
                      <a:lnTo>
                        <a:pt x="2374583" y="1374458"/>
                      </a:lnTo>
                      <a:lnTo>
                        <a:pt x="2388870" y="1370648"/>
                      </a:lnTo>
                      <a:lnTo>
                        <a:pt x="2394585" y="1349693"/>
                      </a:lnTo>
                      <a:lnTo>
                        <a:pt x="2411730" y="1344930"/>
                      </a:lnTo>
                      <a:lnTo>
                        <a:pt x="2426970" y="1354455"/>
                      </a:lnTo>
                      <a:lnTo>
                        <a:pt x="2435543" y="1365885"/>
                      </a:lnTo>
                      <a:lnTo>
                        <a:pt x="2433638" y="1376363"/>
                      </a:lnTo>
                      <a:lnTo>
                        <a:pt x="2404110" y="1387793"/>
                      </a:lnTo>
                      <a:lnTo>
                        <a:pt x="2380298" y="1406843"/>
                      </a:lnTo>
                      <a:lnTo>
                        <a:pt x="2365058" y="1404938"/>
                      </a:lnTo>
                      <a:lnTo>
                        <a:pt x="2358390" y="1411605"/>
                      </a:lnTo>
                      <a:lnTo>
                        <a:pt x="2335530" y="1417320"/>
                      </a:lnTo>
                      <a:lnTo>
                        <a:pt x="2319338" y="1408748"/>
                      </a:lnTo>
                      <a:lnTo>
                        <a:pt x="2310765" y="1417320"/>
                      </a:lnTo>
                      <a:lnTo>
                        <a:pt x="2297430" y="1421130"/>
                      </a:lnTo>
                      <a:lnTo>
                        <a:pt x="2286000" y="1417320"/>
                      </a:lnTo>
                      <a:lnTo>
                        <a:pt x="2258377" y="1431608"/>
                      </a:lnTo>
                      <a:lnTo>
                        <a:pt x="2231708" y="1434465"/>
                      </a:lnTo>
                      <a:lnTo>
                        <a:pt x="2222183" y="1423988"/>
                      </a:lnTo>
                      <a:lnTo>
                        <a:pt x="2251710" y="1405890"/>
                      </a:lnTo>
                      <a:lnTo>
                        <a:pt x="2300288" y="1400175"/>
                      </a:lnTo>
                      <a:lnTo>
                        <a:pt x="2327910" y="1378268"/>
                      </a:lnTo>
                      <a:lnTo>
                        <a:pt x="2331720" y="1354455"/>
                      </a:lnTo>
                      <a:lnTo>
                        <a:pt x="2337435" y="1345883"/>
                      </a:lnTo>
                      <a:lnTo>
                        <a:pt x="2325052" y="1340168"/>
                      </a:lnTo>
                      <a:lnTo>
                        <a:pt x="2326958" y="1323975"/>
                      </a:lnTo>
                      <a:lnTo>
                        <a:pt x="2349818" y="1307783"/>
                      </a:lnTo>
                      <a:lnTo>
                        <a:pt x="2362200" y="1294448"/>
                      </a:lnTo>
                      <a:lnTo>
                        <a:pt x="2376488" y="1291590"/>
                      </a:lnTo>
                      <a:lnTo>
                        <a:pt x="2385060" y="1302068"/>
                      </a:lnTo>
                      <a:lnTo>
                        <a:pt x="2374583" y="1315403"/>
                      </a:lnTo>
                      <a:lnTo>
                        <a:pt x="2359343" y="1326833"/>
                      </a:lnTo>
                      <a:lnTo>
                        <a:pt x="2369820" y="1341120"/>
                      </a:lnTo>
                      <a:lnTo>
                        <a:pt x="2375535" y="1363980"/>
                      </a:lnTo>
                      <a:lnTo>
                        <a:pt x="2362200" y="1384935"/>
                      </a:lnTo>
                      <a:close/>
                      <a:moveTo>
                        <a:pt x="2509838" y="1254443"/>
                      </a:moveTo>
                      <a:lnTo>
                        <a:pt x="2523173" y="1262063"/>
                      </a:lnTo>
                      <a:lnTo>
                        <a:pt x="2537460" y="1259205"/>
                      </a:lnTo>
                      <a:lnTo>
                        <a:pt x="2559368" y="1265873"/>
                      </a:lnTo>
                      <a:lnTo>
                        <a:pt x="2568893" y="1280160"/>
                      </a:lnTo>
                      <a:lnTo>
                        <a:pt x="2557463" y="1288733"/>
                      </a:lnTo>
                      <a:lnTo>
                        <a:pt x="2561273" y="1304925"/>
                      </a:lnTo>
                      <a:lnTo>
                        <a:pt x="2525077" y="1309688"/>
                      </a:lnTo>
                      <a:lnTo>
                        <a:pt x="2516505" y="1304925"/>
                      </a:lnTo>
                      <a:lnTo>
                        <a:pt x="2502218" y="1313498"/>
                      </a:lnTo>
                      <a:lnTo>
                        <a:pt x="2488883" y="1326833"/>
                      </a:lnTo>
                      <a:lnTo>
                        <a:pt x="2467927" y="1321118"/>
                      </a:lnTo>
                      <a:lnTo>
                        <a:pt x="2469833" y="1305878"/>
                      </a:lnTo>
                      <a:lnTo>
                        <a:pt x="2466975" y="1283970"/>
                      </a:lnTo>
                      <a:lnTo>
                        <a:pt x="2473643" y="1279208"/>
                      </a:lnTo>
                      <a:lnTo>
                        <a:pt x="2501265" y="1282065"/>
                      </a:lnTo>
                      <a:lnTo>
                        <a:pt x="2497455" y="1263015"/>
                      </a:lnTo>
                      <a:lnTo>
                        <a:pt x="2509838" y="1254443"/>
                      </a:lnTo>
                      <a:close/>
                      <a:moveTo>
                        <a:pt x="3690938" y="1229678"/>
                      </a:moveTo>
                      <a:lnTo>
                        <a:pt x="3673793" y="1233488"/>
                      </a:lnTo>
                      <a:lnTo>
                        <a:pt x="3675698" y="1216343"/>
                      </a:lnTo>
                      <a:lnTo>
                        <a:pt x="3690938" y="1229678"/>
                      </a:lnTo>
                      <a:close/>
                      <a:moveTo>
                        <a:pt x="2810827" y="1193483"/>
                      </a:moveTo>
                      <a:lnTo>
                        <a:pt x="2798445" y="1197293"/>
                      </a:lnTo>
                      <a:lnTo>
                        <a:pt x="2781300" y="1194435"/>
                      </a:lnTo>
                      <a:lnTo>
                        <a:pt x="2774633" y="1184910"/>
                      </a:lnTo>
                      <a:lnTo>
                        <a:pt x="2795588" y="1175385"/>
                      </a:lnTo>
                      <a:lnTo>
                        <a:pt x="2811780" y="1178243"/>
                      </a:lnTo>
                      <a:lnTo>
                        <a:pt x="2810827" y="1193483"/>
                      </a:lnTo>
                      <a:close/>
                      <a:moveTo>
                        <a:pt x="2667000" y="1196340"/>
                      </a:moveTo>
                      <a:lnTo>
                        <a:pt x="2676525" y="1203008"/>
                      </a:lnTo>
                      <a:lnTo>
                        <a:pt x="2690813" y="1198245"/>
                      </a:lnTo>
                      <a:lnTo>
                        <a:pt x="2701290" y="1207770"/>
                      </a:lnTo>
                      <a:lnTo>
                        <a:pt x="2687955" y="1215390"/>
                      </a:lnTo>
                      <a:lnTo>
                        <a:pt x="2680335" y="1226820"/>
                      </a:lnTo>
                      <a:lnTo>
                        <a:pt x="2661285" y="1227773"/>
                      </a:lnTo>
                      <a:lnTo>
                        <a:pt x="2633663" y="1249680"/>
                      </a:lnTo>
                      <a:lnTo>
                        <a:pt x="2632710" y="1257300"/>
                      </a:lnTo>
                      <a:lnTo>
                        <a:pt x="2585085" y="1262063"/>
                      </a:lnTo>
                      <a:lnTo>
                        <a:pt x="2570798" y="1259205"/>
                      </a:lnTo>
                      <a:lnTo>
                        <a:pt x="2586990" y="1233488"/>
                      </a:lnTo>
                      <a:lnTo>
                        <a:pt x="2603183" y="1233488"/>
                      </a:lnTo>
                      <a:lnTo>
                        <a:pt x="2619375" y="1225868"/>
                      </a:lnTo>
                      <a:lnTo>
                        <a:pt x="2616518" y="1218248"/>
                      </a:lnTo>
                      <a:lnTo>
                        <a:pt x="2640330" y="1199198"/>
                      </a:lnTo>
                      <a:lnTo>
                        <a:pt x="2646045" y="1183005"/>
                      </a:lnTo>
                      <a:lnTo>
                        <a:pt x="2659380" y="1173480"/>
                      </a:lnTo>
                      <a:lnTo>
                        <a:pt x="2667000" y="1196340"/>
                      </a:lnTo>
                      <a:close/>
                      <a:moveTo>
                        <a:pt x="2712720" y="1177290"/>
                      </a:moveTo>
                      <a:lnTo>
                        <a:pt x="2726055" y="1179195"/>
                      </a:lnTo>
                      <a:lnTo>
                        <a:pt x="2738438" y="1194435"/>
                      </a:lnTo>
                      <a:lnTo>
                        <a:pt x="2716530" y="1194435"/>
                      </a:lnTo>
                      <a:lnTo>
                        <a:pt x="2697480" y="1177290"/>
                      </a:lnTo>
                      <a:lnTo>
                        <a:pt x="2712720" y="1177290"/>
                      </a:lnTo>
                      <a:close/>
                      <a:moveTo>
                        <a:pt x="3068002" y="1136333"/>
                      </a:moveTo>
                      <a:lnTo>
                        <a:pt x="3072765" y="1146810"/>
                      </a:lnTo>
                      <a:lnTo>
                        <a:pt x="3041333" y="1166813"/>
                      </a:lnTo>
                      <a:lnTo>
                        <a:pt x="3026093" y="1167765"/>
                      </a:lnTo>
                      <a:lnTo>
                        <a:pt x="3006090" y="1156335"/>
                      </a:lnTo>
                      <a:lnTo>
                        <a:pt x="3007043" y="1148715"/>
                      </a:lnTo>
                      <a:lnTo>
                        <a:pt x="3025140" y="1140143"/>
                      </a:lnTo>
                      <a:lnTo>
                        <a:pt x="3033713" y="1141095"/>
                      </a:lnTo>
                      <a:lnTo>
                        <a:pt x="3059430" y="1127760"/>
                      </a:lnTo>
                      <a:lnTo>
                        <a:pt x="3068002" y="1136333"/>
                      </a:lnTo>
                      <a:close/>
                      <a:moveTo>
                        <a:pt x="3105150" y="1133475"/>
                      </a:moveTo>
                      <a:lnTo>
                        <a:pt x="3088005" y="1138238"/>
                      </a:lnTo>
                      <a:lnTo>
                        <a:pt x="3071813" y="1129665"/>
                      </a:lnTo>
                      <a:lnTo>
                        <a:pt x="3069908" y="1114425"/>
                      </a:lnTo>
                      <a:lnTo>
                        <a:pt x="3077527" y="1111568"/>
                      </a:lnTo>
                      <a:lnTo>
                        <a:pt x="3108008" y="1122998"/>
                      </a:lnTo>
                      <a:lnTo>
                        <a:pt x="3105150" y="1133475"/>
                      </a:lnTo>
                      <a:close/>
                      <a:moveTo>
                        <a:pt x="3044190" y="1102995"/>
                      </a:moveTo>
                      <a:lnTo>
                        <a:pt x="3040380" y="1110615"/>
                      </a:lnTo>
                      <a:lnTo>
                        <a:pt x="3014663" y="1130618"/>
                      </a:lnTo>
                      <a:lnTo>
                        <a:pt x="2993708" y="1137285"/>
                      </a:lnTo>
                      <a:lnTo>
                        <a:pt x="2976563" y="1134428"/>
                      </a:lnTo>
                      <a:lnTo>
                        <a:pt x="2968943" y="1140143"/>
                      </a:lnTo>
                      <a:lnTo>
                        <a:pt x="2949893" y="1140143"/>
                      </a:lnTo>
                      <a:lnTo>
                        <a:pt x="2930843" y="1134428"/>
                      </a:lnTo>
                      <a:lnTo>
                        <a:pt x="2911793" y="1122998"/>
                      </a:lnTo>
                      <a:lnTo>
                        <a:pt x="2945130" y="1122045"/>
                      </a:lnTo>
                      <a:lnTo>
                        <a:pt x="2950845" y="1117283"/>
                      </a:lnTo>
                      <a:lnTo>
                        <a:pt x="2965133" y="1117283"/>
                      </a:lnTo>
                      <a:lnTo>
                        <a:pt x="2991802" y="1113473"/>
                      </a:lnTo>
                      <a:lnTo>
                        <a:pt x="3002280" y="1116330"/>
                      </a:lnTo>
                      <a:lnTo>
                        <a:pt x="3022283" y="1102995"/>
                      </a:lnTo>
                      <a:lnTo>
                        <a:pt x="3044190" y="1102995"/>
                      </a:lnTo>
                      <a:close/>
                      <a:moveTo>
                        <a:pt x="3621405" y="1326833"/>
                      </a:moveTo>
                      <a:lnTo>
                        <a:pt x="3605213" y="1314450"/>
                      </a:lnTo>
                      <a:lnTo>
                        <a:pt x="3605213" y="1307783"/>
                      </a:lnTo>
                      <a:lnTo>
                        <a:pt x="3635693" y="1280160"/>
                      </a:lnTo>
                      <a:lnTo>
                        <a:pt x="3642360" y="1270635"/>
                      </a:lnTo>
                      <a:lnTo>
                        <a:pt x="3617595" y="1244918"/>
                      </a:lnTo>
                      <a:lnTo>
                        <a:pt x="3583305" y="1237298"/>
                      </a:lnTo>
                      <a:lnTo>
                        <a:pt x="3543300" y="1226820"/>
                      </a:lnTo>
                      <a:lnTo>
                        <a:pt x="3503295" y="1207770"/>
                      </a:lnTo>
                      <a:lnTo>
                        <a:pt x="3486150" y="1196340"/>
                      </a:lnTo>
                      <a:lnTo>
                        <a:pt x="3458527" y="1199198"/>
                      </a:lnTo>
                      <a:lnTo>
                        <a:pt x="3425190" y="1214438"/>
                      </a:lnTo>
                      <a:lnTo>
                        <a:pt x="3416618" y="1216343"/>
                      </a:lnTo>
                      <a:lnTo>
                        <a:pt x="3380423" y="1212533"/>
                      </a:lnTo>
                      <a:lnTo>
                        <a:pt x="3360420" y="1214438"/>
                      </a:lnTo>
                      <a:lnTo>
                        <a:pt x="3344227" y="1231583"/>
                      </a:lnTo>
                      <a:lnTo>
                        <a:pt x="3319463" y="1247775"/>
                      </a:lnTo>
                      <a:lnTo>
                        <a:pt x="3312795" y="1283970"/>
                      </a:lnTo>
                      <a:lnTo>
                        <a:pt x="3307080" y="1300163"/>
                      </a:lnTo>
                      <a:lnTo>
                        <a:pt x="3313748" y="1330643"/>
                      </a:lnTo>
                      <a:lnTo>
                        <a:pt x="3299460" y="1343978"/>
                      </a:lnTo>
                      <a:lnTo>
                        <a:pt x="3279458" y="1346835"/>
                      </a:lnTo>
                      <a:lnTo>
                        <a:pt x="3264218" y="1359218"/>
                      </a:lnTo>
                      <a:lnTo>
                        <a:pt x="3259455" y="1375410"/>
                      </a:lnTo>
                      <a:lnTo>
                        <a:pt x="3247073" y="1381125"/>
                      </a:lnTo>
                      <a:lnTo>
                        <a:pt x="3222308" y="1373505"/>
                      </a:lnTo>
                      <a:lnTo>
                        <a:pt x="3185160" y="1365885"/>
                      </a:lnTo>
                      <a:lnTo>
                        <a:pt x="3150870" y="1355408"/>
                      </a:lnTo>
                      <a:lnTo>
                        <a:pt x="3136583" y="1354455"/>
                      </a:lnTo>
                      <a:lnTo>
                        <a:pt x="3125152" y="1365885"/>
                      </a:lnTo>
                      <a:lnTo>
                        <a:pt x="3089910" y="1374458"/>
                      </a:lnTo>
                      <a:lnTo>
                        <a:pt x="3072765" y="1375410"/>
                      </a:lnTo>
                      <a:lnTo>
                        <a:pt x="3065145" y="1370648"/>
                      </a:lnTo>
                      <a:lnTo>
                        <a:pt x="2999423" y="1364933"/>
                      </a:lnTo>
                      <a:lnTo>
                        <a:pt x="2986088" y="1347788"/>
                      </a:lnTo>
                      <a:lnTo>
                        <a:pt x="2910840" y="1295400"/>
                      </a:lnTo>
                      <a:lnTo>
                        <a:pt x="2876550" y="1295400"/>
                      </a:lnTo>
                      <a:lnTo>
                        <a:pt x="2858452" y="1305878"/>
                      </a:lnTo>
                      <a:lnTo>
                        <a:pt x="2867977" y="1319213"/>
                      </a:lnTo>
                      <a:lnTo>
                        <a:pt x="2863215" y="1324928"/>
                      </a:lnTo>
                      <a:lnTo>
                        <a:pt x="2845118" y="1321118"/>
                      </a:lnTo>
                      <a:lnTo>
                        <a:pt x="2825115" y="1321118"/>
                      </a:lnTo>
                      <a:lnTo>
                        <a:pt x="2820352" y="1324928"/>
                      </a:lnTo>
                      <a:lnTo>
                        <a:pt x="2771775" y="1326833"/>
                      </a:lnTo>
                      <a:lnTo>
                        <a:pt x="2796540" y="1342073"/>
                      </a:lnTo>
                      <a:lnTo>
                        <a:pt x="2797493" y="1361123"/>
                      </a:lnTo>
                      <a:lnTo>
                        <a:pt x="2784158" y="1379220"/>
                      </a:lnTo>
                      <a:lnTo>
                        <a:pt x="2768918" y="1387793"/>
                      </a:lnTo>
                      <a:lnTo>
                        <a:pt x="2796540" y="1396365"/>
                      </a:lnTo>
                      <a:lnTo>
                        <a:pt x="2772727" y="1411605"/>
                      </a:lnTo>
                      <a:lnTo>
                        <a:pt x="2763202" y="1410653"/>
                      </a:lnTo>
                      <a:lnTo>
                        <a:pt x="2681288" y="1394460"/>
                      </a:lnTo>
                      <a:lnTo>
                        <a:pt x="2653665" y="1393508"/>
                      </a:lnTo>
                      <a:lnTo>
                        <a:pt x="2614613" y="1384935"/>
                      </a:lnTo>
                      <a:lnTo>
                        <a:pt x="2594610" y="1389698"/>
                      </a:lnTo>
                      <a:lnTo>
                        <a:pt x="2594610" y="1397318"/>
                      </a:lnTo>
                      <a:lnTo>
                        <a:pt x="2602230" y="1431608"/>
                      </a:lnTo>
                      <a:lnTo>
                        <a:pt x="2582227" y="1461135"/>
                      </a:lnTo>
                      <a:lnTo>
                        <a:pt x="2522220" y="1443990"/>
                      </a:lnTo>
                      <a:lnTo>
                        <a:pt x="2507933" y="1452563"/>
                      </a:lnTo>
                      <a:lnTo>
                        <a:pt x="2472690" y="1470660"/>
                      </a:lnTo>
                      <a:lnTo>
                        <a:pt x="2458402" y="1503998"/>
                      </a:lnTo>
                      <a:lnTo>
                        <a:pt x="2447925" y="1514475"/>
                      </a:lnTo>
                      <a:lnTo>
                        <a:pt x="2422208" y="1520190"/>
                      </a:lnTo>
                      <a:lnTo>
                        <a:pt x="2417445" y="1530668"/>
                      </a:lnTo>
                      <a:lnTo>
                        <a:pt x="2443163" y="1552575"/>
                      </a:lnTo>
                      <a:lnTo>
                        <a:pt x="2452688" y="1564958"/>
                      </a:lnTo>
                      <a:lnTo>
                        <a:pt x="2450783" y="1578293"/>
                      </a:lnTo>
                      <a:lnTo>
                        <a:pt x="2436495" y="1587818"/>
                      </a:lnTo>
                      <a:lnTo>
                        <a:pt x="2405063" y="1615440"/>
                      </a:lnTo>
                      <a:lnTo>
                        <a:pt x="2376488" y="1643063"/>
                      </a:lnTo>
                      <a:lnTo>
                        <a:pt x="2364105" y="1651635"/>
                      </a:lnTo>
                      <a:lnTo>
                        <a:pt x="2373630" y="1675448"/>
                      </a:lnTo>
                      <a:lnTo>
                        <a:pt x="2342198" y="1689735"/>
                      </a:lnTo>
                      <a:lnTo>
                        <a:pt x="2319338" y="1694498"/>
                      </a:lnTo>
                      <a:lnTo>
                        <a:pt x="2283143" y="1698308"/>
                      </a:lnTo>
                      <a:lnTo>
                        <a:pt x="2296477" y="1735455"/>
                      </a:lnTo>
                      <a:lnTo>
                        <a:pt x="2290763" y="1761173"/>
                      </a:lnTo>
                      <a:lnTo>
                        <a:pt x="2289810" y="1805940"/>
                      </a:lnTo>
                      <a:lnTo>
                        <a:pt x="2258377" y="1853565"/>
                      </a:lnTo>
                      <a:lnTo>
                        <a:pt x="2216468" y="1901190"/>
                      </a:lnTo>
                      <a:lnTo>
                        <a:pt x="2261235" y="1916430"/>
                      </a:lnTo>
                      <a:lnTo>
                        <a:pt x="2271713" y="1944053"/>
                      </a:lnTo>
                      <a:lnTo>
                        <a:pt x="2272665" y="1955483"/>
                      </a:lnTo>
                      <a:lnTo>
                        <a:pt x="2256473" y="1976438"/>
                      </a:lnTo>
                      <a:lnTo>
                        <a:pt x="2188845" y="1967865"/>
                      </a:lnTo>
                      <a:lnTo>
                        <a:pt x="2157413" y="1971675"/>
                      </a:lnTo>
                      <a:lnTo>
                        <a:pt x="2125980" y="1985963"/>
                      </a:lnTo>
                      <a:lnTo>
                        <a:pt x="2092643" y="2022158"/>
                      </a:lnTo>
                      <a:lnTo>
                        <a:pt x="2081213" y="2031683"/>
                      </a:lnTo>
                      <a:lnTo>
                        <a:pt x="2085975" y="2045970"/>
                      </a:lnTo>
                      <a:lnTo>
                        <a:pt x="2066925" y="2072640"/>
                      </a:lnTo>
                      <a:lnTo>
                        <a:pt x="2092643" y="2111693"/>
                      </a:lnTo>
                      <a:lnTo>
                        <a:pt x="2082165" y="2122170"/>
                      </a:lnTo>
                      <a:lnTo>
                        <a:pt x="2087880" y="2148840"/>
                      </a:lnTo>
                      <a:lnTo>
                        <a:pt x="2086927" y="2165985"/>
                      </a:lnTo>
                      <a:lnTo>
                        <a:pt x="2110740" y="2207895"/>
                      </a:lnTo>
                      <a:lnTo>
                        <a:pt x="2110740" y="2223135"/>
                      </a:lnTo>
                      <a:lnTo>
                        <a:pt x="2102168" y="2284095"/>
                      </a:lnTo>
                      <a:lnTo>
                        <a:pt x="2138363" y="2304098"/>
                      </a:lnTo>
                      <a:lnTo>
                        <a:pt x="2149793" y="2307908"/>
                      </a:lnTo>
                      <a:lnTo>
                        <a:pt x="2182177" y="2333625"/>
                      </a:lnTo>
                      <a:lnTo>
                        <a:pt x="2178368" y="2351723"/>
                      </a:lnTo>
                      <a:lnTo>
                        <a:pt x="2165985" y="2375535"/>
                      </a:lnTo>
                      <a:lnTo>
                        <a:pt x="2143125" y="2375535"/>
                      </a:lnTo>
                      <a:lnTo>
                        <a:pt x="2125980" y="2381250"/>
                      </a:lnTo>
                      <a:lnTo>
                        <a:pt x="2128838" y="2396490"/>
                      </a:lnTo>
                      <a:lnTo>
                        <a:pt x="2158365" y="2443163"/>
                      </a:lnTo>
                      <a:lnTo>
                        <a:pt x="2163127" y="2456498"/>
                      </a:lnTo>
                      <a:lnTo>
                        <a:pt x="2157413" y="2476500"/>
                      </a:lnTo>
                      <a:lnTo>
                        <a:pt x="2156460" y="2503170"/>
                      </a:lnTo>
                      <a:lnTo>
                        <a:pt x="2138363" y="2522220"/>
                      </a:lnTo>
                      <a:lnTo>
                        <a:pt x="2125980" y="2529840"/>
                      </a:lnTo>
                      <a:lnTo>
                        <a:pt x="2101215" y="2536508"/>
                      </a:lnTo>
                      <a:lnTo>
                        <a:pt x="2092643" y="2559368"/>
                      </a:lnTo>
                      <a:lnTo>
                        <a:pt x="2078355" y="2573655"/>
                      </a:lnTo>
                      <a:lnTo>
                        <a:pt x="2093595" y="2615565"/>
                      </a:lnTo>
                      <a:lnTo>
                        <a:pt x="2087880" y="2652713"/>
                      </a:lnTo>
                      <a:lnTo>
                        <a:pt x="2081213" y="2666048"/>
                      </a:lnTo>
                      <a:lnTo>
                        <a:pt x="2063115" y="2667953"/>
                      </a:lnTo>
                      <a:lnTo>
                        <a:pt x="2053590" y="2650808"/>
                      </a:lnTo>
                      <a:lnTo>
                        <a:pt x="2049780" y="2641283"/>
                      </a:lnTo>
                      <a:lnTo>
                        <a:pt x="1992630" y="2629853"/>
                      </a:lnTo>
                      <a:lnTo>
                        <a:pt x="1970723" y="2602230"/>
                      </a:lnTo>
                      <a:lnTo>
                        <a:pt x="1966913" y="2572703"/>
                      </a:lnTo>
                      <a:lnTo>
                        <a:pt x="1943100" y="2584133"/>
                      </a:lnTo>
                      <a:lnTo>
                        <a:pt x="1948815" y="2594610"/>
                      </a:lnTo>
                      <a:lnTo>
                        <a:pt x="1948815" y="2616518"/>
                      </a:lnTo>
                      <a:lnTo>
                        <a:pt x="1925002" y="2653665"/>
                      </a:lnTo>
                      <a:lnTo>
                        <a:pt x="1914525" y="2651760"/>
                      </a:lnTo>
                      <a:lnTo>
                        <a:pt x="1902143" y="2659380"/>
                      </a:lnTo>
                      <a:lnTo>
                        <a:pt x="1889760" y="2661285"/>
                      </a:lnTo>
                      <a:lnTo>
                        <a:pt x="1884045" y="2651760"/>
                      </a:lnTo>
                      <a:lnTo>
                        <a:pt x="1873568" y="2653665"/>
                      </a:lnTo>
                      <a:lnTo>
                        <a:pt x="1865948" y="2663190"/>
                      </a:lnTo>
                      <a:lnTo>
                        <a:pt x="1833563" y="2675573"/>
                      </a:lnTo>
                      <a:lnTo>
                        <a:pt x="1843088" y="2682240"/>
                      </a:lnTo>
                      <a:lnTo>
                        <a:pt x="1826895" y="2691765"/>
                      </a:lnTo>
                      <a:lnTo>
                        <a:pt x="1821180" y="2700338"/>
                      </a:lnTo>
                      <a:lnTo>
                        <a:pt x="1795463" y="2714625"/>
                      </a:lnTo>
                      <a:lnTo>
                        <a:pt x="1754505" y="2751773"/>
                      </a:lnTo>
                      <a:lnTo>
                        <a:pt x="1732598" y="2762250"/>
                      </a:lnTo>
                      <a:lnTo>
                        <a:pt x="1717357" y="2773680"/>
                      </a:lnTo>
                      <a:lnTo>
                        <a:pt x="1704023" y="2773680"/>
                      </a:lnTo>
                      <a:lnTo>
                        <a:pt x="1686878" y="2782253"/>
                      </a:lnTo>
                      <a:lnTo>
                        <a:pt x="1643063" y="2790825"/>
                      </a:lnTo>
                      <a:lnTo>
                        <a:pt x="1613535" y="2787015"/>
                      </a:lnTo>
                      <a:lnTo>
                        <a:pt x="1593532" y="2790825"/>
                      </a:lnTo>
                      <a:lnTo>
                        <a:pt x="1583055" y="2784158"/>
                      </a:lnTo>
                      <a:lnTo>
                        <a:pt x="1583055" y="2773680"/>
                      </a:lnTo>
                      <a:lnTo>
                        <a:pt x="1571625" y="2772728"/>
                      </a:lnTo>
                      <a:lnTo>
                        <a:pt x="1564005" y="2784158"/>
                      </a:lnTo>
                      <a:lnTo>
                        <a:pt x="1548765" y="2780348"/>
                      </a:lnTo>
                      <a:lnTo>
                        <a:pt x="1555432" y="2757488"/>
                      </a:lnTo>
                      <a:lnTo>
                        <a:pt x="1525905" y="2756535"/>
                      </a:lnTo>
                      <a:lnTo>
                        <a:pt x="1489710" y="2741295"/>
                      </a:lnTo>
                      <a:lnTo>
                        <a:pt x="1481138" y="2733675"/>
                      </a:lnTo>
                      <a:lnTo>
                        <a:pt x="1451610" y="2721293"/>
                      </a:lnTo>
                      <a:lnTo>
                        <a:pt x="1438275" y="2707958"/>
                      </a:lnTo>
                      <a:lnTo>
                        <a:pt x="1430655" y="2692718"/>
                      </a:lnTo>
                      <a:lnTo>
                        <a:pt x="1433513" y="2658428"/>
                      </a:lnTo>
                      <a:lnTo>
                        <a:pt x="1439228" y="2653665"/>
                      </a:lnTo>
                      <a:lnTo>
                        <a:pt x="1464945" y="2661285"/>
                      </a:lnTo>
                      <a:lnTo>
                        <a:pt x="1491615" y="2673668"/>
                      </a:lnTo>
                      <a:lnTo>
                        <a:pt x="1490663" y="2662238"/>
                      </a:lnTo>
                      <a:lnTo>
                        <a:pt x="1467803" y="2646998"/>
                      </a:lnTo>
                      <a:lnTo>
                        <a:pt x="1475423" y="2629853"/>
                      </a:lnTo>
                      <a:lnTo>
                        <a:pt x="1473518" y="2614613"/>
                      </a:lnTo>
                      <a:lnTo>
                        <a:pt x="1498282" y="2594610"/>
                      </a:lnTo>
                      <a:lnTo>
                        <a:pt x="1494473" y="2587943"/>
                      </a:lnTo>
                      <a:lnTo>
                        <a:pt x="1462088" y="2606993"/>
                      </a:lnTo>
                      <a:lnTo>
                        <a:pt x="1432560" y="2615565"/>
                      </a:lnTo>
                      <a:lnTo>
                        <a:pt x="1422082" y="2626995"/>
                      </a:lnTo>
                      <a:lnTo>
                        <a:pt x="1411605" y="2632710"/>
                      </a:lnTo>
                      <a:lnTo>
                        <a:pt x="1391603" y="2632710"/>
                      </a:lnTo>
                      <a:lnTo>
                        <a:pt x="1386840" y="2624138"/>
                      </a:lnTo>
                      <a:lnTo>
                        <a:pt x="1391603" y="2592705"/>
                      </a:lnTo>
                      <a:lnTo>
                        <a:pt x="1403032" y="2566988"/>
                      </a:lnTo>
                      <a:lnTo>
                        <a:pt x="1420178" y="2557463"/>
                      </a:lnTo>
                      <a:lnTo>
                        <a:pt x="1452563" y="2564130"/>
                      </a:lnTo>
                      <a:lnTo>
                        <a:pt x="1462088" y="2554605"/>
                      </a:lnTo>
                      <a:lnTo>
                        <a:pt x="1474470" y="2552700"/>
                      </a:lnTo>
                      <a:lnTo>
                        <a:pt x="1497330" y="2541270"/>
                      </a:lnTo>
                      <a:lnTo>
                        <a:pt x="1458278" y="2546033"/>
                      </a:lnTo>
                      <a:lnTo>
                        <a:pt x="1446848" y="2536508"/>
                      </a:lnTo>
                      <a:lnTo>
                        <a:pt x="1473518" y="2513648"/>
                      </a:lnTo>
                      <a:lnTo>
                        <a:pt x="1484948" y="2500313"/>
                      </a:lnTo>
                      <a:lnTo>
                        <a:pt x="1487805" y="2486025"/>
                      </a:lnTo>
                      <a:lnTo>
                        <a:pt x="1508760" y="2469833"/>
                      </a:lnTo>
                      <a:lnTo>
                        <a:pt x="1525905" y="2462213"/>
                      </a:lnTo>
                      <a:lnTo>
                        <a:pt x="1541145" y="2467928"/>
                      </a:lnTo>
                      <a:lnTo>
                        <a:pt x="1555432" y="2449830"/>
                      </a:lnTo>
                      <a:lnTo>
                        <a:pt x="1507807" y="2460308"/>
                      </a:lnTo>
                      <a:lnTo>
                        <a:pt x="1488757" y="2470785"/>
                      </a:lnTo>
                      <a:lnTo>
                        <a:pt x="1463040" y="2497455"/>
                      </a:lnTo>
                      <a:lnTo>
                        <a:pt x="1461135" y="2507933"/>
                      </a:lnTo>
                      <a:lnTo>
                        <a:pt x="1442085" y="2516505"/>
                      </a:lnTo>
                      <a:lnTo>
                        <a:pt x="1427798" y="2530793"/>
                      </a:lnTo>
                      <a:lnTo>
                        <a:pt x="1422082" y="2542223"/>
                      </a:lnTo>
                      <a:lnTo>
                        <a:pt x="1395413" y="2560320"/>
                      </a:lnTo>
                      <a:lnTo>
                        <a:pt x="1382078" y="2563178"/>
                      </a:lnTo>
                      <a:lnTo>
                        <a:pt x="1382078" y="2540318"/>
                      </a:lnTo>
                      <a:lnTo>
                        <a:pt x="1392555" y="2521268"/>
                      </a:lnTo>
                      <a:lnTo>
                        <a:pt x="1389698" y="2506028"/>
                      </a:lnTo>
                      <a:lnTo>
                        <a:pt x="1420178" y="2507933"/>
                      </a:lnTo>
                      <a:lnTo>
                        <a:pt x="1437323" y="2496503"/>
                      </a:lnTo>
                      <a:lnTo>
                        <a:pt x="1411605" y="2496503"/>
                      </a:lnTo>
                      <a:lnTo>
                        <a:pt x="1398270" y="2489835"/>
                      </a:lnTo>
                      <a:lnTo>
                        <a:pt x="1386840" y="2475548"/>
                      </a:lnTo>
                      <a:lnTo>
                        <a:pt x="1381125" y="2457450"/>
                      </a:lnTo>
                      <a:lnTo>
                        <a:pt x="1391603" y="2440305"/>
                      </a:lnTo>
                      <a:lnTo>
                        <a:pt x="1370648" y="2421255"/>
                      </a:lnTo>
                      <a:lnTo>
                        <a:pt x="1365885" y="2400300"/>
                      </a:lnTo>
                      <a:lnTo>
                        <a:pt x="1364932" y="2376488"/>
                      </a:lnTo>
                      <a:lnTo>
                        <a:pt x="1373505" y="2371725"/>
                      </a:lnTo>
                      <a:lnTo>
                        <a:pt x="1393507" y="2375535"/>
                      </a:lnTo>
                      <a:lnTo>
                        <a:pt x="1416368" y="2373630"/>
                      </a:lnTo>
                      <a:lnTo>
                        <a:pt x="1465898" y="2365058"/>
                      </a:lnTo>
                      <a:lnTo>
                        <a:pt x="1498282" y="2370773"/>
                      </a:lnTo>
                      <a:lnTo>
                        <a:pt x="1511618" y="2369820"/>
                      </a:lnTo>
                      <a:lnTo>
                        <a:pt x="1530668" y="2363153"/>
                      </a:lnTo>
                      <a:lnTo>
                        <a:pt x="1548765" y="2362200"/>
                      </a:lnTo>
                      <a:lnTo>
                        <a:pt x="1569720" y="2373630"/>
                      </a:lnTo>
                      <a:lnTo>
                        <a:pt x="1576388" y="2368868"/>
                      </a:lnTo>
                      <a:lnTo>
                        <a:pt x="1627823" y="2357438"/>
                      </a:lnTo>
                      <a:lnTo>
                        <a:pt x="1599248" y="2343150"/>
                      </a:lnTo>
                      <a:lnTo>
                        <a:pt x="1600200" y="2356485"/>
                      </a:lnTo>
                      <a:lnTo>
                        <a:pt x="1565910" y="2359343"/>
                      </a:lnTo>
                      <a:lnTo>
                        <a:pt x="1535430" y="2353628"/>
                      </a:lnTo>
                      <a:lnTo>
                        <a:pt x="1523048" y="2347913"/>
                      </a:lnTo>
                      <a:lnTo>
                        <a:pt x="1518285" y="2360295"/>
                      </a:lnTo>
                      <a:lnTo>
                        <a:pt x="1507807" y="2363153"/>
                      </a:lnTo>
                      <a:lnTo>
                        <a:pt x="1475423" y="2358390"/>
                      </a:lnTo>
                      <a:lnTo>
                        <a:pt x="1430655" y="2361248"/>
                      </a:lnTo>
                      <a:lnTo>
                        <a:pt x="1410653" y="2367915"/>
                      </a:lnTo>
                      <a:lnTo>
                        <a:pt x="1397318" y="2366963"/>
                      </a:lnTo>
                      <a:lnTo>
                        <a:pt x="1373505" y="2355533"/>
                      </a:lnTo>
                      <a:lnTo>
                        <a:pt x="1364932" y="2346960"/>
                      </a:lnTo>
                      <a:lnTo>
                        <a:pt x="1362075" y="2322195"/>
                      </a:lnTo>
                      <a:lnTo>
                        <a:pt x="1388745" y="2319338"/>
                      </a:lnTo>
                      <a:lnTo>
                        <a:pt x="1370648" y="2297430"/>
                      </a:lnTo>
                      <a:lnTo>
                        <a:pt x="1352550" y="2285048"/>
                      </a:lnTo>
                      <a:lnTo>
                        <a:pt x="1350645" y="2271713"/>
                      </a:lnTo>
                      <a:lnTo>
                        <a:pt x="1357313" y="2259330"/>
                      </a:lnTo>
                      <a:lnTo>
                        <a:pt x="1371600" y="2261235"/>
                      </a:lnTo>
                      <a:lnTo>
                        <a:pt x="1407795" y="2260283"/>
                      </a:lnTo>
                      <a:lnTo>
                        <a:pt x="1464945" y="2274570"/>
                      </a:lnTo>
                      <a:lnTo>
                        <a:pt x="1511618" y="2271713"/>
                      </a:lnTo>
                      <a:lnTo>
                        <a:pt x="1503998" y="2265998"/>
                      </a:lnTo>
                      <a:lnTo>
                        <a:pt x="1476375" y="2265998"/>
                      </a:lnTo>
                      <a:lnTo>
                        <a:pt x="1407795" y="2253615"/>
                      </a:lnTo>
                      <a:lnTo>
                        <a:pt x="1386840" y="2254568"/>
                      </a:lnTo>
                      <a:lnTo>
                        <a:pt x="1375410" y="2251710"/>
                      </a:lnTo>
                      <a:lnTo>
                        <a:pt x="1368743" y="2242185"/>
                      </a:lnTo>
                      <a:lnTo>
                        <a:pt x="1372553" y="2224088"/>
                      </a:lnTo>
                      <a:lnTo>
                        <a:pt x="1383030" y="2220278"/>
                      </a:lnTo>
                      <a:lnTo>
                        <a:pt x="1394460" y="2225993"/>
                      </a:lnTo>
                      <a:lnTo>
                        <a:pt x="1412557" y="2204085"/>
                      </a:lnTo>
                      <a:lnTo>
                        <a:pt x="1430655" y="2194560"/>
                      </a:lnTo>
                      <a:lnTo>
                        <a:pt x="1449705" y="2189798"/>
                      </a:lnTo>
                      <a:lnTo>
                        <a:pt x="1468755" y="2199323"/>
                      </a:lnTo>
                      <a:lnTo>
                        <a:pt x="1481138" y="2198370"/>
                      </a:lnTo>
                      <a:lnTo>
                        <a:pt x="1519238" y="2190750"/>
                      </a:lnTo>
                      <a:lnTo>
                        <a:pt x="1506855" y="2185988"/>
                      </a:lnTo>
                      <a:lnTo>
                        <a:pt x="1473518" y="2190750"/>
                      </a:lnTo>
                      <a:lnTo>
                        <a:pt x="1471613" y="2185988"/>
                      </a:lnTo>
                      <a:lnTo>
                        <a:pt x="1494473" y="2164080"/>
                      </a:lnTo>
                      <a:lnTo>
                        <a:pt x="1534478" y="2160270"/>
                      </a:lnTo>
                      <a:lnTo>
                        <a:pt x="1590675" y="2165033"/>
                      </a:lnTo>
                      <a:lnTo>
                        <a:pt x="1612582" y="2172653"/>
                      </a:lnTo>
                      <a:lnTo>
                        <a:pt x="1616393" y="2155508"/>
                      </a:lnTo>
                      <a:lnTo>
                        <a:pt x="1666875" y="2142173"/>
                      </a:lnTo>
                      <a:lnTo>
                        <a:pt x="1602105" y="2149793"/>
                      </a:lnTo>
                      <a:lnTo>
                        <a:pt x="1584960" y="2145030"/>
                      </a:lnTo>
                      <a:lnTo>
                        <a:pt x="1538288" y="2151698"/>
                      </a:lnTo>
                      <a:lnTo>
                        <a:pt x="1537335" y="2139315"/>
                      </a:lnTo>
                      <a:lnTo>
                        <a:pt x="1559243" y="2117408"/>
                      </a:lnTo>
                      <a:lnTo>
                        <a:pt x="1598295" y="2108835"/>
                      </a:lnTo>
                      <a:lnTo>
                        <a:pt x="1616393" y="2098358"/>
                      </a:lnTo>
                      <a:lnTo>
                        <a:pt x="1645920" y="2096453"/>
                      </a:lnTo>
                      <a:lnTo>
                        <a:pt x="1670685" y="2099310"/>
                      </a:lnTo>
                      <a:lnTo>
                        <a:pt x="1682115" y="2111693"/>
                      </a:lnTo>
                      <a:lnTo>
                        <a:pt x="1724025" y="2127885"/>
                      </a:lnTo>
                      <a:lnTo>
                        <a:pt x="1675448" y="2089785"/>
                      </a:lnTo>
                      <a:lnTo>
                        <a:pt x="1685925" y="2073593"/>
                      </a:lnTo>
                      <a:lnTo>
                        <a:pt x="1717357" y="2069783"/>
                      </a:lnTo>
                      <a:lnTo>
                        <a:pt x="1717357" y="2054543"/>
                      </a:lnTo>
                      <a:lnTo>
                        <a:pt x="1696403" y="2051685"/>
                      </a:lnTo>
                      <a:lnTo>
                        <a:pt x="1696403" y="2040255"/>
                      </a:lnTo>
                      <a:lnTo>
                        <a:pt x="1714500" y="2031683"/>
                      </a:lnTo>
                      <a:lnTo>
                        <a:pt x="1741170" y="2025015"/>
                      </a:lnTo>
                      <a:lnTo>
                        <a:pt x="1771650" y="2032635"/>
                      </a:lnTo>
                      <a:lnTo>
                        <a:pt x="1765935" y="2045018"/>
                      </a:lnTo>
                      <a:lnTo>
                        <a:pt x="1774507" y="2049780"/>
                      </a:lnTo>
                      <a:lnTo>
                        <a:pt x="1790700" y="2035493"/>
                      </a:lnTo>
                      <a:lnTo>
                        <a:pt x="1827848" y="2027873"/>
                      </a:lnTo>
                      <a:lnTo>
                        <a:pt x="1854518" y="2047875"/>
                      </a:lnTo>
                      <a:lnTo>
                        <a:pt x="1859280" y="2058353"/>
                      </a:lnTo>
                      <a:lnTo>
                        <a:pt x="1869757" y="2053590"/>
                      </a:lnTo>
                      <a:lnTo>
                        <a:pt x="1895475" y="2048828"/>
                      </a:lnTo>
                      <a:lnTo>
                        <a:pt x="1921193" y="2051685"/>
                      </a:lnTo>
                      <a:lnTo>
                        <a:pt x="1938338" y="2049780"/>
                      </a:lnTo>
                      <a:lnTo>
                        <a:pt x="1928813" y="2037398"/>
                      </a:lnTo>
                      <a:lnTo>
                        <a:pt x="1932623" y="2027873"/>
                      </a:lnTo>
                      <a:lnTo>
                        <a:pt x="1955482" y="2018348"/>
                      </a:lnTo>
                      <a:lnTo>
                        <a:pt x="1971675" y="2015490"/>
                      </a:lnTo>
                      <a:lnTo>
                        <a:pt x="1996440" y="2004060"/>
                      </a:lnTo>
                      <a:lnTo>
                        <a:pt x="1988820" y="1994535"/>
                      </a:lnTo>
                      <a:lnTo>
                        <a:pt x="1975485" y="1991678"/>
                      </a:lnTo>
                      <a:lnTo>
                        <a:pt x="2003107" y="1977390"/>
                      </a:lnTo>
                      <a:lnTo>
                        <a:pt x="1986915" y="1971675"/>
                      </a:lnTo>
                      <a:lnTo>
                        <a:pt x="1964055" y="1980248"/>
                      </a:lnTo>
                      <a:lnTo>
                        <a:pt x="1948815" y="1988820"/>
                      </a:lnTo>
                      <a:lnTo>
                        <a:pt x="1963102" y="1998345"/>
                      </a:lnTo>
                      <a:lnTo>
                        <a:pt x="1952625" y="2008823"/>
                      </a:lnTo>
                      <a:lnTo>
                        <a:pt x="1894523" y="2035493"/>
                      </a:lnTo>
                      <a:lnTo>
                        <a:pt x="1865948" y="2043113"/>
                      </a:lnTo>
                      <a:lnTo>
                        <a:pt x="1852613" y="2042160"/>
                      </a:lnTo>
                      <a:lnTo>
                        <a:pt x="1834515" y="2018348"/>
                      </a:lnTo>
                      <a:lnTo>
                        <a:pt x="1814513" y="2017395"/>
                      </a:lnTo>
                      <a:lnTo>
                        <a:pt x="1826895" y="1996440"/>
                      </a:lnTo>
                      <a:lnTo>
                        <a:pt x="1842135" y="1988820"/>
                      </a:lnTo>
                      <a:lnTo>
                        <a:pt x="1855470" y="1966913"/>
                      </a:lnTo>
                      <a:lnTo>
                        <a:pt x="1877378" y="1954530"/>
                      </a:lnTo>
                      <a:lnTo>
                        <a:pt x="1907857" y="1923098"/>
                      </a:lnTo>
                      <a:lnTo>
                        <a:pt x="1934527" y="1912620"/>
                      </a:lnTo>
                      <a:lnTo>
                        <a:pt x="1943100" y="1902143"/>
                      </a:lnTo>
                      <a:lnTo>
                        <a:pt x="1971675" y="1887855"/>
                      </a:lnTo>
                      <a:lnTo>
                        <a:pt x="2000250" y="1879283"/>
                      </a:lnTo>
                      <a:lnTo>
                        <a:pt x="2003107" y="1869758"/>
                      </a:lnTo>
                      <a:lnTo>
                        <a:pt x="1977390" y="1878330"/>
                      </a:lnTo>
                      <a:lnTo>
                        <a:pt x="1981200" y="1858328"/>
                      </a:lnTo>
                      <a:lnTo>
                        <a:pt x="1994535" y="1848803"/>
                      </a:lnTo>
                      <a:lnTo>
                        <a:pt x="2059305" y="1822133"/>
                      </a:lnTo>
                      <a:lnTo>
                        <a:pt x="2074545" y="1834515"/>
                      </a:lnTo>
                      <a:lnTo>
                        <a:pt x="2094548" y="1832610"/>
                      </a:lnTo>
                      <a:lnTo>
                        <a:pt x="2116455" y="1817370"/>
                      </a:lnTo>
                      <a:lnTo>
                        <a:pt x="2113598" y="1810703"/>
                      </a:lnTo>
                      <a:lnTo>
                        <a:pt x="2093595" y="1820228"/>
                      </a:lnTo>
                      <a:lnTo>
                        <a:pt x="2079307" y="1820228"/>
                      </a:lnTo>
                      <a:lnTo>
                        <a:pt x="2075498" y="1814513"/>
                      </a:lnTo>
                      <a:lnTo>
                        <a:pt x="2055495" y="1809750"/>
                      </a:lnTo>
                      <a:lnTo>
                        <a:pt x="2052638" y="1798320"/>
                      </a:lnTo>
                      <a:lnTo>
                        <a:pt x="2065020" y="1771650"/>
                      </a:lnTo>
                      <a:lnTo>
                        <a:pt x="2097405" y="1740218"/>
                      </a:lnTo>
                      <a:lnTo>
                        <a:pt x="2102168" y="1727835"/>
                      </a:lnTo>
                      <a:lnTo>
                        <a:pt x="2114550" y="1721168"/>
                      </a:lnTo>
                      <a:lnTo>
                        <a:pt x="2130743" y="1723073"/>
                      </a:lnTo>
                      <a:lnTo>
                        <a:pt x="2128838" y="1712595"/>
                      </a:lnTo>
                      <a:lnTo>
                        <a:pt x="2108835" y="1702118"/>
                      </a:lnTo>
                      <a:lnTo>
                        <a:pt x="2167890" y="1691640"/>
                      </a:lnTo>
                      <a:lnTo>
                        <a:pt x="2196465" y="1691640"/>
                      </a:lnTo>
                      <a:lnTo>
                        <a:pt x="2219325" y="1683068"/>
                      </a:lnTo>
                      <a:lnTo>
                        <a:pt x="2224088" y="1673543"/>
                      </a:lnTo>
                      <a:lnTo>
                        <a:pt x="2163127" y="1684020"/>
                      </a:lnTo>
                      <a:lnTo>
                        <a:pt x="2140268" y="1684973"/>
                      </a:lnTo>
                      <a:lnTo>
                        <a:pt x="2132648" y="1659255"/>
                      </a:lnTo>
                      <a:lnTo>
                        <a:pt x="2134552" y="1644968"/>
                      </a:lnTo>
                      <a:lnTo>
                        <a:pt x="2152650" y="1624013"/>
                      </a:lnTo>
                      <a:lnTo>
                        <a:pt x="2165985" y="1622108"/>
                      </a:lnTo>
                      <a:lnTo>
                        <a:pt x="2182177" y="1611630"/>
                      </a:lnTo>
                      <a:lnTo>
                        <a:pt x="2183130" y="1597343"/>
                      </a:lnTo>
                      <a:lnTo>
                        <a:pt x="2205038" y="1589723"/>
                      </a:lnTo>
                      <a:lnTo>
                        <a:pt x="2225040" y="1569720"/>
                      </a:lnTo>
                      <a:lnTo>
                        <a:pt x="2246948" y="1564958"/>
                      </a:lnTo>
                      <a:lnTo>
                        <a:pt x="2260283" y="1566863"/>
                      </a:lnTo>
                      <a:lnTo>
                        <a:pt x="2288858" y="1560195"/>
                      </a:lnTo>
                      <a:lnTo>
                        <a:pt x="2351723" y="1559243"/>
                      </a:lnTo>
                      <a:lnTo>
                        <a:pt x="2352675" y="1553528"/>
                      </a:lnTo>
                      <a:lnTo>
                        <a:pt x="2292668" y="1550670"/>
                      </a:lnTo>
                      <a:lnTo>
                        <a:pt x="2259330" y="1552575"/>
                      </a:lnTo>
                      <a:lnTo>
                        <a:pt x="2255520" y="1546860"/>
                      </a:lnTo>
                      <a:lnTo>
                        <a:pt x="2282190" y="1521143"/>
                      </a:lnTo>
                      <a:lnTo>
                        <a:pt x="2301240" y="1511618"/>
                      </a:lnTo>
                      <a:lnTo>
                        <a:pt x="2317433" y="1513523"/>
                      </a:lnTo>
                      <a:lnTo>
                        <a:pt x="2334577" y="1523048"/>
                      </a:lnTo>
                      <a:lnTo>
                        <a:pt x="2340293" y="1515428"/>
                      </a:lnTo>
                      <a:lnTo>
                        <a:pt x="2325052" y="1501140"/>
                      </a:lnTo>
                      <a:lnTo>
                        <a:pt x="2331720" y="1486853"/>
                      </a:lnTo>
                      <a:lnTo>
                        <a:pt x="2306955" y="1497330"/>
                      </a:lnTo>
                      <a:lnTo>
                        <a:pt x="2289810" y="1500188"/>
                      </a:lnTo>
                      <a:lnTo>
                        <a:pt x="2281238" y="1481138"/>
                      </a:lnTo>
                      <a:lnTo>
                        <a:pt x="2303145" y="1462088"/>
                      </a:lnTo>
                      <a:lnTo>
                        <a:pt x="2325052" y="1462088"/>
                      </a:lnTo>
                      <a:lnTo>
                        <a:pt x="2327910" y="1447800"/>
                      </a:lnTo>
                      <a:lnTo>
                        <a:pt x="2359343" y="1435418"/>
                      </a:lnTo>
                      <a:lnTo>
                        <a:pt x="2377440" y="1433513"/>
                      </a:lnTo>
                      <a:lnTo>
                        <a:pt x="2391727" y="1427798"/>
                      </a:lnTo>
                      <a:lnTo>
                        <a:pt x="2397443" y="1431608"/>
                      </a:lnTo>
                      <a:lnTo>
                        <a:pt x="2406015" y="1453515"/>
                      </a:lnTo>
                      <a:lnTo>
                        <a:pt x="2420302" y="1456373"/>
                      </a:lnTo>
                      <a:lnTo>
                        <a:pt x="2429827" y="1448753"/>
                      </a:lnTo>
                      <a:lnTo>
                        <a:pt x="2417445" y="1438275"/>
                      </a:lnTo>
                      <a:lnTo>
                        <a:pt x="2406968" y="1421130"/>
                      </a:lnTo>
                      <a:lnTo>
                        <a:pt x="2426018" y="1406843"/>
                      </a:lnTo>
                      <a:lnTo>
                        <a:pt x="2447925" y="1404938"/>
                      </a:lnTo>
                      <a:lnTo>
                        <a:pt x="2472690" y="1411605"/>
                      </a:lnTo>
                      <a:lnTo>
                        <a:pt x="2494598" y="1409700"/>
                      </a:lnTo>
                      <a:lnTo>
                        <a:pt x="2503170" y="1398270"/>
                      </a:lnTo>
                      <a:lnTo>
                        <a:pt x="2443163" y="1397318"/>
                      </a:lnTo>
                      <a:lnTo>
                        <a:pt x="2435543" y="1388745"/>
                      </a:lnTo>
                      <a:lnTo>
                        <a:pt x="2446973" y="1377315"/>
                      </a:lnTo>
                      <a:lnTo>
                        <a:pt x="2467927" y="1369695"/>
                      </a:lnTo>
                      <a:lnTo>
                        <a:pt x="2491740" y="1368743"/>
                      </a:lnTo>
                      <a:lnTo>
                        <a:pt x="2514600" y="1355408"/>
                      </a:lnTo>
                      <a:lnTo>
                        <a:pt x="2523173" y="1344930"/>
                      </a:lnTo>
                      <a:lnTo>
                        <a:pt x="2526030" y="1329690"/>
                      </a:lnTo>
                      <a:lnTo>
                        <a:pt x="2539365" y="1317308"/>
                      </a:lnTo>
                      <a:lnTo>
                        <a:pt x="2576513" y="1309688"/>
                      </a:lnTo>
                      <a:lnTo>
                        <a:pt x="2570798" y="1288733"/>
                      </a:lnTo>
                      <a:lnTo>
                        <a:pt x="2578418" y="1275398"/>
                      </a:lnTo>
                      <a:lnTo>
                        <a:pt x="2587943" y="1269683"/>
                      </a:lnTo>
                      <a:lnTo>
                        <a:pt x="2607945" y="1283970"/>
                      </a:lnTo>
                      <a:lnTo>
                        <a:pt x="2625090" y="1288733"/>
                      </a:lnTo>
                      <a:lnTo>
                        <a:pt x="2620327" y="1275398"/>
                      </a:lnTo>
                      <a:lnTo>
                        <a:pt x="2623185" y="1263968"/>
                      </a:lnTo>
                      <a:lnTo>
                        <a:pt x="2643188" y="1263968"/>
                      </a:lnTo>
                      <a:lnTo>
                        <a:pt x="2652713" y="1259205"/>
                      </a:lnTo>
                      <a:lnTo>
                        <a:pt x="2655570" y="1246823"/>
                      </a:lnTo>
                      <a:lnTo>
                        <a:pt x="2668905" y="1235393"/>
                      </a:lnTo>
                      <a:lnTo>
                        <a:pt x="2713673" y="1228725"/>
                      </a:lnTo>
                      <a:lnTo>
                        <a:pt x="2718435" y="1252538"/>
                      </a:lnTo>
                      <a:lnTo>
                        <a:pt x="2725102" y="1265873"/>
                      </a:lnTo>
                      <a:lnTo>
                        <a:pt x="2732723" y="1239203"/>
                      </a:lnTo>
                      <a:lnTo>
                        <a:pt x="2747963" y="1219200"/>
                      </a:lnTo>
                      <a:lnTo>
                        <a:pt x="2770823" y="1210628"/>
                      </a:lnTo>
                      <a:lnTo>
                        <a:pt x="2779395" y="1221105"/>
                      </a:lnTo>
                      <a:lnTo>
                        <a:pt x="2775585" y="1262063"/>
                      </a:lnTo>
                      <a:lnTo>
                        <a:pt x="2757488" y="1284923"/>
                      </a:lnTo>
                      <a:lnTo>
                        <a:pt x="2771775" y="1283018"/>
                      </a:lnTo>
                      <a:lnTo>
                        <a:pt x="2795588" y="1261110"/>
                      </a:lnTo>
                      <a:lnTo>
                        <a:pt x="2801302" y="1249680"/>
                      </a:lnTo>
                      <a:lnTo>
                        <a:pt x="2794635" y="1223010"/>
                      </a:lnTo>
                      <a:lnTo>
                        <a:pt x="2800350" y="1215390"/>
                      </a:lnTo>
                      <a:lnTo>
                        <a:pt x="2833688" y="1214438"/>
                      </a:lnTo>
                      <a:lnTo>
                        <a:pt x="2851785" y="1218248"/>
                      </a:lnTo>
                      <a:lnTo>
                        <a:pt x="2858452" y="1203960"/>
                      </a:lnTo>
                      <a:lnTo>
                        <a:pt x="2874645" y="1203008"/>
                      </a:lnTo>
                      <a:lnTo>
                        <a:pt x="2891790" y="1211580"/>
                      </a:lnTo>
                      <a:lnTo>
                        <a:pt x="2930843" y="1224915"/>
                      </a:lnTo>
                      <a:lnTo>
                        <a:pt x="2918460" y="1203960"/>
                      </a:lnTo>
                      <a:lnTo>
                        <a:pt x="2908935" y="1196340"/>
                      </a:lnTo>
                      <a:lnTo>
                        <a:pt x="2888933" y="1191578"/>
                      </a:lnTo>
                      <a:lnTo>
                        <a:pt x="2867977" y="1182053"/>
                      </a:lnTo>
                      <a:lnTo>
                        <a:pt x="2879408" y="1172528"/>
                      </a:lnTo>
                      <a:lnTo>
                        <a:pt x="2902268" y="1175385"/>
                      </a:lnTo>
                      <a:lnTo>
                        <a:pt x="2921318" y="1167765"/>
                      </a:lnTo>
                      <a:lnTo>
                        <a:pt x="2942273" y="1165860"/>
                      </a:lnTo>
                      <a:lnTo>
                        <a:pt x="2952750" y="1171575"/>
                      </a:lnTo>
                      <a:lnTo>
                        <a:pt x="2960370" y="1162050"/>
                      </a:lnTo>
                      <a:lnTo>
                        <a:pt x="2984183" y="1157288"/>
                      </a:lnTo>
                      <a:lnTo>
                        <a:pt x="3010852" y="1165860"/>
                      </a:lnTo>
                      <a:lnTo>
                        <a:pt x="3026093" y="1191578"/>
                      </a:lnTo>
                      <a:lnTo>
                        <a:pt x="3048952" y="1204913"/>
                      </a:lnTo>
                      <a:lnTo>
                        <a:pt x="3048000" y="1191578"/>
                      </a:lnTo>
                      <a:lnTo>
                        <a:pt x="3053715" y="1173480"/>
                      </a:lnTo>
                      <a:lnTo>
                        <a:pt x="3075623" y="1154430"/>
                      </a:lnTo>
                      <a:lnTo>
                        <a:pt x="3095625" y="1144905"/>
                      </a:lnTo>
                      <a:lnTo>
                        <a:pt x="3108960" y="1143953"/>
                      </a:lnTo>
                      <a:lnTo>
                        <a:pt x="3136583" y="1111568"/>
                      </a:lnTo>
                      <a:lnTo>
                        <a:pt x="3121343" y="1102043"/>
                      </a:lnTo>
                      <a:lnTo>
                        <a:pt x="3152775" y="1080135"/>
                      </a:lnTo>
                      <a:lnTo>
                        <a:pt x="3163252" y="1079183"/>
                      </a:lnTo>
                      <a:lnTo>
                        <a:pt x="3214688" y="1099185"/>
                      </a:lnTo>
                      <a:lnTo>
                        <a:pt x="3228975" y="1090613"/>
                      </a:lnTo>
                      <a:lnTo>
                        <a:pt x="3261360" y="1098233"/>
                      </a:lnTo>
                      <a:lnTo>
                        <a:pt x="3253740" y="1107758"/>
                      </a:lnTo>
                      <a:lnTo>
                        <a:pt x="3224213" y="1135380"/>
                      </a:lnTo>
                      <a:lnTo>
                        <a:pt x="3219450" y="1143000"/>
                      </a:lnTo>
                      <a:lnTo>
                        <a:pt x="3218498" y="1163955"/>
                      </a:lnTo>
                      <a:lnTo>
                        <a:pt x="3207068" y="1177290"/>
                      </a:lnTo>
                      <a:lnTo>
                        <a:pt x="3214688" y="1190625"/>
                      </a:lnTo>
                      <a:lnTo>
                        <a:pt x="3229927" y="1186815"/>
                      </a:lnTo>
                      <a:lnTo>
                        <a:pt x="3247073" y="1174433"/>
                      </a:lnTo>
                      <a:lnTo>
                        <a:pt x="3248025" y="1162050"/>
                      </a:lnTo>
                      <a:lnTo>
                        <a:pt x="3288983" y="1126808"/>
                      </a:lnTo>
                      <a:lnTo>
                        <a:pt x="3307080" y="1106805"/>
                      </a:lnTo>
                      <a:lnTo>
                        <a:pt x="3328988" y="1090613"/>
                      </a:lnTo>
                      <a:lnTo>
                        <a:pt x="3343275" y="1087755"/>
                      </a:lnTo>
                      <a:lnTo>
                        <a:pt x="3351848" y="1098233"/>
                      </a:lnTo>
                      <a:lnTo>
                        <a:pt x="3349943" y="1112520"/>
                      </a:lnTo>
                      <a:lnTo>
                        <a:pt x="3351848" y="1153478"/>
                      </a:lnTo>
                      <a:lnTo>
                        <a:pt x="3387090" y="1140143"/>
                      </a:lnTo>
                      <a:lnTo>
                        <a:pt x="3397568" y="1111568"/>
                      </a:lnTo>
                      <a:lnTo>
                        <a:pt x="3408045" y="1104900"/>
                      </a:lnTo>
                      <a:lnTo>
                        <a:pt x="3400425" y="1091565"/>
                      </a:lnTo>
                      <a:lnTo>
                        <a:pt x="3404235" y="1081088"/>
                      </a:lnTo>
                      <a:lnTo>
                        <a:pt x="3426143" y="1068705"/>
                      </a:lnTo>
                      <a:lnTo>
                        <a:pt x="3447098" y="1072515"/>
                      </a:lnTo>
                      <a:lnTo>
                        <a:pt x="3478530" y="1075373"/>
                      </a:lnTo>
                      <a:lnTo>
                        <a:pt x="3504248" y="1082993"/>
                      </a:lnTo>
                      <a:lnTo>
                        <a:pt x="3506152" y="1096328"/>
                      </a:lnTo>
                      <a:lnTo>
                        <a:pt x="3498533" y="1104900"/>
                      </a:lnTo>
                      <a:lnTo>
                        <a:pt x="3470910" y="1115378"/>
                      </a:lnTo>
                      <a:lnTo>
                        <a:pt x="3477577" y="1122045"/>
                      </a:lnTo>
                      <a:lnTo>
                        <a:pt x="3496627" y="1116330"/>
                      </a:lnTo>
                      <a:lnTo>
                        <a:pt x="3505200" y="1168718"/>
                      </a:lnTo>
                      <a:lnTo>
                        <a:pt x="3513773" y="1148715"/>
                      </a:lnTo>
                      <a:lnTo>
                        <a:pt x="3523298" y="1142048"/>
                      </a:lnTo>
                      <a:lnTo>
                        <a:pt x="3524250" y="1127760"/>
                      </a:lnTo>
                      <a:lnTo>
                        <a:pt x="3531870" y="1109663"/>
                      </a:lnTo>
                      <a:lnTo>
                        <a:pt x="3549015" y="1097280"/>
                      </a:lnTo>
                      <a:lnTo>
                        <a:pt x="3574733" y="1097280"/>
                      </a:lnTo>
                      <a:lnTo>
                        <a:pt x="3606165" y="1113473"/>
                      </a:lnTo>
                      <a:lnTo>
                        <a:pt x="3629977" y="1116330"/>
                      </a:lnTo>
                      <a:lnTo>
                        <a:pt x="3647123" y="1123950"/>
                      </a:lnTo>
                      <a:lnTo>
                        <a:pt x="3669983" y="1117283"/>
                      </a:lnTo>
                      <a:lnTo>
                        <a:pt x="3689033" y="1126808"/>
                      </a:lnTo>
                      <a:lnTo>
                        <a:pt x="3689985" y="1136333"/>
                      </a:lnTo>
                      <a:lnTo>
                        <a:pt x="3726180" y="1139190"/>
                      </a:lnTo>
                      <a:lnTo>
                        <a:pt x="3762375" y="1154430"/>
                      </a:lnTo>
                      <a:lnTo>
                        <a:pt x="3768090" y="1169670"/>
                      </a:lnTo>
                      <a:lnTo>
                        <a:pt x="3726180" y="1179195"/>
                      </a:lnTo>
                      <a:lnTo>
                        <a:pt x="3709035" y="1188720"/>
                      </a:lnTo>
                      <a:lnTo>
                        <a:pt x="3677602" y="1192530"/>
                      </a:lnTo>
                      <a:lnTo>
                        <a:pt x="3568065" y="1185863"/>
                      </a:lnTo>
                      <a:lnTo>
                        <a:pt x="3571875" y="1192530"/>
                      </a:lnTo>
                      <a:lnTo>
                        <a:pt x="3650933" y="1206818"/>
                      </a:lnTo>
                      <a:lnTo>
                        <a:pt x="3656648" y="1211580"/>
                      </a:lnTo>
                      <a:lnTo>
                        <a:pt x="3660458" y="1231583"/>
                      </a:lnTo>
                      <a:lnTo>
                        <a:pt x="3677602" y="1238250"/>
                      </a:lnTo>
                      <a:lnTo>
                        <a:pt x="3710940" y="1236345"/>
                      </a:lnTo>
                      <a:lnTo>
                        <a:pt x="3710940" y="1223963"/>
                      </a:lnTo>
                      <a:lnTo>
                        <a:pt x="3741420" y="1229678"/>
                      </a:lnTo>
                      <a:lnTo>
                        <a:pt x="3777615" y="1231583"/>
                      </a:lnTo>
                      <a:lnTo>
                        <a:pt x="3788093" y="1247775"/>
                      </a:lnTo>
                      <a:lnTo>
                        <a:pt x="3785235" y="1262063"/>
                      </a:lnTo>
                      <a:lnTo>
                        <a:pt x="3762375" y="1263015"/>
                      </a:lnTo>
                      <a:lnTo>
                        <a:pt x="3722370" y="1249680"/>
                      </a:lnTo>
                      <a:lnTo>
                        <a:pt x="3718560" y="1271588"/>
                      </a:lnTo>
                      <a:lnTo>
                        <a:pt x="3708083" y="1280160"/>
                      </a:lnTo>
                      <a:lnTo>
                        <a:pt x="3652838" y="1292543"/>
                      </a:lnTo>
                      <a:lnTo>
                        <a:pt x="3642360" y="1317308"/>
                      </a:lnTo>
                      <a:lnTo>
                        <a:pt x="3621405" y="1326833"/>
                      </a:lnTo>
                      <a:close/>
                      <a:moveTo>
                        <a:pt x="3235643" y="1062990"/>
                      </a:moveTo>
                      <a:lnTo>
                        <a:pt x="3270885" y="1067753"/>
                      </a:lnTo>
                      <a:lnTo>
                        <a:pt x="3291840" y="1081088"/>
                      </a:lnTo>
                      <a:lnTo>
                        <a:pt x="3257550" y="1085850"/>
                      </a:lnTo>
                      <a:lnTo>
                        <a:pt x="3241358" y="1084898"/>
                      </a:lnTo>
                      <a:lnTo>
                        <a:pt x="3222308" y="1067753"/>
                      </a:lnTo>
                      <a:lnTo>
                        <a:pt x="3235643" y="1062990"/>
                      </a:lnTo>
                      <a:close/>
                      <a:moveTo>
                        <a:pt x="953" y="1100138"/>
                      </a:moveTo>
                      <a:lnTo>
                        <a:pt x="0" y="1090613"/>
                      </a:lnTo>
                      <a:lnTo>
                        <a:pt x="42863" y="1076325"/>
                      </a:lnTo>
                      <a:lnTo>
                        <a:pt x="60960" y="1062990"/>
                      </a:lnTo>
                      <a:lnTo>
                        <a:pt x="93345" y="1058228"/>
                      </a:lnTo>
                      <a:lnTo>
                        <a:pt x="91440" y="1075373"/>
                      </a:lnTo>
                      <a:lnTo>
                        <a:pt x="62865" y="1082993"/>
                      </a:lnTo>
                      <a:lnTo>
                        <a:pt x="31432" y="1087755"/>
                      </a:lnTo>
                      <a:lnTo>
                        <a:pt x="953" y="1100138"/>
                      </a:lnTo>
                      <a:close/>
                      <a:moveTo>
                        <a:pt x="2565083" y="671513"/>
                      </a:moveTo>
                      <a:lnTo>
                        <a:pt x="2555558" y="676275"/>
                      </a:lnTo>
                      <a:lnTo>
                        <a:pt x="2537460" y="668655"/>
                      </a:lnTo>
                      <a:lnTo>
                        <a:pt x="2529840" y="657225"/>
                      </a:lnTo>
                      <a:lnTo>
                        <a:pt x="2558415" y="656273"/>
                      </a:lnTo>
                      <a:lnTo>
                        <a:pt x="2565083" y="671513"/>
                      </a:lnTo>
                      <a:close/>
                      <a:moveTo>
                        <a:pt x="2656523" y="194310"/>
                      </a:moveTo>
                      <a:lnTo>
                        <a:pt x="2693670" y="196215"/>
                      </a:lnTo>
                      <a:lnTo>
                        <a:pt x="2712720" y="214313"/>
                      </a:lnTo>
                      <a:lnTo>
                        <a:pt x="2726055" y="233363"/>
                      </a:lnTo>
                      <a:lnTo>
                        <a:pt x="2738438" y="235268"/>
                      </a:lnTo>
                      <a:lnTo>
                        <a:pt x="2783205" y="231458"/>
                      </a:lnTo>
                      <a:lnTo>
                        <a:pt x="2815590" y="238125"/>
                      </a:lnTo>
                      <a:lnTo>
                        <a:pt x="2802255" y="248603"/>
                      </a:lnTo>
                      <a:lnTo>
                        <a:pt x="2802255" y="260033"/>
                      </a:lnTo>
                      <a:lnTo>
                        <a:pt x="2854643" y="272415"/>
                      </a:lnTo>
                      <a:lnTo>
                        <a:pt x="2871788" y="273368"/>
                      </a:lnTo>
                      <a:lnTo>
                        <a:pt x="2900363" y="269558"/>
                      </a:lnTo>
                      <a:lnTo>
                        <a:pt x="2962275" y="285750"/>
                      </a:lnTo>
                      <a:lnTo>
                        <a:pt x="2899410" y="296228"/>
                      </a:lnTo>
                      <a:lnTo>
                        <a:pt x="2880360" y="314325"/>
                      </a:lnTo>
                      <a:lnTo>
                        <a:pt x="2845118" y="326708"/>
                      </a:lnTo>
                      <a:lnTo>
                        <a:pt x="2820352" y="326708"/>
                      </a:lnTo>
                      <a:lnTo>
                        <a:pt x="2798445" y="339090"/>
                      </a:lnTo>
                      <a:lnTo>
                        <a:pt x="2777490" y="340043"/>
                      </a:lnTo>
                      <a:lnTo>
                        <a:pt x="2763202" y="321945"/>
                      </a:lnTo>
                      <a:lnTo>
                        <a:pt x="2784158" y="309563"/>
                      </a:lnTo>
                      <a:lnTo>
                        <a:pt x="2754630" y="305753"/>
                      </a:lnTo>
                      <a:lnTo>
                        <a:pt x="2743200" y="310515"/>
                      </a:lnTo>
                      <a:lnTo>
                        <a:pt x="2643188" y="320040"/>
                      </a:lnTo>
                      <a:lnTo>
                        <a:pt x="2632710" y="318135"/>
                      </a:lnTo>
                      <a:lnTo>
                        <a:pt x="2624138" y="306705"/>
                      </a:lnTo>
                      <a:lnTo>
                        <a:pt x="2650808" y="300990"/>
                      </a:lnTo>
                      <a:lnTo>
                        <a:pt x="2652713" y="290513"/>
                      </a:lnTo>
                      <a:lnTo>
                        <a:pt x="2676525" y="267653"/>
                      </a:lnTo>
                      <a:lnTo>
                        <a:pt x="2624138" y="252413"/>
                      </a:lnTo>
                      <a:lnTo>
                        <a:pt x="2605088" y="240983"/>
                      </a:lnTo>
                      <a:lnTo>
                        <a:pt x="2597468" y="231458"/>
                      </a:lnTo>
                      <a:lnTo>
                        <a:pt x="2573655" y="222885"/>
                      </a:lnTo>
                      <a:lnTo>
                        <a:pt x="2573655" y="213360"/>
                      </a:lnTo>
                      <a:lnTo>
                        <a:pt x="2557463" y="214313"/>
                      </a:lnTo>
                      <a:lnTo>
                        <a:pt x="2553652" y="202883"/>
                      </a:lnTo>
                      <a:lnTo>
                        <a:pt x="2656523" y="194310"/>
                      </a:lnTo>
                      <a:close/>
                      <a:moveTo>
                        <a:pt x="3096577" y="188595"/>
                      </a:moveTo>
                      <a:lnTo>
                        <a:pt x="3084195" y="188595"/>
                      </a:lnTo>
                      <a:lnTo>
                        <a:pt x="3059430" y="180975"/>
                      </a:lnTo>
                      <a:lnTo>
                        <a:pt x="3066098" y="171450"/>
                      </a:lnTo>
                      <a:lnTo>
                        <a:pt x="3096577" y="188595"/>
                      </a:lnTo>
                      <a:close/>
                      <a:moveTo>
                        <a:pt x="1785938" y="192405"/>
                      </a:moveTo>
                      <a:lnTo>
                        <a:pt x="1819275" y="206693"/>
                      </a:lnTo>
                      <a:lnTo>
                        <a:pt x="1837373" y="211455"/>
                      </a:lnTo>
                      <a:lnTo>
                        <a:pt x="1859280" y="225743"/>
                      </a:lnTo>
                      <a:lnTo>
                        <a:pt x="1852613" y="234315"/>
                      </a:lnTo>
                      <a:lnTo>
                        <a:pt x="1833563" y="222885"/>
                      </a:lnTo>
                      <a:lnTo>
                        <a:pt x="1799273" y="210503"/>
                      </a:lnTo>
                      <a:lnTo>
                        <a:pt x="1777365" y="208598"/>
                      </a:lnTo>
                      <a:lnTo>
                        <a:pt x="1745932" y="184785"/>
                      </a:lnTo>
                      <a:lnTo>
                        <a:pt x="1731645" y="177165"/>
                      </a:lnTo>
                      <a:lnTo>
                        <a:pt x="1724025" y="160973"/>
                      </a:lnTo>
                      <a:lnTo>
                        <a:pt x="1758315" y="167640"/>
                      </a:lnTo>
                      <a:lnTo>
                        <a:pt x="1773555" y="177165"/>
                      </a:lnTo>
                      <a:lnTo>
                        <a:pt x="1770698" y="184785"/>
                      </a:lnTo>
                      <a:lnTo>
                        <a:pt x="1785938" y="192405"/>
                      </a:lnTo>
                      <a:close/>
                      <a:moveTo>
                        <a:pt x="3268027" y="160020"/>
                      </a:moveTo>
                      <a:lnTo>
                        <a:pt x="3293745" y="160973"/>
                      </a:lnTo>
                      <a:lnTo>
                        <a:pt x="3292793" y="166688"/>
                      </a:lnTo>
                      <a:lnTo>
                        <a:pt x="3223260" y="162878"/>
                      </a:lnTo>
                      <a:lnTo>
                        <a:pt x="3187065" y="169545"/>
                      </a:lnTo>
                      <a:lnTo>
                        <a:pt x="3190875" y="160973"/>
                      </a:lnTo>
                      <a:lnTo>
                        <a:pt x="3213735" y="155258"/>
                      </a:lnTo>
                      <a:lnTo>
                        <a:pt x="3248977" y="154305"/>
                      </a:lnTo>
                      <a:lnTo>
                        <a:pt x="3268027" y="160020"/>
                      </a:lnTo>
                      <a:close/>
                      <a:moveTo>
                        <a:pt x="2221230" y="57150"/>
                      </a:moveTo>
                      <a:lnTo>
                        <a:pt x="2234565" y="51435"/>
                      </a:lnTo>
                      <a:lnTo>
                        <a:pt x="2286000" y="59055"/>
                      </a:lnTo>
                      <a:lnTo>
                        <a:pt x="2309813" y="67628"/>
                      </a:lnTo>
                      <a:lnTo>
                        <a:pt x="2322195" y="77153"/>
                      </a:lnTo>
                      <a:lnTo>
                        <a:pt x="2304098" y="95250"/>
                      </a:lnTo>
                      <a:lnTo>
                        <a:pt x="2320290" y="104775"/>
                      </a:lnTo>
                      <a:lnTo>
                        <a:pt x="2350770" y="88583"/>
                      </a:lnTo>
                      <a:lnTo>
                        <a:pt x="2376488" y="91440"/>
                      </a:lnTo>
                      <a:lnTo>
                        <a:pt x="2392680" y="100013"/>
                      </a:lnTo>
                      <a:lnTo>
                        <a:pt x="2402205" y="110490"/>
                      </a:lnTo>
                      <a:lnTo>
                        <a:pt x="2400300" y="123825"/>
                      </a:lnTo>
                      <a:lnTo>
                        <a:pt x="2429827" y="134303"/>
                      </a:lnTo>
                      <a:lnTo>
                        <a:pt x="2462213" y="132398"/>
                      </a:lnTo>
                      <a:lnTo>
                        <a:pt x="2485073" y="135255"/>
                      </a:lnTo>
                      <a:lnTo>
                        <a:pt x="2499360" y="144780"/>
                      </a:lnTo>
                      <a:lnTo>
                        <a:pt x="2517458" y="142875"/>
                      </a:lnTo>
                      <a:lnTo>
                        <a:pt x="2519363" y="135255"/>
                      </a:lnTo>
                      <a:lnTo>
                        <a:pt x="2544127" y="137160"/>
                      </a:lnTo>
                      <a:lnTo>
                        <a:pt x="2572702" y="144780"/>
                      </a:lnTo>
                      <a:lnTo>
                        <a:pt x="2552700" y="153353"/>
                      </a:lnTo>
                      <a:lnTo>
                        <a:pt x="2572702" y="160973"/>
                      </a:lnTo>
                      <a:lnTo>
                        <a:pt x="2605088" y="166688"/>
                      </a:lnTo>
                      <a:lnTo>
                        <a:pt x="2625090" y="172403"/>
                      </a:lnTo>
                      <a:lnTo>
                        <a:pt x="2610802" y="185738"/>
                      </a:lnTo>
                      <a:lnTo>
                        <a:pt x="2580323" y="185738"/>
                      </a:lnTo>
                      <a:lnTo>
                        <a:pt x="2552700" y="188595"/>
                      </a:lnTo>
                      <a:lnTo>
                        <a:pt x="2501265" y="191453"/>
                      </a:lnTo>
                      <a:lnTo>
                        <a:pt x="2472690" y="206693"/>
                      </a:lnTo>
                      <a:lnTo>
                        <a:pt x="2448877" y="223838"/>
                      </a:lnTo>
                      <a:lnTo>
                        <a:pt x="2445068" y="239078"/>
                      </a:lnTo>
                      <a:lnTo>
                        <a:pt x="2450783" y="249555"/>
                      </a:lnTo>
                      <a:lnTo>
                        <a:pt x="2436495" y="254318"/>
                      </a:lnTo>
                      <a:lnTo>
                        <a:pt x="2405063" y="256223"/>
                      </a:lnTo>
                      <a:lnTo>
                        <a:pt x="2406968" y="293370"/>
                      </a:lnTo>
                      <a:lnTo>
                        <a:pt x="2399348" y="311468"/>
                      </a:lnTo>
                      <a:lnTo>
                        <a:pt x="2367915" y="314325"/>
                      </a:lnTo>
                      <a:lnTo>
                        <a:pt x="2350770" y="324803"/>
                      </a:lnTo>
                      <a:lnTo>
                        <a:pt x="2339340" y="344805"/>
                      </a:lnTo>
                      <a:lnTo>
                        <a:pt x="2319338" y="363855"/>
                      </a:lnTo>
                      <a:lnTo>
                        <a:pt x="2328863" y="373380"/>
                      </a:lnTo>
                      <a:lnTo>
                        <a:pt x="2308860" y="391478"/>
                      </a:lnTo>
                      <a:lnTo>
                        <a:pt x="2320290" y="408623"/>
                      </a:lnTo>
                      <a:lnTo>
                        <a:pt x="2310765" y="414338"/>
                      </a:lnTo>
                      <a:lnTo>
                        <a:pt x="2290763" y="417195"/>
                      </a:lnTo>
                      <a:lnTo>
                        <a:pt x="2269808" y="414338"/>
                      </a:lnTo>
                      <a:lnTo>
                        <a:pt x="2247900" y="403860"/>
                      </a:lnTo>
                      <a:lnTo>
                        <a:pt x="2184083" y="382905"/>
                      </a:lnTo>
                      <a:lnTo>
                        <a:pt x="2143125" y="360045"/>
                      </a:lnTo>
                      <a:lnTo>
                        <a:pt x="2085975" y="347663"/>
                      </a:lnTo>
                      <a:lnTo>
                        <a:pt x="2054543" y="332423"/>
                      </a:lnTo>
                      <a:lnTo>
                        <a:pt x="2040255" y="320040"/>
                      </a:lnTo>
                      <a:lnTo>
                        <a:pt x="2043113" y="306705"/>
                      </a:lnTo>
                      <a:lnTo>
                        <a:pt x="2069782" y="304800"/>
                      </a:lnTo>
                      <a:lnTo>
                        <a:pt x="2097405" y="311468"/>
                      </a:lnTo>
                      <a:lnTo>
                        <a:pt x="2113598" y="293370"/>
                      </a:lnTo>
                      <a:lnTo>
                        <a:pt x="2221230" y="282893"/>
                      </a:lnTo>
                      <a:lnTo>
                        <a:pt x="2290763" y="280988"/>
                      </a:lnTo>
                      <a:lnTo>
                        <a:pt x="2272665" y="268605"/>
                      </a:lnTo>
                      <a:lnTo>
                        <a:pt x="2206943" y="275273"/>
                      </a:lnTo>
                      <a:lnTo>
                        <a:pt x="2165985" y="273368"/>
                      </a:lnTo>
                      <a:lnTo>
                        <a:pt x="2145983" y="274320"/>
                      </a:lnTo>
                      <a:lnTo>
                        <a:pt x="2125980" y="280035"/>
                      </a:lnTo>
                      <a:lnTo>
                        <a:pt x="2085023" y="284798"/>
                      </a:lnTo>
                      <a:lnTo>
                        <a:pt x="2041207" y="283845"/>
                      </a:lnTo>
                      <a:lnTo>
                        <a:pt x="2013585" y="274320"/>
                      </a:lnTo>
                      <a:lnTo>
                        <a:pt x="2001202" y="255270"/>
                      </a:lnTo>
                      <a:lnTo>
                        <a:pt x="2012632" y="249555"/>
                      </a:lnTo>
                      <a:lnTo>
                        <a:pt x="2048827" y="250508"/>
                      </a:lnTo>
                      <a:lnTo>
                        <a:pt x="2109788" y="241935"/>
                      </a:lnTo>
                      <a:lnTo>
                        <a:pt x="2138363" y="234315"/>
                      </a:lnTo>
                      <a:lnTo>
                        <a:pt x="2167890" y="233363"/>
                      </a:lnTo>
                      <a:lnTo>
                        <a:pt x="2163127" y="225743"/>
                      </a:lnTo>
                      <a:lnTo>
                        <a:pt x="2180273" y="221933"/>
                      </a:lnTo>
                      <a:lnTo>
                        <a:pt x="2203133" y="220028"/>
                      </a:lnTo>
                      <a:lnTo>
                        <a:pt x="2256473" y="220980"/>
                      </a:lnTo>
                      <a:lnTo>
                        <a:pt x="2258377" y="215265"/>
                      </a:lnTo>
                      <a:lnTo>
                        <a:pt x="2233613" y="209550"/>
                      </a:lnTo>
                      <a:lnTo>
                        <a:pt x="2225040" y="203835"/>
                      </a:lnTo>
                      <a:lnTo>
                        <a:pt x="2249805" y="186690"/>
                      </a:lnTo>
                      <a:lnTo>
                        <a:pt x="2228850" y="187643"/>
                      </a:lnTo>
                      <a:lnTo>
                        <a:pt x="2200275" y="200025"/>
                      </a:lnTo>
                      <a:lnTo>
                        <a:pt x="2183130" y="204788"/>
                      </a:lnTo>
                      <a:lnTo>
                        <a:pt x="2139315" y="207645"/>
                      </a:lnTo>
                      <a:lnTo>
                        <a:pt x="2123123" y="192405"/>
                      </a:lnTo>
                      <a:lnTo>
                        <a:pt x="2131695" y="180975"/>
                      </a:lnTo>
                      <a:lnTo>
                        <a:pt x="2124075" y="174308"/>
                      </a:lnTo>
                      <a:lnTo>
                        <a:pt x="2111693" y="186690"/>
                      </a:lnTo>
                      <a:lnTo>
                        <a:pt x="2091690" y="189548"/>
                      </a:lnTo>
                      <a:lnTo>
                        <a:pt x="2072640" y="180975"/>
                      </a:lnTo>
                      <a:lnTo>
                        <a:pt x="2054543" y="185738"/>
                      </a:lnTo>
                      <a:lnTo>
                        <a:pt x="2061210" y="195263"/>
                      </a:lnTo>
                      <a:lnTo>
                        <a:pt x="2055495" y="204788"/>
                      </a:lnTo>
                      <a:lnTo>
                        <a:pt x="2074545" y="213360"/>
                      </a:lnTo>
                      <a:lnTo>
                        <a:pt x="2052638" y="219075"/>
                      </a:lnTo>
                      <a:lnTo>
                        <a:pt x="2032635" y="229553"/>
                      </a:lnTo>
                      <a:lnTo>
                        <a:pt x="1995488" y="231458"/>
                      </a:lnTo>
                      <a:lnTo>
                        <a:pt x="1952625" y="232410"/>
                      </a:lnTo>
                      <a:lnTo>
                        <a:pt x="1908810" y="217170"/>
                      </a:lnTo>
                      <a:lnTo>
                        <a:pt x="1887855" y="205740"/>
                      </a:lnTo>
                      <a:lnTo>
                        <a:pt x="1870710" y="194310"/>
                      </a:lnTo>
                      <a:lnTo>
                        <a:pt x="1844993" y="188595"/>
                      </a:lnTo>
                      <a:lnTo>
                        <a:pt x="1828800" y="180975"/>
                      </a:lnTo>
                      <a:lnTo>
                        <a:pt x="1824990" y="170498"/>
                      </a:lnTo>
                      <a:lnTo>
                        <a:pt x="1811655" y="163830"/>
                      </a:lnTo>
                      <a:lnTo>
                        <a:pt x="1804988" y="152400"/>
                      </a:lnTo>
                      <a:lnTo>
                        <a:pt x="1846898" y="152400"/>
                      </a:lnTo>
                      <a:lnTo>
                        <a:pt x="1830705" y="135255"/>
                      </a:lnTo>
                      <a:lnTo>
                        <a:pt x="1835468" y="120015"/>
                      </a:lnTo>
                      <a:lnTo>
                        <a:pt x="1803082" y="120968"/>
                      </a:lnTo>
                      <a:lnTo>
                        <a:pt x="1806893" y="129540"/>
                      </a:lnTo>
                      <a:lnTo>
                        <a:pt x="1785938" y="139065"/>
                      </a:lnTo>
                      <a:lnTo>
                        <a:pt x="1774507" y="137160"/>
                      </a:lnTo>
                      <a:lnTo>
                        <a:pt x="1752600" y="119063"/>
                      </a:lnTo>
                      <a:lnTo>
                        <a:pt x="1729740" y="96203"/>
                      </a:lnTo>
                      <a:lnTo>
                        <a:pt x="1733550" y="83820"/>
                      </a:lnTo>
                      <a:lnTo>
                        <a:pt x="1722120" y="74295"/>
                      </a:lnTo>
                      <a:lnTo>
                        <a:pt x="1736407" y="67628"/>
                      </a:lnTo>
                      <a:lnTo>
                        <a:pt x="1760220" y="76200"/>
                      </a:lnTo>
                      <a:lnTo>
                        <a:pt x="1767840" y="69533"/>
                      </a:lnTo>
                      <a:lnTo>
                        <a:pt x="1804035" y="65723"/>
                      </a:lnTo>
                      <a:lnTo>
                        <a:pt x="1847850" y="76200"/>
                      </a:lnTo>
                      <a:lnTo>
                        <a:pt x="1851660" y="65723"/>
                      </a:lnTo>
                      <a:lnTo>
                        <a:pt x="1891665" y="70485"/>
                      </a:lnTo>
                      <a:lnTo>
                        <a:pt x="1920240" y="64770"/>
                      </a:lnTo>
                      <a:lnTo>
                        <a:pt x="1967865" y="61913"/>
                      </a:lnTo>
                      <a:lnTo>
                        <a:pt x="1986915" y="65723"/>
                      </a:lnTo>
                      <a:lnTo>
                        <a:pt x="1977390" y="76200"/>
                      </a:lnTo>
                      <a:lnTo>
                        <a:pt x="1917382" y="79058"/>
                      </a:lnTo>
                      <a:lnTo>
                        <a:pt x="1879282" y="91440"/>
                      </a:lnTo>
                      <a:lnTo>
                        <a:pt x="1933575" y="89535"/>
                      </a:lnTo>
                      <a:lnTo>
                        <a:pt x="1943100" y="90488"/>
                      </a:lnTo>
                      <a:lnTo>
                        <a:pt x="1948815" y="100965"/>
                      </a:lnTo>
                      <a:lnTo>
                        <a:pt x="1977390" y="105728"/>
                      </a:lnTo>
                      <a:lnTo>
                        <a:pt x="1999298" y="115253"/>
                      </a:lnTo>
                      <a:lnTo>
                        <a:pt x="2006918" y="110490"/>
                      </a:lnTo>
                      <a:lnTo>
                        <a:pt x="2001202" y="89535"/>
                      </a:lnTo>
                      <a:lnTo>
                        <a:pt x="2043113" y="67628"/>
                      </a:lnTo>
                      <a:lnTo>
                        <a:pt x="2063115" y="71438"/>
                      </a:lnTo>
                      <a:lnTo>
                        <a:pt x="2083118" y="80010"/>
                      </a:lnTo>
                      <a:lnTo>
                        <a:pt x="2121218" y="108585"/>
                      </a:lnTo>
                      <a:lnTo>
                        <a:pt x="2143125" y="126683"/>
                      </a:lnTo>
                      <a:lnTo>
                        <a:pt x="2201227" y="153353"/>
                      </a:lnTo>
                      <a:lnTo>
                        <a:pt x="2194560" y="139065"/>
                      </a:lnTo>
                      <a:lnTo>
                        <a:pt x="2154555" y="96203"/>
                      </a:lnTo>
                      <a:lnTo>
                        <a:pt x="2145983" y="80010"/>
                      </a:lnTo>
                      <a:lnTo>
                        <a:pt x="2154555" y="63818"/>
                      </a:lnTo>
                      <a:lnTo>
                        <a:pt x="2165033" y="59055"/>
                      </a:lnTo>
                      <a:lnTo>
                        <a:pt x="2161223" y="46673"/>
                      </a:lnTo>
                      <a:lnTo>
                        <a:pt x="2173605" y="41910"/>
                      </a:lnTo>
                      <a:lnTo>
                        <a:pt x="2196465" y="44768"/>
                      </a:lnTo>
                      <a:lnTo>
                        <a:pt x="2221230" y="57150"/>
                      </a:lnTo>
                      <a:close/>
                      <a:moveTo>
                        <a:pt x="3504248" y="35243"/>
                      </a:moveTo>
                      <a:lnTo>
                        <a:pt x="3428048" y="39053"/>
                      </a:lnTo>
                      <a:lnTo>
                        <a:pt x="3419475" y="36195"/>
                      </a:lnTo>
                      <a:lnTo>
                        <a:pt x="3569018" y="22860"/>
                      </a:lnTo>
                      <a:lnTo>
                        <a:pt x="3585210" y="27623"/>
                      </a:lnTo>
                      <a:lnTo>
                        <a:pt x="3504248" y="35243"/>
                      </a:lnTo>
                      <a:close/>
                      <a:moveTo>
                        <a:pt x="2371725" y="17145"/>
                      </a:moveTo>
                      <a:lnTo>
                        <a:pt x="2354580" y="22860"/>
                      </a:lnTo>
                      <a:lnTo>
                        <a:pt x="2324100" y="18098"/>
                      </a:lnTo>
                      <a:lnTo>
                        <a:pt x="2332673" y="11430"/>
                      </a:lnTo>
                      <a:lnTo>
                        <a:pt x="2371725" y="17145"/>
                      </a:lnTo>
                      <a:close/>
                      <a:moveTo>
                        <a:pt x="2548890" y="21908"/>
                      </a:moveTo>
                      <a:lnTo>
                        <a:pt x="2602230" y="22860"/>
                      </a:lnTo>
                      <a:lnTo>
                        <a:pt x="2616518" y="31433"/>
                      </a:lnTo>
                      <a:lnTo>
                        <a:pt x="2668905" y="41910"/>
                      </a:lnTo>
                      <a:lnTo>
                        <a:pt x="2676525" y="27623"/>
                      </a:lnTo>
                      <a:lnTo>
                        <a:pt x="2670810" y="6668"/>
                      </a:lnTo>
                      <a:lnTo>
                        <a:pt x="2688908" y="5715"/>
                      </a:lnTo>
                      <a:lnTo>
                        <a:pt x="2705100" y="0"/>
                      </a:lnTo>
                      <a:lnTo>
                        <a:pt x="2734627" y="2857"/>
                      </a:lnTo>
                      <a:lnTo>
                        <a:pt x="2736533" y="15240"/>
                      </a:lnTo>
                      <a:lnTo>
                        <a:pt x="2731770" y="28575"/>
                      </a:lnTo>
                      <a:lnTo>
                        <a:pt x="2751773" y="29528"/>
                      </a:lnTo>
                      <a:lnTo>
                        <a:pt x="2778443" y="26670"/>
                      </a:lnTo>
                      <a:lnTo>
                        <a:pt x="2796540" y="16193"/>
                      </a:lnTo>
                      <a:lnTo>
                        <a:pt x="2819400" y="17145"/>
                      </a:lnTo>
                      <a:lnTo>
                        <a:pt x="2831783" y="11430"/>
                      </a:lnTo>
                      <a:lnTo>
                        <a:pt x="2845118" y="17145"/>
                      </a:lnTo>
                      <a:lnTo>
                        <a:pt x="2923223" y="23813"/>
                      </a:lnTo>
                      <a:lnTo>
                        <a:pt x="2954655" y="29528"/>
                      </a:lnTo>
                      <a:lnTo>
                        <a:pt x="3004185" y="29528"/>
                      </a:lnTo>
                      <a:lnTo>
                        <a:pt x="3039427" y="31433"/>
                      </a:lnTo>
                      <a:lnTo>
                        <a:pt x="3066098" y="40958"/>
                      </a:lnTo>
                      <a:lnTo>
                        <a:pt x="3076575" y="57150"/>
                      </a:lnTo>
                      <a:lnTo>
                        <a:pt x="3068002" y="60960"/>
                      </a:lnTo>
                      <a:lnTo>
                        <a:pt x="3004185" y="80010"/>
                      </a:lnTo>
                      <a:lnTo>
                        <a:pt x="2988945" y="86678"/>
                      </a:lnTo>
                      <a:lnTo>
                        <a:pt x="2966085" y="108585"/>
                      </a:lnTo>
                      <a:lnTo>
                        <a:pt x="2927033" y="115253"/>
                      </a:lnTo>
                      <a:lnTo>
                        <a:pt x="2893695" y="112395"/>
                      </a:lnTo>
                      <a:lnTo>
                        <a:pt x="2865120" y="119063"/>
                      </a:lnTo>
                      <a:lnTo>
                        <a:pt x="2847023" y="128588"/>
                      </a:lnTo>
                      <a:lnTo>
                        <a:pt x="2832735" y="130493"/>
                      </a:lnTo>
                      <a:lnTo>
                        <a:pt x="2745105" y="126683"/>
                      </a:lnTo>
                      <a:lnTo>
                        <a:pt x="2724150" y="116205"/>
                      </a:lnTo>
                      <a:lnTo>
                        <a:pt x="2735580" y="107633"/>
                      </a:lnTo>
                      <a:lnTo>
                        <a:pt x="2657475" y="110490"/>
                      </a:lnTo>
                      <a:lnTo>
                        <a:pt x="2569845" y="109538"/>
                      </a:lnTo>
                      <a:lnTo>
                        <a:pt x="2560320" y="104775"/>
                      </a:lnTo>
                      <a:lnTo>
                        <a:pt x="2506980" y="100013"/>
                      </a:lnTo>
                      <a:lnTo>
                        <a:pt x="2466975" y="89535"/>
                      </a:lnTo>
                      <a:lnTo>
                        <a:pt x="2477452" y="84773"/>
                      </a:lnTo>
                      <a:lnTo>
                        <a:pt x="2532698" y="84773"/>
                      </a:lnTo>
                      <a:lnTo>
                        <a:pt x="2526030" y="70485"/>
                      </a:lnTo>
                      <a:lnTo>
                        <a:pt x="2498408" y="69533"/>
                      </a:lnTo>
                      <a:lnTo>
                        <a:pt x="2481263" y="73343"/>
                      </a:lnTo>
                      <a:lnTo>
                        <a:pt x="2440305" y="75248"/>
                      </a:lnTo>
                      <a:lnTo>
                        <a:pt x="2402205" y="74295"/>
                      </a:lnTo>
                      <a:lnTo>
                        <a:pt x="2384108" y="71438"/>
                      </a:lnTo>
                      <a:lnTo>
                        <a:pt x="2347913" y="61913"/>
                      </a:lnTo>
                      <a:lnTo>
                        <a:pt x="2341245" y="54293"/>
                      </a:lnTo>
                      <a:lnTo>
                        <a:pt x="2367915" y="50483"/>
                      </a:lnTo>
                      <a:lnTo>
                        <a:pt x="2387918" y="43815"/>
                      </a:lnTo>
                      <a:lnTo>
                        <a:pt x="2345055" y="40958"/>
                      </a:lnTo>
                      <a:lnTo>
                        <a:pt x="2326958" y="38100"/>
                      </a:lnTo>
                      <a:lnTo>
                        <a:pt x="2321243" y="29528"/>
                      </a:lnTo>
                      <a:lnTo>
                        <a:pt x="2377440" y="27623"/>
                      </a:lnTo>
                      <a:lnTo>
                        <a:pt x="2425065" y="35243"/>
                      </a:lnTo>
                      <a:lnTo>
                        <a:pt x="2418398" y="14288"/>
                      </a:lnTo>
                      <a:lnTo>
                        <a:pt x="2455545" y="24765"/>
                      </a:lnTo>
                      <a:lnTo>
                        <a:pt x="2457450" y="14288"/>
                      </a:lnTo>
                      <a:lnTo>
                        <a:pt x="2438400" y="953"/>
                      </a:lnTo>
                      <a:lnTo>
                        <a:pt x="2457450" y="0"/>
                      </a:lnTo>
                      <a:lnTo>
                        <a:pt x="2500313" y="6668"/>
                      </a:lnTo>
                      <a:lnTo>
                        <a:pt x="2548890" y="2190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1" name="Poland" descr="{&quot;Key&quot;:&quot;poland&quot;,&quot;Name&quot;:&quot;Poland&quot;,&quot;Value&quot;:1.0,&quot;Formula&quot;:&quot;&quot;,&quot;Text&quot;:&quot;&quot;,&quot;OfficeApplication&quot;:1,&quot;HasValue&quot;:true}">
                  <a:extLst>
                    <a:ext uri="{FF2B5EF4-FFF2-40B4-BE49-F238E27FC236}">
                      <a16:creationId xmlns:a16="http://schemas.microsoft.com/office/drawing/2014/main" id="{06FC5664-D51F-BFA2-2CF2-87D37CDC2EE5}"/>
                    </a:ext>
                  </a:extLst>
                </p:cNvPr>
                <p:cNvSpPr/>
                <p:nvPr/>
              </p:nvSpPr>
              <p:spPr>
                <a:xfrm>
                  <a:off x="6741794" y="3443696"/>
                  <a:ext cx="1169669" cy="834390"/>
                </a:xfrm>
                <a:custGeom>
                  <a:avLst/>
                  <a:gdLst>
                    <a:gd name="connsiteX0" fmla="*/ 942975 w 1169669"/>
                    <a:gd name="connsiteY0" fmla="*/ 68580 h 834390"/>
                    <a:gd name="connsiteX1" fmla="*/ 948690 w 1169669"/>
                    <a:gd name="connsiteY1" fmla="*/ 62865 h 834390"/>
                    <a:gd name="connsiteX2" fmla="*/ 970598 w 1169669"/>
                    <a:gd name="connsiteY2" fmla="*/ 69533 h 834390"/>
                    <a:gd name="connsiteX3" fmla="*/ 1013460 w 1169669"/>
                    <a:gd name="connsiteY3" fmla="*/ 90488 h 834390"/>
                    <a:gd name="connsiteX4" fmla="*/ 1023938 w 1169669"/>
                    <a:gd name="connsiteY4" fmla="*/ 99060 h 834390"/>
                    <a:gd name="connsiteX5" fmla="*/ 1031557 w 1169669"/>
                    <a:gd name="connsiteY5" fmla="*/ 127635 h 834390"/>
                    <a:gd name="connsiteX6" fmla="*/ 1051560 w 1169669"/>
                    <a:gd name="connsiteY6" fmla="*/ 176213 h 834390"/>
                    <a:gd name="connsiteX7" fmla="*/ 1079182 w 1169669"/>
                    <a:gd name="connsiteY7" fmla="*/ 222885 h 834390"/>
                    <a:gd name="connsiteX8" fmla="*/ 1095375 w 1169669"/>
                    <a:gd name="connsiteY8" fmla="*/ 257175 h 834390"/>
                    <a:gd name="connsiteX9" fmla="*/ 1103948 w 1169669"/>
                    <a:gd name="connsiteY9" fmla="*/ 294323 h 834390"/>
                    <a:gd name="connsiteX10" fmla="*/ 1098232 w 1169669"/>
                    <a:gd name="connsiteY10" fmla="*/ 309563 h 834390"/>
                    <a:gd name="connsiteX11" fmla="*/ 1060132 w 1169669"/>
                    <a:gd name="connsiteY11" fmla="*/ 325755 h 834390"/>
                    <a:gd name="connsiteX12" fmla="*/ 1052513 w 1169669"/>
                    <a:gd name="connsiteY12" fmla="*/ 330518 h 834390"/>
                    <a:gd name="connsiteX13" fmla="*/ 1033463 w 1169669"/>
                    <a:gd name="connsiteY13" fmla="*/ 356235 h 834390"/>
                    <a:gd name="connsiteX14" fmla="*/ 1033463 w 1169669"/>
                    <a:gd name="connsiteY14" fmla="*/ 367665 h 834390"/>
                    <a:gd name="connsiteX15" fmla="*/ 1064895 w 1169669"/>
                    <a:gd name="connsiteY15" fmla="*/ 380048 h 834390"/>
                    <a:gd name="connsiteX16" fmla="*/ 1082040 w 1169669"/>
                    <a:gd name="connsiteY16" fmla="*/ 389573 h 834390"/>
                    <a:gd name="connsiteX17" fmla="*/ 1089660 w 1169669"/>
                    <a:gd name="connsiteY17" fmla="*/ 399098 h 834390"/>
                    <a:gd name="connsiteX18" fmla="*/ 1087755 w 1169669"/>
                    <a:gd name="connsiteY18" fmla="*/ 421958 h 834390"/>
                    <a:gd name="connsiteX19" fmla="*/ 1091565 w 1169669"/>
                    <a:gd name="connsiteY19" fmla="*/ 432435 h 834390"/>
                    <a:gd name="connsiteX20" fmla="*/ 1083945 w 1169669"/>
                    <a:gd name="connsiteY20" fmla="*/ 446723 h 834390"/>
                    <a:gd name="connsiteX21" fmla="*/ 1084898 w 1169669"/>
                    <a:gd name="connsiteY21" fmla="*/ 459105 h 834390"/>
                    <a:gd name="connsiteX22" fmla="*/ 1094423 w 1169669"/>
                    <a:gd name="connsiteY22" fmla="*/ 474345 h 834390"/>
                    <a:gd name="connsiteX23" fmla="*/ 1105853 w 1169669"/>
                    <a:gd name="connsiteY23" fmla="*/ 491490 h 834390"/>
                    <a:gd name="connsiteX24" fmla="*/ 1105853 w 1169669"/>
                    <a:gd name="connsiteY24" fmla="*/ 503873 h 834390"/>
                    <a:gd name="connsiteX25" fmla="*/ 1131570 w 1169669"/>
                    <a:gd name="connsiteY25" fmla="*/ 530543 h 834390"/>
                    <a:gd name="connsiteX26" fmla="*/ 1149668 w 1169669"/>
                    <a:gd name="connsiteY26" fmla="*/ 557213 h 834390"/>
                    <a:gd name="connsiteX27" fmla="*/ 1163003 w 1169669"/>
                    <a:gd name="connsiteY27" fmla="*/ 566738 h 834390"/>
                    <a:gd name="connsiteX28" fmla="*/ 1151573 w 1169669"/>
                    <a:gd name="connsiteY28" fmla="*/ 579120 h 834390"/>
                    <a:gd name="connsiteX29" fmla="*/ 1168718 w 1169669"/>
                    <a:gd name="connsiteY29" fmla="*/ 603885 h 834390"/>
                    <a:gd name="connsiteX30" fmla="*/ 1169670 w 1169669"/>
                    <a:gd name="connsiteY30" fmla="*/ 616268 h 834390"/>
                    <a:gd name="connsiteX31" fmla="*/ 1158240 w 1169669"/>
                    <a:gd name="connsiteY31" fmla="*/ 633413 h 834390"/>
                    <a:gd name="connsiteX32" fmla="*/ 1129665 w 1169669"/>
                    <a:gd name="connsiteY32" fmla="*/ 638175 h 834390"/>
                    <a:gd name="connsiteX33" fmla="*/ 1083945 w 1169669"/>
                    <a:gd name="connsiteY33" fmla="*/ 681990 h 834390"/>
                    <a:gd name="connsiteX34" fmla="*/ 1061085 w 1169669"/>
                    <a:gd name="connsiteY34" fmla="*/ 707708 h 834390"/>
                    <a:gd name="connsiteX35" fmla="*/ 1028700 w 1169669"/>
                    <a:gd name="connsiteY35" fmla="*/ 749618 h 834390"/>
                    <a:gd name="connsiteX36" fmla="*/ 1022985 w 1169669"/>
                    <a:gd name="connsiteY36" fmla="*/ 759143 h 834390"/>
                    <a:gd name="connsiteX37" fmla="*/ 1037273 w 1169669"/>
                    <a:gd name="connsiteY37" fmla="*/ 795338 h 834390"/>
                    <a:gd name="connsiteX38" fmla="*/ 1036320 w 1169669"/>
                    <a:gd name="connsiteY38" fmla="*/ 812483 h 834390"/>
                    <a:gd name="connsiteX39" fmla="*/ 1054418 w 1169669"/>
                    <a:gd name="connsiteY39" fmla="*/ 825818 h 834390"/>
                    <a:gd name="connsiteX40" fmla="*/ 1050607 w 1169669"/>
                    <a:gd name="connsiteY40" fmla="*/ 834390 h 834390"/>
                    <a:gd name="connsiteX41" fmla="*/ 1019175 w 1169669"/>
                    <a:gd name="connsiteY41" fmla="*/ 827723 h 834390"/>
                    <a:gd name="connsiteX42" fmla="*/ 1010603 w 1169669"/>
                    <a:gd name="connsiteY42" fmla="*/ 825818 h 834390"/>
                    <a:gd name="connsiteX43" fmla="*/ 956310 w 1169669"/>
                    <a:gd name="connsiteY43" fmla="*/ 807720 h 834390"/>
                    <a:gd name="connsiteX44" fmla="*/ 948690 w 1169669"/>
                    <a:gd name="connsiteY44" fmla="*/ 794385 h 834390"/>
                    <a:gd name="connsiteX45" fmla="*/ 939165 w 1169669"/>
                    <a:gd name="connsiteY45" fmla="*/ 787718 h 834390"/>
                    <a:gd name="connsiteX46" fmla="*/ 909638 w 1169669"/>
                    <a:gd name="connsiteY46" fmla="*/ 778193 h 834390"/>
                    <a:gd name="connsiteX47" fmla="*/ 875348 w 1169669"/>
                    <a:gd name="connsiteY47" fmla="*/ 775335 h 834390"/>
                    <a:gd name="connsiteX48" fmla="*/ 844868 w 1169669"/>
                    <a:gd name="connsiteY48" fmla="*/ 777240 h 834390"/>
                    <a:gd name="connsiteX49" fmla="*/ 831532 w 1169669"/>
                    <a:gd name="connsiteY49" fmla="*/ 791528 h 834390"/>
                    <a:gd name="connsiteX50" fmla="*/ 814388 w 1169669"/>
                    <a:gd name="connsiteY50" fmla="*/ 790575 h 834390"/>
                    <a:gd name="connsiteX51" fmla="*/ 791528 w 1169669"/>
                    <a:gd name="connsiteY51" fmla="*/ 781050 h 834390"/>
                    <a:gd name="connsiteX52" fmla="*/ 762953 w 1169669"/>
                    <a:gd name="connsiteY52" fmla="*/ 782003 h 834390"/>
                    <a:gd name="connsiteX53" fmla="*/ 741045 w 1169669"/>
                    <a:gd name="connsiteY53" fmla="*/ 791528 h 834390"/>
                    <a:gd name="connsiteX54" fmla="*/ 730568 w 1169669"/>
                    <a:gd name="connsiteY54" fmla="*/ 811530 h 834390"/>
                    <a:gd name="connsiteX55" fmla="*/ 714375 w 1169669"/>
                    <a:gd name="connsiteY55" fmla="*/ 805815 h 834390"/>
                    <a:gd name="connsiteX56" fmla="*/ 701040 w 1169669"/>
                    <a:gd name="connsiteY56" fmla="*/ 809625 h 834390"/>
                    <a:gd name="connsiteX57" fmla="*/ 695325 w 1169669"/>
                    <a:gd name="connsiteY57" fmla="*/ 783908 h 834390"/>
                    <a:gd name="connsiteX58" fmla="*/ 681990 w 1169669"/>
                    <a:gd name="connsiteY58" fmla="*/ 780098 h 834390"/>
                    <a:gd name="connsiteX59" fmla="*/ 653415 w 1169669"/>
                    <a:gd name="connsiteY59" fmla="*/ 751523 h 834390"/>
                    <a:gd name="connsiteX60" fmla="*/ 632460 w 1169669"/>
                    <a:gd name="connsiteY60" fmla="*/ 763905 h 834390"/>
                    <a:gd name="connsiteX61" fmla="*/ 622935 w 1169669"/>
                    <a:gd name="connsiteY61" fmla="*/ 780098 h 834390"/>
                    <a:gd name="connsiteX62" fmla="*/ 601980 w 1169669"/>
                    <a:gd name="connsiteY62" fmla="*/ 780098 h 834390"/>
                    <a:gd name="connsiteX63" fmla="*/ 597218 w 1169669"/>
                    <a:gd name="connsiteY63" fmla="*/ 765810 h 834390"/>
                    <a:gd name="connsiteX64" fmla="*/ 584835 w 1169669"/>
                    <a:gd name="connsiteY64" fmla="*/ 763905 h 834390"/>
                    <a:gd name="connsiteX65" fmla="*/ 580073 w 1169669"/>
                    <a:gd name="connsiteY65" fmla="*/ 748665 h 834390"/>
                    <a:gd name="connsiteX66" fmla="*/ 553403 w 1169669"/>
                    <a:gd name="connsiteY66" fmla="*/ 727710 h 834390"/>
                    <a:gd name="connsiteX67" fmla="*/ 548640 w 1169669"/>
                    <a:gd name="connsiteY67" fmla="*/ 710565 h 834390"/>
                    <a:gd name="connsiteX68" fmla="*/ 522923 w 1169669"/>
                    <a:gd name="connsiteY68" fmla="*/ 702945 h 834390"/>
                    <a:gd name="connsiteX69" fmla="*/ 518160 w 1169669"/>
                    <a:gd name="connsiteY69" fmla="*/ 704850 h 834390"/>
                    <a:gd name="connsiteX70" fmla="*/ 484823 w 1169669"/>
                    <a:gd name="connsiteY70" fmla="*/ 687705 h 834390"/>
                    <a:gd name="connsiteX71" fmla="*/ 467678 w 1169669"/>
                    <a:gd name="connsiteY71" fmla="*/ 697230 h 834390"/>
                    <a:gd name="connsiteX72" fmla="*/ 458153 w 1169669"/>
                    <a:gd name="connsiteY72" fmla="*/ 691515 h 834390"/>
                    <a:gd name="connsiteX73" fmla="*/ 432435 w 1169669"/>
                    <a:gd name="connsiteY73" fmla="*/ 669608 h 834390"/>
                    <a:gd name="connsiteX74" fmla="*/ 445770 w 1169669"/>
                    <a:gd name="connsiteY74" fmla="*/ 664845 h 834390"/>
                    <a:gd name="connsiteX75" fmla="*/ 445770 w 1169669"/>
                    <a:gd name="connsiteY75" fmla="*/ 649605 h 834390"/>
                    <a:gd name="connsiteX76" fmla="*/ 411480 w 1169669"/>
                    <a:gd name="connsiteY76" fmla="*/ 656273 h 834390"/>
                    <a:gd name="connsiteX77" fmla="*/ 380048 w 1169669"/>
                    <a:gd name="connsiteY77" fmla="*/ 638175 h 834390"/>
                    <a:gd name="connsiteX78" fmla="*/ 359093 w 1169669"/>
                    <a:gd name="connsiteY78" fmla="*/ 632460 h 834390"/>
                    <a:gd name="connsiteX79" fmla="*/ 346710 w 1169669"/>
                    <a:gd name="connsiteY79" fmla="*/ 632460 h 834390"/>
                    <a:gd name="connsiteX80" fmla="*/ 362903 w 1169669"/>
                    <a:gd name="connsiteY80" fmla="*/ 655320 h 834390"/>
                    <a:gd name="connsiteX81" fmla="*/ 329565 w 1169669"/>
                    <a:gd name="connsiteY81" fmla="*/ 679133 h 834390"/>
                    <a:gd name="connsiteX82" fmla="*/ 320040 w 1169669"/>
                    <a:gd name="connsiteY82" fmla="*/ 675323 h 834390"/>
                    <a:gd name="connsiteX83" fmla="*/ 305753 w 1169669"/>
                    <a:gd name="connsiteY83" fmla="*/ 657225 h 834390"/>
                    <a:gd name="connsiteX84" fmla="*/ 286703 w 1169669"/>
                    <a:gd name="connsiteY84" fmla="*/ 640080 h 834390"/>
                    <a:gd name="connsiteX85" fmla="*/ 271463 w 1169669"/>
                    <a:gd name="connsiteY85" fmla="*/ 631508 h 834390"/>
                    <a:gd name="connsiteX86" fmla="*/ 286703 w 1169669"/>
                    <a:gd name="connsiteY86" fmla="*/ 620078 h 834390"/>
                    <a:gd name="connsiteX87" fmla="*/ 293370 w 1169669"/>
                    <a:gd name="connsiteY87" fmla="*/ 609600 h 834390"/>
                    <a:gd name="connsiteX88" fmla="*/ 276225 w 1169669"/>
                    <a:gd name="connsiteY88" fmla="*/ 598170 h 834390"/>
                    <a:gd name="connsiteX89" fmla="*/ 245745 w 1169669"/>
                    <a:gd name="connsiteY89" fmla="*/ 604838 h 834390"/>
                    <a:gd name="connsiteX90" fmla="*/ 238125 w 1169669"/>
                    <a:gd name="connsiteY90" fmla="*/ 596265 h 834390"/>
                    <a:gd name="connsiteX91" fmla="*/ 212407 w 1169669"/>
                    <a:gd name="connsiteY91" fmla="*/ 585788 h 834390"/>
                    <a:gd name="connsiteX92" fmla="*/ 168593 w 1169669"/>
                    <a:gd name="connsiteY92" fmla="*/ 575310 h 834390"/>
                    <a:gd name="connsiteX93" fmla="*/ 159068 w 1169669"/>
                    <a:gd name="connsiteY93" fmla="*/ 564833 h 834390"/>
                    <a:gd name="connsiteX94" fmla="*/ 156210 w 1169669"/>
                    <a:gd name="connsiteY94" fmla="*/ 554355 h 834390"/>
                    <a:gd name="connsiteX95" fmla="*/ 124778 w 1169669"/>
                    <a:gd name="connsiteY95" fmla="*/ 546735 h 834390"/>
                    <a:gd name="connsiteX96" fmla="*/ 125730 w 1169669"/>
                    <a:gd name="connsiteY96" fmla="*/ 564833 h 834390"/>
                    <a:gd name="connsiteX97" fmla="*/ 105728 w 1169669"/>
                    <a:gd name="connsiteY97" fmla="*/ 568643 h 834390"/>
                    <a:gd name="connsiteX98" fmla="*/ 120968 w 1169669"/>
                    <a:gd name="connsiteY98" fmla="*/ 534353 h 834390"/>
                    <a:gd name="connsiteX99" fmla="*/ 124778 w 1169669"/>
                    <a:gd name="connsiteY99" fmla="*/ 512445 h 834390"/>
                    <a:gd name="connsiteX100" fmla="*/ 109538 w 1169669"/>
                    <a:gd name="connsiteY100" fmla="*/ 481965 h 834390"/>
                    <a:gd name="connsiteX101" fmla="*/ 88582 w 1169669"/>
                    <a:gd name="connsiteY101" fmla="*/ 473393 h 834390"/>
                    <a:gd name="connsiteX102" fmla="*/ 88582 w 1169669"/>
                    <a:gd name="connsiteY102" fmla="*/ 458153 h 834390"/>
                    <a:gd name="connsiteX103" fmla="*/ 70485 w 1169669"/>
                    <a:gd name="connsiteY103" fmla="*/ 428625 h 834390"/>
                    <a:gd name="connsiteX104" fmla="*/ 78105 w 1169669"/>
                    <a:gd name="connsiteY104" fmla="*/ 418148 h 834390"/>
                    <a:gd name="connsiteX105" fmla="*/ 84773 w 1169669"/>
                    <a:gd name="connsiteY105" fmla="*/ 393383 h 834390"/>
                    <a:gd name="connsiteX106" fmla="*/ 77153 w 1169669"/>
                    <a:gd name="connsiteY106" fmla="*/ 375285 h 834390"/>
                    <a:gd name="connsiteX107" fmla="*/ 58103 w 1169669"/>
                    <a:gd name="connsiteY107" fmla="*/ 353378 h 834390"/>
                    <a:gd name="connsiteX108" fmla="*/ 63818 w 1169669"/>
                    <a:gd name="connsiteY108" fmla="*/ 328613 h 834390"/>
                    <a:gd name="connsiteX109" fmla="*/ 50482 w 1169669"/>
                    <a:gd name="connsiteY109" fmla="*/ 312420 h 834390"/>
                    <a:gd name="connsiteX110" fmla="*/ 19050 w 1169669"/>
                    <a:gd name="connsiteY110" fmla="*/ 292418 h 834390"/>
                    <a:gd name="connsiteX111" fmla="*/ 3810 w 1169669"/>
                    <a:gd name="connsiteY111" fmla="*/ 279083 h 834390"/>
                    <a:gd name="connsiteX112" fmla="*/ 10478 w 1169669"/>
                    <a:gd name="connsiteY112" fmla="*/ 263843 h 834390"/>
                    <a:gd name="connsiteX113" fmla="*/ 28575 w 1169669"/>
                    <a:gd name="connsiteY113" fmla="*/ 246698 h 834390"/>
                    <a:gd name="connsiteX114" fmla="*/ 31432 w 1169669"/>
                    <a:gd name="connsiteY114" fmla="*/ 220980 h 834390"/>
                    <a:gd name="connsiteX115" fmla="*/ 14288 w 1169669"/>
                    <a:gd name="connsiteY115" fmla="*/ 181928 h 834390"/>
                    <a:gd name="connsiteX116" fmla="*/ 7620 w 1169669"/>
                    <a:gd name="connsiteY116" fmla="*/ 157163 h 834390"/>
                    <a:gd name="connsiteX117" fmla="*/ 34290 w 1169669"/>
                    <a:gd name="connsiteY117" fmla="*/ 165735 h 834390"/>
                    <a:gd name="connsiteX118" fmla="*/ 40957 w 1169669"/>
                    <a:gd name="connsiteY118" fmla="*/ 160973 h 834390"/>
                    <a:gd name="connsiteX119" fmla="*/ 40005 w 1169669"/>
                    <a:gd name="connsiteY119" fmla="*/ 143828 h 834390"/>
                    <a:gd name="connsiteX120" fmla="*/ 953 w 1169669"/>
                    <a:gd name="connsiteY120" fmla="*/ 137160 h 834390"/>
                    <a:gd name="connsiteX121" fmla="*/ 0 w 1169669"/>
                    <a:gd name="connsiteY121" fmla="*/ 125730 h 834390"/>
                    <a:gd name="connsiteX122" fmla="*/ 19050 w 1169669"/>
                    <a:gd name="connsiteY122" fmla="*/ 129540 h 834390"/>
                    <a:gd name="connsiteX123" fmla="*/ 55245 w 1169669"/>
                    <a:gd name="connsiteY123" fmla="*/ 116205 h 834390"/>
                    <a:gd name="connsiteX124" fmla="*/ 117157 w 1169669"/>
                    <a:gd name="connsiteY124" fmla="*/ 99060 h 834390"/>
                    <a:gd name="connsiteX125" fmla="*/ 182880 w 1169669"/>
                    <a:gd name="connsiteY125" fmla="*/ 82868 h 834390"/>
                    <a:gd name="connsiteX126" fmla="*/ 214313 w 1169669"/>
                    <a:gd name="connsiteY126" fmla="*/ 78105 h 834390"/>
                    <a:gd name="connsiteX127" fmla="*/ 233363 w 1169669"/>
                    <a:gd name="connsiteY127" fmla="*/ 57150 h 834390"/>
                    <a:gd name="connsiteX128" fmla="*/ 251460 w 1169669"/>
                    <a:gd name="connsiteY128" fmla="*/ 40958 h 834390"/>
                    <a:gd name="connsiteX129" fmla="*/ 287655 w 1169669"/>
                    <a:gd name="connsiteY129" fmla="*/ 34290 h 834390"/>
                    <a:gd name="connsiteX130" fmla="*/ 300038 w 1169669"/>
                    <a:gd name="connsiteY130" fmla="*/ 26670 h 834390"/>
                    <a:gd name="connsiteX131" fmla="*/ 326707 w 1169669"/>
                    <a:gd name="connsiteY131" fmla="*/ 15240 h 834390"/>
                    <a:gd name="connsiteX132" fmla="*/ 389573 w 1169669"/>
                    <a:gd name="connsiteY132" fmla="*/ 3810 h 834390"/>
                    <a:gd name="connsiteX133" fmla="*/ 441960 w 1169669"/>
                    <a:gd name="connsiteY133" fmla="*/ 0 h 834390"/>
                    <a:gd name="connsiteX134" fmla="*/ 493395 w 1169669"/>
                    <a:gd name="connsiteY134" fmla="*/ 21908 h 834390"/>
                    <a:gd name="connsiteX135" fmla="*/ 484823 w 1169669"/>
                    <a:gd name="connsiteY135" fmla="*/ 24765 h 834390"/>
                    <a:gd name="connsiteX136" fmla="*/ 456248 w 1169669"/>
                    <a:gd name="connsiteY136" fmla="*/ 13335 h 834390"/>
                    <a:gd name="connsiteX137" fmla="*/ 477203 w 1169669"/>
                    <a:gd name="connsiteY137" fmla="*/ 46673 h 834390"/>
                    <a:gd name="connsiteX138" fmla="*/ 487680 w 1169669"/>
                    <a:gd name="connsiteY138" fmla="*/ 58103 h 834390"/>
                    <a:gd name="connsiteX139" fmla="*/ 506730 w 1169669"/>
                    <a:gd name="connsiteY139" fmla="*/ 66675 h 834390"/>
                    <a:gd name="connsiteX140" fmla="*/ 522923 w 1169669"/>
                    <a:gd name="connsiteY140" fmla="*/ 69533 h 834390"/>
                    <a:gd name="connsiteX141" fmla="*/ 569595 w 1169669"/>
                    <a:gd name="connsiteY141" fmla="*/ 64770 h 834390"/>
                    <a:gd name="connsiteX142" fmla="*/ 590550 w 1169669"/>
                    <a:gd name="connsiteY142" fmla="*/ 54293 h 834390"/>
                    <a:gd name="connsiteX143" fmla="*/ 595313 w 1169669"/>
                    <a:gd name="connsiteY143" fmla="*/ 55245 h 834390"/>
                    <a:gd name="connsiteX144" fmla="*/ 658178 w 1169669"/>
                    <a:gd name="connsiteY144" fmla="*/ 59055 h 834390"/>
                    <a:gd name="connsiteX145" fmla="*/ 876300 w 1169669"/>
                    <a:gd name="connsiteY145" fmla="*/ 67628 h 834390"/>
                    <a:gd name="connsiteX146" fmla="*/ 942975 w 1169669"/>
                    <a:gd name="connsiteY146" fmla="*/ 68580 h 8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69669" h="834390">
                      <a:moveTo>
                        <a:pt x="942975" y="68580"/>
                      </a:moveTo>
                      <a:lnTo>
                        <a:pt x="948690" y="62865"/>
                      </a:lnTo>
                      <a:lnTo>
                        <a:pt x="970598" y="69533"/>
                      </a:lnTo>
                      <a:lnTo>
                        <a:pt x="1013460" y="90488"/>
                      </a:lnTo>
                      <a:lnTo>
                        <a:pt x="1023938" y="99060"/>
                      </a:lnTo>
                      <a:lnTo>
                        <a:pt x="1031557" y="127635"/>
                      </a:lnTo>
                      <a:lnTo>
                        <a:pt x="1051560" y="176213"/>
                      </a:lnTo>
                      <a:lnTo>
                        <a:pt x="1079182" y="222885"/>
                      </a:lnTo>
                      <a:lnTo>
                        <a:pt x="1095375" y="257175"/>
                      </a:lnTo>
                      <a:lnTo>
                        <a:pt x="1103948" y="294323"/>
                      </a:lnTo>
                      <a:lnTo>
                        <a:pt x="1098232" y="309563"/>
                      </a:lnTo>
                      <a:lnTo>
                        <a:pt x="1060132" y="325755"/>
                      </a:lnTo>
                      <a:lnTo>
                        <a:pt x="1052513" y="330518"/>
                      </a:lnTo>
                      <a:lnTo>
                        <a:pt x="1033463" y="356235"/>
                      </a:lnTo>
                      <a:lnTo>
                        <a:pt x="1033463" y="367665"/>
                      </a:lnTo>
                      <a:lnTo>
                        <a:pt x="1064895" y="380048"/>
                      </a:lnTo>
                      <a:lnTo>
                        <a:pt x="1082040" y="389573"/>
                      </a:lnTo>
                      <a:lnTo>
                        <a:pt x="1089660" y="399098"/>
                      </a:lnTo>
                      <a:lnTo>
                        <a:pt x="1087755" y="421958"/>
                      </a:lnTo>
                      <a:lnTo>
                        <a:pt x="1091565" y="432435"/>
                      </a:lnTo>
                      <a:lnTo>
                        <a:pt x="1083945" y="446723"/>
                      </a:lnTo>
                      <a:lnTo>
                        <a:pt x="1084898" y="459105"/>
                      </a:lnTo>
                      <a:lnTo>
                        <a:pt x="1094423" y="474345"/>
                      </a:lnTo>
                      <a:lnTo>
                        <a:pt x="1105853" y="491490"/>
                      </a:lnTo>
                      <a:lnTo>
                        <a:pt x="1105853" y="503873"/>
                      </a:lnTo>
                      <a:lnTo>
                        <a:pt x="1131570" y="530543"/>
                      </a:lnTo>
                      <a:lnTo>
                        <a:pt x="1149668" y="557213"/>
                      </a:lnTo>
                      <a:lnTo>
                        <a:pt x="1163003" y="566738"/>
                      </a:lnTo>
                      <a:lnTo>
                        <a:pt x="1151573" y="579120"/>
                      </a:lnTo>
                      <a:lnTo>
                        <a:pt x="1168718" y="603885"/>
                      </a:lnTo>
                      <a:lnTo>
                        <a:pt x="1169670" y="616268"/>
                      </a:lnTo>
                      <a:lnTo>
                        <a:pt x="1158240" y="633413"/>
                      </a:lnTo>
                      <a:lnTo>
                        <a:pt x="1129665" y="638175"/>
                      </a:lnTo>
                      <a:lnTo>
                        <a:pt x="1083945" y="681990"/>
                      </a:lnTo>
                      <a:lnTo>
                        <a:pt x="1061085" y="707708"/>
                      </a:lnTo>
                      <a:lnTo>
                        <a:pt x="1028700" y="749618"/>
                      </a:lnTo>
                      <a:lnTo>
                        <a:pt x="1022985" y="759143"/>
                      </a:lnTo>
                      <a:lnTo>
                        <a:pt x="1037273" y="795338"/>
                      </a:lnTo>
                      <a:lnTo>
                        <a:pt x="1036320" y="812483"/>
                      </a:lnTo>
                      <a:lnTo>
                        <a:pt x="1054418" y="825818"/>
                      </a:lnTo>
                      <a:lnTo>
                        <a:pt x="1050607" y="834390"/>
                      </a:lnTo>
                      <a:lnTo>
                        <a:pt x="1019175" y="827723"/>
                      </a:lnTo>
                      <a:lnTo>
                        <a:pt x="1010603" y="825818"/>
                      </a:lnTo>
                      <a:lnTo>
                        <a:pt x="956310" y="807720"/>
                      </a:lnTo>
                      <a:lnTo>
                        <a:pt x="948690" y="794385"/>
                      </a:lnTo>
                      <a:lnTo>
                        <a:pt x="939165" y="787718"/>
                      </a:lnTo>
                      <a:lnTo>
                        <a:pt x="909638" y="778193"/>
                      </a:lnTo>
                      <a:lnTo>
                        <a:pt x="875348" y="775335"/>
                      </a:lnTo>
                      <a:lnTo>
                        <a:pt x="844868" y="777240"/>
                      </a:lnTo>
                      <a:lnTo>
                        <a:pt x="831532" y="791528"/>
                      </a:lnTo>
                      <a:lnTo>
                        <a:pt x="814388" y="790575"/>
                      </a:lnTo>
                      <a:lnTo>
                        <a:pt x="791528" y="781050"/>
                      </a:lnTo>
                      <a:lnTo>
                        <a:pt x="762953" y="782003"/>
                      </a:lnTo>
                      <a:lnTo>
                        <a:pt x="741045" y="791528"/>
                      </a:lnTo>
                      <a:lnTo>
                        <a:pt x="730568" y="811530"/>
                      </a:lnTo>
                      <a:lnTo>
                        <a:pt x="714375" y="805815"/>
                      </a:lnTo>
                      <a:lnTo>
                        <a:pt x="701040" y="809625"/>
                      </a:lnTo>
                      <a:lnTo>
                        <a:pt x="695325" y="783908"/>
                      </a:lnTo>
                      <a:lnTo>
                        <a:pt x="681990" y="780098"/>
                      </a:lnTo>
                      <a:lnTo>
                        <a:pt x="653415" y="751523"/>
                      </a:lnTo>
                      <a:lnTo>
                        <a:pt x="632460" y="763905"/>
                      </a:lnTo>
                      <a:lnTo>
                        <a:pt x="622935" y="780098"/>
                      </a:lnTo>
                      <a:lnTo>
                        <a:pt x="601980" y="780098"/>
                      </a:lnTo>
                      <a:lnTo>
                        <a:pt x="597218" y="765810"/>
                      </a:lnTo>
                      <a:lnTo>
                        <a:pt x="584835" y="763905"/>
                      </a:lnTo>
                      <a:lnTo>
                        <a:pt x="580073" y="748665"/>
                      </a:lnTo>
                      <a:lnTo>
                        <a:pt x="553403" y="727710"/>
                      </a:lnTo>
                      <a:lnTo>
                        <a:pt x="548640" y="710565"/>
                      </a:lnTo>
                      <a:lnTo>
                        <a:pt x="522923" y="702945"/>
                      </a:lnTo>
                      <a:lnTo>
                        <a:pt x="518160" y="704850"/>
                      </a:lnTo>
                      <a:lnTo>
                        <a:pt x="484823" y="687705"/>
                      </a:lnTo>
                      <a:lnTo>
                        <a:pt x="467678" y="697230"/>
                      </a:lnTo>
                      <a:lnTo>
                        <a:pt x="458153" y="691515"/>
                      </a:lnTo>
                      <a:lnTo>
                        <a:pt x="432435" y="669608"/>
                      </a:lnTo>
                      <a:lnTo>
                        <a:pt x="445770" y="664845"/>
                      </a:lnTo>
                      <a:lnTo>
                        <a:pt x="445770" y="649605"/>
                      </a:lnTo>
                      <a:lnTo>
                        <a:pt x="411480" y="656273"/>
                      </a:lnTo>
                      <a:lnTo>
                        <a:pt x="380048" y="638175"/>
                      </a:lnTo>
                      <a:lnTo>
                        <a:pt x="359093" y="632460"/>
                      </a:lnTo>
                      <a:lnTo>
                        <a:pt x="346710" y="632460"/>
                      </a:lnTo>
                      <a:lnTo>
                        <a:pt x="362903" y="655320"/>
                      </a:lnTo>
                      <a:lnTo>
                        <a:pt x="329565" y="679133"/>
                      </a:lnTo>
                      <a:lnTo>
                        <a:pt x="320040" y="675323"/>
                      </a:lnTo>
                      <a:lnTo>
                        <a:pt x="305753" y="657225"/>
                      </a:lnTo>
                      <a:lnTo>
                        <a:pt x="286703" y="640080"/>
                      </a:lnTo>
                      <a:lnTo>
                        <a:pt x="271463" y="631508"/>
                      </a:lnTo>
                      <a:lnTo>
                        <a:pt x="286703" y="620078"/>
                      </a:lnTo>
                      <a:lnTo>
                        <a:pt x="293370" y="609600"/>
                      </a:lnTo>
                      <a:lnTo>
                        <a:pt x="276225" y="598170"/>
                      </a:lnTo>
                      <a:lnTo>
                        <a:pt x="245745" y="604838"/>
                      </a:lnTo>
                      <a:lnTo>
                        <a:pt x="238125" y="596265"/>
                      </a:lnTo>
                      <a:lnTo>
                        <a:pt x="212407" y="585788"/>
                      </a:lnTo>
                      <a:lnTo>
                        <a:pt x="168593" y="575310"/>
                      </a:lnTo>
                      <a:lnTo>
                        <a:pt x="159068" y="564833"/>
                      </a:lnTo>
                      <a:lnTo>
                        <a:pt x="156210" y="554355"/>
                      </a:lnTo>
                      <a:lnTo>
                        <a:pt x="124778" y="546735"/>
                      </a:lnTo>
                      <a:lnTo>
                        <a:pt x="125730" y="564833"/>
                      </a:lnTo>
                      <a:lnTo>
                        <a:pt x="105728" y="568643"/>
                      </a:lnTo>
                      <a:lnTo>
                        <a:pt x="120968" y="534353"/>
                      </a:lnTo>
                      <a:lnTo>
                        <a:pt x="124778" y="512445"/>
                      </a:lnTo>
                      <a:lnTo>
                        <a:pt x="109538" y="481965"/>
                      </a:lnTo>
                      <a:lnTo>
                        <a:pt x="88582" y="473393"/>
                      </a:lnTo>
                      <a:lnTo>
                        <a:pt x="88582" y="458153"/>
                      </a:lnTo>
                      <a:lnTo>
                        <a:pt x="70485" y="428625"/>
                      </a:lnTo>
                      <a:lnTo>
                        <a:pt x="78105" y="418148"/>
                      </a:lnTo>
                      <a:lnTo>
                        <a:pt x="84773" y="393383"/>
                      </a:lnTo>
                      <a:lnTo>
                        <a:pt x="77153" y="375285"/>
                      </a:lnTo>
                      <a:lnTo>
                        <a:pt x="58103" y="353378"/>
                      </a:lnTo>
                      <a:lnTo>
                        <a:pt x="63818" y="328613"/>
                      </a:lnTo>
                      <a:lnTo>
                        <a:pt x="50482" y="312420"/>
                      </a:lnTo>
                      <a:lnTo>
                        <a:pt x="19050" y="292418"/>
                      </a:lnTo>
                      <a:lnTo>
                        <a:pt x="3810" y="279083"/>
                      </a:lnTo>
                      <a:lnTo>
                        <a:pt x="10478" y="263843"/>
                      </a:lnTo>
                      <a:lnTo>
                        <a:pt x="28575" y="246698"/>
                      </a:lnTo>
                      <a:lnTo>
                        <a:pt x="31432" y="220980"/>
                      </a:lnTo>
                      <a:lnTo>
                        <a:pt x="14288" y="181928"/>
                      </a:lnTo>
                      <a:lnTo>
                        <a:pt x="7620" y="157163"/>
                      </a:lnTo>
                      <a:lnTo>
                        <a:pt x="34290" y="165735"/>
                      </a:lnTo>
                      <a:lnTo>
                        <a:pt x="40957" y="160973"/>
                      </a:lnTo>
                      <a:lnTo>
                        <a:pt x="40005" y="143828"/>
                      </a:lnTo>
                      <a:lnTo>
                        <a:pt x="953" y="137160"/>
                      </a:lnTo>
                      <a:lnTo>
                        <a:pt x="0" y="125730"/>
                      </a:lnTo>
                      <a:lnTo>
                        <a:pt x="19050" y="129540"/>
                      </a:lnTo>
                      <a:lnTo>
                        <a:pt x="55245" y="116205"/>
                      </a:lnTo>
                      <a:lnTo>
                        <a:pt x="117157" y="99060"/>
                      </a:lnTo>
                      <a:lnTo>
                        <a:pt x="182880" y="82868"/>
                      </a:lnTo>
                      <a:lnTo>
                        <a:pt x="214313" y="78105"/>
                      </a:lnTo>
                      <a:lnTo>
                        <a:pt x="233363" y="57150"/>
                      </a:lnTo>
                      <a:lnTo>
                        <a:pt x="251460" y="40958"/>
                      </a:lnTo>
                      <a:lnTo>
                        <a:pt x="287655" y="34290"/>
                      </a:lnTo>
                      <a:lnTo>
                        <a:pt x="300038" y="26670"/>
                      </a:lnTo>
                      <a:lnTo>
                        <a:pt x="326707" y="15240"/>
                      </a:lnTo>
                      <a:lnTo>
                        <a:pt x="389573" y="3810"/>
                      </a:lnTo>
                      <a:lnTo>
                        <a:pt x="441960" y="0"/>
                      </a:lnTo>
                      <a:lnTo>
                        <a:pt x="493395" y="21908"/>
                      </a:lnTo>
                      <a:lnTo>
                        <a:pt x="484823" y="24765"/>
                      </a:lnTo>
                      <a:lnTo>
                        <a:pt x="456248" y="13335"/>
                      </a:lnTo>
                      <a:lnTo>
                        <a:pt x="477203" y="46673"/>
                      </a:lnTo>
                      <a:lnTo>
                        <a:pt x="487680" y="58103"/>
                      </a:lnTo>
                      <a:lnTo>
                        <a:pt x="506730" y="66675"/>
                      </a:lnTo>
                      <a:lnTo>
                        <a:pt x="522923" y="69533"/>
                      </a:lnTo>
                      <a:lnTo>
                        <a:pt x="569595" y="64770"/>
                      </a:lnTo>
                      <a:lnTo>
                        <a:pt x="590550" y="54293"/>
                      </a:lnTo>
                      <a:lnTo>
                        <a:pt x="595313" y="55245"/>
                      </a:lnTo>
                      <a:lnTo>
                        <a:pt x="658178" y="59055"/>
                      </a:lnTo>
                      <a:lnTo>
                        <a:pt x="876300" y="67628"/>
                      </a:lnTo>
                      <a:lnTo>
                        <a:pt x="942975" y="6858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2" name="Romania" descr="{&quot;Key&quot;:&quot;romania&quot;,&quot;Name&quot;:&quot;Romania&quot;,&quot;Value&quot;:1.0,&quot;Formula&quot;:&quot;&quot;,&quot;Text&quot;:&quot;&quot;,&quot;OfficeApplication&quot;:1,&quot;HasValue&quot;:true}">
                  <a:extLst>
                    <a:ext uri="{FF2B5EF4-FFF2-40B4-BE49-F238E27FC236}">
                      <a16:creationId xmlns:a16="http://schemas.microsoft.com/office/drawing/2014/main" id="{7C11ED43-B940-831C-6C0B-FC3314126985}"/>
                    </a:ext>
                  </a:extLst>
                </p:cNvPr>
                <p:cNvSpPr/>
                <p:nvPr/>
              </p:nvSpPr>
              <p:spPr>
                <a:xfrm>
                  <a:off x="7539989" y="4389529"/>
                  <a:ext cx="1130617" cy="672465"/>
                </a:xfrm>
                <a:custGeom>
                  <a:avLst/>
                  <a:gdLst>
                    <a:gd name="connsiteX0" fmla="*/ 950595 w 1130617"/>
                    <a:gd name="connsiteY0" fmla="*/ 410528 h 672465"/>
                    <a:gd name="connsiteX1" fmla="*/ 964883 w 1130617"/>
                    <a:gd name="connsiteY1" fmla="*/ 425767 h 672465"/>
                    <a:gd name="connsiteX2" fmla="*/ 982028 w 1130617"/>
                    <a:gd name="connsiteY2" fmla="*/ 434340 h 672465"/>
                    <a:gd name="connsiteX3" fmla="*/ 1020128 w 1130617"/>
                    <a:gd name="connsiteY3" fmla="*/ 442913 h 672465"/>
                    <a:gd name="connsiteX4" fmla="*/ 1025843 w 1130617"/>
                    <a:gd name="connsiteY4" fmla="*/ 431482 h 672465"/>
                    <a:gd name="connsiteX5" fmla="*/ 1034415 w 1130617"/>
                    <a:gd name="connsiteY5" fmla="*/ 434340 h 672465"/>
                    <a:gd name="connsiteX6" fmla="*/ 1049655 w 1130617"/>
                    <a:gd name="connsiteY6" fmla="*/ 429578 h 672465"/>
                    <a:gd name="connsiteX7" fmla="*/ 1070610 w 1130617"/>
                    <a:gd name="connsiteY7" fmla="*/ 417195 h 672465"/>
                    <a:gd name="connsiteX8" fmla="*/ 1091565 w 1130617"/>
                    <a:gd name="connsiteY8" fmla="*/ 415290 h 672465"/>
                    <a:gd name="connsiteX9" fmla="*/ 1112521 w 1130617"/>
                    <a:gd name="connsiteY9" fmla="*/ 421957 h 672465"/>
                    <a:gd name="connsiteX10" fmla="*/ 1130618 w 1130617"/>
                    <a:gd name="connsiteY10" fmla="*/ 439103 h 672465"/>
                    <a:gd name="connsiteX11" fmla="*/ 1128713 w 1130617"/>
                    <a:gd name="connsiteY11" fmla="*/ 480060 h 672465"/>
                    <a:gd name="connsiteX12" fmla="*/ 1122046 w 1130617"/>
                    <a:gd name="connsiteY12" fmla="*/ 500063 h 672465"/>
                    <a:gd name="connsiteX13" fmla="*/ 1062990 w 1130617"/>
                    <a:gd name="connsiteY13" fmla="*/ 512445 h 672465"/>
                    <a:gd name="connsiteX14" fmla="*/ 1066800 w 1130617"/>
                    <a:gd name="connsiteY14" fmla="*/ 506730 h 672465"/>
                    <a:gd name="connsiteX15" fmla="*/ 1060133 w 1130617"/>
                    <a:gd name="connsiteY15" fmla="*/ 487680 h 672465"/>
                    <a:gd name="connsiteX16" fmla="*/ 1050608 w 1130617"/>
                    <a:gd name="connsiteY16" fmla="*/ 478155 h 672465"/>
                    <a:gd name="connsiteX17" fmla="*/ 1042035 w 1130617"/>
                    <a:gd name="connsiteY17" fmla="*/ 488632 h 672465"/>
                    <a:gd name="connsiteX18" fmla="*/ 1047750 w 1130617"/>
                    <a:gd name="connsiteY18" fmla="*/ 504825 h 672465"/>
                    <a:gd name="connsiteX19" fmla="*/ 1041083 w 1130617"/>
                    <a:gd name="connsiteY19" fmla="*/ 518160 h 672465"/>
                    <a:gd name="connsiteX20" fmla="*/ 1039178 w 1130617"/>
                    <a:gd name="connsiteY20" fmla="*/ 541020 h 672465"/>
                    <a:gd name="connsiteX21" fmla="*/ 1044893 w 1130617"/>
                    <a:gd name="connsiteY21" fmla="*/ 549592 h 672465"/>
                    <a:gd name="connsiteX22" fmla="*/ 1029653 w 1130617"/>
                    <a:gd name="connsiteY22" fmla="*/ 568642 h 672465"/>
                    <a:gd name="connsiteX23" fmla="*/ 1024890 w 1130617"/>
                    <a:gd name="connsiteY23" fmla="*/ 581025 h 672465"/>
                    <a:gd name="connsiteX24" fmla="*/ 1032510 w 1130617"/>
                    <a:gd name="connsiteY24" fmla="*/ 626745 h 672465"/>
                    <a:gd name="connsiteX25" fmla="*/ 1028700 w 1130617"/>
                    <a:gd name="connsiteY25" fmla="*/ 661988 h 672465"/>
                    <a:gd name="connsiteX26" fmla="*/ 1009650 w 1130617"/>
                    <a:gd name="connsiteY26" fmla="*/ 661988 h 672465"/>
                    <a:gd name="connsiteX27" fmla="*/ 984885 w 1130617"/>
                    <a:gd name="connsiteY27" fmla="*/ 657225 h 672465"/>
                    <a:gd name="connsiteX28" fmla="*/ 963930 w 1130617"/>
                    <a:gd name="connsiteY28" fmla="*/ 650557 h 672465"/>
                    <a:gd name="connsiteX29" fmla="*/ 940118 w 1130617"/>
                    <a:gd name="connsiteY29" fmla="*/ 625792 h 672465"/>
                    <a:gd name="connsiteX30" fmla="*/ 923925 w 1130617"/>
                    <a:gd name="connsiteY30" fmla="*/ 630555 h 672465"/>
                    <a:gd name="connsiteX31" fmla="*/ 915353 w 1130617"/>
                    <a:gd name="connsiteY31" fmla="*/ 624840 h 672465"/>
                    <a:gd name="connsiteX32" fmla="*/ 884873 w 1130617"/>
                    <a:gd name="connsiteY32" fmla="*/ 621030 h 672465"/>
                    <a:gd name="connsiteX33" fmla="*/ 842010 w 1130617"/>
                    <a:gd name="connsiteY33" fmla="*/ 599122 h 672465"/>
                    <a:gd name="connsiteX34" fmla="*/ 814388 w 1130617"/>
                    <a:gd name="connsiteY34" fmla="*/ 602932 h 672465"/>
                    <a:gd name="connsiteX35" fmla="*/ 772478 w 1130617"/>
                    <a:gd name="connsiteY35" fmla="*/ 611505 h 672465"/>
                    <a:gd name="connsiteX36" fmla="*/ 741998 w 1130617"/>
                    <a:gd name="connsiteY36" fmla="*/ 622935 h 672465"/>
                    <a:gd name="connsiteX37" fmla="*/ 710565 w 1130617"/>
                    <a:gd name="connsiteY37" fmla="*/ 642938 h 672465"/>
                    <a:gd name="connsiteX38" fmla="*/ 699135 w 1130617"/>
                    <a:gd name="connsiteY38" fmla="*/ 658178 h 672465"/>
                    <a:gd name="connsiteX39" fmla="*/ 683895 w 1130617"/>
                    <a:gd name="connsiteY39" fmla="*/ 666750 h 672465"/>
                    <a:gd name="connsiteX40" fmla="*/ 661988 w 1130617"/>
                    <a:gd name="connsiteY40" fmla="*/ 672465 h 672465"/>
                    <a:gd name="connsiteX41" fmla="*/ 621983 w 1130617"/>
                    <a:gd name="connsiteY41" fmla="*/ 670560 h 672465"/>
                    <a:gd name="connsiteX42" fmla="*/ 532448 w 1130617"/>
                    <a:gd name="connsiteY42" fmla="*/ 654367 h 672465"/>
                    <a:gd name="connsiteX43" fmla="*/ 508635 w 1130617"/>
                    <a:gd name="connsiteY43" fmla="*/ 659130 h 672465"/>
                    <a:gd name="connsiteX44" fmla="*/ 475298 w 1130617"/>
                    <a:gd name="connsiteY44" fmla="*/ 655320 h 672465"/>
                    <a:gd name="connsiteX45" fmla="*/ 424815 w 1130617"/>
                    <a:gd name="connsiteY45" fmla="*/ 645795 h 672465"/>
                    <a:gd name="connsiteX46" fmla="*/ 387668 w 1130617"/>
                    <a:gd name="connsiteY46" fmla="*/ 642938 h 672465"/>
                    <a:gd name="connsiteX47" fmla="*/ 352425 w 1130617"/>
                    <a:gd name="connsiteY47" fmla="*/ 648653 h 672465"/>
                    <a:gd name="connsiteX48" fmla="*/ 343853 w 1130617"/>
                    <a:gd name="connsiteY48" fmla="*/ 631507 h 672465"/>
                    <a:gd name="connsiteX49" fmla="*/ 360998 w 1130617"/>
                    <a:gd name="connsiteY49" fmla="*/ 612457 h 672465"/>
                    <a:gd name="connsiteX50" fmla="*/ 320040 w 1130617"/>
                    <a:gd name="connsiteY50" fmla="*/ 588645 h 672465"/>
                    <a:gd name="connsiteX51" fmla="*/ 312420 w 1130617"/>
                    <a:gd name="connsiteY51" fmla="*/ 577215 h 672465"/>
                    <a:gd name="connsiteX52" fmla="*/ 297180 w 1130617"/>
                    <a:gd name="connsiteY52" fmla="*/ 568642 h 672465"/>
                    <a:gd name="connsiteX53" fmla="*/ 292418 w 1130617"/>
                    <a:gd name="connsiteY53" fmla="*/ 552450 h 672465"/>
                    <a:gd name="connsiteX54" fmla="*/ 316230 w 1130617"/>
                    <a:gd name="connsiteY54" fmla="*/ 535305 h 672465"/>
                    <a:gd name="connsiteX55" fmla="*/ 287655 w 1130617"/>
                    <a:gd name="connsiteY55" fmla="*/ 520065 h 672465"/>
                    <a:gd name="connsiteX56" fmla="*/ 271463 w 1130617"/>
                    <a:gd name="connsiteY56" fmla="*/ 524828 h 672465"/>
                    <a:gd name="connsiteX57" fmla="*/ 255270 w 1130617"/>
                    <a:gd name="connsiteY57" fmla="*/ 541972 h 672465"/>
                    <a:gd name="connsiteX58" fmla="*/ 242888 w 1130617"/>
                    <a:gd name="connsiteY58" fmla="*/ 543878 h 672465"/>
                    <a:gd name="connsiteX59" fmla="*/ 233363 w 1130617"/>
                    <a:gd name="connsiteY59" fmla="*/ 532447 h 672465"/>
                    <a:gd name="connsiteX60" fmla="*/ 219075 w 1130617"/>
                    <a:gd name="connsiteY60" fmla="*/ 525780 h 672465"/>
                    <a:gd name="connsiteX61" fmla="*/ 185738 w 1130617"/>
                    <a:gd name="connsiteY61" fmla="*/ 519113 h 672465"/>
                    <a:gd name="connsiteX62" fmla="*/ 171450 w 1130617"/>
                    <a:gd name="connsiteY62" fmla="*/ 507682 h 672465"/>
                    <a:gd name="connsiteX63" fmla="*/ 151448 w 1130617"/>
                    <a:gd name="connsiteY63" fmla="*/ 501967 h 672465"/>
                    <a:gd name="connsiteX64" fmla="*/ 153353 w 1130617"/>
                    <a:gd name="connsiteY64" fmla="*/ 496253 h 672465"/>
                    <a:gd name="connsiteX65" fmla="*/ 170498 w 1130617"/>
                    <a:gd name="connsiteY65" fmla="*/ 488632 h 672465"/>
                    <a:gd name="connsiteX66" fmla="*/ 148590 w 1130617"/>
                    <a:gd name="connsiteY66" fmla="*/ 478155 h 672465"/>
                    <a:gd name="connsiteX67" fmla="*/ 162878 w 1130617"/>
                    <a:gd name="connsiteY67" fmla="*/ 459105 h 672465"/>
                    <a:gd name="connsiteX68" fmla="*/ 154305 w 1130617"/>
                    <a:gd name="connsiteY68" fmla="*/ 448628 h 672465"/>
                    <a:gd name="connsiteX69" fmla="*/ 129540 w 1130617"/>
                    <a:gd name="connsiteY69" fmla="*/ 441007 h 672465"/>
                    <a:gd name="connsiteX70" fmla="*/ 93345 w 1130617"/>
                    <a:gd name="connsiteY70" fmla="*/ 422910 h 672465"/>
                    <a:gd name="connsiteX71" fmla="*/ 72390 w 1130617"/>
                    <a:gd name="connsiteY71" fmla="*/ 405765 h 672465"/>
                    <a:gd name="connsiteX72" fmla="*/ 68580 w 1130617"/>
                    <a:gd name="connsiteY72" fmla="*/ 366713 h 672465"/>
                    <a:gd name="connsiteX73" fmla="*/ 60960 w 1130617"/>
                    <a:gd name="connsiteY73" fmla="*/ 368617 h 672465"/>
                    <a:gd name="connsiteX74" fmla="*/ 43815 w 1130617"/>
                    <a:gd name="connsiteY74" fmla="*/ 349567 h 672465"/>
                    <a:gd name="connsiteX75" fmla="*/ 16193 w 1130617"/>
                    <a:gd name="connsiteY75" fmla="*/ 333375 h 672465"/>
                    <a:gd name="connsiteX76" fmla="*/ 0 w 1130617"/>
                    <a:gd name="connsiteY76" fmla="*/ 314325 h 672465"/>
                    <a:gd name="connsiteX77" fmla="*/ 30480 w 1130617"/>
                    <a:gd name="connsiteY77" fmla="*/ 305753 h 672465"/>
                    <a:gd name="connsiteX78" fmla="*/ 43815 w 1130617"/>
                    <a:gd name="connsiteY78" fmla="*/ 310515 h 672465"/>
                    <a:gd name="connsiteX79" fmla="*/ 67628 w 1130617"/>
                    <a:gd name="connsiteY79" fmla="*/ 291465 h 672465"/>
                    <a:gd name="connsiteX80" fmla="*/ 92393 w 1130617"/>
                    <a:gd name="connsiteY80" fmla="*/ 294322 h 672465"/>
                    <a:gd name="connsiteX81" fmla="*/ 104775 w 1130617"/>
                    <a:gd name="connsiteY81" fmla="*/ 285750 h 672465"/>
                    <a:gd name="connsiteX82" fmla="*/ 119063 w 1130617"/>
                    <a:gd name="connsiteY82" fmla="*/ 240982 h 672465"/>
                    <a:gd name="connsiteX83" fmla="*/ 139065 w 1130617"/>
                    <a:gd name="connsiteY83" fmla="*/ 226695 h 672465"/>
                    <a:gd name="connsiteX84" fmla="*/ 137160 w 1130617"/>
                    <a:gd name="connsiteY84" fmla="*/ 214313 h 672465"/>
                    <a:gd name="connsiteX85" fmla="*/ 152400 w 1130617"/>
                    <a:gd name="connsiteY85" fmla="*/ 188595 h 672465"/>
                    <a:gd name="connsiteX86" fmla="*/ 152400 w 1130617"/>
                    <a:gd name="connsiteY86" fmla="*/ 177165 h 672465"/>
                    <a:gd name="connsiteX87" fmla="*/ 165735 w 1130617"/>
                    <a:gd name="connsiteY87" fmla="*/ 162878 h 672465"/>
                    <a:gd name="connsiteX88" fmla="*/ 172403 w 1130617"/>
                    <a:gd name="connsiteY88" fmla="*/ 139065 h 672465"/>
                    <a:gd name="connsiteX89" fmla="*/ 185738 w 1130617"/>
                    <a:gd name="connsiteY89" fmla="*/ 125730 h 672465"/>
                    <a:gd name="connsiteX90" fmla="*/ 184785 w 1130617"/>
                    <a:gd name="connsiteY90" fmla="*/ 109538 h 672465"/>
                    <a:gd name="connsiteX91" fmla="*/ 196215 w 1130617"/>
                    <a:gd name="connsiteY91" fmla="*/ 100013 h 672465"/>
                    <a:gd name="connsiteX92" fmla="*/ 214313 w 1130617"/>
                    <a:gd name="connsiteY92" fmla="*/ 77153 h 672465"/>
                    <a:gd name="connsiteX93" fmla="*/ 258128 w 1130617"/>
                    <a:gd name="connsiteY93" fmla="*/ 66675 h 672465"/>
                    <a:gd name="connsiteX94" fmla="*/ 279083 w 1130617"/>
                    <a:gd name="connsiteY94" fmla="*/ 44767 h 672465"/>
                    <a:gd name="connsiteX95" fmla="*/ 299085 w 1130617"/>
                    <a:gd name="connsiteY95" fmla="*/ 36195 h 672465"/>
                    <a:gd name="connsiteX96" fmla="*/ 307658 w 1130617"/>
                    <a:gd name="connsiteY96" fmla="*/ 24765 h 672465"/>
                    <a:gd name="connsiteX97" fmla="*/ 314325 w 1130617"/>
                    <a:gd name="connsiteY97" fmla="*/ 24765 h 672465"/>
                    <a:gd name="connsiteX98" fmla="*/ 340043 w 1130617"/>
                    <a:gd name="connsiteY98" fmla="*/ 39053 h 672465"/>
                    <a:gd name="connsiteX99" fmla="*/ 365760 w 1130617"/>
                    <a:gd name="connsiteY99" fmla="*/ 38100 h 672465"/>
                    <a:gd name="connsiteX100" fmla="*/ 431483 w 1130617"/>
                    <a:gd name="connsiteY100" fmla="*/ 51435 h 672465"/>
                    <a:gd name="connsiteX101" fmla="*/ 465773 w 1130617"/>
                    <a:gd name="connsiteY101" fmla="*/ 44767 h 672465"/>
                    <a:gd name="connsiteX102" fmla="*/ 477203 w 1130617"/>
                    <a:gd name="connsiteY102" fmla="*/ 47625 h 672465"/>
                    <a:gd name="connsiteX103" fmla="*/ 518160 w 1130617"/>
                    <a:gd name="connsiteY103" fmla="*/ 79057 h 672465"/>
                    <a:gd name="connsiteX104" fmla="*/ 538163 w 1130617"/>
                    <a:gd name="connsiteY104" fmla="*/ 74295 h 672465"/>
                    <a:gd name="connsiteX105" fmla="*/ 547688 w 1130617"/>
                    <a:gd name="connsiteY105" fmla="*/ 62865 h 672465"/>
                    <a:gd name="connsiteX106" fmla="*/ 580073 w 1130617"/>
                    <a:gd name="connsiteY106" fmla="*/ 50482 h 672465"/>
                    <a:gd name="connsiteX107" fmla="*/ 660083 w 1130617"/>
                    <a:gd name="connsiteY107" fmla="*/ 39053 h 672465"/>
                    <a:gd name="connsiteX108" fmla="*/ 670560 w 1130617"/>
                    <a:gd name="connsiteY108" fmla="*/ 20955 h 672465"/>
                    <a:gd name="connsiteX109" fmla="*/ 672465 w 1130617"/>
                    <a:gd name="connsiteY109" fmla="*/ 7620 h 672465"/>
                    <a:gd name="connsiteX110" fmla="*/ 707708 w 1130617"/>
                    <a:gd name="connsiteY110" fmla="*/ 0 h 672465"/>
                    <a:gd name="connsiteX111" fmla="*/ 727710 w 1130617"/>
                    <a:gd name="connsiteY111" fmla="*/ 0 h 672465"/>
                    <a:gd name="connsiteX112" fmla="*/ 751523 w 1130617"/>
                    <a:gd name="connsiteY112" fmla="*/ 15240 h 672465"/>
                    <a:gd name="connsiteX113" fmla="*/ 775335 w 1130617"/>
                    <a:gd name="connsiteY113" fmla="*/ 43815 h 672465"/>
                    <a:gd name="connsiteX114" fmla="*/ 803910 w 1130617"/>
                    <a:gd name="connsiteY114" fmla="*/ 90488 h 672465"/>
                    <a:gd name="connsiteX115" fmla="*/ 818198 w 1130617"/>
                    <a:gd name="connsiteY115" fmla="*/ 102870 h 672465"/>
                    <a:gd name="connsiteX116" fmla="*/ 842010 w 1130617"/>
                    <a:gd name="connsiteY116" fmla="*/ 133350 h 672465"/>
                    <a:gd name="connsiteX117" fmla="*/ 862013 w 1130617"/>
                    <a:gd name="connsiteY117" fmla="*/ 150495 h 672465"/>
                    <a:gd name="connsiteX118" fmla="*/ 874395 w 1130617"/>
                    <a:gd name="connsiteY118" fmla="*/ 166688 h 672465"/>
                    <a:gd name="connsiteX119" fmla="*/ 902970 w 1130617"/>
                    <a:gd name="connsiteY119" fmla="*/ 186690 h 672465"/>
                    <a:gd name="connsiteX120" fmla="*/ 916305 w 1130617"/>
                    <a:gd name="connsiteY120" fmla="*/ 214313 h 672465"/>
                    <a:gd name="connsiteX121" fmla="*/ 929640 w 1130617"/>
                    <a:gd name="connsiteY121" fmla="*/ 236220 h 672465"/>
                    <a:gd name="connsiteX122" fmla="*/ 934403 w 1130617"/>
                    <a:gd name="connsiteY122" fmla="*/ 263842 h 672465"/>
                    <a:gd name="connsiteX123" fmla="*/ 925830 w 1130617"/>
                    <a:gd name="connsiteY123" fmla="*/ 309563 h 672465"/>
                    <a:gd name="connsiteX124" fmla="*/ 926783 w 1130617"/>
                    <a:gd name="connsiteY124" fmla="*/ 334328 h 672465"/>
                    <a:gd name="connsiteX125" fmla="*/ 940118 w 1130617"/>
                    <a:gd name="connsiteY125" fmla="*/ 381953 h 672465"/>
                    <a:gd name="connsiteX126" fmla="*/ 931545 w 1130617"/>
                    <a:gd name="connsiteY126" fmla="*/ 388620 h 672465"/>
                    <a:gd name="connsiteX127" fmla="*/ 950595 w 1130617"/>
                    <a:gd name="connsiteY127" fmla="*/ 410528 h 67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130617" h="672465">
                      <a:moveTo>
                        <a:pt x="950595" y="410528"/>
                      </a:moveTo>
                      <a:lnTo>
                        <a:pt x="964883" y="425767"/>
                      </a:lnTo>
                      <a:lnTo>
                        <a:pt x="982028" y="434340"/>
                      </a:lnTo>
                      <a:lnTo>
                        <a:pt x="1020128" y="442913"/>
                      </a:lnTo>
                      <a:lnTo>
                        <a:pt x="1025843" y="431482"/>
                      </a:lnTo>
                      <a:lnTo>
                        <a:pt x="1034415" y="434340"/>
                      </a:lnTo>
                      <a:lnTo>
                        <a:pt x="1049655" y="429578"/>
                      </a:lnTo>
                      <a:lnTo>
                        <a:pt x="1070610" y="417195"/>
                      </a:lnTo>
                      <a:lnTo>
                        <a:pt x="1091565" y="415290"/>
                      </a:lnTo>
                      <a:lnTo>
                        <a:pt x="1112521" y="421957"/>
                      </a:lnTo>
                      <a:lnTo>
                        <a:pt x="1130618" y="439103"/>
                      </a:lnTo>
                      <a:lnTo>
                        <a:pt x="1128713" y="480060"/>
                      </a:lnTo>
                      <a:lnTo>
                        <a:pt x="1122046" y="500063"/>
                      </a:lnTo>
                      <a:lnTo>
                        <a:pt x="1062990" y="512445"/>
                      </a:lnTo>
                      <a:lnTo>
                        <a:pt x="1066800" y="506730"/>
                      </a:lnTo>
                      <a:lnTo>
                        <a:pt x="1060133" y="487680"/>
                      </a:lnTo>
                      <a:lnTo>
                        <a:pt x="1050608" y="478155"/>
                      </a:lnTo>
                      <a:lnTo>
                        <a:pt x="1042035" y="488632"/>
                      </a:lnTo>
                      <a:lnTo>
                        <a:pt x="1047750" y="504825"/>
                      </a:lnTo>
                      <a:lnTo>
                        <a:pt x="1041083" y="518160"/>
                      </a:lnTo>
                      <a:lnTo>
                        <a:pt x="1039178" y="541020"/>
                      </a:lnTo>
                      <a:lnTo>
                        <a:pt x="1044893" y="549592"/>
                      </a:lnTo>
                      <a:lnTo>
                        <a:pt x="1029653" y="568642"/>
                      </a:lnTo>
                      <a:lnTo>
                        <a:pt x="1024890" y="581025"/>
                      </a:lnTo>
                      <a:lnTo>
                        <a:pt x="1032510" y="626745"/>
                      </a:lnTo>
                      <a:lnTo>
                        <a:pt x="1028700" y="661988"/>
                      </a:lnTo>
                      <a:lnTo>
                        <a:pt x="1009650" y="661988"/>
                      </a:lnTo>
                      <a:lnTo>
                        <a:pt x="984885" y="657225"/>
                      </a:lnTo>
                      <a:lnTo>
                        <a:pt x="963930" y="650557"/>
                      </a:lnTo>
                      <a:lnTo>
                        <a:pt x="940118" y="625792"/>
                      </a:lnTo>
                      <a:lnTo>
                        <a:pt x="923925" y="630555"/>
                      </a:lnTo>
                      <a:lnTo>
                        <a:pt x="915353" y="624840"/>
                      </a:lnTo>
                      <a:lnTo>
                        <a:pt x="884873" y="621030"/>
                      </a:lnTo>
                      <a:lnTo>
                        <a:pt x="842010" y="599122"/>
                      </a:lnTo>
                      <a:lnTo>
                        <a:pt x="814388" y="602932"/>
                      </a:lnTo>
                      <a:lnTo>
                        <a:pt x="772478" y="611505"/>
                      </a:lnTo>
                      <a:lnTo>
                        <a:pt x="741998" y="622935"/>
                      </a:lnTo>
                      <a:lnTo>
                        <a:pt x="710565" y="642938"/>
                      </a:lnTo>
                      <a:lnTo>
                        <a:pt x="699135" y="658178"/>
                      </a:lnTo>
                      <a:lnTo>
                        <a:pt x="683895" y="666750"/>
                      </a:lnTo>
                      <a:lnTo>
                        <a:pt x="661988" y="672465"/>
                      </a:lnTo>
                      <a:lnTo>
                        <a:pt x="621983" y="670560"/>
                      </a:lnTo>
                      <a:lnTo>
                        <a:pt x="532448" y="654367"/>
                      </a:lnTo>
                      <a:lnTo>
                        <a:pt x="508635" y="659130"/>
                      </a:lnTo>
                      <a:lnTo>
                        <a:pt x="475298" y="655320"/>
                      </a:lnTo>
                      <a:lnTo>
                        <a:pt x="424815" y="645795"/>
                      </a:lnTo>
                      <a:lnTo>
                        <a:pt x="387668" y="642938"/>
                      </a:lnTo>
                      <a:lnTo>
                        <a:pt x="352425" y="648653"/>
                      </a:lnTo>
                      <a:lnTo>
                        <a:pt x="343853" y="631507"/>
                      </a:lnTo>
                      <a:lnTo>
                        <a:pt x="360998" y="612457"/>
                      </a:lnTo>
                      <a:lnTo>
                        <a:pt x="320040" y="588645"/>
                      </a:lnTo>
                      <a:lnTo>
                        <a:pt x="312420" y="577215"/>
                      </a:lnTo>
                      <a:lnTo>
                        <a:pt x="297180" y="568642"/>
                      </a:lnTo>
                      <a:lnTo>
                        <a:pt x="292418" y="552450"/>
                      </a:lnTo>
                      <a:lnTo>
                        <a:pt x="316230" y="535305"/>
                      </a:lnTo>
                      <a:lnTo>
                        <a:pt x="287655" y="520065"/>
                      </a:lnTo>
                      <a:lnTo>
                        <a:pt x="271463" y="524828"/>
                      </a:lnTo>
                      <a:lnTo>
                        <a:pt x="255270" y="541972"/>
                      </a:lnTo>
                      <a:lnTo>
                        <a:pt x="242888" y="543878"/>
                      </a:lnTo>
                      <a:lnTo>
                        <a:pt x="233363" y="532447"/>
                      </a:lnTo>
                      <a:lnTo>
                        <a:pt x="219075" y="525780"/>
                      </a:lnTo>
                      <a:lnTo>
                        <a:pt x="185738" y="519113"/>
                      </a:lnTo>
                      <a:lnTo>
                        <a:pt x="171450" y="507682"/>
                      </a:lnTo>
                      <a:lnTo>
                        <a:pt x="151448" y="501967"/>
                      </a:lnTo>
                      <a:lnTo>
                        <a:pt x="153353" y="496253"/>
                      </a:lnTo>
                      <a:lnTo>
                        <a:pt x="170498" y="488632"/>
                      </a:lnTo>
                      <a:lnTo>
                        <a:pt x="148590" y="478155"/>
                      </a:lnTo>
                      <a:lnTo>
                        <a:pt x="162878" y="459105"/>
                      </a:lnTo>
                      <a:lnTo>
                        <a:pt x="154305" y="448628"/>
                      </a:lnTo>
                      <a:lnTo>
                        <a:pt x="129540" y="441007"/>
                      </a:lnTo>
                      <a:lnTo>
                        <a:pt x="93345" y="422910"/>
                      </a:lnTo>
                      <a:lnTo>
                        <a:pt x="72390" y="405765"/>
                      </a:lnTo>
                      <a:lnTo>
                        <a:pt x="68580" y="366713"/>
                      </a:lnTo>
                      <a:lnTo>
                        <a:pt x="60960" y="368617"/>
                      </a:lnTo>
                      <a:lnTo>
                        <a:pt x="43815" y="349567"/>
                      </a:lnTo>
                      <a:lnTo>
                        <a:pt x="16193" y="333375"/>
                      </a:lnTo>
                      <a:lnTo>
                        <a:pt x="0" y="314325"/>
                      </a:lnTo>
                      <a:lnTo>
                        <a:pt x="30480" y="305753"/>
                      </a:lnTo>
                      <a:lnTo>
                        <a:pt x="43815" y="310515"/>
                      </a:lnTo>
                      <a:lnTo>
                        <a:pt x="67628" y="291465"/>
                      </a:lnTo>
                      <a:lnTo>
                        <a:pt x="92393" y="294322"/>
                      </a:lnTo>
                      <a:lnTo>
                        <a:pt x="104775" y="285750"/>
                      </a:lnTo>
                      <a:lnTo>
                        <a:pt x="119063" y="240982"/>
                      </a:lnTo>
                      <a:lnTo>
                        <a:pt x="139065" y="226695"/>
                      </a:lnTo>
                      <a:lnTo>
                        <a:pt x="137160" y="214313"/>
                      </a:lnTo>
                      <a:lnTo>
                        <a:pt x="152400" y="188595"/>
                      </a:lnTo>
                      <a:lnTo>
                        <a:pt x="152400" y="177165"/>
                      </a:lnTo>
                      <a:lnTo>
                        <a:pt x="165735" y="162878"/>
                      </a:lnTo>
                      <a:lnTo>
                        <a:pt x="172403" y="139065"/>
                      </a:lnTo>
                      <a:lnTo>
                        <a:pt x="185738" y="125730"/>
                      </a:lnTo>
                      <a:lnTo>
                        <a:pt x="184785" y="109538"/>
                      </a:lnTo>
                      <a:lnTo>
                        <a:pt x="196215" y="100013"/>
                      </a:lnTo>
                      <a:lnTo>
                        <a:pt x="214313" y="77153"/>
                      </a:lnTo>
                      <a:lnTo>
                        <a:pt x="258128" y="66675"/>
                      </a:lnTo>
                      <a:lnTo>
                        <a:pt x="279083" y="44767"/>
                      </a:lnTo>
                      <a:lnTo>
                        <a:pt x="299085" y="36195"/>
                      </a:lnTo>
                      <a:lnTo>
                        <a:pt x="307658" y="24765"/>
                      </a:lnTo>
                      <a:lnTo>
                        <a:pt x="314325" y="24765"/>
                      </a:lnTo>
                      <a:lnTo>
                        <a:pt x="340043" y="39053"/>
                      </a:lnTo>
                      <a:lnTo>
                        <a:pt x="365760" y="38100"/>
                      </a:lnTo>
                      <a:lnTo>
                        <a:pt x="431483" y="51435"/>
                      </a:lnTo>
                      <a:lnTo>
                        <a:pt x="465773" y="44767"/>
                      </a:lnTo>
                      <a:lnTo>
                        <a:pt x="477203" y="47625"/>
                      </a:lnTo>
                      <a:lnTo>
                        <a:pt x="518160" y="79057"/>
                      </a:lnTo>
                      <a:lnTo>
                        <a:pt x="538163" y="74295"/>
                      </a:lnTo>
                      <a:lnTo>
                        <a:pt x="547688" y="62865"/>
                      </a:lnTo>
                      <a:lnTo>
                        <a:pt x="580073" y="50482"/>
                      </a:lnTo>
                      <a:lnTo>
                        <a:pt x="660083" y="39053"/>
                      </a:lnTo>
                      <a:lnTo>
                        <a:pt x="670560" y="20955"/>
                      </a:lnTo>
                      <a:lnTo>
                        <a:pt x="672465" y="7620"/>
                      </a:lnTo>
                      <a:lnTo>
                        <a:pt x="707708" y="0"/>
                      </a:lnTo>
                      <a:lnTo>
                        <a:pt x="727710" y="0"/>
                      </a:lnTo>
                      <a:lnTo>
                        <a:pt x="751523" y="15240"/>
                      </a:lnTo>
                      <a:lnTo>
                        <a:pt x="775335" y="43815"/>
                      </a:lnTo>
                      <a:lnTo>
                        <a:pt x="803910" y="90488"/>
                      </a:lnTo>
                      <a:lnTo>
                        <a:pt x="818198" y="102870"/>
                      </a:lnTo>
                      <a:lnTo>
                        <a:pt x="842010" y="133350"/>
                      </a:lnTo>
                      <a:lnTo>
                        <a:pt x="862013" y="150495"/>
                      </a:lnTo>
                      <a:lnTo>
                        <a:pt x="874395" y="166688"/>
                      </a:lnTo>
                      <a:lnTo>
                        <a:pt x="902970" y="186690"/>
                      </a:lnTo>
                      <a:lnTo>
                        <a:pt x="916305" y="214313"/>
                      </a:lnTo>
                      <a:lnTo>
                        <a:pt x="929640" y="236220"/>
                      </a:lnTo>
                      <a:lnTo>
                        <a:pt x="934403" y="263842"/>
                      </a:lnTo>
                      <a:lnTo>
                        <a:pt x="925830" y="309563"/>
                      </a:lnTo>
                      <a:lnTo>
                        <a:pt x="926783" y="334328"/>
                      </a:lnTo>
                      <a:lnTo>
                        <a:pt x="940118" y="381953"/>
                      </a:lnTo>
                      <a:lnTo>
                        <a:pt x="931545" y="388620"/>
                      </a:lnTo>
                      <a:lnTo>
                        <a:pt x="950595" y="410528"/>
                      </a:lnTo>
                      <a:close/>
                    </a:path>
                  </a:pathLst>
                </a:custGeom>
                <a:solidFill>
                  <a:srgbClr val="478CAB"/>
                </a:solidFill>
                <a:ln w="953" cap="rnd">
                  <a:solidFill>
                    <a:srgbClr val="B5C1B5"/>
                  </a:solidFill>
                  <a:prstDash val="solid"/>
                  <a:round/>
                </a:ln>
              </p:spPr>
              <p:txBody>
                <a:bodyPr rtlCol="0" anchor="ctr"/>
                <a:lstStyle/>
                <a:p>
                  <a:endParaRPr lang="en-US" sz="600"/>
                </a:p>
              </p:txBody>
            </p:sp>
            <p:sp>
              <p:nvSpPr>
                <p:cNvPr id="3123" name="Serbia" descr="{&quot;Key&quot;:&quot;serbia&quot;,&quot;Name&quot;:&quot;Serbia&quot;,&quot;Value&quot;:1.0,&quot;Formula&quot;:&quot;&quot;,&quot;Text&quot;:&quot;&quot;,&quot;OfficeApplication&quot;:1,&quot;HasValue&quot;:true}">
                  <a:extLst>
                    <a:ext uri="{FF2B5EF4-FFF2-40B4-BE49-F238E27FC236}">
                      <a16:creationId xmlns:a16="http://schemas.microsoft.com/office/drawing/2014/main" id="{3D51C920-4623-BF34-676E-7D83C901C5B4}"/>
                    </a:ext>
                  </a:extLst>
                </p:cNvPr>
                <p:cNvSpPr/>
                <p:nvPr/>
              </p:nvSpPr>
              <p:spPr>
                <a:xfrm>
                  <a:off x="7379017" y="4694329"/>
                  <a:ext cx="530542" cy="578167"/>
                </a:xfrm>
                <a:custGeom>
                  <a:avLst/>
                  <a:gdLst>
                    <a:gd name="connsiteX0" fmla="*/ 160972 w 530542"/>
                    <a:gd name="connsiteY0" fmla="*/ 9525 h 578167"/>
                    <a:gd name="connsiteX1" fmla="*/ 177165 w 530542"/>
                    <a:gd name="connsiteY1" fmla="*/ 28575 h 578167"/>
                    <a:gd name="connsiteX2" fmla="*/ 204788 w 530542"/>
                    <a:gd name="connsiteY2" fmla="*/ 44767 h 578167"/>
                    <a:gd name="connsiteX3" fmla="*/ 221932 w 530542"/>
                    <a:gd name="connsiteY3" fmla="*/ 63817 h 578167"/>
                    <a:gd name="connsiteX4" fmla="*/ 229552 w 530542"/>
                    <a:gd name="connsiteY4" fmla="*/ 61913 h 578167"/>
                    <a:gd name="connsiteX5" fmla="*/ 233363 w 530542"/>
                    <a:gd name="connsiteY5" fmla="*/ 100965 h 578167"/>
                    <a:gd name="connsiteX6" fmla="*/ 254318 w 530542"/>
                    <a:gd name="connsiteY6" fmla="*/ 118110 h 578167"/>
                    <a:gd name="connsiteX7" fmla="*/ 290513 w 530542"/>
                    <a:gd name="connsiteY7" fmla="*/ 136207 h 578167"/>
                    <a:gd name="connsiteX8" fmla="*/ 315277 w 530542"/>
                    <a:gd name="connsiteY8" fmla="*/ 143828 h 578167"/>
                    <a:gd name="connsiteX9" fmla="*/ 323850 w 530542"/>
                    <a:gd name="connsiteY9" fmla="*/ 154305 h 578167"/>
                    <a:gd name="connsiteX10" fmla="*/ 309563 w 530542"/>
                    <a:gd name="connsiteY10" fmla="*/ 173355 h 578167"/>
                    <a:gd name="connsiteX11" fmla="*/ 331470 w 530542"/>
                    <a:gd name="connsiteY11" fmla="*/ 183832 h 578167"/>
                    <a:gd name="connsiteX12" fmla="*/ 314325 w 530542"/>
                    <a:gd name="connsiteY12" fmla="*/ 191453 h 578167"/>
                    <a:gd name="connsiteX13" fmla="*/ 312420 w 530542"/>
                    <a:gd name="connsiteY13" fmla="*/ 197167 h 578167"/>
                    <a:gd name="connsiteX14" fmla="*/ 332422 w 530542"/>
                    <a:gd name="connsiteY14" fmla="*/ 202882 h 578167"/>
                    <a:gd name="connsiteX15" fmla="*/ 346710 w 530542"/>
                    <a:gd name="connsiteY15" fmla="*/ 214313 h 578167"/>
                    <a:gd name="connsiteX16" fmla="*/ 380047 w 530542"/>
                    <a:gd name="connsiteY16" fmla="*/ 220980 h 578167"/>
                    <a:gd name="connsiteX17" fmla="*/ 394335 w 530542"/>
                    <a:gd name="connsiteY17" fmla="*/ 227647 h 578167"/>
                    <a:gd name="connsiteX18" fmla="*/ 403860 w 530542"/>
                    <a:gd name="connsiteY18" fmla="*/ 239078 h 578167"/>
                    <a:gd name="connsiteX19" fmla="*/ 416243 w 530542"/>
                    <a:gd name="connsiteY19" fmla="*/ 237172 h 578167"/>
                    <a:gd name="connsiteX20" fmla="*/ 432435 w 530542"/>
                    <a:gd name="connsiteY20" fmla="*/ 220028 h 578167"/>
                    <a:gd name="connsiteX21" fmla="*/ 448627 w 530542"/>
                    <a:gd name="connsiteY21" fmla="*/ 215265 h 578167"/>
                    <a:gd name="connsiteX22" fmla="*/ 477202 w 530542"/>
                    <a:gd name="connsiteY22" fmla="*/ 230505 h 578167"/>
                    <a:gd name="connsiteX23" fmla="*/ 453390 w 530542"/>
                    <a:gd name="connsiteY23" fmla="*/ 247650 h 578167"/>
                    <a:gd name="connsiteX24" fmla="*/ 458152 w 530542"/>
                    <a:gd name="connsiteY24" fmla="*/ 263842 h 578167"/>
                    <a:gd name="connsiteX25" fmla="*/ 473393 w 530542"/>
                    <a:gd name="connsiteY25" fmla="*/ 272415 h 578167"/>
                    <a:gd name="connsiteX26" fmla="*/ 481013 w 530542"/>
                    <a:gd name="connsiteY26" fmla="*/ 283845 h 578167"/>
                    <a:gd name="connsiteX27" fmla="*/ 472440 w 530542"/>
                    <a:gd name="connsiteY27" fmla="*/ 290513 h 578167"/>
                    <a:gd name="connsiteX28" fmla="*/ 470535 w 530542"/>
                    <a:gd name="connsiteY28" fmla="*/ 308610 h 578167"/>
                    <a:gd name="connsiteX29" fmla="*/ 450532 w 530542"/>
                    <a:gd name="connsiteY29" fmla="*/ 318135 h 578167"/>
                    <a:gd name="connsiteX30" fmla="*/ 446722 w 530542"/>
                    <a:gd name="connsiteY30" fmla="*/ 340042 h 578167"/>
                    <a:gd name="connsiteX31" fmla="*/ 452438 w 530542"/>
                    <a:gd name="connsiteY31" fmla="*/ 362903 h 578167"/>
                    <a:gd name="connsiteX32" fmla="*/ 475297 w 530542"/>
                    <a:gd name="connsiteY32" fmla="*/ 400050 h 578167"/>
                    <a:gd name="connsiteX33" fmla="*/ 502920 w 530542"/>
                    <a:gd name="connsiteY33" fmla="*/ 414337 h 578167"/>
                    <a:gd name="connsiteX34" fmla="*/ 515302 w 530542"/>
                    <a:gd name="connsiteY34" fmla="*/ 429578 h 578167"/>
                    <a:gd name="connsiteX35" fmla="*/ 530543 w 530542"/>
                    <a:gd name="connsiteY35" fmla="*/ 439103 h 578167"/>
                    <a:gd name="connsiteX36" fmla="*/ 527685 w 530542"/>
                    <a:gd name="connsiteY36" fmla="*/ 452437 h 578167"/>
                    <a:gd name="connsiteX37" fmla="*/ 512445 w 530542"/>
                    <a:gd name="connsiteY37" fmla="*/ 468630 h 578167"/>
                    <a:gd name="connsiteX38" fmla="*/ 501968 w 530542"/>
                    <a:gd name="connsiteY38" fmla="*/ 483870 h 578167"/>
                    <a:gd name="connsiteX39" fmla="*/ 484822 w 530542"/>
                    <a:gd name="connsiteY39" fmla="*/ 484822 h 578167"/>
                    <a:gd name="connsiteX40" fmla="*/ 474345 w 530542"/>
                    <a:gd name="connsiteY40" fmla="*/ 490537 h 578167"/>
                    <a:gd name="connsiteX41" fmla="*/ 474345 w 530542"/>
                    <a:gd name="connsiteY41" fmla="*/ 521970 h 578167"/>
                    <a:gd name="connsiteX42" fmla="*/ 487680 w 530542"/>
                    <a:gd name="connsiteY42" fmla="*/ 549592 h 578167"/>
                    <a:gd name="connsiteX43" fmla="*/ 477202 w 530542"/>
                    <a:gd name="connsiteY43" fmla="*/ 565785 h 578167"/>
                    <a:gd name="connsiteX44" fmla="*/ 467677 w 530542"/>
                    <a:gd name="connsiteY44" fmla="*/ 568642 h 578167"/>
                    <a:gd name="connsiteX45" fmla="*/ 454343 w 530542"/>
                    <a:gd name="connsiteY45" fmla="*/ 561975 h 578167"/>
                    <a:gd name="connsiteX46" fmla="*/ 432435 w 530542"/>
                    <a:gd name="connsiteY46" fmla="*/ 569595 h 578167"/>
                    <a:gd name="connsiteX47" fmla="*/ 414338 w 530542"/>
                    <a:gd name="connsiteY47" fmla="*/ 566737 h 578167"/>
                    <a:gd name="connsiteX48" fmla="*/ 395288 w 530542"/>
                    <a:gd name="connsiteY48" fmla="*/ 575310 h 578167"/>
                    <a:gd name="connsiteX49" fmla="*/ 374332 w 530542"/>
                    <a:gd name="connsiteY49" fmla="*/ 578167 h 578167"/>
                    <a:gd name="connsiteX50" fmla="*/ 368618 w 530542"/>
                    <a:gd name="connsiteY50" fmla="*/ 565785 h 578167"/>
                    <a:gd name="connsiteX51" fmla="*/ 378143 w 530542"/>
                    <a:gd name="connsiteY51" fmla="*/ 557212 h 578167"/>
                    <a:gd name="connsiteX52" fmla="*/ 389572 w 530542"/>
                    <a:gd name="connsiteY52" fmla="*/ 526733 h 578167"/>
                    <a:gd name="connsiteX53" fmla="*/ 391477 w 530542"/>
                    <a:gd name="connsiteY53" fmla="*/ 515303 h 578167"/>
                    <a:gd name="connsiteX54" fmla="*/ 346710 w 530542"/>
                    <a:gd name="connsiteY54" fmla="*/ 503872 h 578167"/>
                    <a:gd name="connsiteX55" fmla="*/ 346710 w 530542"/>
                    <a:gd name="connsiteY55" fmla="*/ 491490 h 578167"/>
                    <a:gd name="connsiteX56" fmla="*/ 325755 w 530542"/>
                    <a:gd name="connsiteY56" fmla="*/ 480060 h 578167"/>
                    <a:gd name="connsiteX57" fmla="*/ 323850 w 530542"/>
                    <a:gd name="connsiteY57" fmla="*/ 473392 h 578167"/>
                    <a:gd name="connsiteX58" fmla="*/ 301943 w 530542"/>
                    <a:gd name="connsiteY58" fmla="*/ 453390 h 578167"/>
                    <a:gd name="connsiteX59" fmla="*/ 275272 w 530542"/>
                    <a:gd name="connsiteY59" fmla="*/ 441008 h 578167"/>
                    <a:gd name="connsiteX60" fmla="*/ 264795 w 530542"/>
                    <a:gd name="connsiteY60" fmla="*/ 428625 h 578167"/>
                    <a:gd name="connsiteX61" fmla="*/ 248602 w 530542"/>
                    <a:gd name="connsiteY61" fmla="*/ 437197 h 578167"/>
                    <a:gd name="connsiteX62" fmla="*/ 254318 w 530542"/>
                    <a:gd name="connsiteY62" fmla="*/ 452437 h 578167"/>
                    <a:gd name="connsiteX63" fmla="*/ 250507 w 530542"/>
                    <a:gd name="connsiteY63" fmla="*/ 461962 h 578167"/>
                    <a:gd name="connsiteX64" fmla="*/ 234315 w 530542"/>
                    <a:gd name="connsiteY64" fmla="*/ 474345 h 578167"/>
                    <a:gd name="connsiteX65" fmla="*/ 234315 w 530542"/>
                    <a:gd name="connsiteY65" fmla="*/ 487680 h 578167"/>
                    <a:gd name="connsiteX66" fmla="*/ 220027 w 530542"/>
                    <a:gd name="connsiteY66" fmla="*/ 492442 h 578167"/>
                    <a:gd name="connsiteX67" fmla="*/ 219075 w 530542"/>
                    <a:gd name="connsiteY67" fmla="*/ 482917 h 578167"/>
                    <a:gd name="connsiteX68" fmla="*/ 168593 w 530542"/>
                    <a:gd name="connsiteY68" fmla="*/ 455295 h 578167"/>
                    <a:gd name="connsiteX69" fmla="*/ 148590 w 530542"/>
                    <a:gd name="connsiteY69" fmla="*/ 450533 h 578167"/>
                    <a:gd name="connsiteX70" fmla="*/ 120015 w 530542"/>
                    <a:gd name="connsiteY70" fmla="*/ 435292 h 578167"/>
                    <a:gd name="connsiteX71" fmla="*/ 101918 w 530542"/>
                    <a:gd name="connsiteY71" fmla="*/ 416242 h 578167"/>
                    <a:gd name="connsiteX72" fmla="*/ 77152 w 530542"/>
                    <a:gd name="connsiteY72" fmla="*/ 400050 h 578167"/>
                    <a:gd name="connsiteX73" fmla="*/ 73343 w 530542"/>
                    <a:gd name="connsiteY73" fmla="*/ 388620 h 578167"/>
                    <a:gd name="connsiteX74" fmla="*/ 80010 w 530542"/>
                    <a:gd name="connsiteY74" fmla="*/ 381000 h 578167"/>
                    <a:gd name="connsiteX75" fmla="*/ 103822 w 530542"/>
                    <a:gd name="connsiteY75" fmla="*/ 383858 h 578167"/>
                    <a:gd name="connsiteX76" fmla="*/ 105727 w 530542"/>
                    <a:gd name="connsiteY76" fmla="*/ 362903 h 578167"/>
                    <a:gd name="connsiteX77" fmla="*/ 75247 w 530542"/>
                    <a:gd name="connsiteY77" fmla="*/ 327660 h 578167"/>
                    <a:gd name="connsiteX78" fmla="*/ 80010 w 530542"/>
                    <a:gd name="connsiteY78" fmla="*/ 320040 h 578167"/>
                    <a:gd name="connsiteX79" fmla="*/ 109538 w 530542"/>
                    <a:gd name="connsiteY79" fmla="*/ 320992 h 578167"/>
                    <a:gd name="connsiteX80" fmla="*/ 112395 w 530542"/>
                    <a:gd name="connsiteY80" fmla="*/ 313372 h 578167"/>
                    <a:gd name="connsiteX81" fmla="*/ 80963 w 530542"/>
                    <a:gd name="connsiteY81" fmla="*/ 285750 h 578167"/>
                    <a:gd name="connsiteX82" fmla="*/ 58102 w 530542"/>
                    <a:gd name="connsiteY82" fmla="*/ 274320 h 578167"/>
                    <a:gd name="connsiteX83" fmla="*/ 53340 w 530542"/>
                    <a:gd name="connsiteY83" fmla="*/ 266700 h 578167"/>
                    <a:gd name="connsiteX84" fmla="*/ 54293 w 530542"/>
                    <a:gd name="connsiteY84" fmla="*/ 241935 h 578167"/>
                    <a:gd name="connsiteX85" fmla="*/ 69532 w 530542"/>
                    <a:gd name="connsiteY85" fmla="*/ 216217 h 578167"/>
                    <a:gd name="connsiteX86" fmla="*/ 74295 w 530542"/>
                    <a:gd name="connsiteY86" fmla="*/ 192405 h 578167"/>
                    <a:gd name="connsiteX87" fmla="*/ 60007 w 530542"/>
                    <a:gd name="connsiteY87" fmla="*/ 184785 h 578167"/>
                    <a:gd name="connsiteX88" fmla="*/ 33338 w 530542"/>
                    <a:gd name="connsiteY88" fmla="*/ 191453 h 578167"/>
                    <a:gd name="connsiteX89" fmla="*/ 42863 w 530542"/>
                    <a:gd name="connsiteY89" fmla="*/ 176213 h 578167"/>
                    <a:gd name="connsiteX90" fmla="*/ 36195 w 530542"/>
                    <a:gd name="connsiteY90" fmla="*/ 151447 h 578167"/>
                    <a:gd name="connsiteX91" fmla="*/ 52388 w 530542"/>
                    <a:gd name="connsiteY91" fmla="*/ 147638 h 578167"/>
                    <a:gd name="connsiteX92" fmla="*/ 74295 w 530542"/>
                    <a:gd name="connsiteY92" fmla="*/ 146685 h 578167"/>
                    <a:gd name="connsiteX93" fmla="*/ 65722 w 530542"/>
                    <a:gd name="connsiteY93" fmla="*/ 132397 h 578167"/>
                    <a:gd name="connsiteX94" fmla="*/ 37147 w 530542"/>
                    <a:gd name="connsiteY94" fmla="*/ 122872 h 578167"/>
                    <a:gd name="connsiteX95" fmla="*/ 25718 w 530542"/>
                    <a:gd name="connsiteY95" fmla="*/ 113347 h 578167"/>
                    <a:gd name="connsiteX96" fmla="*/ 29527 w 530542"/>
                    <a:gd name="connsiteY96" fmla="*/ 94297 h 578167"/>
                    <a:gd name="connsiteX97" fmla="*/ 17145 w 530542"/>
                    <a:gd name="connsiteY97" fmla="*/ 90488 h 578167"/>
                    <a:gd name="connsiteX98" fmla="*/ 15240 w 530542"/>
                    <a:gd name="connsiteY98" fmla="*/ 75247 h 578167"/>
                    <a:gd name="connsiteX99" fmla="*/ 0 w 530542"/>
                    <a:gd name="connsiteY99" fmla="*/ 49530 h 578167"/>
                    <a:gd name="connsiteX100" fmla="*/ 6668 w 530542"/>
                    <a:gd name="connsiteY100" fmla="*/ 35242 h 578167"/>
                    <a:gd name="connsiteX101" fmla="*/ 26670 w 530542"/>
                    <a:gd name="connsiteY101" fmla="*/ 22860 h 578167"/>
                    <a:gd name="connsiteX102" fmla="*/ 41910 w 530542"/>
                    <a:gd name="connsiteY102" fmla="*/ 27622 h 578167"/>
                    <a:gd name="connsiteX103" fmla="*/ 62865 w 530542"/>
                    <a:gd name="connsiteY103" fmla="*/ 18097 h 578167"/>
                    <a:gd name="connsiteX104" fmla="*/ 77152 w 530542"/>
                    <a:gd name="connsiteY104" fmla="*/ 2857 h 578167"/>
                    <a:gd name="connsiteX105" fmla="*/ 86677 w 530542"/>
                    <a:gd name="connsiteY105" fmla="*/ 0 h 578167"/>
                    <a:gd name="connsiteX106" fmla="*/ 114300 w 530542"/>
                    <a:gd name="connsiteY106" fmla="*/ 3810 h 578167"/>
                    <a:gd name="connsiteX107" fmla="*/ 124777 w 530542"/>
                    <a:gd name="connsiteY107" fmla="*/ 1905 h 578167"/>
                    <a:gd name="connsiteX108" fmla="*/ 151447 w 530542"/>
                    <a:gd name="connsiteY108" fmla="*/ 4763 h 578167"/>
                    <a:gd name="connsiteX109" fmla="*/ 160972 w 530542"/>
                    <a:gd name="connsiteY109" fmla="*/ 9525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30542" h="578167">
                      <a:moveTo>
                        <a:pt x="160972" y="9525"/>
                      </a:moveTo>
                      <a:lnTo>
                        <a:pt x="177165" y="28575"/>
                      </a:lnTo>
                      <a:lnTo>
                        <a:pt x="204788" y="44767"/>
                      </a:lnTo>
                      <a:lnTo>
                        <a:pt x="221932" y="63817"/>
                      </a:lnTo>
                      <a:lnTo>
                        <a:pt x="229552" y="61913"/>
                      </a:lnTo>
                      <a:lnTo>
                        <a:pt x="233363" y="100965"/>
                      </a:lnTo>
                      <a:lnTo>
                        <a:pt x="254318" y="118110"/>
                      </a:lnTo>
                      <a:lnTo>
                        <a:pt x="290513" y="136207"/>
                      </a:lnTo>
                      <a:lnTo>
                        <a:pt x="315277" y="143828"/>
                      </a:lnTo>
                      <a:lnTo>
                        <a:pt x="323850" y="154305"/>
                      </a:lnTo>
                      <a:lnTo>
                        <a:pt x="309563" y="173355"/>
                      </a:lnTo>
                      <a:lnTo>
                        <a:pt x="331470" y="183832"/>
                      </a:lnTo>
                      <a:lnTo>
                        <a:pt x="314325" y="191453"/>
                      </a:lnTo>
                      <a:lnTo>
                        <a:pt x="312420" y="197167"/>
                      </a:lnTo>
                      <a:lnTo>
                        <a:pt x="332422" y="202882"/>
                      </a:lnTo>
                      <a:lnTo>
                        <a:pt x="346710" y="214313"/>
                      </a:lnTo>
                      <a:lnTo>
                        <a:pt x="380047" y="220980"/>
                      </a:lnTo>
                      <a:lnTo>
                        <a:pt x="394335" y="227647"/>
                      </a:lnTo>
                      <a:lnTo>
                        <a:pt x="403860" y="239078"/>
                      </a:lnTo>
                      <a:lnTo>
                        <a:pt x="416243" y="237172"/>
                      </a:lnTo>
                      <a:lnTo>
                        <a:pt x="432435" y="220028"/>
                      </a:lnTo>
                      <a:lnTo>
                        <a:pt x="448627" y="215265"/>
                      </a:lnTo>
                      <a:lnTo>
                        <a:pt x="477202" y="230505"/>
                      </a:lnTo>
                      <a:lnTo>
                        <a:pt x="453390" y="247650"/>
                      </a:lnTo>
                      <a:lnTo>
                        <a:pt x="458152" y="263842"/>
                      </a:lnTo>
                      <a:lnTo>
                        <a:pt x="473393" y="272415"/>
                      </a:lnTo>
                      <a:lnTo>
                        <a:pt x="481013" y="283845"/>
                      </a:lnTo>
                      <a:lnTo>
                        <a:pt x="472440" y="290513"/>
                      </a:lnTo>
                      <a:lnTo>
                        <a:pt x="470535" y="308610"/>
                      </a:lnTo>
                      <a:lnTo>
                        <a:pt x="450532" y="318135"/>
                      </a:lnTo>
                      <a:lnTo>
                        <a:pt x="446722" y="340042"/>
                      </a:lnTo>
                      <a:lnTo>
                        <a:pt x="452438" y="362903"/>
                      </a:lnTo>
                      <a:lnTo>
                        <a:pt x="475297" y="400050"/>
                      </a:lnTo>
                      <a:lnTo>
                        <a:pt x="502920" y="414337"/>
                      </a:lnTo>
                      <a:lnTo>
                        <a:pt x="515302" y="429578"/>
                      </a:lnTo>
                      <a:lnTo>
                        <a:pt x="530543" y="439103"/>
                      </a:lnTo>
                      <a:lnTo>
                        <a:pt x="527685" y="452437"/>
                      </a:lnTo>
                      <a:lnTo>
                        <a:pt x="512445" y="468630"/>
                      </a:lnTo>
                      <a:lnTo>
                        <a:pt x="501968" y="483870"/>
                      </a:lnTo>
                      <a:lnTo>
                        <a:pt x="484822" y="484822"/>
                      </a:lnTo>
                      <a:lnTo>
                        <a:pt x="474345" y="490537"/>
                      </a:lnTo>
                      <a:lnTo>
                        <a:pt x="474345" y="521970"/>
                      </a:lnTo>
                      <a:lnTo>
                        <a:pt x="487680" y="549592"/>
                      </a:lnTo>
                      <a:lnTo>
                        <a:pt x="477202" y="565785"/>
                      </a:lnTo>
                      <a:lnTo>
                        <a:pt x="467677" y="568642"/>
                      </a:lnTo>
                      <a:lnTo>
                        <a:pt x="454343" y="561975"/>
                      </a:lnTo>
                      <a:lnTo>
                        <a:pt x="432435" y="569595"/>
                      </a:lnTo>
                      <a:lnTo>
                        <a:pt x="414338" y="566737"/>
                      </a:lnTo>
                      <a:lnTo>
                        <a:pt x="395288" y="575310"/>
                      </a:lnTo>
                      <a:lnTo>
                        <a:pt x="374332" y="578167"/>
                      </a:lnTo>
                      <a:lnTo>
                        <a:pt x="368618" y="565785"/>
                      </a:lnTo>
                      <a:lnTo>
                        <a:pt x="378143" y="557212"/>
                      </a:lnTo>
                      <a:lnTo>
                        <a:pt x="389572" y="526733"/>
                      </a:lnTo>
                      <a:lnTo>
                        <a:pt x="391477" y="515303"/>
                      </a:lnTo>
                      <a:lnTo>
                        <a:pt x="346710" y="503872"/>
                      </a:lnTo>
                      <a:lnTo>
                        <a:pt x="346710" y="491490"/>
                      </a:lnTo>
                      <a:lnTo>
                        <a:pt x="325755" y="480060"/>
                      </a:lnTo>
                      <a:lnTo>
                        <a:pt x="323850" y="473392"/>
                      </a:lnTo>
                      <a:lnTo>
                        <a:pt x="301943" y="453390"/>
                      </a:lnTo>
                      <a:lnTo>
                        <a:pt x="275272" y="441008"/>
                      </a:lnTo>
                      <a:lnTo>
                        <a:pt x="264795" y="428625"/>
                      </a:lnTo>
                      <a:lnTo>
                        <a:pt x="248602" y="437197"/>
                      </a:lnTo>
                      <a:lnTo>
                        <a:pt x="254318" y="452437"/>
                      </a:lnTo>
                      <a:lnTo>
                        <a:pt x="250507" y="461962"/>
                      </a:lnTo>
                      <a:lnTo>
                        <a:pt x="234315" y="474345"/>
                      </a:lnTo>
                      <a:lnTo>
                        <a:pt x="234315" y="487680"/>
                      </a:lnTo>
                      <a:lnTo>
                        <a:pt x="220027" y="492442"/>
                      </a:lnTo>
                      <a:lnTo>
                        <a:pt x="219075" y="482917"/>
                      </a:lnTo>
                      <a:lnTo>
                        <a:pt x="168593" y="455295"/>
                      </a:lnTo>
                      <a:lnTo>
                        <a:pt x="148590" y="450533"/>
                      </a:lnTo>
                      <a:lnTo>
                        <a:pt x="120015" y="435292"/>
                      </a:lnTo>
                      <a:lnTo>
                        <a:pt x="101918" y="416242"/>
                      </a:lnTo>
                      <a:lnTo>
                        <a:pt x="77152" y="400050"/>
                      </a:lnTo>
                      <a:lnTo>
                        <a:pt x="73343" y="388620"/>
                      </a:lnTo>
                      <a:lnTo>
                        <a:pt x="80010" y="381000"/>
                      </a:lnTo>
                      <a:lnTo>
                        <a:pt x="103822" y="383858"/>
                      </a:lnTo>
                      <a:lnTo>
                        <a:pt x="105727" y="362903"/>
                      </a:lnTo>
                      <a:lnTo>
                        <a:pt x="75247" y="327660"/>
                      </a:lnTo>
                      <a:lnTo>
                        <a:pt x="80010" y="320040"/>
                      </a:lnTo>
                      <a:lnTo>
                        <a:pt x="109538" y="320992"/>
                      </a:lnTo>
                      <a:lnTo>
                        <a:pt x="112395" y="313372"/>
                      </a:lnTo>
                      <a:lnTo>
                        <a:pt x="80963" y="285750"/>
                      </a:lnTo>
                      <a:lnTo>
                        <a:pt x="58102" y="274320"/>
                      </a:lnTo>
                      <a:lnTo>
                        <a:pt x="53340" y="266700"/>
                      </a:lnTo>
                      <a:lnTo>
                        <a:pt x="54293" y="241935"/>
                      </a:lnTo>
                      <a:lnTo>
                        <a:pt x="69532" y="216217"/>
                      </a:lnTo>
                      <a:lnTo>
                        <a:pt x="74295" y="192405"/>
                      </a:lnTo>
                      <a:lnTo>
                        <a:pt x="60007" y="184785"/>
                      </a:lnTo>
                      <a:lnTo>
                        <a:pt x="33338" y="191453"/>
                      </a:lnTo>
                      <a:lnTo>
                        <a:pt x="42863" y="176213"/>
                      </a:lnTo>
                      <a:lnTo>
                        <a:pt x="36195" y="151447"/>
                      </a:lnTo>
                      <a:lnTo>
                        <a:pt x="52388" y="147638"/>
                      </a:lnTo>
                      <a:lnTo>
                        <a:pt x="74295" y="146685"/>
                      </a:lnTo>
                      <a:lnTo>
                        <a:pt x="65722" y="132397"/>
                      </a:lnTo>
                      <a:lnTo>
                        <a:pt x="37147" y="122872"/>
                      </a:lnTo>
                      <a:lnTo>
                        <a:pt x="25718" y="113347"/>
                      </a:lnTo>
                      <a:lnTo>
                        <a:pt x="29527" y="94297"/>
                      </a:lnTo>
                      <a:lnTo>
                        <a:pt x="17145" y="90488"/>
                      </a:lnTo>
                      <a:lnTo>
                        <a:pt x="15240" y="75247"/>
                      </a:lnTo>
                      <a:lnTo>
                        <a:pt x="0" y="49530"/>
                      </a:lnTo>
                      <a:lnTo>
                        <a:pt x="6668" y="35242"/>
                      </a:lnTo>
                      <a:lnTo>
                        <a:pt x="26670" y="22860"/>
                      </a:lnTo>
                      <a:lnTo>
                        <a:pt x="41910" y="27622"/>
                      </a:lnTo>
                      <a:lnTo>
                        <a:pt x="62865" y="18097"/>
                      </a:lnTo>
                      <a:lnTo>
                        <a:pt x="77152" y="2857"/>
                      </a:lnTo>
                      <a:lnTo>
                        <a:pt x="86677" y="0"/>
                      </a:lnTo>
                      <a:lnTo>
                        <a:pt x="114300" y="3810"/>
                      </a:lnTo>
                      <a:lnTo>
                        <a:pt x="124777" y="1905"/>
                      </a:lnTo>
                      <a:lnTo>
                        <a:pt x="151447" y="4763"/>
                      </a:lnTo>
                      <a:lnTo>
                        <a:pt x="160972" y="952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4" name="Slovakia" descr="{&quot;Key&quot;:&quot;slovakia&quot;,&quot;Name&quot;:&quot;Slovakia&quot;,&quot;Value&quot;:1.0,&quot;Formula&quot;:&quot;&quot;,&quot;Text&quot;:&quot;&quot;,&quot;OfficeApplication&quot;:1,&quot;HasValue&quot;:true}">
                  <a:extLst>
                    <a:ext uri="{FF2B5EF4-FFF2-40B4-BE49-F238E27FC236}">
                      <a16:creationId xmlns:a16="http://schemas.microsoft.com/office/drawing/2014/main" id="{218A137C-0A8A-79EE-0D24-8BD1E80C98C3}"/>
                    </a:ext>
                  </a:extLst>
                </p:cNvPr>
                <p:cNvSpPr/>
                <p:nvPr/>
              </p:nvSpPr>
              <p:spPr>
                <a:xfrm>
                  <a:off x="7114222" y="4195219"/>
                  <a:ext cx="646747" cy="266700"/>
                </a:xfrm>
                <a:custGeom>
                  <a:avLst/>
                  <a:gdLst>
                    <a:gd name="connsiteX0" fmla="*/ 646747 w 646747"/>
                    <a:gd name="connsiteY0" fmla="*/ 76200 h 266700"/>
                    <a:gd name="connsiteX1" fmla="*/ 632460 w 646747"/>
                    <a:gd name="connsiteY1" fmla="*/ 104775 h 266700"/>
                    <a:gd name="connsiteX2" fmla="*/ 624840 w 646747"/>
                    <a:gd name="connsiteY2" fmla="*/ 132397 h 266700"/>
                    <a:gd name="connsiteX3" fmla="*/ 609600 w 646747"/>
                    <a:gd name="connsiteY3" fmla="*/ 148590 h 266700"/>
                    <a:gd name="connsiteX4" fmla="*/ 610552 w 646747"/>
                    <a:gd name="connsiteY4" fmla="*/ 172402 h 266700"/>
                    <a:gd name="connsiteX5" fmla="*/ 569595 w 646747"/>
                    <a:gd name="connsiteY5" fmla="*/ 182880 h 266700"/>
                    <a:gd name="connsiteX6" fmla="*/ 563880 w 646747"/>
                    <a:gd name="connsiteY6" fmla="*/ 180975 h 266700"/>
                    <a:gd name="connsiteX7" fmla="*/ 542925 w 646747"/>
                    <a:gd name="connsiteY7" fmla="*/ 160020 h 266700"/>
                    <a:gd name="connsiteX8" fmla="*/ 529590 w 646747"/>
                    <a:gd name="connsiteY8" fmla="*/ 151447 h 266700"/>
                    <a:gd name="connsiteX9" fmla="*/ 485775 w 646747"/>
                    <a:gd name="connsiteY9" fmla="*/ 158115 h 266700"/>
                    <a:gd name="connsiteX10" fmla="*/ 461963 w 646747"/>
                    <a:gd name="connsiteY10" fmla="*/ 152400 h 266700"/>
                    <a:gd name="connsiteX11" fmla="*/ 436245 w 646747"/>
                    <a:gd name="connsiteY11" fmla="*/ 151447 h 266700"/>
                    <a:gd name="connsiteX12" fmla="*/ 419100 w 646747"/>
                    <a:gd name="connsiteY12" fmla="*/ 155257 h 266700"/>
                    <a:gd name="connsiteX13" fmla="*/ 403860 w 646747"/>
                    <a:gd name="connsiteY13" fmla="*/ 188595 h 266700"/>
                    <a:gd name="connsiteX14" fmla="*/ 356235 w 646747"/>
                    <a:gd name="connsiteY14" fmla="*/ 212407 h 266700"/>
                    <a:gd name="connsiteX15" fmla="*/ 322897 w 646747"/>
                    <a:gd name="connsiteY15" fmla="*/ 199072 h 266700"/>
                    <a:gd name="connsiteX16" fmla="*/ 316230 w 646747"/>
                    <a:gd name="connsiteY16" fmla="*/ 200977 h 266700"/>
                    <a:gd name="connsiteX17" fmla="*/ 306705 w 646747"/>
                    <a:gd name="connsiteY17" fmla="*/ 215265 h 266700"/>
                    <a:gd name="connsiteX18" fmla="*/ 283845 w 646747"/>
                    <a:gd name="connsiteY18" fmla="*/ 220980 h 266700"/>
                    <a:gd name="connsiteX19" fmla="*/ 242888 w 646747"/>
                    <a:gd name="connsiteY19" fmla="*/ 224790 h 266700"/>
                    <a:gd name="connsiteX20" fmla="*/ 229552 w 646747"/>
                    <a:gd name="connsiteY20" fmla="*/ 231457 h 266700"/>
                    <a:gd name="connsiteX21" fmla="*/ 225742 w 646747"/>
                    <a:gd name="connsiteY21" fmla="*/ 240982 h 266700"/>
                    <a:gd name="connsiteX22" fmla="*/ 230505 w 646747"/>
                    <a:gd name="connsiteY22" fmla="*/ 253365 h 266700"/>
                    <a:gd name="connsiteX23" fmla="*/ 224790 w 646747"/>
                    <a:gd name="connsiteY23" fmla="*/ 262890 h 266700"/>
                    <a:gd name="connsiteX24" fmla="*/ 158115 w 646747"/>
                    <a:gd name="connsiteY24" fmla="*/ 266700 h 266700"/>
                    <a:gd name="connsiteX25" fmla="*/ 113347 w 646747"/>
                    <a:gd name="connsiteY25" fmla="*/ 265747 h 266700"/>
                    <a:gd name="connsiteX26" fmla="*/ 98107 w 646747"/>
                    <a:gd name="connsiteY26" fmla="*/ 259080 h 266700"/>
                    <a:gd name="connsiteX27" fmla="*/ 58102 w 646747"/>
                    <a:gd name="connsiteY27" fmla="*/ 233363 h 266700"/>
                    <a:gd name="connsiteX28" fmla="*/ 38100 w 646747"/>
                    <a:gd name="connsiteY28" fmla="*/ 230505 h 266700"/>
                    <a:gd name="connsiteX29" fmla="*/ 16192 w 646747"/>
                    <a:gd name="connsiteY29" fmla="*/ 202882 h 266700"/>
                    <a:gd name="connsiteX30" fmla="*/ 952 w 646747"/>
                    <a:gd name="connsiteY30" fmla="*/ 175260 h 266700"/>
                    <a:gd name="connsiteX31" fmla="*/ 0 w 646747"/>
                    <a:gd name="connsiteY31" fmla="*/ 167640 h 266700"/>
                    <a:gd name="connsiteX32" fmla="*/ 8572 w 646747"/>
                    <a:gd name="connsiteY32" fmla="*/ 144780 h 266700"/>
                    <a:gd name="connsiteX33" fmla="*/ 19050 w 646747"/>
                    <a:gd name="connsiteY33" fmla="*/ 118110 h 266700"/>
                    <a:gd name="connsiteX34" fmla="*/ 32385 w 646747"/>
                    <a:gd name="connsiteY34" fmla="*/ 106680 h 266700"/>
                    <a:gd name="connsiteX35" fmla="*/ 66675 w 646747"/>
                    <a:gd name="connsiteY35" fmla="*/ 111442 h 266700"/>
                    <a:gd name="connsiteX36" fmla="*/ 82867 w 646747"/>
                    <a:gd name="connsiteY36" fmla="*/ 109538 h 266700"/>
                    <a:gd name="connsiteX37" fmla="*/ 97155 w 646747"/>
                    <a:gd name="connsiteY37" fmla="*/ 102870 h 266700"/>
                    <a:gd name="connsiteX38" fmla="*/ 117157 w 646747"/>
                    <a:gd name="connsiteY38" fmla="*/ 84772 h 266700"/>
                    <a:gd name="connsiteX39" fmla="*/ 132397 w 646747"/>
                    <a:gd name="connsiteY39" fmla="*/ 77152 h 266700"/>
                    <a:gd name="connsiteX40" fmla="*/ 139065 w 646747"/>
                    <a:gd name="connsiteY40" fmla="*/ 48577 h 266700"/>
                    <a:gd name="connsiteX41" fmla="*/ 160972 w 646747"/>
                    <a:gd name="connsiteY41" fmla="*/ 37147 h 266700"/>
                    <a:gd name="connsiteX42" fmla="*/ 166688 w 646747"/>
                    <a:gd name="connsiteY42" fmla="*/ 29527 h 266700"/>
                    <a:gd name="connsiteX43" fmla="*/ 185738 w 646747"/>
                    <a:gd name="connsiteY43" fmla="*/ 15240 h 266700"/>
                    <a:gd name="connsiteX44" fmla="*/ 212407 w 646747"/>
                    <a:gd name="connsiteY44" fmla="*/ 12382 h 266700"/>
                    <a:gd name="connsiteX45" fmla="*/ 224790 w 646747"/>
                    <a:gd name="connsiteY45" fmla="*/ 14288 h 266700"/>
                    <a:gd name="connsiteX46" fmla="*/ 229552 w 646747"/>
                    <a:gd name="connsiteY46" fmla="*/ 28575 h 266700"/>
                    <a:gd name="connsiteX47" fmla="*/ 250507 w 646747"/>
                    <a:gd name="connsiteY47" fmla="*/ 28575 h 266700"/>
                    <a:gd name="connsiteX48" fmla="*/ 260032 w 646747"/>
                    <a:gd name="connsiteY48" fmla="*/ 12382 h 266700"/>
                    <a:gd name="connsiteX49" fmla="*/ 280988 w 646747"/>
                    <a:gd name="connsiteY49" fmla="*/ 0 h 266700"/>
                    <a:gd name="connsiteX50" fmla="*/ 309563 w 646747"/>
                    <a:gd name="connsiteY50" fmla="*/ 28575 h 266700"/>
                    <a:gd name="connsiteX51" fmla="*/ 322897 w 646747"/>
                    <a:gd name="connsiteY51" fmla="*/ 32385 h 266700"/>
                    <a:gd name="connsiteX52" fmla="*/ 328613 w 646747"/>
                    <a:gd name="connsiteY52" fmla="*/ 58102 h 266700"/>
                    <a:gd name="connsiteX53" fmla="*/ 341947 w 646747"/>
                    <a:gd name="connsiteY53" fmla="*/ 54292 h 266700"/>
                    <a:gd name="connsiteX54" fmla="*/ 358140 w 646747"/>
                    <a:gd name="connsiteY54" fmla="*/ 60007 h 266700"/>
                    <a:gd name="connsiteX55" fmla="*/ 368617 w 646747"/>
                    <a:gd name="connsiteY55" fmla="*/ 40005 h 266700"/>
                    <a:gd name="connsiteX56" fmla="*/ 390525 w 646747"/>
                    <a:gd name="connsiteY56" fmla="*/ 30480 h 266700"/>
                    <a:gd name="connsiteX57" fmla="*/ 419100 w 646747"/>
                    <a:gd name="connsiteY57" fmla="*/ 29527 h 266700"/>
                    <a:gd name="connsiteX58" fmla="*/ 441960 w 646747"/>
                    <a:gd name="connsiteY58" fmla="*/ 39052 h 266700"/>
                    <a:gd name="connsiteX59" fmla="*/ 459105 w 646747"/>
                    <a:gd name="connsiteY59" fmla="*/ 40005 h 266700"/>
                    <a:gd name="connsiteX60" fmla="*/ 472440 w 646747"/>
                    <a:gd name="connsiteY60" fmla="*/ 25717 h 266700"/>
                    <a:gd name="connsiteX61" fmla="*/ 502920 w 646747"/>
                    <a:gd name="connsiteY61" fmla="*/ 23813 h 266700"/>
                    <a:gd name="connsiteX62" fmla="*/ 537210 w 646747"/>
                    <a:gd name="connsiteY62" fmla="*/ 26670 h 266700"/>
                    <a:gd name="connsiteX63" fmla="*/ 566738 w 646747"/>
                    <a:gd name="connsiteY63" fmla="*/ 36195 h 266700"/>
                    <a:gd name="connsiteX64" fmla="*/ 576263 w 646747"/>
                    <a:gd name="connsiteY64" fmla="*/ 42863 h 266700"/>
                    <a:gd name="connsiteX65" fmla="*/ 583882 w 646747"/>
                    <a:gd name="connsiteY65" fmla="*/ 56197 h 266700"/>
                    <a:gd name="connsiteX66" fmla="*/ 638175 w 646747"/>
                    <a:gd name="connsiteY66" fmla="*/ 74295 h 266700"/>
                    <a:gd name="connsiteX67" fmla="*/ 646747 w 646747"/>
                    <a:gd name="connsiteY67" fmla="*/ 762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46747" h="266700">
                      <a:moveTo>
                        <a:pt x="646747" y="76200"/>
                      </a:moveTo>
                      <a:lnTo>
                        <a:pt x="632460" y="104775"/>
                      </a:lnTo>
                      <a:lnTo>
                        <a:pt x="624840" y="132397"/>
                      </a:lnTo>
                      <a:lnTo>
                        <a:pt x="609600" y="148590"/>
                      </a:lnTo>
                      <a:lnTo>
                        <a:pt x="610552" y="172402"/>
                      </a:lnTo>
                      <a:lnTo>
                        <a:pt x="569595" y="182880"/>
                      </a:lnTo>
                      <a:lnTo>
                        <a:pt x="563880" y="180975"/>
                      </a:lnTo>
                      <a:lnTo>
                        <a:pt x="542925" y="160020"/>
                      </a:lnTo>
                      <a:lnTo>
                        <a:pt x="529590" y="151447"/>
                      </a:lnTo>
                      <a:lnTo>
                        <a:pt x="485775" y="158115"/>
                      </a:lnTo>
                      <a:lnTo>
                        <a:pt x="461963" y="152400"/>
                      </a:lnTo>
                      <a:lnTo>
                        <a:pt x="436245" y="151447"/>
                      </a:lnTo>
                      <a:lnTo>
                        <a:pt x="419100" y="155257"/>
                      </a:lnTo>
                      <a:lnTo>
                        <a:pt x="403860" y="188595"/>
                      </a:lnTo>
                      <a:lnTo>
                        <a:pt x="356235" y="212407"/>
                      </a:lnTo>
                      <a:lnTo>
                        <a:pt x="322897" y="199072"/>
                      </a:lnTo>
                      <a:lnTo>
                        <a:pt x="316230" y="200977"/>
                      </a:lnTo>
                      <a:lnTo>
                        <a:pt x="306705" y="215265"/>
                      </a:lnTo>
                      <a:lnTo>
                        <a:pt x="283845" y="220980"/>
                      </a:lnTo>
                      <a:lnTo>
                        <a:pt x="242888" y="224790"/>
                      </a:lnTo>
                      <a:lnTo>
                        <a:pt x="229552" y="231457"/>
                      </a:lnTo>
                      <a:lnTo>
                        <a:pt x="225742" y="240982"/>
                      </a:lnTo>
                      <a:lnTo>
                        <a:pt x="230505" y="253365"/>
                      </a:lnTo>
                      <a:lnTo>
                        <a:pt x="224790" y="262890"/>
                      </a:lnTo>
                      <a:lnTo>
                        <a:pt x="158115" y="266700"/>
                      </a:lnTo>
                      <a:lnTo>
                        <a:pt x="113347" y="265747"/>
                      </a:lnTo>
                      <a:lnTo>
                        <a:pt x="98107" y="259080"/>
                      </a:lnTo>
                      <a:lnTo>
                        <a:pt x="58102" y="233363"/>
                      </a:lnTo>
                      <a:lnTo>
                        <a:pt x="38100" y="230505"/>
                      </a:lnTo>
                      <a:lnTo>
                        <a:pt x="16192" y="202882"/>
                      </a:lnTo>
                      <a:lnTo>
                        <a:pt x="952" y="175260"/>
                      </a:lnTo>
                      <a:lnTo>
                        <a:pt x="0" y="167640"/>
                      </a:lnTo>
                      <a:lnTo>
                        <a:pt x="8572" y="144780"/>
                      </a:lnTo>
                      <a:lnTo>
                        <a:pt x="19050" y="118110"/>
                      </a:lnTo>
                      <a:lnTo>
                        <a:pt x="32385" y="106680"/>
                      </a:lnTo>
                      <a:lnTo>
                        <a:pt x="66675" y="111442"/>
                      </a:lnTo>
                      <a:lnTo>
                        <a:pt x="82867" y="109538"/>
                      </a:lnTo>
                      <a:lnTo>
                        <a:pt x="97155" y="102870"/>
                      </a:lnTo>
                      <a:lnTo>
                        <a:pt x="117157" y="84772"/>
                      </a:lnTo>
                      <a:lnTo>
                        <a:pt x="132397" y="77152"/>
                      </a:lnTo>
                      <a:lnTo>
                        <a:pt x="139065" y="48577"/>
                      </a:lnTo>
                      <a:lnTo>
                        <a:pt x="160972" y="37147"/>
                      </a:lnTo>
                      <a:lnTo>
                        <a:pt x="166688" y="29527"/>
                      </a:lnTo>
                      <a:lnTo>
                        <a:pt x="185738" y="15240"/>
                      </a:lnTo>
                      <a:lnTo>
                        <a:pt x="212407" y="12382"/>
                      </a:lnTo>
                      <a:lnTo>
                        <a:pt x="224790" y="14288"/>
                      </a:lnTo>
                      <a:lnTo>
                        <a:pt x="229552" y="28575"/>
                      </a:lnTo>
                      <a:lnTo>
                        <a:pt x="250507" y="28575"/>
                      </a:lnTo>
                      <a:lnTo>
                        <a:pt x="260032" y="12382"/>
                      </a:lnTo>
                      <a:lnTo>
                        <a:pt x="280988" y="0"/>
                      </a:lnTo>
                      <a:lnTo>
                        <a:pt x="309563" y="28575"/>
                      </a:lnTo>
                      <a:lnTo>
                        <a:pt x="322897" y="32385"/>
                      </a:lnTo>
                      <a:lnTo>
                        <a:pt x="328613" y="58102"/>
                      </a:lnTo>
                      <a:lnTo>
                        <a:pt x="341947" y="54292"/>
                      </a:lnTo>
                      <a:lnTo>
                        <a:pt x="358140" y="60007"/>
                      </a:lnTo>
                      <a:lnTo>
                        <a:pt x="368617" y="40005"/>
                      </a:lnTo>
                      <a:lnTo>
                        <a:pt x="390525" y="30480"/>
                      </a:lnTo>
                      <a:lnTo>
                        <a:pt x="419100" y="29527"/>
                      </a:lnTo>
                      <a:lnTo>
                        <a:pt x="441960" y="39052"/>
                      </a:lnTo>
                      <a:lnTo>
                        <a:pt x="459105" y="40005"/>
                      </a:lnTo>
                      <a:lnTo>
                        <a:pt x="472440" y="25717"/>
                      </a:lnTo>
                      <a:lnTo>
                        <a:pt x="502920" y="23813"/>
                      </a:lnTo>
                      <a:lnTo>
                        <a:pt x="537210" y="26670"/>
                      </a:lnTo>
                      <a:lnTo>
                        <a:pt x="566738" y="36195"/>
                      </a:lnTo>
                      <a:lnTo>
                        <a:pt x="576263" y="42863"/>
                      </a:lnTo>
                      <a:lnTo>
                        <a:pt x="583882" y="56197"/>
                      </a:lnTo>
                      <a:lnTo>
                        <a:pt x="638175" y="74295"/>
                      </a:lnTo>
                      <a:lnTo>
                        <a:pt x="646747" y="7620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5" name="Slovenia" descr="{&quot;Key&quot;:&quot;slovenia&quot;,&quot;Name&quot;:&quot;Slovenia&quot;,&quot;Value&quot;:1.0,&quot;Formula&quot;:&quot;&quot;,&quot;Text&quot;:&quot;&quot;,&quot;OfficeApplication&quot;:1,&quot;HasValue&quot;:true}">
                  <a:extLst>
                    <a:ext uri="{FF2B5EF4-FFF2-40B4-BE49-F238E27FC236}">
                      <a16:creationId xmlns:a16="http://schemas.microsoft.com/office/drawing/2014/main" id="{40EB2620-0B64-D43C-D317-CC75A7EE7799}"/>
                    </a:ext>
                  </a:extLst>
                </p:cNvPr>
                <p:cNvSpPr/>
                <p:nvPr/>
              </p:nvSpPr>
              <p:spPr>
                <a:xfrm>
                  <a:off x="6734175" y="4593364"/>
                  <a:ext cx="363855" cy="210502"/>
                </a:xfrm>
                <a:custGeom>
                  <a:avLst/>
                  <a:gdLst>
                    <a:gd name="connsiteX0" fmla="*/ 363855 w 363855"/>
                    <a:gd name="connsiteY0" fmla="*/ 53340 h 210502"/>
                    <a:gd name="connsiteX1" fmla="*/ 340043 w 363855"/>
                    <a:gd name="connsiteY1" fmla="*/ 47625 h 210502"/>
                    <a:gd name="connsiteX2" fmla="*/ 331470 w 363855"/>
                    <a:gd name="connsiteY2" fmla="*/ 55245 h 210502"/>
                    <a:gd name="connsiteX3" fmla="*/ 331470 w 363855"/>
                    <a:gd name="connsiteY3" fmla="*/ 71438 h 210502"/>
                    <a:gd name="connsiteX4" fmla="*/ 312420 w 363855"/>
                    <a:gd name="connsiteY4" fmla="*/ 71438 h 210502"/>
                    <a:gd name="connsiteX5" fmla="*/ 305752 w 363855"/>
                    <a:gd name="connsiteY5" fmla="*/ 80963 h 210502"/>
                    <a:gd name="connsiteX6" fmla="*/ 263843 w 363855"/>
                    <a:gd name="connsiteY6" fmla="*/ 97155 h 210502"/>
                    <a:gd name="connsiteX7" fmla="*/ 260032 w 363855"/>
                    <a:gd name="connsiteY7" fmla="*/ 110490 h 210502"/>
                    <a:gd name="connsiteX8" fmla="*/ 268605 w 363855"/>
                    <a:gd name="connsiteY8" fmla="*/ 119063 h 210502"/>
                    <a:gd name="connsiteX9" fmla="*/ 270510 w 363855"/>
                    <a:gd name="connsiteY9" fmla="*/ 140018 h 210502"/>
                    <a:gd name="connsiteX10" fmla="*/ 266700 w 363855"/>
                    <a:gd name="connsiteY10" fmla="*/ 150495 h 210502"/>
                    <a:gd name="connsiteX11" fmla="*/ 246698 w 363855"/>
                    <a:gd name="connsiteY11" fmla="*/ 156210 h 210502"/>
                    <a:gd name="connsiteX12" fmla="*/ 226695 w 363855"/>
                    <a:gd name="connsiteY12" fmla="*/ 165735 h 210502"/>
                    <a:gd name="connsiteX13" fmla="*/ 236220 w 363855"/>
                    <a:gd name="connsiteY13" fmla="*/ 176213 h 210502"/>
                    <a:gd name="connsiteX14" fmla="*/ 229552 w 363855"/>
                    <a:gd name="connsiteY14" fmla="*/ 182880 h 210502"/>
                    <a:gd name="connsiteX15" fmla="*/ 237173 w 363855"/>
                    <a:gd name="connsiteY15" fmla="*/ 204788 h 210502"/>
                    <a:gd name="connsiteX16" fmla="*/ 225743 w 363855"/>
                    <a:gd name="connsiteY16" fmla="*/ 208597 h 210502"/>
                    <a:gd name="connsiteX17" fmla="*/ 210502 w 363855"/>
                    <a:gd name="connsiteY17" fmla="*/ 206693 h 210502"/>
                    <a:gd name="connsiteX18" fmla="*/ 191452 w 363855"/>
                    <a:gd name="connsiteY18" fmla="*/ 200025 h 210502"/>
                    <a:gd name="connsiteX19" fmla="*/ 179070 w 363855"/>
                    <a:gd name="connsiteY19" fmla="*/ 204788 h 210502"/>
                    <a:gd name="connsiteX20" fmla="*/ 164782 w 363855"/>
                    <a:gd name="connsiteY20" fmla="*/ 198120 h 210502"/>
                    <a:gd name="connsiteX21" fmla="*/ 140018 w 363855"/>
                    <a:gd name="connsiteY21" fmla="*/ 178118 h 210502"/>
                    <a:gd name="connsiteX22" fmla="*/ 128588 w 363855"/>
                    <a:gd name="connsiteY22" fmla="*/ 199072 h 210502"/>
                    <a:gd name="connsiteX23" fmla="*/ 122873 w 363855"/>
                    <a:gd name="connsiteY23" fmla="*/ 201930 h 210502"/>
                    <a:gd name="connsiteX24" fmla="*/ 88582 w 363855"/>
                    <a:gd name="connsiteY24" fmla="*/ 202882 h 210502"/>
                    <a:gd name="connsiteX25" fmla="*/ 78105 w 363855"/>
                    <a:gd name="connsiteY25" fmla="*/ 198120 h 210502"/>
                    <a:gd name="connsiteX26" fmla="*/ 64770 w 363855"/>
                    <a:gd name="connsiteY26" fmla="*/ 210503 h 210502"/>
                    <a:gd name="connsiteX27" fmla="*/ 33338 w 363855"/>
                    <a:gd name="connsiteY27" fmla="*/ 202882 h 210502"/>
                    <a:gd name="connsiteX28" fmla="*/ 28575 w 363855"/>
                    <a:gd name="connsiteY28" fmla="*/ 197168 h 210502"/>
                    <a:gd name="connsiteX29" fmla="*/ 44768 w 363855"/>
                    <a:gd name="connsiteY29" fmla="*/ 186690 h 210502"/>
                    <a:gd name="connsiteX30" fmla="*/ 59055 w 363855"/>
                    <a:gd name="connsiteY30" fmla="*/ 185738 h 210502"/>
                    <a:gd name="connsiteX31" fmla="*/ 57150 w 363855"/>
                    <a:gd name="connsiteY31" fmla="*/ 173355 h 210502"/>
                    <a:gd name="connsiteX32" fmla="*/ 42863 w 363855"/>
                    <a:gd name="connsiteY32" fmla="*/ 160972 h 210502"/>
                    <a:gd name="connsiteX33" fmla="*/ 24765 w 363855"/>
                    <a:gd name="connsiteY33" fmla="*/ 150495 h 210502"/>
                    <a:gd name="connsiteX34" fmla="*/ 28575 w 363855"/>
                    <a:gd name="connsiteY34" fmla="*/ 131445 h 210502"/>
                    <a:gd name="connsiteX35" fmla="*/ 16193 w 363855"/>
                    <a:gd name="connsiteY35" fmla="*/ 129540 h 210502"/>
                    <a:gd name="connsiteX36" fmla="*/ 13335 w 363855"/>
                    <a:gd name="connsiteY36" fmla="*/ 120015 h 210502"/>
                    <a:gd name="connsiteX37" fmla="*/ 28575 w 363855"/>
                    <a:gd name="connsiteY37" fmla="*/ 100013 h 210502"/>
                    <a:gd name="connsiteX38" fmla="*/ 6668 w 363855"/>
                    <a:gd name="connsiteY38" fmla="*/ 93345 h 210502"/>
                    <a:gd name="connsiteX39" fmla="*/ 0 w 363855"/>
                    <a:gd name="connsiteY39" fmla="*/ 80010 h 210502"/>
                    <a:gd name="connsiteX40" fmla="*/ 31432 w 363855"/>
                    <a:gd name="connsiteY40" fmla="*/ 58103 h 210502"/>
                    <a:gd name="connsiteX41" fmla="*/ 33338 w 363855"/>
                    <a:gd name="connsiteY41" fmla="*/ 49530 h 210502"/>
                    <a:gd name="connsiteX42" fmla="*/ 80963 w 363855"/>
                    <a:gd name="connsiteY42" fmla="*/ 58103 h 210502"/>
                    <a:gd name="connsiteX43" fmla="*/ 128588 w 363855"/>
                    <a:gd name="connsiteY43" fmla="*/ 64770 h 210502"/>
                    <a:gd name="connsiteX44" fmla="*/ 157163 w 363855"/>
                    <a:gd name="connsiteY44" fmla="*/ 53340 h 210502"/>
                    <a:gd name="connsiteX45" fmla="*/ 166688 w 363855"/>
                    <a:gd name="connsiteY45" fmla="*/ 40957 h 210502"/>
                    <a:gd name="connsiteX46" fmla="*/ 184785 w 363855"/>
                    <a:gd name="connsiteY46" fmla="*/ 34290 h 210502"/>
                    <a:gd name="connsiteX47" fmla="*/ 209550 w 363855"/>
                    <a:gd name="connsiteY47" fmla="*/ 32385 h 210502"/>
                    <a:gd name="connsiteX48" fmla="*/ 236220 w 363855"/>
                    <a:gd name="connsiteY48" fmla="*/ 34290 h 210502"/>
                    <a:gd name="connsiteX49" fmla="*/ 258127 w 363855"/>
                    <a:gd name="connsiteY49" fmla="*/ 23813 h 210502"/>
                    <a:gd name="connsiteX50" fmla="*/ 273368 w 363855"/>
                    <a:gd name="connsiteY50" fmla="*/ 21907 h 210502"/>
                    <a:gd name="connsiteX51" fmla="*/ 296227 w 363855"/>
                    <a:gd name="connsiteY51" fmla="*/ 26670 h 210502"/>
                    <a:gd name="connsiteX52" fmla="*/ 297180 w 363855"/>
                    <a:gd name="connsiteY52" fmla="*/ 8572 h 210502"/>
                    <a:gd name="connsiteX53" fmla="*/ 309563 w 363855"/>
                    <a:gd name="connsiteY53" fmla="*/ 0 h 210502"/>
                    <a:gd name="connsiteX54" fmla="*/ 332423 w 363855"/>
                    <a:gd name="connsiteY54" fmla="*/ 953 h 210502"/>
                    <a:gd name="connsiteX55" fmla="*/ 345757 w 363855"/>
                    <a:gd name="connsiteY55" fmla="*/ 32385 h 210502"/>
                    <a:gd name="connsiteX56" fmla="*/ 363855 w 363855"/>
                    <a:gd name="connsiteY56" fmla="*/ 53340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3855" h="210502">
                      <a:moveTo>
                        <a:pt x="363855" y="53340"/>
                      </a:moveTo>
                      <a:lnTo>
                        <a:pt x="340043" y="47625"/>
                      </a:lnTo>
                      <a:lnTo>
                        <a:pt x="331470" y="55245"/>
                      </a:lnTo>
                      <a:lnTo>
                        <a:pt x="331470" y="71438"/>
                      </a:lnTo>
                      <a:lnTo>
                        <a:pt x="312420" y="71438"/>
                      </a:lnTo>
                      <a:lnTo>
                        <a:pt x="305752" y="80963"/>
                      </a:lnTo>
                      <a:lnTo>
                        <a:pt x="263843" y="97155"/>
                      </a:lnTo>
                      <a:lnTo>
                        <a:pt x="260032" y="110490"/>
                      </a:lnTo>
                      <a:lnTo>
                        <a:pt x="268605" y="119063"/>
                      </a:lnTo>
                      <a:lnTo>
                        <a:pt x="270510" y="140018"/>
                      </a:lnTo>
                      <a:lnTo>
                        <a:pt x="266700" y="150495"/>
                      </a:lnTo>
                      <a:lnTo>
                        <a:pt x="246698" y="156210"/>
                      </a:lnTo>
                      <a:lnTo>
                        <a:pt x="226695" y="165735"/>
                      </a:lnTo>
                      <a:lnTo>
                        <a:pt x="236220" y="176213"/>
                      </a:lnTo>
                      <a:lnTo>
                        <a:pt x="229552" y="182880"/>
                      </a:lnTo>
                      <a:lnTo>
                        <a:pt x="237173" y="204788"/>
                      </a:lnTo>
                      <a:lnTo>
                        <a:pt x="225743" y="208597"/>
                      </a:lnTo>
                      <a:lnTo>
                        <a:pt x="210502" y="206693"/>
                      </a:lnTo>
                      <a:lnTo>
                        <a:pt x="191452" y="200025"/>
                      </a:lnTo>
                      <a:lnTo>
                        <a:pt x="179070" y="204788"/>
                      </a:lnTo>
                      <a:lnTo>
                        <a:pt x="164782" y="198120"/>
                      </a:lnTo>
                      <a:lnTo>
                        <a:pt x="140018" y="178118"/>
                      </a:lnTo>
                      <a:lnTo>
                        <a:pt x="128588" y="199072"/>
                      </a:lnTo>
                      <a:lnTo>
                        <a:pt x="122873" y="201930"/>
                      </a:lnTo>
                      <a:lnTo>
                        <a:pt x="88582" y="202882"/>
                      </a:lnTo>
                      <a:lnTo>
                        <a:pt x="78105" y="198120"/>
                      </a:lnTo>
                      <a:lnTo>
                        <a:pt x="64770" y="210503"/>
                      </a:lnTo>
                      <a:lnTo>
                        <a:pt x="33338" y="202882"/>
                      </a:lnTo>
                      <a:lnTo>
                        <a:pt x="28575" y="197168"/>
                      </a:lnTo>
                      <a:lnTo>
                        <a:pt x="44768" y="186690"/>
                      </a:lnTo>
                      <a:lnTo>
                        <a:pt x="59055" y="185738"/>
                      </a:lnTo>
                      <a:lnTo>
                        <a:pt x="57150" y="173355"/>
                      </a:lnTo>
                      <a:lnTo>
                        <a:pt x="42863" y="160972"/>
                      </a:lnTo>
                      <a:lnTo>
                        <a:pt x="24765" y="150495"/>
                      </a:lnTo>
                      <a:lnTo>
                        <a:pt x="28575" y="131445"/>
                      </a:lnTo>
                      <a:lnTo>
                        <a:pt x="16193" y="129540"/>
                      </a:lnTo>
                      <a:lnTo>
                        <a:pt x="13335" y="120015"/>
                      </a:lnTo>
                      <a:lnTo>
                        <a:pt x="28575" y="100013"/>
                      </a:lnTo>
                      <a:lnTo>
                        <a:pt x="6668" y="93345"/>
                      </a:lnTo>
                      <a:lnTo>
                        <a:pt x="0" y="80010"/>
                      </a:lnTo>
                      <a:lnTo>
                        <a:pt x="31432" y="58103"/>
                      </a:lnTo>
                      <a:lnTo>
                        <a:pt x="33338" y="49530"/>
                      </a:lnTo>
                      <a:lnTo>
                        <a:pt x="80963" y="58103"/>
                      </a:lnTo>
                      <a:lnTo>
                        <a:pt x="128588" y="64770"/>
                      </a:lnTo>
                      <a:lnTo>
                        <a:pt x="157163" y="53340"/>
                      </a:lnTo>
                      <a:lnTo>
                        <a:pt x="166688" y="40957"/>
                      </a:lnTo>
                      <a:lnTo>
                        <a:pt x="184785" y="34290"/>
                      </a:lnTo>
                      <a:lnTo>
                        <a:pt x="209550" y="32385"/>
                      </a:lnTo>
                      <a:lnTo>
                        <a:pt x="236220" y="34290"/>
                      </a:lnTo>
                      <a:lnTo>
                        <a:pt x="258127" y="23813"/>
                      </a:lnTo>
                      <a:lnTo>
                        <a:pt x="273368" y="21907"/>
                      </a:lnTo>
                      <a:lnTo>
                        <a:pt x="296227" y="26670"/>
                      </a:lnTo>
                      <a:lnTo>
                        <a:pt x="297180" y="8572"/>
                      </a:lnTo>
                      <a:lnTo>
                        <a:pt x="309563" y="0"/>
                      </a:lnTo>
                      <a:lnTo>
                        <a:pt x="332423" y="953"/>
                      </a:lnTo>
                      <a:lnTo>
                        <a:pt x="345757" y="32385"/>
                      </a:lnTo>
                      <a:lnTo>
                        <a:pt x="363855" y="5334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6" name="Sweden" descr="{&quot;Key&quot;:&quot;sweden&quot;,&quot;Name&quot;:&quot;Sweden&quot;,&quot;Value&quot;:1.0,&quot;Formula&quot;:&quot;&quot;,&quot;Text&quot;:&quot;&quot;,&quot;OfficeApplication&quot;:1,&quot;HasValue&quot;:true}">
                  <a:extLst>
                    <a:ext uri="{FF2B5EF4-FFF2-40B4-BE49-F238E27FC236}">
                      <a16:creationId xmlns:a16="http://schemas.microsoft.com/office/drawing/2014/main" id="{9EBE972A-E374-0A93-8E5C-57F4E6380A63}"/>
                    </a:ext>
                  </a:extLst>
                </p:cNvPr>
                <p:cNvSpPr/>
                <p:nvPr/>
              </p:nvSpPr>
              <p:spPr>
                <a:xfrm>
                  <a:off x="6347460" y="1532029"/>
                  <a:ext cx="1216342" cy="1840229"/>
                </a:xfrm>
                <a:custGeom>
                  <a:avLst/>
                  <a:gdLst>
                    <a:gd name="connsiteX0" fmla="*/ 616267 w 1216342"/>
                    <a:gd name="connsiteY0" fmla="*/ 1707832 h 1840229"/>
                    <a:gd name="connsiteX1" fmla="*/ 601980 w 1216342"/>
                    <a:gd name="connsiteY1" fmla="*/ 1704975 h 1840229"/>
                    <a:gd name="connsiteX2" fmla="*/ 599122 w 1216342"/>
                    <a:gd name="connsiteY2" fmla="*/ 1668780 h 1840229"/>
                    <a:gd name="connsiteX3" fmla="*/ 618172 w 1216342"/>
                    <a:gd name="connsiteY3" fmla="*/ 1624965 h 1840229"/>
                    <a:gd name="connsiteX4" fmla="*/ 627697 w 1216342"/>
                    <a:gd name="connsiteY4" fmla="*/ 1622107 h 1840229"/>
                    <a:gd name="connsiteX5" fmla="*/ 653415 w 1216342"/>
                    <a:gd name="connsiteY5" fmla="*/ 1560195 h 1840229"/>
                    <a:gd name="connsiteX6" fmla="*/ 658177 w 1216342"/>
                    <a:gd name="connsiteY6" fmla="*/ 1579245 h 1840229"/>
                    <a:gd name="connsiteX7" fmla="*/ 643890 w 1216342"/>
                    <a:gd name="connsiteY7" fmla="*/ 1609725 h 1840229"/>
                    <a:gd name="connsiteX8" fmla="*/ 641032 w 1216342"/>
                    <a:gd name="connsiteY8" fmla="*/ 1630680 h 1840229"/>
                    <a:gd name="connsiteX9" fmla="*/ 635317 w 1216342"/>
                    <a:gd name="connsiteY9" fmla="*/ 1635442 h 1840229"/>
                    <a:gd name="connsiteX10" fmla="*/ 616267 w 1216342"/>
                    <a:gd name="connsiteY10" fmla="*/ 1707832 h 1840229"/>
                    <a:gd name="connsiteX11" fmla="*/ 865822 w 1216342"/>
                    <a:gd name="connsiteY11" fmla="*/ 1491615 h 1840229"/>
                    <a:gd name="connsiteX12" fmla="*/ 853440 w 1216342"/>
                    <a:gd name="connsiteY12" fmla="*/ 1504950 h 1840229"/>
                    <a:gd name="connsiteX13" fmla="*/ 840105 w 1216342"/>
                    <a:gd name="connsiteY13" fmla="*/ 1509713 h 1840229"/>
                    <a:gd name="connsiteX14" fmla="*/ 841057 w 1216342"/>
                    <a:gd name="connsiteY14" fmla="*/ 1541145 h 1840229"/>
                    <a:gd name="connsiteX15" fmla="*/ 855345 w 1216342"/>
                    <a:gd name="connsiteY15" fmla="*/ 1552575 h 1840229"/>
                    <a:gd name="connsiteX16" fmla="*/ 842963 w 1216342"/>
                    <a:gd name="connsiteY16" fmla="*/ 1557338 h 1840229"/>
                    <a:gd name="connsiteX17" fmla="*/ 836295 w 1216342"/>
                    <a:gd name="connsiteY17" fmla="*/ 1574482 h 1840229"/>
                    <a:gd name="connsiteX18" fmla="*/ 819150 w 1216342"/>
                    <a:gd name="connsiteY18" fmla="*/ 1580198 h 1840229"/>
                    <a:gd name="connsiteX19" fmla="*/ 804863 w 1216342"/>
                    <a:gd name="connsiteY19" fmla="*/ 1595438 h 1840229"/>
                    <a:gd name="connsiteX20" fmla="*/ 802005 w 1216342"/>
                    <a:gd name="connsiteY20" fmla="*/ 1610678 h 1840229"/>
                    <a:gd name="connsiteX21" fmla="*/ 782002 w 1216342"/>
                    <a:gd name="connsiteY21" fmla="*/ 1619250 h 1840229"/>
                    <a:gd name="connsiteX22" fmla="*/ 793432 w 1216342"/>
                    <a:gd name="connsiteY22" fmla="*/ 1596390 h 1840229"/>
                    <a:gd name="connsiteX23" fmla="*/ 784860 w 1216342"/>
                    <a:gd name="connsiteY23" fmla="*/ 1589723 h 1840229"/>
                    <a:gd name="connsiteX24" fmla="*/ 771525 w 1216342"/>
                    <a:gd name="connsiteY24" fmla="*/ 1569720 h 1840229"/>
                    <a:gd name="connsiteX25" fmla="*/ 775335 w 1216342"/>
                    <a:gd name="connsiteY25" fmla="*/ 1561148 h 1840229"/>
                    <a:gd name="connsiteX26" fmla="*/ 769620 w 1216342"/>
                    <a:gd name="connsiteY26" fmla="*/ 1530667 h 1840229"/>
                    <a:gd name="connsiteX27" fmla="*/ 795338 w 1216342"/>
                    <a:gd name="connsiteY27" fmla="*/ 1503045 h 1840229"/>
                    <a:gd name="connsiteX28" fmla="*/ 807720 w 1216342"/>
                    <a:gd name="connsiteY28" fmla="*/ 1492567 h 1840229"/>
                    <a:gd name="connsiteX29" fmla="*/ 839152 w 1216342"/>
                    <a:gd name="connsiteY29" fmla="*/ 1483042 h 1840229"/>
                    <a:gd name="connsiteX30" fmla="*/ 851535 w 1216342"/>
                    <a:gd name="connsiteY30" fmla="*/ 1483042 h 1840229"/>
                    <a:gd name="connsiteX31" fmla="*/ 865822 w 1216342"/>
                    <a:gd name="connsiteY31" fmla="*/ 1491615 h 1840229"/>
                    <a:gd name="connsiteX32" fmla="*/ 1216342 w 1216342"/>
                    <a:gd name="connsiteY32" fmla="*/ 415290 h 1840229"/>
                    <a:gd name="connsiteX33" fmla="*/ 1190625 w 1216342"/>
                    <a:gd name="connsiteY33" fmla="*/ 418147 h 1840229"/>
                    <a:gd name="connsiteX34" fmla="*/ 1169670 w 1216342"/>
                    <a:gd name="connsiteY34" fmla="*/ 412432 h 1840229"/>
                    <a:gd name="connsiteX35" fmla="*/ 1160145 w 1216342"/>
                    <a:gd name="connsiteY35" fmla="*/ 415290 h 1840229"/>
                    <a:gd name="connsiteX36" fmla="*/ 1123950 w 1216342"/>
                    <a:gd name="connsiteY36" fmla="*/ 418147 h 1840229"/>
                    <a:gd name="connsiteX37" fmla="*/ 1113472 w 1216342"/>
                    <a:gd name="connsiteY37" fmla="*/ 424815 h 1840229"/>
                    <a:gd name="connsiteX38" fmla="*/ 1093470 w 1216342"/>
                    <a:gd name="connsiteY38" fmla="*/ 418147 h 1840229"/>
                    <a:gd name="connsiteX39" fmla="*/ 1074420 w 1216342"/>
                    <a:gd name="connsiteY39" fmla="*/ 406717 h 1840229"/>
                    <a:gd name="connsiteX40" fmla="*/ 1055370 w 1216342"/>
                    <a:gd name="connsiteY40" fmla="*/ 417195 h 1840229"/>
                    <a:gd name="connsiteX41" fmla="*/ 1040130 w 1216342"/>
                    <a:gd name="connsiteY41" fmla="*/ 407670 h 1840229"/>
                    <a:gd name="connsiteX42" fmla="*/ 1030605 w 1216342"/>
                    <a:gd name="connsiteY42" fmla="*/ 425767 h 1840229"/>
                    <a:gd name="connsiteX43" fmla="*/ 1031557 w 1216342"/>
                    <a:gd name="connsiteY43" fmla="*/ 442913 h 1840229"/>
                    <a:gd name="connsiteX44" fmla="*/ 1014413 w 1216342"/>
                    <a:gd name="connsiteY44" fmla="*/ 441007 h 1840229"/>
                    <a:gd name="connsiteX45" fmla="*/ 1017270 w 1216342"/>
                    <a:gd name="connsiteY45" fmla="*/ 451485 h 1840229"/>
                    <a:gd name="connsiteX46" fmla="*/ 998220 w 1216342"/>
                    <a:gd name="connsiteY46" fmla="*/ 465772 h 1840229"/>
                    <a:gd name="connsiteX47" fmla="*/ 967740 w 1216342"/>
                    <a:gd name="connsiteY47" fmla="*/ 467677 h 1840229"/>
                    <a:gd name="connsiteX48" fmla="*/ 974407 w 1216342"/>
                    <a:gd name="connsiteY48" fmla="*/ 481965 h 1840229"/>
                    <a:gd name="connsiteX49" fmla="*/ 965835 w 1216342"/>
                    <a:gd name="connsiteY49" fmla="*/ 488632 h 1840229"/>
                    <a:gd name="connsiteX50" fmla="*/ 975360 w 1216342"/>
                    <a:gd name="connsiteY50" fmla="*/ 504825 h 1840229"/>
                    <a:gd name="connsiteX51" fmla="*/ 962977 w 1216342"/>
                    <a:gd name="connsiteY51" fmla="*/ 519113 h 1840229"/>
                    <a:gd name="connsiteX52" fmla="*/ 942975 w 1216342"/>
                    <a:gd name="connsiteY52" fmla="*/ 537210 h 1840229"/>
                    <a:gd name="connsiteX53" fmla="*/ 938213 w 1216342"/>
                    <a:gd name="connsiteY53" fmla="*/ 546735 h 1840229"/>
                    <a:gd name="connsiteX54" fmla="*/ 954405 w 1216342"/>
                    <a:gd name="connsiteY54" fmla="*/ 557213 h 1840229"/>
                    <a:gd name="connsiteX55" fmla="*/ 969645 w 1216342"/>
                    <a:gd name="connsiteY55" fmla="*/ 581025 h 1840229"/>
                    <a:gd name="connsiteX56" fmla="*/ 984885 w 1216342"/>
                    <a:gd name="connsiteY56" fmla="*/ 591502 h 1840229"/>
                    <a:gd name="connsiteX57" fmla="*/ 981075 w 1216342"/>
                    <a:gd name="connsiteY57" fmla="*/ 602932 h 1840229"/>
                    <a:gd name="connsiteX58" fmla="*/ 961072 w 1216342"/>
                    <a:gd name="connsiteY58" fmla="*/ 613410 h 1840229"/>
                    <a:gd name="connsiteX59" fmla="*/ 940117 w 1216342"/>
                    <a:gd name="connsiteY59" fmla="*/ 629602 h 1840229"/>
                    <a:gd name="connsiteX60" fmla="*/ 921067 w 1216342"/>
                    <a:gd name="connsiteY60" fmla="*/ 670560 h 1840229"/>
                    <a:gd name="connsiteX61" fmla="*/ 891540 w 1216342"/>
                    <a:gd name="connsiteY61" fmla="*/ 682943 h 1840229"/>
                    <a:gd name="connsiteX62" fmla="*/ 868680 w 1216342"/>
                    <a:gd name="connsiteY62" fmla="*/ 698182 h 1840229"/>
                    <a:gd name="connsiteX63" fmla="*/ 840105 w 1216342"/>
                    <a:gd name="connsiteY63" fmla="*/ 704850 h 1840229"/>
                    <a:gd name="connsiteX64" fmla="*/ 817245 w 1216342"/>
                    <a:gd name="connsiteY64" fmla="*/ 725805 h 1840229"/>
                    <a:gd name="connsiteX65" fmla="*/ 800100 w 1216342"/>
                    <a:gd name="connsiteY65" fmla="*/ 718185 h 1840229"/>
                    <a:gd name="connsiteX66" fmla="*/ 785813 w 1216342"/>
                    <a:gd name="connsiteY66" fmla="*/ 722947 h 1840229"/>
                    <a:gd name="connsiteX67" fmla="*/ 776288 w 1216342"/>
                    <a:gd name="connsiteY67" fmla="*/ 740093 h 1840229"/>
                    <a:gd name="connsiteX68" fmla="*/ 758190 w 1216342"/>
                    <a:gd name="connsiteY68" fmla="*/ 754380 h 1840229"/>
                    <a:gd name="connsiteX69" fmla="*/ 735330 w 1216342"/>
                    <a:gd name="connsiteY69" fmla="*/ 752475 h 1840229"/>
                    <a:gd name="connsiteX70" fmla="*/ 737235 w 1216342"/>
                    <a:gd name="connsiteY70" fmla="*/ 760095 h 1840229"/>
                    <a:gd name="connsiteX71" fmla="*/ 715327 w 1216342"/>
                    <a:gd name="connsiteY71" fmla="*/ 762952 h 1840229"/>
                    <a:gd name="connsiteX72" fmla="*/ 705802 w 1216342"/>
                    <a:gd name="connsiteY72" fmla="*/ 801052 h 1840229"/>
                    <a:gd name="connsiteX73" fmla="*/ 684847 w 1216342"/>
                    <a:gd name="connsiteY73" fmla="*/ 806768 h 1840229"/>
                    <a:gd name="connsiteX74" fmla="*/ 678180 w 1216342"/>
                    <a:gd name="connsiteY74" fmla="*/ 814388 h 1840229"/>
                    <a:gd name="connsiteX75" fmla="*/ 669607 w 1216342"/>
                    <a:gd name="connsiteY75" fmla="*/ 808672 h 1840229"/>
                    <a:gd name="connsiteX76" fmla="*/ 649605 w 1216342"/>
                    <a:gd name="connsiteY76" fmla="*/ 809625 h 1840229"/>
                    <a:gd name="connsiteX77" fmla="*/ 664845 w 1216342"/>
                    <a:gd name="connsiteY77" fmla="*/ 836295 h 1840229"/>
                    <a:gd name="connsiteX78" fmla="*/ 648652 w 1216342"/>
                    <a:gd name="connsiteY78" fmla="*/ 853440 h 1840229"/>
                    <a:gd name="connsiteX79" fmla="*/ 637222 w 1216342"/>
                    <a:gd name="connsiteY79" fmla="*/ 853440 h 1840229"/>
                    <a:gd name="connsiteX80" fmla="*/ 622935 w 1216342"/>
                    <a:gd name="connsiteY80" fmla="*/ 860107 h 1840229"/>
                    <a:gd name="connsiteX81" fmla="*/ 604838 w 1216342"/>
                    <a:gd name="connsiteY81" fmla="*/ 852488 h 1840229"/>
                    <a:gd name="connsiteX82" fmla="*/ 602932 w 1216342"/>
                    <a:gd name="connsiteY82" fmla="*/ 863918 h 1840229"/>
                    <a:gd name="connsiteX83" fmla="*/ 610552 w 1216342"/>
                    <a:gd name="connsiteY83" fmla="*/ 876300 h 1840229"/>
                    <a:gd name="connsiteX84" fmla="*/ 622935 w 1216342"/>
                    <a:gd name="connsiteY84" fmla="*/ 885825 h 1840229"/>
                    <a:gd name="connsiteX85" fmla="*/ 621982 w 1216342"/>
                    <a:gd name="connsiteY85" fmla="*/ 898207 h 1840229"/>
                    <a:gd name="connsiteX86" fmla="*/ 613410 w 1216342"/>
                    <a:gd name="connsiteY86" fmla="*/ 939165 h 1840229"/>
                    <a:gd name="connsiteX87" fmla="*/ 620077 w 1216342"/>
                    <a:gd name="connsiteY87" fmla="*/ 956310 h 1840229"/>
                    <a:gd name="connsiteX88" fmla="*/ 600075 w 1216342"/>
                    <a:gd name="connsiteY88" fmla="*/ 967740 h 1840229"/>
                    <a:gd name="connsiteX89" fmla="*/ 592455 w 1216342"/>
                    <a:gd name="connsiteY89" fmla="*/ 978218 h 1840229"/>
                    <a:gd name="connsiteX90" fmla="*/ 598170 w 1216342"/>
                    <a:gd name="connsiteY90" fmla="*/ 994410 h 1840229"/>
                    <a:gd name="connsiteX91" fmla="*/ 597217 w 1216342"/>
                    <a:gd name="connsiteY91" fmla="*/ 1004888 h 1840229"/>
                    <a:gd name="connsiteX92" fmla="*/ 603885 w 1216342"/>
                    <a:gd name="connsiteY92" fmla="*/ 1022985 h 1840229"/>
                    <a:gd name="connsiteX93" fmla="*/ 611505 w 1216342"/>
                    <a:gd name="connsiteY93" fmla="*/ 1062990 h 1840229"/>
                    <a:gd name="connsiteX94" fmla="*/ 621982 w 1216342"/>
                    <a:gd name="connsiteY94" fmla="*/ 1082040 h 1840229"/>
                    <a:gd name="connsiteX95" fmla="*/ 621030 w 1216342"/>
                    <a:gd name="connsiteY95" fmla="*/ 1097280 h 1840229"/>
                    <a:gd name="connsiteX96" fmla="*/ 633413 w 1216342"/>
                    <a:gd name="connsiteY96" fmla="*/ 1105853 h 1840229"/>
                    <a:gd name="connsiteX97" fmla="*/ 653415 w 1216342"/>
                    <a:gd name="connsiteY97" fmla="*/ 1104900 h 1840229"/>
                    <a:gd name="connsiteX98" fmla="*/ 666750 w 1216342"/>
                    <a:gd name="connsiteY98" fmla="*/ 1120140 h 1840229"/>
                    <a:gd name="connsiteX99" fmla="*/ 696277 w 1216342"/>
                    <a:gd name="connsiteY99" fmla="*/ 1112520 h 1840229"/>
                    <a:gd name="connsiteX100" fmla="*/ 703897 w 1216342"/>
                    <a:gd name="connsiteY100" fmla="*/ 1122998 h 1840229"/>
                    <a:gd name="connsiteX101" fmla="*/ 731520 w 1216342"/>
                    <a:gd name="connsiteY101" fmla="*/ 1143953 h 1840229"/>
                    <a:gd name="connsiteX102" fmla="*/ 747713 w 1216342"/>
                    <a:gd name="connsiteY102" fmla="*/ 1146810 h 1840229"/>
                    <a:gd name="connsiteX103" fmla="*/ 765810 w 1216342"/>
                    <a:gd name="connsiteY103" fmla="*/ 1158240 h 1840229"/>
                    <a:gd name="connsiteX104" fmla="*/ 765810 w 1216342"/>
                    <a:gd name="connsiteY104" fmla="*/ 1172528 h 1840229"/>
                    <a:gd name="connsiteX105" fmla="*/ 793432 w 1216342"/>
                    <a:gd name="connsiteY105" fmla="*/ 1182053 h 1840229"/>
                    <a:gd name="connsiteX106" fmla="*/ 811530 w 1216342"/>
                    <a:gd name="connsiteY106" fmla="*/ 1201103 h 1840229"/>
                    <a:gd name="connsiteX107" fmla="*/ 819150 w 1216342"/>
                    <a:gd name="connsiteY107" fmla="*/ 1216342 h 1840229"/>
                    <a:gd name="connsiteX108" fmla="*/ 818197 w 1216342"/>
                    <a:gd name="connsiteY108" fmla="*/ 1225867 h 1840229"/>
                    <a:gd name="connsiteX109" fmla="*/ 793432 w 1216342"/>
                    <a:gd name="connsiteY109" fmla="*/ 1240155 h 1840229"/>
                    <a:gd name="connsiteX110" fmla="*/ 781050 w 1216342"/>
                    <a:gd name="connsiteY110" fmla="*/ 1252538 h 1840229"/>
                    <a:gd name="connsiteX111" fmla="*/ 744855 w 1216342"/>
                    <a:gd name="connsiteY111" fmla="*/ 1272540 h 1840229"/>
                    <a:gd name="connsiteX112" fmla="*/ 739140 w 1216342"/>
                    <a:gd name="connsiteY112" fmla="*/ 1271588 h 1840229"/>
                    <a:gd name="connsiteX113" fmla="*/ 719138 w 1216342"/>
                    <a:gd name="connsiteY113" fmla="*/ 1281113 h 1840229"/>
                    <a:gd name="connsiteX114" fmla="*/ 738188 w 1216342"/>
                    <a:gd name="connsiteY114" fmla="*/ 1286828 h 1840229"/>
                    <a:gd name="connsiteX115" fmla="*/ 751522 w 1216342"/>
                    <a:gd name="connsiteY115" fmla="*/ 1280160 h 1840229"/>
                    <a:gd name="connsiteX116" fmla="*/ 776288 w 1216342"/>
                    <a:gd name="connsiteY116" fmla="*/ 1274445 h 1840229"/>
                    <a:gd name="connsiteX117" fmla="*/ 789622 w 1216342"/>
                    <a:gd name="connsiteY117" fmla="*/ 1285875 h 1840229"/>
                    <a:gd name="connsiteX118" fmla="*/ 768667 w 1216342"/>
                    <a:gd name="connsiteY118" fmla="*/ 1290638 h 1840229"/>
                    <a:gd name="connsiteX119" fmla="*/ 765810 w 1216342"/>
                    <a:gd name="connsiteY119" fmla="*/ 1305878 h 1840229"/>
                    <a:gd name="connsiteX120" fmla="*/ 758190 w 1216342"/>
                    <a:gd name="connsiteY120" fmla="*/ 1315403 h 1840229"/>
                    <a:gd name="connsiteX121" fmla="*/ 739140 w 1216342"/>
                    <a:gd name="connsiteY121" fmla="*/ 1322070 h 1840229"/>
                    <a:gd name="connsiteX122" fmla="*/ 712470 w 1216342"/>
                    <a:gd name="connsiteY122" fmla="*/ 1336357 h 1840229"/>
                    <a:gd name="connsiteX123" fmla="*/ 674370 w 1216342"/>
                    <a:gd name="connsiteY123" fmla="*/ 1349692 h 1840229"/>
                    <a:gd name="connsiteX124" fmla="*/ 663892 w 1216342"/>
                    <a:gd name="connsiteY124" fmla="*/ 1361123 h 1840229"/>
                    <a:gd name="connsiteX125" fmla="*/ 639127 w 1216342"/>
                    <a:gd name="connsiteY125" fmla="*/ 1370648 h 1840229"/>
                    <a:gd name="connsiteX126" fmla="*/ 626745 w 1216342"/>
                    <a:gd name="connsiteY126" fmla="*/ 1378267 h 1840229"/>
                    <a:gd name="connsiteX127" fmla="*/ 590550 w 1216342"/>
                    <a:gd name="connsiteY127" fmla="*/ 1378267 h 1840229"/>
                    <a:gd name="connsiteX128" fmla="*/ 555307 w 1216342"/>
                    <a:gd name="connsiteY128" fmla="*/ 1377315 h 1840229"/>
                    <a:gd name="connsiteX129" fmla="*/ 564832 w 1216342"/>
                    <a:gd name="connsiteY129" fmla="*/ 1385888 h 1840229"/>
                    <a:gd name="connsiteX130" fmla="*/ 573405 w 1216342"/>
                    <a:gd name="connsiteY130" fmla="*/ 1383982 h 1840229"/>
                    <a:gd name="connsiteX131" fmla="*/ 607695 w 1216342"/>
                    <a:gd name="connsiteY131" fmla="*/ 1387792 h 1840229"/>
                    <a:gd name="connsiteX132" fmla="*/ 623888 w 1216342"/>
                    <a:gd name="connsiteY132" fmla="*/ 1400175 h 1840229"/>
                    <a:gd name="connsiteX133" fmla="*/ 595313 w 1216342"/>
                    <a:gd name="connsiteY133" fmla="*/ 1408748 h 1840229"/>
                    <a:gd name="connsiteX134" fmla="*/ 611505 w 1216342"/>
                    <a:gd name="connsiteY134" fmla="*/ 1439228 h 1840229"/>
                    <a:gd name="connsiteX135" fmla="*/ 604838 w 1216342"/>
                    <a:gd name="connsiteY135" fmla="*/ 1446848 h 1840229"/>
                    <a:gd name="connsiteX136" fmla="*/ 608647 w 1216342"/>
                    <a:gd name="connsiteY136" fmla="*/ 1480185 h 1840229"/>
                    <a:gd name="connsiteX137" fmla="*/ 598170 w 1216342"/>
                    <a:gd name="connsiteY137" fmla="*/ 1481138 h 1840229"/>
                    <a:gd name="connsiteX138" fmla="*/ 595313 w 1216342"/>
                    <a:gd name="connsiteY138" fmla="*/ 1494473 h 1840229"/>
                    <a:gd name="connsiteX139" fmla="*/ 601027 w 1216342"/>
                    <a:gd name="connsiteY139" fmla="*/ 1518285 h 1840229"/>
                    <a:gd name="connsiteX140" fmla="*/ 610552 w 1216342"/>
                    <a:gd name="connsiteY140" fmla="*/ 1538288 h 1840229"/>
                    <a:gd name="connsiteX141" fmla="*/ 609600 w 1216342"/>
                    <a:gd name="connsiteY141" fmla="*/ 1547813 h 1840229"/>
                    <a:gd name="connsiteX142" fmla="*/ 595313 w 1216342"/>
                    <a:gd name="connsiteY142" fmla="*/ 1570673 h 1840229"/>
                    <a:gd name="connsiteX143" fmla="*/ 603885 w 1216342"/>
                    <a:gd name="connsiteY143" fmla="*/ 1598295 h 1840229"/>
                    <a:gd name="connsiteX144" fmla="*/ 589597 w 1216342"/>
                    <a:gd name="connsiteY144" fmla="*/ 1648778 h 1840229"/>
                    <a:gd name="connsiteX145" fmla="*/ 571500 w 1216342"/>
                    <a:gd name="connsiteY145" fmla="*/ 1678305 h 1840229"/>
                    <a:gd name="connsiteX146" fmla="*/ 559117 w 1216342"/>
                    <a:gd name="connsiteY146" fmla="*/ 1717357 h 1840229"/>
                    <a:gd name="connsiteX147" fmla="*/ 541972 w 1216342"/>
                    <a:gd name="connsiteY147" fmla="*/ 1730692 h 1840229"/>
                    <a:gd name="connsiteX148" fmla="*/ 519113 w 1216342"/>
                    <a:gd name="connsiteY148" fmla="*/ 1722120 h 1840229"/>
                    <a:gd name="connsiteX149" fmla="*/ 486727 w 1216342"/>
                    <a:gd name="connsiteY149" fmla="*/ 1726882 h 1840229"/>
                    <a:gd name="connsiteX150" fmla="*/ 456247 w 1216342"/>
                    <a:gd name="connsiteY150" fmla="*/ 1724025 h 1840229"/>
                    <a:gd name="connsiteX151" fmla="*/ 427672 w 1216342"/>
                    <a:gd name="connsiteY151" fmla="*/ 1725930 h 1840229"/>
                    <a:gd name="connsiteX152" fmla="*/ 420052 w 1216342"/>
                    <a:gd name="connsiteY152" fmla="*/ 1729740 h 1840229"/>
                    <a:gd name="connsiteX153" fmla="*/ 426720 w 1216342"/>
                    <a:gd name="connsiteY153" fmla="*/ 1743075 h 1840229"/>
                    <a:gd name="connsiteX154" fmla="*/ 404813 w 1216342"/>
                    <a:gd name="connsiteY154" fmla="*/ 1741170 h 1840229"/>
                    <a:gd name="connsiteX155" fmla="*/ 388620 w 1216342"/>
                    <a:gd name="connsiteY155" fmla="*/ 1751648 h 1840229"/>
                    <a:gd name="connsiteX156" fmla="*/ 369570 w 1216342"/>
                    <a:gd name="connsiteY156" fmla="*/ 1771650 h 1840229"/>
                    <a:gd name="connsiteX157" fmla="*/ 369570 w 1216342"/>
                    <a:gd name="connsiteY157" fmla="*/ 1785938 h 1840229"/>
                    <a:gd name="connsiteX158" fmla="*/ 387667 w 1216342"/>
                    <a:gd name="connsiteY158" fmla="*/ 1814513 h 1840229"/>
                    <a:gd name="connsiteX159" fmla="*/ 371475 w 1216342"/>
                    <a:gd name="connsiteY159" fmla="*/ 1833563 h 1840229"/>
                    <a:gd name="connsiteX160" fmla="*/ 360997 w 1216342"/>
                    <a:gd name="connsiteY160" fmla="*/ 1833563 h 1840229"/>
                    <a:gd name="connsiteX161" fmla="*/ 330517 w 1216342"/>
                    <a:gd name="connsiteY161" fmla="*/ 1828800 h 1840229"/>
                    <a:gd name="connsiteX162" fmla="*/ 278130 w 1216342"/>
                    <a:gd name="connsiteY162" fmla="*/ 1840230 h 1840229"/>
                    <a:gd name="connsiteX163" fmla="*/ 229552 w 1216342"/>
                    <a:gd name="connsiteY163" fmla="*/ 1830705 h 1840229"/>
                    <a:gd name="connsiteX164" fmla="*/ 234315 w 1216342"/>
                    <a:gd name="connsiteY164" fmla="*/ 1821180 h 1840229"/>
                    <a:gd name="connsiteX165" fmla="*/ 236220 w 1216342"/>
                    <a:gd name="connsiteY165" fmla="*/ 1791653 h 1840229"/>
                    <a:gd name="connsiteX166" fmla="*/ 230505 w 1216342"/>
                    <a:gd name="connsiteY166" fmla="*/ 1775460 h 1840229"/>
                    <a:gd name="connsiteX167" fmla="*/ 218122 w 1216342"/>
                    <a:gd name="connsiteY167" fmla="*/ 1764982 h 1840229"/>
                    <a:gd name="connsiteX168" fmla="*/ 188595 w 1216342"/>
                    <a:gd name="connsiteY168" fmla="*/ 1728788 h 1840229"/>
                    <a:gd name="connsiteX169" fmla="*/ 177165 w 1216342"/>
                    <a:gd name="connsiteY169" fmla="*/ 1706880 h 1840229"/>
                    <a:gd name="connsiteX170" fmla="*/ 200025 w 1216342"/>
                    <a:gd name="connsiteY170" fmla="*/ 1715453 h 1840229"/>
                    <a:gd name="connsiteX171" fmla="*/ 209550 w 1216342"/>
                    <a:gd name="connsiteY171" fmla="*/ 1710690 h 1840229"/>
                    <a:gd name="connsiteX172" fmla="*/ 192405 w 1216342"/>
                    <a:gd name="connsiteY172" fmla="*/ 1685925 h 1840229"/>
                    <a:gd name="connsiteX173" fmla="*/ 213360 w 1216342"/>
                    <a:gd name="connsiteY173" fmla="*/ 1684973 h 1840229"/>
                    <a:gd name="connsiteX174" fmla="*/ 220027 w 1216342"/>
                    <a:gd name="connsiteY174" fmla="*/ 1675448 h 1840229"/>
                    <a:gd name="connsiteX175" fmla="*/ 214313 w 1216342"/>
                    <a:gd name="connsiteY175" fmla="*/ 1661160 h 1840229"/>
                    <a:gd name="connsiteX176" fmla="*/ 196215 w 1216342"/>
                    <a:gd name="connsiteY176" fmla="*/ 1655445 h 1840229"/>
                    <a:gd name="connsiteX177" fmla="*/ 178117 w 1216342"/>
                    <a:gd name="connsiteY177" fmla="*/ 1632585 h 1840229"/>
                    <a:gd name="connsiteX178" fmla="*/ 160972 w 1216342"/>
                    <a:gd name="connsiteY178" fmla="*/ 1621155 h 1840229"/>
                    <a:gd name="connsiteX179" fmla="*/ 127635 w 1216342"/>
                    <a:gd name="connsiteY179" fmla="*/ 1576388 h 1840229"/>
                    <a:gd name="connsiteX180" fmla="*/ 115252 w 1216342"/>
                    <a:gd name="connsiteY180" fmla="*/ 1545907 h 1840229"/>
                    <a:gd name="connsiteX181" fmla="*/ 104775 w 1216342"/>
                    <a:gd name="connsiteY181" fmla="*/ 1548765 h 1840229"/>
                    <a:gd name="connsiteX182" fmla="*/ 93345 w 1216342"/>
                    <a:gd name="connsiteY182" fmla="*/ 1513523 h 1840229"/>
                    <a:gd name="connsiteX183" fmla="*/ 77152 w 1216342"/>
                    <a:gd name="connsiteY183" fmla="*/ 1507807 h 1840229"/>
                    <a:gd name="connsiteX184" fmla="*/ 71438 w 1216342"/>
                    <a:gd name="connsiteY184" fmla="*/ 1472565 h 1840229"/>
                    <a:gd name="connsiteX185" fmla="*/ 54292 w 1216342"/>
                    <a:gd name="connsiteY185" fmla="*/ 1468755 h 1840229"/>
                    <a:gd name="connsiteX186" fmla="*/ 41910 w 1216342"/>
                    <a:gd name="connsiteY186" fmla="*/ 1452563 h 1840229"/>
                    <a:gd name="connsiteX187" fmla="*/ 38100 w 1216342"/>
                    <a:gd name="connsiteY187" fmla="*/ 1422082 h 1840229"/>
                    <a:gd name="connsiteX188" fmla="*/ 26670 w 1216342"/>
                    <a:gd name="connsiteY188" fmla="*/ 1416367 h 1840229"/>
                    <a:gd name="connsiteX189" fmla="*/ 19050 w 1216342"/>
                    <a:gd name="connsiteY189" fmla="*/ 1403032 h 1840229"/>
                    <a:gd name="connsiteX190" fmla="*/ 11430 w 1216342"/>
                    <a:gd name="connsiteY190" fmla="*/ 1374457 h 1840229"/>
                    <a:gd name="connsiteX191" fmla="*/ 8572 w 1216342"/>
                    <a:gd name="connsiteY191" fmla="*/ 1348740 h 1840229"/>
                    <a:gd name="connsiteX192" fmla="*/ 0 w 1216342"/>
                    <a:gd name="connsiteY192" fmla="*/ 1331595 h 1840229"/>
                    <a:gd name="connsiteX193" fmla="*/ 4763 w 1216342"/>
                    <a:gd name="connsiteY193" fmla="*/ 1320165 h 1840229"/>
                    <a:gd name="connsiteX194" fmla="*/ 15240 w 1216342"/>
                    <a:gd name="connsiteY194" fmla="*/ 1318260 h 1840229"/>
                    <a:gd name="connsiteX195" fmla="*/ 25717 w 1216342"/>
                    <a:gd name="connsiteY195" fmla="*/ 1325880 h 1840229"/>
                    <a:gd name="connsiteX196" fmla="*/ 35242 w 1216342"/>
                    <a:gd name="connsiteY196" fmla="*/ 1343025 h 1840229"/>
                    <a:gd name="connsiteX197" fmla="*/ 53340 w 1216342"/>
                    <a:gd name="connsiteY197" fmla="*/ 1341120 h 1840229"/>
                    <a:gd name="connsiteX198" fmla="*/ 60007 w 1216342"/>
                    <a:gd name="connsiteY198" fmla="*/ 1327785 h 1840229"/>
                    <a:gd name="connsiteX199" fmla="*/ 65722 w 1216342"/>
                    <a:gd name="connsiteY199" fmla="*/ 1290638 h 1840229"/>
                    <a:gd name="connsiteX200" fmla="*/ 50482 w 1216342"/>
                    <a:gd name="connsiteY200" fmla="*/ 1248728 h 1840229"/>
                    <a:gd name="connsiteX201" fmla="*/ 64770 w 1216342"/>
                    <a:gd name="connsiteY201" fmla="*/ 1234440 h 1840229"/>
                    <a:gd name="connsiteX202" fmla="*/ 73342 w 1216342"/>
                    <a:gd name="connsiteY202" fmla="*/ 1211580 h 1840229"/>
                    <a:gd name="connsiteX203" fmla="*/ 98107 w 1216342"/>
                    <a:gd name="connsiteY203" fmla="*/ 1204913 h 1840229"/>
                    <a:gd name="connsiteX204" fmla="*/ 110490 w 1216342"/>
                    <a:gd name="connsiteY204" fmla="*/ 1197292 h 1840229"/>
                    <a:gd name="connsiteX205" fmla="*/ 128588 w 1216342"/>
                    <a:gd name="connsiteY205" fmla="*/ 1178242 h 1840229"/>
                    <a:gd name="connsiteX206" fmla="*/ 129540 w 1216342"/>
                    <a:gd name="connsiteY206" fmla="*/ 1151573 h 1840229"/>
                    <a:gd name="connsiteX207" fmla="*/ 135255 w 1216342"/>
                    <a:gd name="connsiteY207" fmla="*/ 1131570 h 1840229"/>
                    <a:gd name="connsiteX208" fmla="*/ 130492 w 1216342"/>
                    <a:gd name="connsiteY208" fmla="*/ 1118235 h 1840229"/>
                    <a:gd name="connsiteX209" fmla="*/ 100965 w 1216342"/>
                    <a:gd name="connsiteY209" fmla="*/ 1071563 h 1840229"/>
                    <a:gd name="connsiteX210" fmla="*/ 98107 w 1216342"/>
                    <a:gd name="connsiteY210" fmla="*/ 1056323 h 1840229"/>
                    <a:gd name="connsiteX211" fmla="*/ 115252 w 1216342"/>
                    <a:gd name="connsiteY211" fmla="*/ 1050607 h 1840229"/>
                    <a:gd name="connsiteX212" fmla="*/ 138113 w 1216342"/>
                    <a:gd name="connsiteY212" fmla="*/ 1050607 h 1840229"/>
                    <a:gd name="connsiteX213" fmla="*/ 150495 w 1216342"/>
                    <a:gd name="connsiteY213" fmla="*/ 1026795 h 1840229"/>
                    <a:gd name="connsiteX214" fmla="*/ 154305 w 1216342"/>
                    <a:gd name="connsiteY214" fmla="*/ 1008697 h 1840229"/>
                    <a:gd name="connsiteX215" fmla="*/ 121920 w 1216342"/>
                    <a:gd name="connsiteY215" fmla="*/ 982980 h 1840229"/>
                    <a:gd name="connsiteX216" fmla="*/ 110490 w 1216342"/>
                    <a:gd name="connsiteY216" fmla="*/ 979170 h 1840229"/>
                    <a:gd name="connsiteX217" fmla="*/ 74295 w 1216342"/>
                    <a:gd name="connsiteY217" fmla="*/ 959168 h 1840229"/>
                    <a:gd name="connsiteX218" fmla="*/ 82867 w 1216342"/>
                    <a:gd name="connsiteY218" fmla="*/ 898207 h 1840229"/>
                    <a:gd name="connsiteX219" fmla="*/ 82867 w 1216342"/>
                    <a:gd name="connsiteY219" fmla="*/ 882968 h 1840229"/>
                    <a:gd name="connsiteX220" fmla="*/ 59055 w 1216342"/>
                    <a:gd name="connsiteY220" fmla="*/ 841057 h 1840229"/>
                    <a:gd name="connsiteX221" fmla="*/ 60007 w 1216342"/>
                    <a:gd name="connsiteY221" fmla="*/ 823913 h 1840229"/>
                    <a:gd name="connsiteX222" fmla="*/ 54292 w 1216342"/>
                    <a:gd name="connsiteY222" fmla="*/ 797243 h 1840229"/>
                    <a:gd name="connsiteX223" fmla="*/ 64770 w 1216342"/>
                    <a:gd name="connsiteY223" fmla="*/ 786765 h 1840229"/>
                    <a:gd name="connsiteX224" fmla="*/ 39052 w 1216342"/>
                    <a:gd name="connsiteY224" fmla="*/ 747713 h 1840229"/>
                    <a:gd name="connsiteX225" fmla="*/ 58102 w 1216342"/>
                    <a:gd name="connsiteY225" fmla="*/ 721043 h 1840229"/>
                    <a:gd name="connsiteX226" fmla="*/ 53340 w 1216342"/>
                    <a:gd name="connsiteY226" fmla="*/ 706755 h 1840229"/>
                    <a:gd name="connsiteX227" fmla="*/ 64770 w 1216342"/>
                    <a:gd name="connsiteY227" fmla="*/ 697230 h 1840229"/>
                    <a:gd name="connsiteX228" fmla="*/ 98107 w 1216342"/>
                    <a:gd name="connsiteY228" fmla="*/ 661035 h 1840229"/>
                    <a:gd name="connsiteX229" fmla="*/ 129540 w 1216342"/>
                    <a:gd name="connsiteY229" fmla="*/ 646747 h 1840229"/>
                    <a:gd name="connsiteX230" fmla="*/ 160972 w 1216342"/>
                    <a:gd name="connsiteY230" fmla="*/ 642938 h 1840229"/>
                    <a:gd name="connsiteX231" fmla="*/ 228600 w 1216342"/>
                    <a:gd name="connsiteY231" fmla="*/ 651510 h 1840229"/>
                    <a:gd name="connsiteX232" fmla="*/ 244792 w 1216342"/>
                    <a:gd name="connsiteY232" fmla="*/ 630555 h 1840229"/>
                    <a:gd name="connsiteX233" fmla="*/ 243840 w 1216342"/>
                    <a:gd name="connsiteY233" fmla="*/ 619125 h 1840229"/>
                    <a:gd name="connsiteX234" fmla="*/ 233363 w 1216342"/>
                    <a:gd name="connsiteY234" fmla="*/ 591502 h 1840229"/>
                    <a:gd name="connsiteX235" fmla="*/ 188595 w 1216342"/>
                    <a:gd name="connsiteY235" fmla="*/ 576263 h 1840229"/>
                    <a:gd name="connsiteX236" fmla="*/ 230505 w 1216342"/>
                    <a:gd name="connsiteY236" fmla="*/ 528638 h 1840229"/>
                    <a:gd name="connsiteX237" fmla="*/ 261938 w 1216342"/>
                    <a:gd name="connsiteY237" fmla="*/ 481013 h 1840229"/>
                    <a:gd name="connsiteX238" fmla="*/ 262890 w 1216342"/>
                    <a:gd name="connsiteY238" fmla="*/ 436245 h 1840229"/>
                    <a:gd name="connsiteX239" fmla="*/ 268605 w 1216342"/>
                    <a:gd name="connsiteY239" fmla="*/ 410527 h 1840229"/>
                    <a:gd name="connsiteX240" fmla="*/ 255270 w 1216342"/>
                    <a:gd name="connsiteY240" fmla="*/ 373380 h 1840229"/>
                    <a:gd name="connsiteX241" fmla="*/ 291465 w 1216342"/>
                    <a:gd name="connsiteY241" fmla="*/ 369570 h 1840229"/>
                    <a:gd name="connsiteX242" fmla="*/ 314325 w 1216342"/>
                    <a:gd name="connsiteY242" fmla="*/ 364807 h 1840229"/>
                    <a:gd name="connsiteX243" fmla="*/ 345757 w 1216342"/>
                    <a:gd name="connsiteY243" fmla="*/ 350520 h 1840229"/>
                    <a:gd name="connsiteX244" fmla="*/ 336232 w 1216342"/>
                    <a:gd name="connsiteY244" fmla="*/ 326707 h 1840229"/>
                    <a:gd name="connsiteX245" fmla="*/ 348615 w 1216342"/>
                    <a:gd name="connsiteY245" fmla="*/ 318135 h 1840229"/>
                    <a:gd name="connsiteX246" fmla="*/ 377190 w 1216342"/>
                    <a:gd name="connsiteY246" fmla="*/ 290513 h 1840229"/>
                    <a:gd name="connsiteX247" fmla="*/ 408622 w 1216342"/>
                    <a:gd name="connsiteY247" fmla="*/ 262890 h 1840229"/>
                    <a:gd name="connsiteX248" fmla="*/ 422910 w 1216342"/>
                    <a:gd name="connsiteY248" fmla="*/ 253365 h 1840229"/>
                    <a:gd name="connsiteX249" fmla="*/ 424815 w 1216342"/>
                    <a:gd name="connsiteY249" fmla="*/ 240030 h 1840229"/>
                    <a:gd name="connsiteX250" fmla="*/ 415290 w 1216342"/>
                    <a:gd name="connsiteY250" fmla="*/ 227647 h 1840229"/>
                    <a:gd name="connsiteX251" fmla="*/ 389572 w 1216342"/>
                    <a:gd name="connsiteY251" fmla="*/ 205740 h 1840229"/>
                    <a:gd name="connsiteX252" fmla="*/ 394335 w 1216342"/>
                    <a:gd name="connsiteY252" fmla="*/ 195263 h 1840229"/>
                    <a:gd name="connsiteX253" fmla="*/ 420052 w 1216342"/>
                    <a:gd name="connsiteY253" fmla="*/ 189547 h 1840229"/>
                    <a:gd name="connsiteX254" fmla="*/ 430530 w 1216342"/>
                    <a:gd name="connsiteY254" fmla="*/ 179070 h 1840229"/>
                    <a:gd name="connsiteX255" fmla="*/ 444817 w 1216342"/>
                    <a:gd name="connsiteY255" fmla="*/ 145732 h 1840229"/>
                    <a:gd name="connsiteX256" fmla="*/ 480060 w 1216342"/>
                    <a:gd name="connsiteY256" fmla="*/ 127635 h 1840229"/>
                    <a:gd name="connsiteX257" fmla="*/ 494347 w 1216342"/>
                    <a:gd name="connsiteY257" fmla="*/ 119063 h 1840229"/>
                    <a:gd name="connsiteX258" fmla="*/ 554355 w 1216342"/>
                    <a:gd name="connsiteY258" fmla="*/ 136207 h 1840229"/>
                    <a:gd name="connsiteX259" fmla="*/ 574357 w 1216342"/>
                    <a:gd name="connsiteY259" fmla="*/ 106680 h 1840229"/>
                    <a:gd name="connsiteX260" fmla="*/ 566738 w 1216342"/>
                    <a:gd name="connsiteY260" fmla="*/ 72390 h 1840229"/>
                    <a:gd name="connsiteX261" fmla="*/ 566738 w 1216342"/>
                    <a:gd name="connsiteY261" fmla="*/ 64770 h 1840229"/>
                    <a:gd name="connsiteX262" fmla="*/ 586740 w 1216342"/>
                    <a:gd name="connsiteY262" fmla="*/ 60007 h 1840229"/>
                    <a:gd name="connsiteX263" fmla="*/ 625792 w 1216342"/>
                    <a:gd name="connsiteY263" fmla="*/ 68580 h 1840229"/>
                    <a:gd name="connsiteX264" fmla="*/ 653415 w 1216342"/>
                    <a:gd name="connsiteY264" fmla="*/ 69532 h 1840229"/>
                    <a:gd name="connsiteX265" fmla="*/ 735330 w 1216342"/>
                    <a:gd name="connsiteY265" fmla="*/ 85725 h 1840229"/>
                    <a:gd name="connsiteX266" fmla="*/ 744855 w 1216342"/>
                    <a:gd name="connsiteY266" fmla="*/ 86677 h 1840229"/>
                    <a:gd name="connsiteX267" fmla="*/ 768667 w 1216342"/>
                    <a:gd name="connsiteY267" fmla="*/ 71438 h 1840229"/>
                    <a:gd name="connsiteX268" fmla="*/ 741045 w 1216342"/>
                    <a:gd name="connsiteY268" fmla="*/ 62865 h 1840229"/>
                    <a:gd name="connsiteX269" fmla="*/ 756285 w 1216342"/>
                    <a:gd name="connsiteY269" fmla="*/ 54292 h 1840229"/>
                    <a:gd name="connsiteX270" fmla="*/ 769620 w 1216342"/>
                    <a:gd name="connsiteY270" fmla="*/ 36195 h 1840229"/>
                    <a:gd name="connsiteX271" fmla="*/ 768667 w 1216342"/>
                    <a:gd name="connsiteY271" fmla="*/ 17145 h 1840229"/>
                    <a:gd name="connsiteX272" fmla="*/ 743902 w 1216342"/>
                    <a:gd name="connsiteY272" fmla="*/ 1905 h 1840229"/>
                    <a:gd name="connsiteX273" fmla="*/ 792480 w 1216342"/>
                    <a:gd name="connsiteY273" fmla="*/ 0 h 1840229"/>
                    <a:gd name="connsiteX274" fmla="*/ 820102 w 1216342"/>
                    <a:gd name="connsiteY274" fmla="*/ 7620 h 1840229"/>
                    <a:gd name="connsiteX275" fmla="*/ 823913 w 1216342"/>
                    <a:gd name="connsiteY275" fmla="*/ 16192 h 1840229"/>
                    <a:gd name="connsiteX276" fmla="*/ 851535 w 1216342"/>
                    <a:gd name="connsiteY276" fmla="*/ 26670 h 1840229"/>
                    <a:gd name="connsiteX277" fmla="*/ 897255 w 1216342"/>
                    <a:gd name="connsiteY277" fmla="*/ 48577 h 1840229"/>
                    <a:gd name="connsiteX278" fmla="*/ 937260 w 1216342"/>
                    <a:gd name="connsiteY278" fmla="*/ 65722 h 1840229"/>
                    <a:gd name="connsiteX279" fmla="*/ 1016317 w 1216342"/>
                    <a:gd name="connsiteY279" fmla="*/ 81915 h 1840229"/>
                    <a:gd name="connsiteX280" fmla="*/ 1049655 w 1216342"/>
                    <a:gd name="connsiteY280" fmla="*/ 99060 h 1840229"/>
                    <a:gd name="connsiteX281" fmla="*/ 1061085 w 1216342"/>
                    <a:gd name="connsiteY281" fmla="*/ 114300 h 1840229"/>
                    <a:gd name="connsiteX282" fmla="*/ 1074420 w 1216342"/>
                    <a:gd name="connsiteY282" fmla="*/ 115252 h 1840229"/>
                    <a:gd name="connsiteX283" fmla="*/ 1092517 w 1216342"/>
                    <a:gd name="connsiteY283" fmla="*/ 129540 h 1840229"/>
                    <a:gd name="connsiteX284" fmla="*/ 1109663 w 1216342"/>
                    <a:gd name="connsiteY284" fmla="*/ 138113 h 1840229"/>
                    <a:gd name="connsiteX285" fmla="*/ 1099185 w 1216342"/>
                    <a:gd name="connsiteY285" fmla="*/ 147638 h 1840229"/>
                    <a:gd name="connsiteX286" fmla="*/ 1102995 w 1216342"/>
                    <a:gd name="connsiteY286" fmla="*/ 170497 h 1840229"/>
                    <a:gd name="connsiteX287" fmla="*/ 1109663 w 1216342"/>
                    <a:gd name="connsiteY287" fmla="*/ 183832 h 1840229"/>
                    <a:gd name="connsiteX288" fmla="*/ 1106805 w 1216342"/>
                    <a:gd name="connsiteY288" fmla="*/ 201930 h 1840229"/>
                    <a:gd name="connsiteX289" fmla="*/ 1133475 w 1216342"/>
                    <a:gd name="connsiteY289" fmla="*/ 205740 h 1840229"/>
                    <a:gd name="connsiteX290" fmla="*/ 1139190 w 1216342"/>
                    <a:gd name="connsiteY290" fmla="*/ 218122 h 1840229"/>
                    <a:gd name="connsiteX291" fmla="*/ 1129665 w 1216342"/>
                    <a:gd name="connsiteY291" fmla="*/ 225742 h 1840229"/>
                    <a:gd name="connsiteX292" fmla="*/ 1128713 w 1216342"/>
                    <a:gd name="connsiteY292" fmla="*/ 236220 h 1840229"/>
                    <a:gd name="connsiteX293" fmla="*/ 1136332 w 1216342"/>
                    <a:gd name="connsiteY293" fmla="*/ 251460 h 1840229"/>
                    <a:gd name="connsiteX294" fmla="*/ 1167765 w 1216342"/>
                    <a:gd name="connsiteY294" fmla="*/ 276225 h 1840229"/>
                    <a:gd name="connsiteX295" fmla="*/ 1173480 w 1216342"/>
                    <a:gd name="connsiteY295" fmla="*/ 284797 h 1840229"/>
                    <a:gd name="connsiteX296" fmla="*/ 1166813 w 1216342"/>
                    <a:gd name="connsiteY296" fmla="*/ 298132 h 1840229"/>
                    <a:gd name="connsiteX297" fmla="*/ 1167765 w 1216342"/>
                    <a:gd name="connsiteY297" fmla="*/ 315277 h 1840229"/>
                    <a:gd name="connsiteX298" fmla="*/ 1153477 w 1216342"/>
                    <a:gd name="connsiteY298" fmla="*/ 327660 h 1840229"/>
                    <a:gd name="connsiteX299" fmla="*/ 1153477 w 1216342"/>
                    <a:gd name="connsiteY299" fmla="*/ 340042 h 1840229"/>
                    <a:gd name="connsiteX300" fmla="*/ 1165860 w 1216342"/>
                    <a:gd name="connsiteY300" fmla="*/ 364807 h 1840229"/>
                    <a:gd name="connsiteX301" fmla="*/ 1183005 w 1216342"/>
                    <a:gd name="connsiteY301" fmla="*/ 370522 h 1840229"/>
                    <a:gd name="connsiteX302" fmla="*/ 1201102 w 1216342"/>
                    <a:gd name="connsiteY302" fmla="*/ 391477 h 1840229"/>
                    <a:gd name="connsiteX303" fmla="*/ 1216342 w 1216342"/>
                    <a:gd name="connsiteY303" fmla="*/ 415290 h 184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216342" h="1840229">
                      <a:moveTo>
                        <a:pt x="616267" y="1707832"/>
                      </a:moveTo>
                      <a:lnTo>
                        <a:pt x="601980" y="1704975"/>
                      </a:lnTo>
                      <a:lnTo>
                        <a:pt x="599122" y="1668780"/>
                      </a:lnTo>
                      <a:lnTo>
                        <a:pt x="618172" y="1624965"/>
                      </a:lnTo>
                      <a:lnTo>
                        <a:pt x="627697" y="1622107"/>
                      </a:lnTo>
                      <a:lnTo>
                        <a:pt x="653415" y="1560195"/>
                      </a:lnTo>
                      <a:lnTo>
                        <a:pt x="658177" y="1579245"/>
                      </a:lnTo>
                      <a:lnTo>
                        <a:pt x="643890" y="1609725"/>
                      </a:lnTo>
                      <a:lnTo>
                        <a:pt x="641032" y="1630680"/>
                      </a:lnTo>
                      <a:lnTo>
                        <a:pt x="635317" y="1635442"/>
                      </a:lnTo>
                      <a:lnTo>
                        <a:pt x="616267" y="1707832"/>
                      </a:lnTo>
                      <a:close/>
                      <a:moveTo>
                        <a:pt x="865822" y="1491615"/>
                      </a:moveTo>
                      <a:lnTo>
                        <a:pt x="853440" y="1504950"/>
                      </a:lnTo>
                      <a:lnTo>
                        <a:pt x="840105" y="1509713"/>
                      </a:lnTo>
                      <a:lnTo>
                        <a:pt x="841057" y="1541145"/>
                      </a:lnTo>
                      <a:lnTo>
                        <a:pt x="855345" y="1552575"/>
                      </a:lnTo>
                      <a:lnTo>
                        <a:pt x="842963" y="1557338"/>
                      </a:lnTo>
                      <a:lnTo>
                        <a:pt x="836295" y="1574482"/>
                      </a:lnTo>
                      <a:lnTo>
                        <a:pt x="819150" y="1580198"/>
                      </a:lnTo>
                      <a:lnTo>
                        <a:pt x="804863" y="1595438"/>
                      </a:lnTo>
                      <a:lnTo>
                        <a:pt x="802005" y="1610678"/>
                      </a:lnTo>
                      <a:lnTo>
                        <a:pt x="782002" y="1619250"/>
                      </a:lnTo>
                      <a:lnTo>
                        <a:pt x="793432" y="1596390"/>
                      </a:lnTo>
                      <a:lnTo>
                        <a:pt x="784860" y="1589723"/>
                      </a:lnTo>
                      <a:lnTo>
                        <a:pt x="771525" y="1569720"/>
                      </a:lnTo>
                      <a:lnTo>
                        <a:pt x="775335" y="1561148"/>
                      </a:lnTo>
                      <a:lnTo>
                        <a:pt x="769620" y="1530667"/>
                      </a:lnTo>
                      <a:lnTo>
                        <a:pt x="795338" y="1503045"/>
                      </a:lnTo>
                      <a:lnTo>
                        <a:pt x="807720" y="1492567"/>
                      </a:lnTo>
                      <a:lnTo>
                        <a:pt x="839152" y="1483042"/>
                      </a:lnTo>
                      <a:lnTo>
                        <a:pt x="851535" y="1483042"/>
                      </a:lnTo>
                      <a:lnTo>
                        <a:pt x="865822" y="1491615"/>
                      </a:lnTo>
                      <a:close/>
                      <a:moveTo>
                        <a:pt x="1216342" y="415290"/>
                      </a:moveTo>
                      <a:lnTo>
                        <a:pt x="1190625" y="418147"/>
                      </a:lnTo>
                      <a:lnTo>
                        <a:pt x="1169670" y="412432"/>
                      </a:lnTo>
                      <a:lnTo>
                        <a:pt x="1160145" y="415290"/>
                      </a:lnTo>
                      <a:lnTo>
                        <a:pt x="1123950" y="418147"/>
                      </a:lnTo>
                      <a:lnTo>
                        <a:pt x="1113472" y="424815"/>
                      </a:lnTo>
                      <a:lnTo>
                        <a:pt x="1093470" y="418147"/>
                      </a:lnTo>
                      <a:lnTo>
                        <a:pt x="1074420" y="406717"/>
                      </a:lnTo>
                      <a:lnTo>
                        <a:pt x="1055370" y="417195"/>
                      </a:lnTo>
                      <a:lnTo>
                        <a:pt x="1040130" y="407670"/>
                      </a:lnTo>
                      <a:lnTo>
                        <a:pt x="1030605" y="425767"/>
                      </a:lnTo>
                      <a:lnTo>
                        <a:pt x="1031557" y="442913"/>
                      </a:lnTo>
                      <a:lnTo>
                        <a:pt x="1014413" y="441007"/>
                      </a:lnTo>
                      <a:lnTo>
                        <a:pt x="1017270" y="451485"/>
                      </a:lnTo>
                      <a:lnTo>
                        <a:pt x="998220" y="465772"/>
                      </a:lnTo>
                      <a:lnTo>
                        <a:pt x="967740" y="467677"/>
                      </a:lnTo>
                      <a:lnTo>
                        <a:pt x="974407" y="481965"/>
                      </a:lnTo>
                      <a:lnTo>
                        <a:pt x="965835" y="488632"/>
                      </a:lnTo>
                      <a:lnTo>
                        <a:pt x="975360" y="504825"/>
                      </a:lnTo>
                      <a:lnTo>
                        <a:pt x="962977" y="519113"/>
                      </a:lnTo>
                      <a:lnTo>
                        <a:pt x="942975" y="537210"/>
                      </a:lnTo>
                      <a:lnTo>
                        <a:pt x="938213" y="546735"/>
                      </a:lnTo>
                      <a:lnTo>
                        <a:pt x="954405" y="557213"/>
                      </a:lnTo>
                      <a:lnTo>
                        <a:pt x="969645" y="581025"/>
                      </a:lnTo>
                      <a:lnTo>
                        <a:pt x="984885" y="591502"/>
                      </a:lnTo>
                      <a:lnTo>
                        <a:pt x="981075" y="602932"/>
                      </a:lnTo>
                      <a:lnTo>
                        <a:pt x="961072" y="613410"/>
                      </a:lnTo>
                      <a:lnTo>
                        <a:pt x="940117" y="629602"/>
                      </a:lnTo>
                      <a:lnTo>
                        <a:pt x="921067" y="670560"/>
                      </a:lnTo>
                      <a:lnTo>
                        <a:pt x="891540" y="682943"/>
                      </a:lnTo>
                      <a:lnTo>
                        <a:pt x="868680" y="698182"/>
                      </a:lnTo>
                      <a:lnTo>
                        <a:pt x="840105" y="704850"/>
                      </a:lnTo>
                      <a:lnTo>
                        <a:pt x="817245" y="725805"/>
                      </a:lnTo>
                      <a:lnTo>
                        <a:pt x="800100" y="718185"/>
                      </a:lnTo>
                      <a:lnTo>
                        <a:pt x="785813" y="722947"/>
                      </a:lnTo>
                      <a:lnTo>
                        <a:pt x="776288" y="740093"/>
                      </a:lnTo>
                      <a:lnTo>
                        <a:pt x="758190" y="754380"/>
                      </a:lnTo>
                      <a:lnTo>
                        <a:pt x="735330" y="752475"/>
                      </a:lnTo>
                      <a:lnTo>
                        <a:pt x="737235" y="760095"/>
                      </a:lnTo>
                      <a:lnTo>
                        <a:pt x="715327" y="762952"/>
                      </a:lnTo>
                      <a:lnTo>
                        <a:pt x="705802" y="801052"/>
                      </a:lnTo>
                      <a:lnTo>
                        <a:pt x="684847" y="806768"/>
                      </a:lnTo>
                      <a:lnTo>
                        <a:pt x="678180" y="814388"/>
                      </a:lnTo>
                      <a:lnTo>
                        <a:pt x="669607" y="808672"/>
                      </a:lnTo>
                      <a:lnTo>
                        <a:pt x="649605" y="809625"/>
                      </a:lnTo>
                      <a:lnTo>
                        <a:pt x="664845" y="836295"/>
                      </a:lnTo>
                      <a:lnTo>
                        <a:pt x="648652" y="853440"/>
                      </a:lnTo>
                      <a:lnTo>
                        <a:pt x="637222" y="853440"/>
                      </a:lnTo>
                      <a:lnTo>
                        <a:pt x="622935" y="860107"/>
                      </a:lnTo>
                      <a:lnTo>
                        <a:pt x="604838" y="852488"/>
                      </a:lnTo>
                      <a:lnTo>
                        <a:pt x="602932" y="863918"/>
                      </a:lnTo>
                      <a:lnTo>
                        <a:pt x="610552" y="876300"/>
                      </a:lnTo>
                      <a:lnTo>
                        <a:pt x="622935" y="885825"/>
                      </a:lnTo>
                      <a:lnTo>
                        <a:pt x="621982" y="898207"/>
                      </a:lnTo>
                      <a:lnTo>
                        <a:pt x="613410" y="939165"/>
                      </a:lnTo>
                      <a:lnTo>
                        <a:pt x="620077" y="956310"/>
                      </a:lnTo>
                      <a:lnTo>
                        <a:pt x="600075" y="967740"/>
                      </a:lnTo>
                      <a:lnTo>
                        <a:pt x="592455" y="978218"/>
                      </a:lnTo>
                      <a:lnTo>
                        <a:pt x="598170" y="994410"/>
                      </a:lnTo>
                      <a:lnTo>
                        <a:pt x="597217" y="1004888"/>
                      </a:lnTo>
                      <a:lnTo>
                        <a:pt x="603885" y="1022985"/>
                      </a:lnTo>
                      <a:lnTo>
                        <a:pt x="611505" y="1062990"/>
                      </a:lnTo>
                      <a:lnTo>
                        <a:pt x="621982" y="1082040"/>
                      </a:lnTo>
                      <a:lnTo>
                        <a:pt x="621030" y="1097280"/>
                      </a:lnTo>
                      <a:lnTo>
                        <a:pt x="633413" y="1105853"/>
                      </a:lnTo>
                      <a:lnTo>
                        <a:pt x="653415" y="1104900"/>
                      </a:lnTo>
                      <a:lnTo>
                        <a:pt x="666750" y="1120140"/>
                      </a:lnTo>
                      <a:lnTo>
                        <a:pt x="696277" y="1112520"/>
                      </a:lnTo>
                      <a:lnTo>
                        <a:pt x="703897" y="1122998"/>
                      </a:lnTo>
                      <a:lnTo>
                        <a:pt x="731520" y="1143953"/>
                      </a:lnTo>
                      <a:lnTo>
                        <a:pt x="747713" y="1146810"/>
                      </a:lnTo>
                      <a:lnTo>
                        <a:pt x="765810" y="1158240"/>
                      </a:lnTo>
                      <a:lnTo>
                        <a:pt x="765810" y="1172528"/>
                      </a:lnTo>
                      <a:lnTo>
                        <a:pt x="793432" y="1182053"/>
                      </a:lnTo>
                      <a:lnTo>
                        <a:pt x="811530" y="1201103"/>
                      </a:lnTo>
                      <a:lnTo>
                        <a:pt x="819150" y="1216342"/>
                      </a:lnTo>
                      <a:lnTo>
                        <a:pt x="818197" y="1225867"/>
                      </a:lnTo>
                      <a:lnTo>
                        <a:pt x="793432" y="1240155"/>
                      </a:lnTo>
                      <a:lnTo>
                        <a:pt x="781050" y="1252538"/>
                      </a:lnTo>
                      <a:lnTo>
                        <a:pt x="744855" y="1272540"/>
                      </a:lnTo>
                      <a:lnTo>
                        <a:pt x="739140" y="1271588"/>
                      </a:lnTo>
                      <a:lnTo>
                        <a:pt x="719138" y="1281113"/>
                      </a:lnTo>
                      <a:lnTo>
                        <a:pt x="738188" y="1286828"/>
                      </a:lnTo>
                      <a:lnTo>
                        <a:pt x="751522" y="1280160"/>
                      </a:lnTo>
                      <a:lnTo>
                        <a:pt x="776288" y="1274445"/>
                      </a:lnTo>
                      <a:lnTo>
                        <a:pt x="789622" y="1285875"/>
                      </a:lnTo>
                      <a:lnTo>
                        <a:pt x="768667" y="1290638"/>
                      </a:lnTo>
                      <a:lnTo>
                        <a:pt x="765810" y="1305878"/>
                      </a:lnTo>
                      <a:lnTo>
                        <a:pt x="758190" y="1315403"/>
                      </a:lnTo>
                      <a:lnTo>
                        <a:pt x="739140" y="1322070"/>
                      </a:lnTo>
                      <a:lnTo>
                        <a:pt x="712470" y="1336357"/>
                      </a:lnTo>
                      <a:lnTo>
                        <a:pt x="674370" y="1349692"/>
                      </a:lnTo>
                      <a:lnTo>
                        <a:pt x="663892" y="1361123"/>
                      </a:lnTo>
                      <a:lnTo>
                        <a:pt x="639127" y="1370648"/>
                      </a:lnTo>
                      <a:lnTo>
                        <a:pt x="626745" y="1378267"/>
                      </a:lnTo>
                      <a:lnTo>
                        <a:pt x="590550" y="1378267"/>
                      </a:lnTo>
                      <a:lnTo>
                        <a:pt x="555307" y="1377315"/>
                      </a:lnTo>
                      <a:lnTo>
                        <a:pt x="564832" y="1385888"/>
                      </a:lnTo>
                      <a:lnTo>
                        <a:pt x="573405" y="1383982"/>
                      </a:lnTo>
                      <a:lnTo>
                        <a:pt x="607695" y="1387792"/>
                      </a:lnTo>
                      <a:lnTo>
                        <a:pt x="623888" y="1400175"/>
                      </a:lnTo>
                      <a:lnTo>
                        <a:pt x="595313" y="1408748"/>
                      </a:lnTo>
                      <a:lnTo>
                        <a:pt x="611505" y="1439228"/>
                      </a:lnTo>
                      <a:lnTo>
                        <a:pt x="604838" y="1446848"/>
                      </a:lnTo>
                      <a:lnTo>
                        <a:pt x="608647" y="1480185"/>
                      </a:lnTo>
                      <a:lnTo>
                        <a:pt x="598170" y="1481138"/>
                      </a:lnTo>
                      <a:lnTo>
                        <a:pt x="595313" y="1494473"/>
                      </a:lnTo>
                      <a:lnTo>
                        <a:pt x="601027" y="1518285"/>
                      </a:lnTo>
                      <a:lnTo>
                        <a:pt x="610552" y="1538288"/>
                      </a:lnTo>
                      <a:lnTo>
                        <a:pt x="609600" y="1547813"/>
                      </a:lnTo>
                      <a:lnTo>
                        <a:pt x="595313" y="1570673"/>
                      </a:lnTo>
                      <a:lnTo>
                        <a:pt x="603885" y="1598295"/>
                      </a:lnTo>
                      <a:lnTo>
                        <a:pt x="589597" y="1648778"/>
                      </a:lnTo>
                      <a:lnTo>
                        <a:pt x="571500" y="1678305"/>
                      </a:lnTo>
                      <a:lnTo>
                        <a:pt x="559117" y="1717357"/>
                      </a:lnTo>
                      <a:lnTo>
                        <a:pt x="541972" y="1730692"/>
                      </a:lnTo>
                      <a:lnTo>
                        <a:pt x="519113" y="1722120"/>
                      </a:lnTo>
                      <a:lnTo>
                        <a:pt x="486727" y="1726882"/>
                      </a:lnTo>
                      <a:lnTo>
                        <a:pt x="456247" y="1724025"/>
                      </a:lnTo>
                      <a:lnTo>
                        <a:pt x="427672" y="1725930"/>
                      </a:lnTo>
                      <a:lnTo>
                        <a:pt x="420052" y="1729740"/>
                      </a:lnTo>
                      <a:lnTo>
                        <a:pt x="426720" y="1743075"/>
                      </a:lnTo>
                      <a:lnTo>
                        <a:pt x="404813" y="1741170"/>
                      </a:lnTo>
                      <a:lnTo>
                        <a:pt x="388620" y="1751648"/>
                      </a:lnTo>
                      <a:lnTo>
                        <a:pt x="369570" y="1771650"/>
                      </a:lnTo>
                      <a:lnTo>
                        <a:pt x="369570" y="1785938"/>
                      </a:lnTo>
                      <a:lnTo>
                        <a:pt x="387667" y="1814513"/>
                      </a:lnTo>
                      <a:lnTo>
                        <a:pt x="371475" y="1833563"/>
                      </a:lnTo>
                      <a:lnTo>
                        <a:pt x="360997" y="1833563"/>
                      </a:lnTo>
                      <a:lnTo>
                        <a:pt x="330517" y="1828800"/>
                      </a:lnTo>
                      <a:lnTo>
                        <a:pt x="278130" y="1840230"/>
                      </a:lnTo>
                      <a:lnTo>
                        <a:pt x="229552" y="1830705"/>
                      </a:lnTo>
                      <a:lnTo>
                        <a:pt x="234315" y="1821180"/>
                      </a:lnTo>
                      <a:lnTo>
                        <a:pt x="236220" y="1791653"/>
                      </a:lnTo>
                      <a:lnTo>
                        <a:pt x="230505" y="1775460"/>
                      </a:lnTo>
                      <a:lnTo>
                        <a:pt x="218122" y="1764982"/>
                      </a:lnTo>
                      <a:lnTo>
                        <a:pt x="188595" y="1728788"/>
                      </a:lnTo>
                      <a:lnTo>
                        <a:pt x="177165" y="1706880"/>
                      </a:lnTo>
                      <a:lnTo>
                        <a:pt x="200025" y="1715453"/>
                      </a:lnTo>
                      <a:lnTo>
                        <a:pt x="209550" y="1710690"/>
                      </a:lnTo>
                      <a:lnTo>
                        <a:pt x="192405" y="1685925"/>
                      </a:lnTo>
                      <a:lnTo>
                        <a:pt x="213360" y="1684973"/>
                      </a:lnTo>
                      <a:lnTo>
                        <a:pt x="220027" y="1675448"/>
                      </a:lnTo>
                      <a:lnTo>
                        <a:pt x="214313" y="1661160"/>
                      </a:lnTo>
                      <a:lnTo>
                        <a:pt x="196215" y="1655445"/>
                      </a:lnTo>
                      <a:lnTo>
                        <a:pt x="178117" y="1632585"/>
                      </a:lnTo>
                      <a:lnTo>
                        <a:pt x="160972" y="1621155"/>
                      </a:lnTo>
                      <a:lnTo>
                        <a:pt x="127635" y="1576388"/>
                      </a:lnTo>
                      <a:lnTo>
                        <a:pt x="115252" y="1545907"/>
                      </a:lnTo>
                      <a:lnTo>
                        <a:pt x="104775" y="1548765"/>
                      </a:lnTo>
                      <a:lnTo>
                        <a:pt x="93345" y="1513523"/>
                      </a:lnTo>
                      <a:lnTo>
                        <a:pt x="77152" y="1507807"/>
                      </a:lnTo>
                      <a:lnTo>
                        <a:pt x="71438" y="1472565"/>
                      </a:lnTo>
                      <a:lnTo>
                        <a:pt x="54292" y="1468755"/>
                      </a:lnTo>
                      <a:lnTo>
                        <a:pt x="41910" y="1452563"/>
                      </a:lnTo>
                      <a:lnTo>
                        <a:pt x="38100" y="1422082"/>
                      </a:lnTo>
                      <a:lnTo>
                        <a:pt x="26670" y="1416367"/>
                      </a:lnTo>
                      <a:lnTo>
                        <a:pt x="19050" y="1403032"/>
                      </a:lnTo>
                      <a:lnTo>
                        <a:pt x="11430" y="1374457"/>
                      </a:lnTo>
                      <a:lnTo>
                        <a:pt x="8572" y="1348740"/>
                      </a:lnTo>
                      <a:lnTo>
                        <a:pt x="0" y="1331595"/>
                      </a:lnTo>
                      <a:lnTo>
                        <a:pt x="4763" y="1320165"/>
                      </a:lnTo>
                      <a:lnTo>
                        <a:pt x="15240" y="1318260"/>
                      </a:lnTo>
                      <a:lnTo>
                        <a:pt x="25717" y="1325880"/>
                      </a:lnTo>
                      <a:lnTo>
                        <a:pt x="35242" y="1343025"/>
                      </a:lnTo>
                      <a:lnTo>
                        <a:pt x="53340" y="1341120"/>
                      </a:lnTo>
                      <a:lnTo>
                        <a:pt x="60007" y="1327785"/>
                      </a:lnTo>
                      <a:lnTo>
                        <a:pt x="65722" y="1290638"/>
                      </a:lnTo>
                      <a:lnTo>
                        <a:pt x="50482" y="1248728"/>
                      </a:lnTo>
                      <a:lnTo>
                        <a:pt x="64770" y="1234440"/>
                      </a:lnTo>
                      <a:lnTo>
                        <a:pt x="73342" y="1211580"/>
                      </a:lnTo>
                      <a:lnTo>
                        <a:pt x="98107" y="1204913"/>
                      </a:lnTo>
                      <a:lnTo>
                        <a:pt x="110490" y="1197292"/>
                      </a:lnTo>
                      <a:lnTo>
                        <a:pt x="128588" y="1178242"/>
                      </a:lnTo>
                      <a:lnTo>
                        <a:pt x="129540" y="1151573"/>
                      </a:lnTo>
                      <a:lnTo>
                        <a:pt x="135255" y="1131570"/>
                      </a:lnTo>
                      <a:lnTo>
                        <a:pt x="130492" y="1118235"/>
                      </a:lnTo>
                      <a:lnTo>
                        <a:pt x="100965" y="1071563"/>
                      </a:lnTo>
                      <a:lnTo>
                        <a:pt x="98107" y="1056323"/>
                      </a:lnTo>
                      <a:lnTo>
                        <a:pt x="115252" y="1050607"/>
                      </a:lnTo>
                      <a:lnTo>
                        <a:pt x="138113" y="1050607"/>
                      </a:lnTo>
                      <a:lnTo>
                        <a:pt x="150495" y="1026795"/>
                      </a:lnTo>
                      <a:lnTo>
                        <a:pt x="154305" y="1008697"/>
                      </a:lnTo>
                      <a:lnTo>
                        <a:pt x="121920" y="982980"/>
                      </a:lnTo>
                      <a:lnTo>
                        <a:pt x="110490" y="979170"/>
                      </a:lnTo>
                      <a:lnTo>
                        <a:pt x="74295" y="959168"/>
                      </a:lnTo>
                      <a:lnTo>
                        <a:pt x="82867" y="898207"/>
                      </a:lnTo>
                      <a:lnTo>
                        <a:pt x="82867" y="882968"/>
                      </a:lnTo>
                      <a:lnTo>
                        <a:pt x="59055" y="841057"/>
                      </a:lnTo>
                      <a:lnTo>
                        <a:pt x="60007" y="823913"/>
                      </a:lnTo>
                      <a:lnTo>
                        <a:pt x="54292" y="797243"/>
                      </a:lnTo>
                      <a:lnTo>
                        <a:pt x="64770" y="786765"/>
                      </a:lnTo>
                      <a:lnTo>
                        <a:pt x="39052" y="747713"/>
                      </a:lnTo>
                      <a:lnTo>
                        <a:pt x="58102" y="721043"/>
                      </a:lnTo>
                      <a:lnTo>
                        <a:pt x="53340" y="706755"/>
                      </a:lnTo>
                      <a:lnTo>
                        <a:pt x="64770" y="697230"/>
                      </a:lnTo>
                      <a:lnTo>
                        <a:pt x="98107" y="661035"/>
                      </a:lnTo>
                      <a:lnTo>
                        <a:pt x="129540" y="646747"/>
                      </a:lnTo>
                      <a:lnTo>
                        <a:pt x="160972" y="642938"/>
                      </a:lnTo>
                      <a:lnTo>
                        <a:pt x="228600" y="651510"/>
                      </a:lnTo>
                      <a:lnTo>
                        <a:pt x="244792" y="630555"/>
                      </a:lnTo>
                      <a:lnTo>
                        <a:pt x="243840" y="619125"/>
                      </a:lnTo>
                      <a:lnTo>
                        <a:pt x="233363" y="591502"/>
                      </a:lnTo>
                      <a:lnTo>
                        <a:pt x="188595" y="576263"/>
                      </a:lnTo>
                      <a:lnTo>
                        <a:pt x="230505" y="528638"/>
                      </a:lnTo>
                      <a:lnTo>
                        <a:pt x="261938" y="481013"/>
                      </a:lnTo>
                      <a:lnTo>
                        <a:pt x="262890" y="436245"/>
                      </a:lnTo>
                      <a:lnTo>
                        <a:pt x="268605" y="410527"/>
                      </a:lnTo>
                      <a:lnTo>
                        <a:pt x="255270" y="373380"/>
                      </a:lnTo>
                      <a:lnTo>
                        <a:pt x="291465" y="369570"/>
                      </a:lnTo>
                      <a:lnTo>
                        <a:pt x="314325" y="364807"/>
                      </a:lnTo>
                      <a:lnTo>
                        <a:pt x="345757" y="350520"/>
                      </a:lnTo>
                      <a:lnTo>
                        <a:pt x="336232" y="326707"/>
                      </a:lnTo>
                      <a:lnTo>
                        <a:pt x="348615" y="318135"/>
                      </a:lnTo>
                      <a:lnTo>
                        <a:pt x="377190" y="290513"/>
                      </a:lnTo>
                      <a:lnTo>
                        <a:pt x="408622" y="262890"/>
                      </a:lnTo>
                      <a:lnTo>
                        <a:pt x="422910" y="253365"/>
                      </a:lnTo>
                      <a:lnTo>
                        <a:pt x="424815" y="240030"/>
                      </a:lnTo>
                      <a:lnTo>
                        <a:pt x="415290" y="227647"/>
                      </a:lnTo>
                      <a:lnTo>
                        <a:pt x="389572" y="205740"/>
                      </a:lnTo>
                      <a:lnTo>
                        <a:pt x="394335" y="195263"/>
                      </a:lnTo>
                      <a:lnTo>
                        <a:pt x="420052" y="189547"/>
                      </a:lnTo>
                      <a:lnTo>
                        <a:pt x="430530" y="179070"/>
                      </a:lnTo>
                      <a:lnTo>
                        <a:pt x="444817" y="145732"/>
                      </a:lnTo>
                      <a:lnTo>
                        <a:pt x="480060" y="127635"/>
                      </a:lnTo>
                      <a:lnTo>
                        <a:pt x="494347" y="119063"/>
                      </a:lnTo>
                      <a:lnTo>
                        <a:pt x="554355" y="136207"/>
                      </a:lnTo>
                      <a:lnTo>
                        <a:pt x="574357" y="106680"/>
                      </a:lnTo>
                      <a:lnTo>
                        <a:pt x="566738" y="72390"/>
                      </a:lnTo>
                      <a:lnTo>
                        <a:pt x="566738" y="64770"/>
                      </a:lnTo>
                      <a:lnTo>
                        <a:pt x="586740" y="60007"/>
                      </a:lnTo>
                      <a:lnTo>
                        <a:pt x="625792" y="68580"/>
                      </a:lnTo>
                      <a:lnTo>
                        <a:pt x="653415" y="69532"/>
                      </a:lnTo>
                      <a:lnTo>
                        <a:pt x="735330" y="85725"/>
                      </a:lnTo>
                      <a:lnTo>
                        <a:pt x="744855" y="86677"/>
                      </a:lnTo>
                      <a:lnTo>
                        <a:pt x="768667" y="71438"/>
                      </a:lnTo>
                      <a:lnTo>
                        <a:pt x="741045" y="62865"/>
                      </a:lnTo>
                      <a:lnTo>
                        <a:pt x="756285" y="54292"/>
                      </a:lnTo>
                      <a:lnTo>
                        <a:pt x="769620" y="36195"/>
                      </a:lnTo>
                      <a:lnTo>
                        <a:pt x="768667" y="17145"/>
                      </a:lnTo>
                      <a:lnTo>
                        <a:pt x="743902" y="1905"/>
                      </a:lnTo>
                      <a:lnTo>
                        <a:pt x="792480" y="0"/>
                      </a:lnTo>
                      <a:lnTo>
                        <a:pt x="820102" y="7620"/>
                      </a:lnTo>
                      <a:lnTo>
                        <a:pt x="823913" y="16192"/>
                      </a:lnTo>
                      <a:lnTo>
                        <a:pt x="851535" y="26670"/>
                      </a:lnTo>
                      <a:lnTo>
                        <a:pt x="897255" y="48577"/>
                      </a:lnTo>
                      <a:lnTo>
                        <a:pt x="937260" y="65722"/>
                      </a:lnTo>
                      <a:lnTo>
                        <a:pt x="1016317" y="81915"/>
                      </a:lnTo>
                      <a:lnTo>
                        <a:pt x="1049655" y="99060"/>
                      </a:lnTo>
                      <a:lnTo>
                        <a:pt x="1061085" y="114300"/>
                      </a:lnTo>
                      <a:lnTo>
                        <a:pt x="1074420" y="115252"/>
                      </a:lnTo>
                      <a:lnTo>
                        <a:pt x="1092517" y="129540"/>
                      </a:lnTo>
                      <a:lnTo>
                        <a:pt x="1109663" y="138113"/>
                      </a:lnTo>
                      <a:lnTo>
                        <a:pt x="1099185" y="147638"/>
                      </a:lnTo>
                      <a:lnTo>
                        <a:pt x="1102995" y="170497"/>
                      </a:lnTo>
                      <a:lnTo>
                        <a:pt x="1109663" y="183832"/>
                      </a:lnTo>
                      <a:lnTo>
                        <a:pt x="1106805" y="201930"/>
                      </a:lnTo>
                      <a:lnTo>
                        <a:pt x="1133475" y="205740"/>
                      </a:lnTo>
                      <a:lnTo>
                        <a:pt x="1139190" y="218122"/>
                      </a:lnTo>
                      <a:lnTo>
                        <a:pt x="1129665" y="225742"/>
                      </a:lnTo>
                      <a:lnTo>
                        <a:pt x="1128713" y="236220"/>
                      </a:lnTo>
                      <a:lnTo>
                        <a:pt x="1136332" y="251460"/>
                      </a:lnTo>
                      <a:lnTo>
                        <a:pt x="1167765" y="276225"/>
                      </a:lnTo>
                      <a:lnTo>
                        <a:pt x="1173480" y="284797"/>
                      </a:lnTo>
                      <a:lnTo>
                        <a:pt x="1166813" y="298132"/>
                      </a:lnTo>
                      <a:lnTo>
                        <a:pt x="1167765" y="315277"/>
                      </a:lnTo>
                      <a:lnTo>
                        <a:pt x="1153477" y="327660"/>
                      </a:lnTo>
                      <a:lnTo>
                        <a:pt x="1153477" y="340042"/>
                      </a:lnTo>
                      <a:lnTo>
                        <a:pt x="1165860" y="364807"/>
                      </a:lnTo>
                      <a:lnTo>
                        <a:pt x="1183005" y="370522"/>
                      </a:lnTo>
                      <a:lnTo>
                        <a:pt x="1201102" y="391477"/>
                      </a:lnTo>
                      <a:lnTo>
                        <a:pt x="1216342" y="41529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7" name="Turkey" descr="{&quot;Key&quot;:&quot;turkey&quot;,&quot;Name&quot;:&quot;Turkey&quot;,&quot;Value&quot;:1.0,&quot;Formula&quot;:&quot;&quot;,&quot;Text&quot;:&quot;&quot;,&quot;OfficeApplication&quot;:1,&quot;HasValue&quot;:true}">
                  <a:extLst>
                    <a:ext uri="{FF2B5EF4-FFF2-40B4-BE49-F238E27FC236}">
                      <a16:creationId xmlns:a16="http://schemas.microsoft.com/office/drawing/2014/main" id="{19F837EB-8682-FEEC-0D5B-C4703A4036D8}"/>
                    </a:ext>
                  </a:extLst>
                </p:cNvPr>
                <p:cNvSpPr/>
                <p:nvPr/>
              </p:nvSpPr>
              <p:spPr>
                <a:xfrm>
                  <a:off x="8290560" y="5297262"/>
                  <a:ext cx="2391727" cy="929639"/>
                </a:xfrm>
                <a:custGeom>
                  <a:avLst/>
                  <a:gdLst>
                    <a:gd name="connsiteX0" fmla="*/ 28575 w 2391727"/>
                    <a:gd name="connsiteY0" fmla="*/ 288607 h 929639"/>
                    <a:gd name="connsiteX1" fmla="*/ 952 w 2391727"/>
                    <a:gd name="connsiteY1" fmla="*/ 293370 h 929639"/>
                    <a:gd name="connsiteX2" fmla="*/ 0 w 2391727"/>
                    <a:gd name="connsiteY2" fmla="*/ 279082 h 929639"/>
                    <a:gd name="connsiteX3" fmla="*/ 20955 w 2391727"/>
                    <a:gd name="connsiteY3" fmla="*/ 273367 h 929639"/>
                    <a:gd name="connsiteX4" fmla="*/ 28575 w 2391727"/>
                    <a:gd name="connsiteY4" fmla="*/ 288607 h 929639"/>
                    <a:gd name="connsiteX5" fmla="*/ 1881188 w 2391727"/>
                    <a:gd name="connsiteY5" fmla="*/ 83820 h 929639"/>
                    <a:gd name="connsiteX6" fmla="*/ 1922145 w 2391727"/>
                    <a:gd name="connsiteY6" fmla="*/ 96202 h 929639"/>
                    <a:gd name="connsiteX7" fmla="*/ 1932622 w 2391727"/>
                    <a:gd name="connsiteY7" fmla="*/ 86677 h 929639"/>
                    <a:gd name="connsiteX8" fmla="*/ 1966913 w 2391727"/>
                    <a:gd name="connsiteY8" fmla="*/ 87630 h 929639"/>
                    <a:gd name="connsiteX9" fmla="*/ 1999297 w 2391727"/>
                    <a:gd name="connsiteY9" fmla="*/ 95250 h 929639"/>
                    <a:gd name="connsiteX10" fmla="*/ 2007870 w 2391727"/>
                    <a:gd name="connsiteY10" fmla="*/ 77152 h 929639"/>
                    <a:gd name="connsiteX11" fmla="*/ 2021205 w 2391727"/>
                    <a:gd name="connsiteY11" fmla="*/ 73342 h 929639"/>
                    <a:gd name="connsiteX12" fmla="*/ 2034540 w 2391727"/>
                    <a:gd name="connsiteY12" fmla="*/ 76200 h 929639"/>
                    <a:gd name="connsiteX13" fmla="*/ 2040255 w 2391727"/>
                    <a:gd name="connsiteY13" fmla="*/ 86677 h 929639"/>
                    <a:gd name="connsiteX14" fmla="*/ 2051685 w 2391727"/>
                    <a:gd name="connsiteY14" fmla="*/ 90488 h 929639"/>
                    <a:gd name="connsiteX15" fmla="*/ 2085022 w 2391727"/>
                    <a:gd name="connsiteY15" fmla="*/ 114300 h 929639"/>
                    <a:gd name="connsiteX16" fmla="*/ 2095500 w 2391727"/>
                    <a:gd name="connsiteY16" fmla="*/ 130492 h 929639"/>
                    <a:gd name="connsiteX17" fmla="*/ 2113597 w 2391727"/>
                    <a:gd name="connsiteY17" fmla="*/ 132397 h 929639"/>
                    <a:gd name="connsiteX18" fmla="*/ 2125980 w 2391727"/>
                    <a:gd name="connsiteY18" fmla="*/ 143827 h 929639"/>
                    <a:gd name="connsiteX19" fmla="*/ 2138363 w 2391727"/>
                    <a:gd name="connsiteY19" fmla="*/ 159067 h 929639"/>
                    <a:gd name="connsiteX20" fmla="*/ 2154555 w 2391727"/>
                    <a:gd name="connsiteY20" fmla="*/ 170497 h 929639"/>
                    <a:gd name="connsiteX21" fmla="*/ 2170747 w 2391727"/>
                    <a:gd name="connsiteY21" fmla="*/ 201930 h 929639"/>
                    <a:gd name="connsiteX22" fmla="*/ 2168842 w 2391727"/>
                    <a:gd name="connsiteY22" fmla="*/ 223838 h 929639"/>
                    <a:gd name="connsiteX23" fmla="*/ 2159317 w 2391727"/>
                    <a:gd name="connsiteY23" fmla="*/ 237172 h 929639"/>
                    <a:gd name="connsiteX24" fmla="*/ 2166938 w 2391727"/>
                    <a:gd name="connsiteY24" fmla="*/ 255270 h 929639"/>
                    <a:gd name="connsiteX25" fmla="*/ 2185035 w 2391727"/>
                    <a:gd name="connsiteY25" fmla="*/ 283845 h 929639"/>
                    <a:gd name="connsiteX26" fmla="*/ 2180272 w 2391727"/>
                    <a:gd name="connsiteY26" fmla="*/ 289560 h 929639"/>
                    <a:gd name="connsiteX27" fmla="*/ 2197417 w 2391727"/>
                    <a:gd name="connsiteY27" fmla="*/ 298132 h 929639"/>
                    <a:gd name="connsiteX28" fmla="*/ 2225040 w 2391727"/>
                    <a:gd name="connsiteY28" fmla="*/ 306705 h 929639"/>
                    <a:gd name="connsiteX29" fmla="*/ 2258377 w 2391727"/>
                    <a:gd name="connsiteY29" fmla="*/ 302895 h 929639"/>
                    <a:gd name="connsiteX30" fmla="*/ 2273617 w 2391727"/>
                    <a:gd name="connsiteY30" fmla="*/ 309563 h 929639"/>
                    <a:gd name="connsiteX31" fmla="*/ 2295525 w 2391727"/>
                    <a:gd name="connsiteY31" fmla="*/ 325755 h 929639"/>
                    <a:gd name="connsiteX32" fmla="*/ 2326005 w 2391727"/>
                    <a:gd name="connsiteY32" fmla="*/ 352425 h 929639"/>
                    <a:gd name="connsiteX33" fmla="*/ 2333625 w 2391727"/>
                    <a:gd name="connsiteY33" fmla="*/ 360997 h 929639"/>
                    <a:gd name="connsiteX34" fmla="*/ 2302192 w 2391727"/>
                    <a:gd name="connsiteY34" fmla="*/ 342900 h 929639"/>
                    <a:gd name="connsiteX35" fmla="*/ 2288858 w 2391727"/>
                    <a:gd name="connsiteY35" fmla="*/ 358140 h 929639"/>
                    <a:gd name="connsiteX36" fmla="*/ 2287905 w 2391727"/>
                    <a:gd name="connsiteY36" fmla="*/ 394335 h 929639"/>
                    <a:gd name="connsiteX37" fmla="*/ 2282190 w 2391727"/>
                    <a:gd name="connsiteY37" fmla="*/ 398145 h 929639"/>
                    <a:gd name="connsiteX38" fmla="*/ 2255520 w 2391727"/>
                    <a:gd name="connsiteY38" fmla="*/ 397192 h 929639"/>
                    <a:gd name="connsiteX39" fmla="*/ 2244090 w 2391727"/>
                    <a:gd name="connsiteY39" fmla="*/ 401002 h 929639"/>
                    <a:gd name="connsiteX40" fmla="*/ 2255520 w 2391727"/>
                    <a:gd name="connsiteY40" fmla="*/ 424815 h 929639"/>
                    <a:gd name="connsiteX41" fmla="*/ 2268855 w 2391727"/>
                    <a:gd name="connsiteY41" fmla="*/ 436245 h 929639"/>
                    <a:gd name="connsiteX42" fmla="*/ 2268855 w 2391727"/>
                    <a:gd name="connsiteY42" fmla="*/ 458152 h 929639"/>
                    <a:gd name="connsiteX43" fmla="*/ 2288858 w 2391727"/>
                    <a:gd name="connsiteY43" fmla="*/ 481965 h 929639"/>
                    <a:gd name="connsiteX44" fmla="*/ 2290763 w 2391727"/>
                    <a:gd name="connsiteY44" fmla="*/ 501967 h 929639"/>
                    <a:gd name="connsiteX45" fmla="*/ 2299335 w 2391727"/>
                    <a:gd name="connsiteY45" fmla="*/ 522922 h 929639"/>
                    <a:gd name="connsiteX46" fmla="*/ 2302192 w 2391727"/>
                    <a:gd name="connsiteY46" fmla="*/ 543877 h 929639"/>
                    <a:gd name="connsiteX47" fmla="*/ 2306955 w 2391727"/>
                    <a:gd name="connsiteY47" fmla="*/ 550545 h 929639"/>
                    <a:gd name="connsiteX48" fmla="*/ 2320290 w 2391727"/>
                    <a:gd name="connsiteY48" fmla="*/ 553402 h 929639"/>
                    <a:gd name="connsiteX49" fmla="*/ 2314575 w 2391727"/>
                    <a:gd name="connsiteY49" fmla="*/ 589597 h 929639"/>
                    <a:gd name="connsiteX50" fmla="*/ 2308860 w 2391727"/>
                    <a:gd name="connsiteY50" fmla="*/ 601027 h 929639"/>
                    <a:gd name="connsiteX51" fmla="*/ 2305050 w 2391727"/>
                    <a:gd name="connsiteY51" fmla="*/ 620077 h 929639"/>
                    <a:gd name="connsiteX52" fmla="*/ 2321242 w 2391727"/>
                    <a:gd name="connsiteY52" fmla="*/ 625792 h 929639"/>
                    <a:gd name="connsiteX53" fmla="*/ 2351722 w 2391727"/>
                    <a:gd name="connsiteY53" fmla="*/ 644842 h 929639"/>
                    <a:gd name="connsiteX54" fmla="*/ 2352675 w 2391727"/>
                    <a:gd name="connsiteY54" fmla="*/ 657225 h 929639"/>
                    <a:gd name="connsiteX55" fmla="*/ 2358390 w 2391727"/>
                    <a:gd name="connsiteY55" fmla="*/ 671513 h 929639"/>
                    <a:gd name="connsiteX56" fmla="*/ 2361247 w 2391727"/>
                    <a:gd name="connsiteY56" fmla="*/ 690563 h 929639"/>
                    <a:gd name="connsiteX57" fmla="*/ 2391727 w 2391727"/>
                    <a:gd name="connsiteY57" fmla="*/ 712470 h 929639"/>
                    <a:gd name="connsiteX58" fmla="*/ 2391727 w 2391727"/>
                    <a:gd name="connsiteY58" fmla="*/ 734377 h 929639"/>
                    <a:gd name="connsiteX59" fmla="*/ 2371725 w 2391727"/>
                    <a:gd name="connsiteY59" fmla="*/ 729615 h 929639"/>
                    <a:gd name="connsiteX60" fmla="*/ 2336483 w 2391727"/>
                    <a:gd name="connsiteY60" fmla="*/ 759142 h 929639"/>
                    <a:gd name="connsiteX61" fmla="*/ 2325052 w 2391727"/>
                    <a:gd name="connsiteY61" fmla="*/ 747713 h 929639"/>
                    <a:gd name="connsiteX62" fmla="*/ 2322195 w 2391727"/>
                    <a:gd name="connsiteY62" fmla="*/ 724852 h 929639"/>
                    <a:gd name="connsiteX63" fmla="*/ 2307908 w 2391727"/>
                    <a:gd name="connsiteY63" fmla="*/ 710565 h 929639"/>
                    <a:gd name="connsiteX64" fmla="*/ 2295525 w 2391727"/>
                    <a:gd name="connsiteY64" fmla="*/ 708660 h 929639"/>
                    <a:gd name="connsiteX65" fmla="*/ 2275522 w 2391727"/>
                    <a:gd name="connsiteY65" fmla="*/ 721995 h 929639"/>
                    <a:gd name="connsiteX66" fmla="*/ 2235517 w 2391727"/>
                    <a:gd name="connsiteY66" fmla="*/ 719138 h 929639"/>
                    <a:gd name="connsiteX67" fmla="*/ 2207895 w 2391727"/>
                    <a:gd name="connsiteY67" fmla="*/ 708660 h 929639"/>
                    <a:gd name="connsiteX68" fmla="*/ 2180272 w 2391727"/>
                    <a:gd name="connsiteY68" fmla="*/ 701040 h 929639"/>
                    <a:gd name="connsiteX69" fmla="*/ 2162175 w 2391727"/>
                    <a:gd name="connsiteY69" fmla="*/ 706755 h 929639"/>
                    <a:gd name="connsiteX70" fmla="*/ 2141220 w 2391727"/>
                    <a:gd name="connsiteY70" fmla="*/ 700088 h 929639"/>
                    <a:gd name="connsiteX71" fmla="*/ 2126933 w 2391727"/>
                    <a:gd name="connsiteY71" fmla="*/ 718185 h 929639"/>
                    <a:gd name="connsiteX72" fmla="*/ 2107883 w 2391727"/>
                    <a:gd name="connsiteY72" fmla="*/ 736282 h 929639"/>
                    <a:gd name="connsiteX73" fmla="*/ 2096452 w 2391727"/>
                    <a:gd name="connsiteY73" fmla="*/ 739140 h 929639"/>
                    <a:gd name="connsiteX74" fmla="*/ 2081213 w 2391727"/>
                    <a:gd name="connsiteY74" fmla="*/ 714375 h 929639"/>
                    <a:gd name="connsiteX75" fmla="*/ 2068830 w 2391727"/>
                    <a:gd name="connsiteY75" fmla="*/ 712470 h 929639"/>
                    <a:gd name="connsiteX76" fmla="*/ 2057400 w 2391727"/>
                    <a:gd name="connsiteY76" fmla="*/ 724852 h 929639"/>
                    <a:gd name="connsiteX77" fmla="*/ 2036445 w 2391727"/>
                    <a:gd name="connsiteY77" fmla="*/ 732472 h 929639"/>
                    <a:gd name="connsiteX78" fmla="*/ 1992630 w 2391727"/>
                    <a:gd name="connsiteY78" fmla="*/ 741997 h 929639"/>
                    <a:gd name="connsiteX79" fmla="*/ 1962150 w 2391727"/>
                    <a:gd name="connsiteY79" fmla="*/ 744855 h 929639"/>
                    <a:gd name="connsiteX80" fmla="*/ 1923097 w 2391727"/>
                    <a:gd name="connsiteY80" fmla="*/ 739140 h 929639"/>
                    <a:gd name="connsiteX81" fmla="*/ 1892617 w 2391727"/>
                    <a:gd name="connsiteY81" fmla="*/ 741045 h 929639"/>
                    <a:gd name="connsiteX82" fmla="*/ 1863090 w 2391727"/>
                    <a:gd name="connsiteY82" fmla="*/ 754380 h 929639"/>
                    <a:gd name="connsiteX83" fmla="*/ 1813560 w 2391727"/>
                    <a:gd name="connsiteY83" fmla="*/ 781050 h 929639"/>
                    <a:gd name="connsiteX84" fmla="*/ 1774507 w 2391727"/>
                    <a:gd name="connsiteY84" fmla="*/ 794385 h 929639"/>
                    <a:gd name="connsiteX85" fmla="*/ 1734502 w 2391727"/>
                    <a:gd name="connsiteY85" fmla="*/ 802957 h 929639"/>
                    <a:gd name="connsiteX86" fmla="*/ 1662113 w 2391727"/>
                    <a:gd name="connsiteY86" fmla="*/ 801052 h 929639"/>
                    <a:gd name="connsiteX87" fmla="*/ 1651635 w 2391727"/>
                    <a:gd name="connsiteY87" fmla="*/ 798195 h 929639"/>
                    <a:gd name="connsiteX88" fmla="*/ 1618297 w 2391727"/>
                    <a:gd name="connsiteY88" fmla="*/ 776288 h 929639"/>
                    <a:gd name="connsiteX89" fmla="*/ 1585913 w 2391727"/>
                    <a:gd name="connsiteY89" fmla="*/ 770572 h 929639"/>
                    <a:gd name="connsiteX90" fmla="*/ 1553527 w 2391727"/>
                    <a:gd name="connsiteY90" fmla="*/ 785813 h 929639"/>
                    <a:gd name="connsiteX91" fmla="*/ 1531620 w 2391727"/>
                    <a:gd name="connsiteY91" fmla="*/ 793432 h 929639"/>
                    <a:gd name="connsiteX92" fmla="*/ 1498282 w 2391727"/>
                    <a:gd name="connsiteY92" fmla="*/ 808672 h 929639"/>
                    <a:gd name="connsiteX93" fmla="*/ 1452563 w 2391727"/>
                    <a:gd name="connsiteY93" fmla="*/ 807720 h 929639"/>
                    <a:gd name="connsiteX94" fmla="*/ 1434465 w 2391727"/>
                    <a:gd name="connsiteY94" fmla="*/ 791527 h 929639"/>
                    <a:gd name="connsiteX95" fmla="*/ 1399222 w 2391727"/>
                    <a:gd name="connsiteY95" fmla="*/ 784860 h 929639"/>
                    <a:gd name="connsiteX96" fmla="*/ 1393507 w 2391727"/>
                    <a:gd name="connsiteY96" fmla="*/ 800100 h 929639"/>
                    <a:gd name="connsiteX97" fmla="*/ 1390650 w 2391727"/>
                    <a:gd name="connsiteY97" fmla="*/ 836295 h 929639"/>
                    <a:gd name="connsiteX98" fmla="*/ 1407795 w 2391727"/>
                    <a:gd name="connsiteY98" fmla="*/ 865822 h 929639"/>
                    <a:gd name="connsiteX99" fmla="*/ 1376363 w 2391727"/>
                    <a:gd name="connsiteY99" fmla="*/ 879157 h 929639"/>
                    <a:gd name="connsiteX100" fmla="*/ 1376363 w 2391727"/>
                    <a:gd name="connsiteY100" fmla="*/ 903922 h 929639"/>
                    <a:gd name="connsiteX101" fmla="*/ 1359217 w 2391727"/>
                    <a:gd name="connsiteY101" fmla="*/ 914400 h 929639"/>
                    <a:gd name="connsiteX102" fmla="*/ 1351597 w 2391727"/>
                    <a:gd name="connsiteY102" fmla="*/ 929640 h 929639"/>
                    <a:gd name="connsiteX103" fmla="*/ 1330642 w 2391727"/>
                    <a:gd name="connsiteY103" fmla="*/ 918210 h 929639"/>
                    <a:gd name="connsiteX104" fmla="*/ 1321117 w 2391727"/>
                    <a:gd name="connsiteY104" fmla="*/ 917257 h 929639"/>
                    <a:gd name="connsiteX105" fmla="*/ 1327785 w 2391727"/>
                    <a:gd name="connsiteY105" fmla="*/ 904875 h 929639"/>
                    <a:gd name="connsiteX106" fmla="*/ 1303972 w 2391727"/>
                    <a:gd name="connsiteY106" fmla="*/ 858202 h 929639"/>
                    <a:gd name="connsiteX107" fmla="*/ 1310640 w 2391727"/>
                    <a:gd name="connsiteY107" fmla="*/ 843915 h 929639"/>
                    <a:gd name="connsiteX108" fmla="*/ 1343977 w 2391727"/>
                    <a:gd name="connsiteY108" fmla="*/ 806767 h 929639"/>
                    <a:gd name="connsiteX109" fmla="*/ 1340167 w 2391727"/>
                    <a:gd name="connsiteY109" fmla="*/ 783907 h 929639"/>
                    <a:gd name="connsiteX110" fmla="*/ 1321117 w 2391727"/>
                    <a:gd name="connsiteY110" fmla="*/ 768667 h 929639"/>
                    <a:gd name="connsiteX111" fmla="*/ 1293495 w 2391727"/>
                    <a:gd name="connsiteY111" fmla="*/ 788670 h 929639"/>
                    <a:gd name="connsiteX112" fmla="*/ 1277302 w 2391727"/>
                    <a:gd name="connsiteY112" fmla="*/ 796290 h 929639"/>
                    <a:gd name="connsiteX113" fmla="*/ 1274445 w 2391727"/>
                    <a:gd name="connsiteY113" fmla="*/ 807720 h 929639"/>
                    <a:gd name="connsiteX114" fmla="*/ 1263967 w 2391727"/>
                    <a:gd name="connsiteY114" fmla="*/ 815340 h 929639"/>
                    <a:gd name="connsiteX115" fmla="*/ 1246822 w 2391727"/>
                    <a:gd name="connsiteY115" fmla="*/ 819150 h 929639"/>
                    <a:gd name="connsiteX116" fmla="*/ 1219200 w 2391727"/>
                    <a:gd name="connsiteY116" fmla="*/ 809625 h 929639"/>
                    <a:gd name="connsiteX117" fmla="*/ 1188720 w 2391727"/>
                    <a:gd name="connsiteY117" fmla="*/ 796290 h 929639"/>
                    <a:gd name="connsiteX118" fmla="*/ 1170622 w 2391727"/>
                    <a:gd name="connsiteY118" fmla="*/ 785813 h 929639"/>
                    <a:gd name="connsiteX119" fmla="*/ 1157288 w 2391727"/>
                    <a:gd name="connsiteY119" fmla="*/ 782955 h 929639"/>
                    <a:gd name="connsiteX120" fmla="*/ 1144905 w 2391727"/>
                    <a:gd name="connsiteY120" fmla="*/ 787717 h 929639"/>
                    <a:gd name="connsiteX121" fmla="*/ 1111567 w 2391727"/>
                    <a:gd name="connsiteY121" fmla="*/ 814388 h 929639"/>
                    <a:gd name="connsiteX122" fmla="*/ 1082040 w 2391727"/>
                    <a:gd name="connsiteY122" fmla="*/ 853440 h 929639"/>
                    <a:gd name="connsiteX123" fmla="*/ 1074420 w 2391727"/>
                    <a:gd name="connsiteY123" fmla="*/ 861060 h 929639"/>
                    <a:gd name="connsiteX124" fmla="*/ 1043940 w 2391727"/>
                    <a:gd name="connsiteY124" fmla="*/ 877252 h 929639"/>
                    <a:gd name="connsiteX125" fmla="*/ 1022985 w 2391727"/>
                    <a:gd name="connsiteY125" fmla="*/ 882967 h 929639"/>
                    <a:gd name="connsiteX126" fmla="*/ 1013460 w 2391727"/>
                    <a:gd name="connsiteY126" fmla="*/ 882015 h 929639"/>
                    <a:gd name="connsiteX127" fmla="*/ 971550 w 2391727"/>
                    <a:gd name="connsiteY127" fmla="*/ 889635 h 929639"/>
                    <a:gd name="connsiteX128" fmla="*/ 950595 w 2391727"/>
                    <a:gd name="connsiteY128" fmla="*/ 890588 h 929639"/>
                    <a:gd name="connsiteX129" fmla="*/ 935355 w 2391727"/>
                    <a:gd name="connsiteY129" fmla="*/ 899160 h 929639"/>
                    <a:gd name="connsiteX130" fmla="*/ 902017 w 2391727"/>
                    <a:gd name="connsiteY130" fmla="*/ 889635 h 929639"/>
                    <a:gd name="connsiteX131" fmla="*/ 881063 w 2391727"/>
                    <a:gd name="connsiteY131" fmla="*/ 877252 h 929639"/>
                    <a:gd name="connsiteX132" fmla="*/ 867727 w 2391727"/>
                    <a:gd name="connsiteY132" fmla="*/ 864870 h 929639"/>
                    <a:gd name="connsiteX133" fmla="*/ 845820 w 2391727"/>
                    <a:gd name="connsiteY133" fmla="*/ 837247 h 929639"/>
                    <a:gd name="connsiteX134" fmla="*/ 830580 w 2391727"/>
                    <a:gd name="connsiteY134" fmla="*/ 824865 h 929639"/>
                    <a:gd name="connsiteX135" fmla="*/ 799147 w 2391727"/>
                    <a:gd name="connsiteY135" fmla="*/ 813435 h 929639"/>
                    <a:gd name="connsiteX136" fmla="*/ 743902 w 2391727"/>
                    <a:gd name="connsiteY136" fmla="*/ 784860 h 929639"/>
                    <a:gd name="connsiteX137" fmla="*/ 693420 w 2391727"/>
                    <a:gd name="connsiteY137" fmla="*/ 778192 h 929639"/>
                    <a:gd name="connsiteX138" fmla="*/ 655320 w 2391727"/>
                    <a:gd name="connsiteY138" fmla="*/ 775335 h 929639"/>
                    <a:gd name="connsiteX139" fmla="*/ 648652 w 2391727"/>
                    <a:gd name="connsiteY139" fmla="*/ 785813 h 929639"/>
                    <a:gd name="connsiteX140" fmla="*/ 649605 w 2391727"/>
                    <a:gd name="connsiteY140" fmla="*/ 825817 h 929639"/>
                    <a:gd name="connsiteX141" fmla="*/ 644842 w 2391727"/>
                    <a:gd name="connsiteY141" fmla="*/ 837247 h 929639"/>
                    <a:gd name="connsiteX142" fmla="*/ 643890 w 2391727"/>
                    <a:gd name="connsiteY142" fmla="*/ 858202 h 929639"/>
                    <a:gd name="connsiteX143" fmla="*/ 633413 w 2391727"/>
                    <a:gd name="connsiteY143" fmla="*/ 868680 h 929639"/>
                    <a:gd name="connsiteX144" fmla="*/ 613410 w 2391727"/>
                    <a:gd name="connsiteY144" fmla="*/ 859155 h 929639"/>
                    <a:gd name="connsiteX145" fmla="*/ 595313 w 2391727"/>
                    <a:gd name="connsiteY145" fmla="*/ 867727 h 929639"/>
                    <a:gd name="connsiteX146" fmla="*/ 560070 w 2391727"/>
                    <a:gd name="connsiteY146" fmla="*/ 880110 h 929639"/>
                    <a:gd name="connsiteX147" fmla="*/ 548640 w 2391727"/>
                    <a:gd name="connsiteY147" fmla="*/ 881063 h 929639"/>
                    <a:gd name="connsiteX148" fmla="*/ 504825 w 2391727"/>
                    <a:gd name="connsiteY148" fmla="*/ 865822 h 929639"/>
                    <a:gd name="connsiteX149" fmla="*/ 477202 w 2391727"/>
                    <a:gd name="connsiteY149" fmla="*/ 845820 h 929639"/>
                    <a:gd name="connsiteX150" fmla="*/ 471488 w 2391727"/>
                    <a:gd name="connsiteY150" fmla="*/ 826770 h 929639"/>
                    <a:gd name="connsiteX151" fmla="*/ 459105 w 2391727"/>
                    <a:gd name="connsiteY151" fmla="*/ 801052 h 929639"/>
                    <a:gd name="connsiteX152" fmla="*/ 441960 w 2391727"/>
                    <a:gd name="connsiteY152" fmla="*/ 803910 h 929639"/>
                    <a:gd name="connsiteX153" fmla="*/ 420052 w 2391727"/>
                    <a:gd name="connsiteY153" fmla="*/ 800100 h 929639"/>
                    <a:gd name="connsiteX154" fmla="*/ 389572 w 2391727"/>
                    <a:gd name="connsiteY154" fmla="*/ 784860 h 929639"/>
                    <a:gd name="connsiteX155" fmla="*/ 366713 w 2391727"/>
                    <a:gd name="connsiteY155" fmla="*/ 783907 h 929639"/>
                    <a:gd name="connsiteX156" fmla="*/ 355282 w 2391727"/>
                    <a:gd name="connsiteY156" fmla="*/ 802005 h 929639"/>
                    <a:gd name="connsiteX157" fmla="*/ 345757 w 2391727"/>
                    <a:gd name="connsiteY157" fmla="*/ 808672 h 929639"/>
                    <a:gd name="connsiteX158" fmla="*/ 333375 w 2391727"/>
                    <a:gd name="connsiteY158" fmla="*/ 804863 h 929639"/>
                    <a:gd name="connsiteX159" fmla="*/ 340995 w 2391727"/>
                    <a:gd name="connsiteY159" fmla="*/ 792480 h 929639"/>
                    <a:gd name="connsiteX160" fmla="*/ 305752 w 2391727"/>
                    <a:gd name="connsiteY160" fmla="*/ 794385 h 929639"/>
                    <a:gd name="connsiteX161" fmla="*/ 288607 w 2391727"/>
                    <a:gd name="connsiteY161" fmla="*/ 803910 h 929639"/>
                    <a:gd name="connsiteX162" fmla="*/ 274320 w 2391727"/>
                    <a:gd name="connsiteY162" fmla="*/ 802957 h 929639"/>
                    <a:gd name="connsiteX163" fmla="*/ 264795 w 2391727"/>
                    <a:gd name="connsiteY163" fmla="*/ 793432 h 929639"/>
                    <a:gd name="connsiteX164" fmla="*/ 283845 w 2391727"/>
                    <a:gd name="connsiteY164" fmla="*/ 787717 h 929639"/>
                    <a:gd name="connsiteX165" fmla="*/ 320992 w 2391727"/>
                    <a:gd name="connsiteY165" fmla="*/ 783907 h 929639"/>
                    <a:gd name="connsiteX166" fmla="*/ 329565 w 2391727"/>
                    <a:gd name="connsiteY166" fmla="*/ 780097 h 929639"/>
                    <a:gd name="connsiteX167" fmla="*/ 338138 w 2391727"/>
                    <a:gd name="connsiteY167" fmla="*/ 767715 h 929639"/>
                    <a:gd name="connsiteX168" fmla="*/ 354330 w 2391727"/>
                    <a:gd name="connsiteY168" fmla="*/ 756285 h 929639"/>
                    <a:gd name="connsiteX169" fmla="*/ 342900 w 2391727"/>
                    <a:gd name="connsiteY169" fmla="*/ 751522 h 929639"/>
                    <a:gd name="connsiteX170" fmla="*/ 285750 w 2391727"/>
                    <a:gd name="connsiteY170" fmla="*/ 754380 h 929639"/>
                    <a:gd name="connsiteX171" fmla="*/ 245745 w 2391727"/>
                    <a:gd name="connsiteY171" fmla="*/ 752475 h 929639"/>
                    <a:gd name="connsiteX172" fmla="*/ 236220 w 2391727"/>
                    <a:gd name="connsiteY172" fmla="*/ 759142 h 929639"/>
                    <a:gd name="connsiteX173" fmla="*/ 232410 w 2391727"/>
                    <a:gd name="connsiteY173" fmla="*/ 743902 h 929639"/>
                    <a:gd name="connsiteX174" fmla="*/ 266700 w 2391727"/>
                    <a:gd name="connsiteY174" fmla="*/ 730567 h 929639"/>
                    <a:gd name="connsiteX175" fmla="*/ 263842 w 2391727"/>
                    <a:gd name="connsiteY175" fmla="*/ 718185 h 929639"/>
                    <a:gd name="connsiteX176" fmla="*/ 223838 w 2391727"/>
                    <a:gd name="connsiteY176" fmla="*/ 697230 h 929639"/>
                    <a:gd name="connsiteX177" fmla="*/ 220980 w 2391727"/>
                    <a:gd name="connsiteY177" fmla="*/ 681990 h 929639"/>
                    <a:gd name="connsiteX178" fmla="*/ 201930 w 2391727"/>
                    <a:gd name="connsiteY178" fmla="*/ 652463 h 929639"/>
                    <a:gd name="connsiteX179" fmla="*/ 220027 w 2391727"/>
                    <a:gd name="connsiteY179" fmla="*/ 647700 h 929639"/>
                    <a:gd name="connsiteX180" fmla="*/ 220980 w 2391727"/>
                    <a:gd name="connsiteY180" fmla="*/ 623888 h 929639"/>
                    <a:gd name="connsiteX181" fmla="*/ 217170 w 2391727"/>
                    <a:gd name="connsiteY181" fmla="*/ 609600 h 929639"/>
                    <a:gd name="connsiteX182" fmla="*/ 180022 w 2391727"/>
                    <a:gd name="connsiteY182" fmla="*/ 597217 h 929639"/>
                    <a:gd name="connsiteX183" fmla="*/ 172402 w 2391727"/>
                    <a:gd name="connsiteY183" fmla="*/ 598170 h 929639"/>
                    <a:gd name="connsiteX184" fmla="*/ 161925 w 2391727"/>
                    <a:gd name="connsiteY184" fmla="*/ 585788 h 929639"/>
                    <a:gd name="connsiteX185" fmla="*/ 145732 w 2391727"/>
                    <a:gd name="connsiteY185" fmla="*/ 577215 h 929639"/>
                    <a:gd name="connsiteX186" fmla="*/ 134302 w 2391727"/>
                    <a:gd name="connsiteY186" fmla="*/ 583882 h 929639"/>
                    <a:gd name="connsiteX187" fmla="*/ 102870 w 2391727"/>
                    <a:gd name="connsiteY187" fmla="*/ 570547 h 929639"/>
                    <a:gd name="connsiteX188" fmla="*/ 97155 w 2391727"/>
                    <a:gd name="connsiteY188" fmla="*/ 564832 h 929639"/>
                    <a:gd name="connsiteX189" fmla="*/ 101917 w 2391727"/>
                    <a:gd name="connsiteY189" fmla="*/ 551497 h 929639"/>
                    <a:gd name="connsiteX190" fmla="*/ 111442 w 2391727"/>
                    <a:gd name="connsiteY190" fmla="*/ 541020 h 929639"/>
                    <a:gd name="connsiteX191" fmla="*/ 102870 w 2391727"/>
                    <a:gd name="connsiteY191" fmla="*/ 522922 h 929639"/>
                    <a:gd name="connsiteX192" fmla="*/ 101917 w 2391727"/>
                    <a:gd name="connsiteY192" fmla="*/ 513397 h 929639"/>
                    <a:gd name="connsiteX193" fmla="*/ 119063 w 2391727"/>
                    <a:gd name="connsiteY193" fmla="*/ 512445 h 929639"/>
                    <a:gd name="connsiteX194" fmla="*/ 128588 w 2391727"/>
                    <a:gd name="connsiteY194" fmla="*/ 522922 h 929639"/>
                    <a:gd name="connsiteX195" fmla="*/ 131445 w 2391727"/>
                    <a:gd name="connsiteY195" fmla="*/ 543877 h 929639"/>
                    <a:gd name="connsiteX196" fmla="*/ 165735 w 2391727"/>
                    <a:gd name="connsiteY196" fmla="*/ 550545 h 929639"/>
                    <a:gd name="connsiteX197" fmla="*/ 193357 w 2391727"/>
                    <a:gd name="connsiteY197" fmla="*/ 544830 h 929639"/>
                    <a:gd name="connsiteX198" fmla="*/ 169545 w 2391727"/>
                    <a:gd name="connsiteY198" fmla="*/ 534352 h 929639"/>
                    <a:gd name="connsiteX199" fmla="*/ 159067 w 2391727"/>
                    <a:gd name="connsiteY199" fmla="*/ 522922 h 929639"/>
                    <a:gd name="connsiteX200" fmla="*/ 147638 w 2391727"/>
                    <a:gd name="connsiteY200" fmla="*/ 501015 h 929639"/>
                    <a:gd name="connsiteX201" fmla="*/ 164782 w 2391727"/>
                    <a:gd name="connsiteY201" fmla="*/ 490538 h 929639"/>
                    <a:gd name="connsiteX202" fmla="*/ 176213 w 2391727"/>
                    <a:gd name="connsiteY202" fmla="*/ 474345 h 929639"/>
                    <a:gd name="connsiteX203" fmla="*/ 150495 w 2391727"/>
                    <a:gd name="connsiteY203" fmla="*/ 462915 h 929639"/>
                    <a:gd name="connsiteX204" fmla="*/ 152400 w 2391727"/>
                    <a:gd name="connsiteY204" fmla="*/ 440055 h 929639"/>
                    <a:gd name="connsiteX205" fmla="*/ 128588 w 2391727"/>
                    <a:gd name="connsiteY205" fmla="*/ 414338 h 929639"/>
                    <a:gd name="connsiteX206" fmla="*/ 131445 w 2391727"/>
                    <a:gd name="connsiteY206" fmla="*/ 406717 h 929639"/>
                    <a:gd name="connsiteX207" fmla="*/ 153352 w 2391727"/>
                    <a:gd name="connsiteY207" fmla="*/ 380047 h 929639"/>
                    <a:gd name="connsiteX208" fmla="*/ 141922 w 2391727"/>
                    <a:gd name="connsiteY208" fmla="*/ 373380 h 929639"/>
                    <a:gd name="connsiteX209" fmla="*/ 100965 w 2391727"/>
                    <a:gd name="connsiteY209" fmla="*/ 380047 h 929639"/>
                    <a:gd name="connsiteX210" fmla="*/ 85725 w 2391727"/>
                    <a:gd name="connsiteY210" fmla="*/ 385763 h 929639"/>
                    <a:gd name="connsiteX211" fmla="*/ 56197 w 2391727"/>
                    <a:gd name="connsiteY211" fmla="*/ 387667 h 929639"/>
                    <a:gd name="connsiteX212" fmla="*/ 53340 w 2391727"/>
                    <a:gd name="connsiteY212" fmla="*/ 372427 h 929639"/>
                    <a:gd name="connsiteX213" fmla="*/ 59055 w 2391727"/>
                    <a:gd name="connsiteY213" fmla="*/ 360045 h 929639"/>
                    <a:gd name="connsiteX214" fmla="*/ 54292 w 2391727"/>
                    <a:gd name="connsiteY214" fmla="*/ 327660 h 929639"/>
                    <a:gd name="connsiteX215" fmla="*/ 56197 w 2391727"/>
                    <a:gd name="connsiteY215" fmla="*/ 310515 h 929639"/>
                    <a:gd name="connsiteX216" fmla="*/ 72390 w 2391727"/>
                    <a:gd name="connsiteY216" fmla="*/ 304800 h 929639"/>
                    <a:gd name="connsiteX217" fmla="*/ 88582 w 2391727"/>
                    <a:gd name="connsiteY217" fmla="*/ 279082 h 929639"/>
                    <a:gd name="connsiteX218" fmla="*/ 117157 w 2391727"/>
                    <a:gd name="connsiteY218" fmla="*/ 249555 h 929639"/>
                    <a:gd name="connsiteX219" fmla="*/ 150495 w 2391727"/>
                    <a:gd name="connsiteY219" fmla="*/ 249555 h 929639"/>
                    <a:gd name="connsiteX220" fmla="*/ 162877 w 2391727"/>
                    <a:gd name="connsiteY220" fmla="*/ 240982 h 929639"/>
                    <a:gd name="connsiteX221" fmla="*/ 182880 w 2391727"/>
                    <a:gd name="connsiteY221" fmla="*/ 240982 h 929639"/>
                    <a:gd name="connsiteX222" fmla="*/ 190500 w 2391727"/>
                    <a:gd name="connsiteY222" fmla="*/ 252413 h 929639"/>
                    <a:gd name="connsiteX223" fmla="*/ 208597 w 2391727"/>
                    <a:gd name="connsiteY223" fmla="*/ 260985 h 929639"/>
                    <a:gd name="connsiteX224" fmla="*/ 239077 w 2391727"/>
                    <a:gd name="connsiteY224" fmla="*/ 260032 h 929639"/>
                    <a:gd name="connsiteX225" fmla="*/ 252413 w 2391727"/>
                    <a:gd name="connsiteY225" fmla="*/ 251460 h 929639"/>
                    <a:gd name="connsiteX226" fmla="*/ 237172 w 2391727"/>
                    <a:gd name="connsiteY226" fmla="*/ 237172 h 929639"/>
                    <a:gd name="connsiteX227" fmla="*/ 253365 w 2391727"/>
                    <a:gd name="connsiteY227" fmla="*/ 232410 h 929639"/>
                    <a:gd name="connsiteX228" fmla="*/ 267652 w 2391727"/>
                    <a:gd name="connsiteY228" fmla="*/ 236220 h 929639"/>
                    <a:gd name="connsiteX229" fmla="*/ 266700 w 2391727"/>
                    <a:gd name="connsiteY229" fmla="*/ 253365 h 929639"/>
                    <a:gd name="connsiteX230" fmla="*/ 305752 w 2391727"/>
                    <a:gd name="connsiteY230" fmla="*/ 248602 h 929639"/>
                    <a:gd name="connsiteX231" fmla="*/ 347663 w 2391727"/>
                    <a:gd name="connsiteY231" fmla="*/ 252413 h 929639"/>
                    <a:gd name="connsiteX232" fmla="*/ 360997 w 2391727"/>
                    <a:gd name="connsiteY232" fmla="*/ 250507 h 929639"/>
                    <a:gd name="connsiteX233" fmla="*/ 393382 w 2391727"/>
                    <a:gd name="connsiteY233" fmla="*/ 250507 h 929639"/>
                    <a:gd name="connsiteX234" fmla="*/ 398145 w 2391727"/>
                    <a:gd name="connsiteY234" fmla="*/ 245745 h 929639"/>
                    <a:gd name="connsiteX235" fmla="*/ 363855 w 2391727"/>
                    <a:gd name="connsiteY235" fmla="*/ 229552 h 929639"/>
                    <a:gd name="connsiteX236" fmla="*/ 382905 w 2391727"/>
                    <a:gd name="connsiteY236" fmla="*/ 215265 h 929639"/>
                    <a:gd name="connsiteX237" fmla="*/ 447675 w 2391727"/>
                    <a:gd name="connsiteY237" fmla="*/ 203835 h 929639"/>
                    <a:gd name="connsiteX238" fmla="*/ 482917 w 2391727"/>
                    <a:gd name="connsiteY238" fmla="*/ 196215 h 929639"/>
                    <a:gd name="connsiteX239" fmla="*/ 428625 w 2391727"/>
                    <a:gd name="connsiteY239" fmla="*/ 188595 h 929639"/>
                    <a:gd name="connsiteX240" fmla="*/ 415290 w 2391727"/>
                    <a:gd name="connsiteY240" fmla="*/ 182880 h 929639"/>
                    <a:gd name="connsiteX241" fmla="*/ 396240 w 2391727"/>
                    <a:gd name="connsiteY241" fmla="*/ 169545 h 929639"/>
                    <a:gd name="connsiteX242" fmla="*/ 386715 w 2391727"/>
                    <a:gd name="connsiteY242" fmla="*/ 159067 h 929639"/>
                    <a:gd name="connsiteX243" fmla="*/ 389572 w 2391727"/>
                    <a:gd name="connsiteY243" fmla="*/ 134302 h 929639"/>
                    <a:gd name="connsiteX244" fmla="*/ 395288 w 2391727"/>
                    <a:gd name="connsiteY244" fmla="*/ 127635 h 929639"/>
                    <a:gd name="connsiteX245" fmla="*/ 416242 w 2391727"/>
                    <a:gd name="connsiteY245" fmla="*/ 126682 h 929639"/>
                    <a:gd name="connsiteX246" fmla="*/ 489585 w 2391727"/>
                    <a:gd name="connsiteY246" fmla="*/ 138113 h 929639"/>
                    <a:gd name="connsiteX247" fmla="*/ 540067 w 2391727"/>
                    <a:gd name="connsiteY247" fmla="*/ 130492 h 929639"/>
                    <a:gd name="connsiteX248" fmla="*/ 598170 w 2391727"/>
                    <a:gd name="connsiteY248" fmla="*/ 147638 h 929639"/>
                    <a:gd name="connsiteX249" fmla="*/ 651510 w 2391727"/>
                    <a:gd name="connsiteY249" fmla="*/ 143827 h 929639"/>
                    <a:gd name="connsiteX250" fmla="*/ 661988 w 2391727"/>
                    <a:gd name="connsiteY250" fmla="*/ 137160 h 929639"/>
                    <a:gd name="connsiteX251" fmla="*/ 672465 w 2391727"/>
                    <a:gd name="connsiteY251" fmla="*/ 112395 h 929639"/>
                    <a:gd name="connsiteX252" fmla="*/ 742950 w 2391727"/>
                    <a:gd name="connsiteY252" fmla="*/ 72390 h 929639"/>
                    <a:gd name="connsiteX253" fmla="*/ 765810 w 2391727"/>
                    <a:gd name="connsiteY253" fmla="*/ 52388 h 929639"/>
                    <a:gd name="connsiteX254" fmla="*/ 792480 w 2391727"/>
                    <a:gd name="connsiteY254" fmla="*/ 40957 h 929639"/>
                    <a:gd name="connsiteX255" fmla="*/ 840105 w 2391727"/>
                    <a:gd name="connsiteY255" fmla="*/ 27622 h 929639"/>
                    <a:gd name="connsiteX256" fmla="*/ 878205 w 2391727"/>
                    <a:gd name="connsiteY256" fmla="*/ 11430 h 929639"/>
                    <a:gd name="connsiteX257" fmla="*/ 889635 w 2391727"/>
                    <a:gd name="connsiteY257" fmla="*/ 9525 h 929639"/>
                    <a:gd name="connsiteX258" fmla="*/ 988695 w 2391727"/>
                    <a:gd name="connsiteY258" fmla="*/ 17145 h 929639"/>
                    <a:gd name="connsiteX259" fmla="*/ 1055370 w 2391727"/>
                    <a:gd name="connsiteY259" fmla="*/ 18097 h 929639"/>
                    <a:gd name="connsiteX260" fmla="*/ 1083945 w 2391727"/>
                    <a:gd name="connsiteY260" fmla="*/ 2857 h 929639"/>
                    <a:gd name="connsiteX261" fmla="*/ 1102995 w 2391727"/>
                    <a:gd name="connsiteY261" fmla="*/ 7620 h 929639"/>
                    <a:gd name="connsiteX262" fmla="*/ 1102042 w 2391727"/>
                    <a:gd name="connsiteY262" fmla="*/ 27622 h 929639"/>
                    <a:gd name="connsiteX263" fmla="*/ 1126807 w 2391727"/>
                    <a:gd name="connsiteY263" fmla="*/ 52388 h 929639"/>
                    <a:gd name="connsiteX264" fmla="*/ 1160145 w 2391727"/>
                    <a:gd name="connsiteY264" fmla="*/ 65722 h 929639"/>
                    <a:gd name="connsiteX265" fmla="*/ 1202055 w 2391727"/>
                    <a:gd name="connsiteY265" fmla="*/ 54292 h 929639"/>
                    <a:gd name="connsiteX266" fmla="*/ 1219200 w 2391727"/>
                    <a:gd name="connsiteY266" fmla="*/ 59055 h 929639"/>
                    <a:gd name="connsiteX267" fmla="*/ 1240155 w 2391727"/>
                    <a:gd name="connsiteY267" fmla="*/ 97155 h 929639"/>
                    <a:gd name="connsiteX268" fmla="*/ 1254442 w 2391727"/>
                    <a:gd name="connsiteY268" fmla="*/ 110490 h 929639"/>
                    <a:gd name="connsiteX269" fmla="*/ 1271588 w 2391727"/>
                    <a:gd name="connsiteY269" fmla="*/ 119063 h 929639"/>
                    <a:gd name="connsiteX270" fmla="*/ 1283970 w 2391727"/>
                    <a:gd name="connsiteY270" fmla="*/ 120967 h 929639"/>
                    <a:gd name="connsiteX271" fmla="*/ 1298257 w 2391727"/>
                    <a:gd name="connsiteY271" fmla="*/ 107632 h 929639"/>
                    <a:gd name="connsiteX272" fmla="*/ 1314450 w 2391727"/>
                    <a:gd name="connsiteY272" fmla="*/ 106680 h 929639"/>
                    <a:gd name="connsiteX273" fmla="*/ 1342072 w 2391727"/>
                    <a:gd name="connsiteY273" fmla="*/ 119063 h 929639"/>
                    <a:gd name="connsiteX274" fmla="*/ 1353502 w 2391727"/>
                    <a:gd name="connsiteY274" fmla="*/ 132397 h 929639"/>
                    <a:gd name="connsiteX275" fmla="*/ 1399222 w 2391727"/>
                    <a:gd name="connsiteY275" fmla="*/ 142875 h 929639"/>
                    <a:gd name="connsiteX276" fmla="*/ 1440180 w 2391727"/>
                    <a:gd name="connsiteY276" fmla="*/ 148590 h 929639"/>
                    <a:gd name="connsiteX277" fmla="*/ 1459230 w 2391727"/>
                    <a:gd name="connsiteY277" fmla="*/ 160020 h 929639"/>
                    <a:gd name="connsiteX278" fmla="*/ 1518285 w 2391727"/>
                    <a:gd name="connsiteY278" fmla="*/ 171450 h 929639"/>
                    <a:gd name="connsiteX279" fmla="*/ 1539240 w 2391727"/>
                    <a:gd name="connsiteY279" fmla="*/ 169545 h 929639"/>
                    <a:gd name="connsiteX280" fmla="*/ 1573530 w 2391727"/>
                    <a:gd name="connsiteY280" fmla="*/ 157163 h 929639"/>
                    <a:gd name="connsiteX281" fmla="*/ 1640205 w 2391727"/>
                    <a:gd name="connsiteY281" fmla="*/ 144780 h 929639"/>
                    <a:gd name="connsiteX282" fmla="*/ 1689735 w 2391727"/>
                    <a:gd name="connsiteY282" fmla="*/ 162877 h 929639"/>
                    <a:gd name="connsiteX283" fmla="*/ 1713547 w 2391727"/>
                    <a:gd name="connsiteY283" fmla="*/ 163830 h 929639"/>
                    <a:gd name="connsiteX284" fmla="*/ 1729740 w 2391727"/>
                    <a:gd name="connsiteY284" fmla="*/ 168592 h 929639"/>
                    <a:gd name="connsiteX285" fmla="*/ 1745932 w 2391727"/>
                    <a:gd name="connsiteY285" fmla="*/ 165735 h 929639"/>
                    <a:gd name="connsiteX286" fmla="*/ 1793557 w 2391727"/>
                    <a:gd name="connsiteY286" fmla="*/ 143827 h 929639"/>
                    <a:gd name="connsiteX287" fmla="*/ 1806892 w 2391727"/>
                    <a:gd name="connsiteY287" fmla="*/ 132397 h 929639"/>
                    <a:gd name="connsiteX288" fmla="*/ 1823085 w 2391727"/>
                    <a:gd name="connsiteY288" fmla="*/ 128588 h 929639"/>
                    <a:gd name="connsiteX289" fmla="*/ 1872615 w 2391727"/>
                    <a:gd name="connsiteY289" fmla="*/ 97155 h 929639"/>
                    <a:gd name="connsiteX290" fmla="*/ 1881188 w 2391727"/>
                    <a:gd name="connsiteY290" fmla="*/ 83820 h 929639"/>
                    <a:gd name="connsiteX291" fmla="*/ 243840 w 2391727"/>
                    <a:gd name="connsiteY291" fmla="*/ 16192 h 929639"/>
                    <a:gd name="connsiteX292" fmla="*/ 242888 w 2391727"/>
                    <a:gd name="connsiteY292" fmla="*/ 33338 h 929639"/>
                    <a:gd name="connsiteX293" fmla="*/ 252413 w 2391727"/>
                    <a:gd name="connsiteY293" fmla="*/ 52388 h 929639"/>
                    <a:gd name="connsiteX294" fmla="*/ 274320 w 2391727"/>
                    <a:gd name="connsiteY294" fmla="*/ 78105 h 929639"/>
                    <a:gd name="connsiteX295" fmla="*/ 293370 w 2391727"/>
                    <a:gd name="connsiteY295" fmla="*/ 91440 h 929639"/>
                    <a:gd name="connsiteX296" fmla="*/ 370522 w 2391727"/>
                    <a:gd name="connsiteY296" fmla="*/ 122872 h 929639"/>
                    <a:gd name="connsiteX297" fmla="*/ 383857 w 2391727"/>
                    <a:gd name="connsiteY297" fmla="*/ 125730 h 929639"/>
                    <a:gd name="connsiteX298" fmla="*/ 375285 w 2391727"/>
                    <a:gd name="connsiteY298" fmla="*/ 159067 h 929639"/>
                    <a:gd name="connsiteX299" fmla="*/ 355282 w 2391727"/>
                    <a:gd name="connsiteY299" fmla="*/ 163830 h 929639"/>
                    <a:gd name="connsiteX300" fmla="*/ 294322 w 2391727"/>
                    <a:gd name="connsiteY300" fmla="*/ 149542 h 929639"/>
                    <a:gd name="connsiteX301" fmla="*/ 279082 w 2391727"/>
                    <a:gd name="connsiteY301" fmla="*/ 148590 h 929639"/>
                    <a:gd name="connsiteX302" fmla="*/ 251460 w 2391727"/>
                    <a:gd name="connsiteY302" fmla="*/ 161925 h 929639"/>
                    <a:gd name="connsiteX303" fmla="*/ 229552 w 2391727"/>
                    <a:gd name="connsiteY303" fmla="*/ 158115 h 929639"/>
                    <a:gd name="connsiteX304" fmla="*/ 200025 w 2391727"/>
                    <a:gd name="connsiteY304" fmla="*/ 163830 h 929639"/>
                    <a:gd name="connsiteX305" fmla="*/ 194310 w 2391727"/>
                    <a:gd name="connsiteY305" fmla="*/ 183832 h 929639"/>
                    <a:gd name="connsiteX306" fmla="*/ 175260 w 2391727"/>
                    <a:gd name="connsiteY306" fmla="*/ 206692 h 929639"/>
                    <a:gd name="connsiteX307" fmla="*/ 143827 w 2391727"/>
                    <a:gd name="connsiteY307" fmla="*/ 224790 h 929639"/>
                    <a:gd name="connsiteX308" fmla="*/ 120015 w 2391727"/>
                    <a:gd name="connsiteY308" fmla="*/ 234315 h 929639"/>
                    <a:gd name="connsiteX309" fmla="*/ 86677 w 2391727"/>
                    <a:gd name="connsiteY309" fmla="*/ 269557 h 929639"/>
                    <a:gd name="connsiteX310" fmla="*/ 72390 w 2391727"/>
                    <a:gd name="connsiteY310" fmla="*/ 290513 h 929639"/>
                    <a:gd name="connsiteX311" fmla="*/ 58102 w 2391727"/>
                    <a:gd name="connsiteY311" fmla="*/ 297180 h 929639"/>
                    <a:gd name="connsiteX312" fmla="*/ 62865 w 2391727"/>
                    <a:gd name="connsiteY312" fmla="*/ 278130 h 929639"/>
                    <a:gd name="connsiteX313" fmla="*/ 60007 w 2391727"/>
                    <a:gd name="connsiteY313" fmla="*/ 261938 h 929639"/>
                    <a:gd name="connsiteX314" fmla="*/ 81915 w 2391727"/>
                    <a:gd name="connsiteY314" fmla="*/ 242888 h 929639"/>
                    <a:gd name="connsiteX315" fmla="*/ 113347 w 2391727"/>
                    <a:gd name="connsiteY315" fmla="*/ 227647 h 929639"/>
                    <a:gd name="connsiteX316" fmla="*/ 120015 w 2391727"/>
                    <a:gd name="connsiteY316" fmla="*/ 215265 h 929639"/>
                    <a:gd name="connsiteX317" fmla="*/ 68580 w 2391727"/>
                    <a:gd name="connsiteY317" fmla="*/ 218122 h 929639"/>
                    <a:gd name="connsiteX318" fmla="*/ 37147 w 2391727"/>
                    <a:gd name="connsiteY318" fmla="*/ 218122 h 929639"/>
                    <a:gd name="connsiteX319" fmla="*/ 27622 w 2391727"/>
                    <a:gd name="connsiteY319" fmla="*/ 200977 h 929639"/>
                    <a:gd name="connsiteX320" fmla="*/ 35242 w 2391727"/>
                    <a:gd name="connsiteY320" fmla="*/ 197167 h 929639"/>
                    <a:gd name="connsiteX321" fmla="*/ 59055 w 2391727"/>
                    <a:gd name="connsiteY321" fmla="*/ 166688 h 929639"/>
                    <a:gd name="connsiteX322" fmla="*/ 54292 w 2391727"/>
                    <a:gd name="connsiteY322" fmla="*/ 124777 h 929639"/>
                    <a:gd name="connsiteX323" fmla="*/ 86677 w 2391727"/>
                    <a:gd name="connsiteY323" fmla="*/ 100965 h 929639"/>
                    <a:gd name="connsiteX324" fmla="*/ 78105 w 2391727"/>
                    <a:gd name="connsiteY324" fmla="*/ 71438 h 929639"/>
                    <a:gd name="connsiteX325" fmla="*/ 56197 w 2391727"/>
                    <a:gd name="connsiteY325" fmla="*/ 57150 h 929639"/>
                    <a:gd name="connsiteX326" fmla="*/ 44767 w 2391727"/>
                    <a:gd name="connsiteY326" fmla="*/ 54292 h 929639"/>
                    <a:gd name="connsiteX327" fmla="*/ 47625 w 2391727"/>
                    <a:gd name="connsiteY327" fmla="*/ 40957 h 929639"/>
                    <a:gd name="connsiteX328" fmla="*/ 65722 w 2391727"/>
                    <a:gd name="connsiteY328" fmla="*/ 38100 h 929639"/>
                    <a:gd name="connsiteX329" fmla="*/ 75247 w 2391727"/>
                    <a:gd name="connsiteY329" fmla="*/ 17145 h 929639"/>
                    <a:gd name="connsiteX330" fmla="*/ 107632 w 2391727"/>
                    <a:gd name="connsiteY330" fmla="*/ 13335 h 929639"/>
                    <a:gd name="connsiteX331" fmla="*/ 121920 w 2391727"/>
                    <a:gd name="connsiteY331" fmla="*/ 2857 h 929639"/>
                    <a:gd name="connsiteX332" fmla="*/ 155257 w 2391727"/>
                    <a:gd name="connsiteY332" fmla="*/ 0 h 929639"/>
                    <a:gd name="connsiteX333" fmla="*/ 187642 w 2391727"/>
                    <a:gd name="connsiteY333" fmla="*/ 23813 h 929639"/>
                    <a:gd name="connsiteX334" fmla="*/ 201930 w 2391727"/>
                    <a:gd name="connsiteY334" fmla="*/ 18097 h 929639"/>
                    <a:gd name="connsiteX335" fmla="*/ 219075 w 2391727"/>
                    <a:gd name="connsiteY335" fmla="*/ 18097 h 929639"/>
                    <a:gd name="connsiteX336" fmla="*/ 227647 w 2391727"/>
                    <a:gd name="connsiteY336" fmla="*/ 14288 h 929639"/>
                    <a:gd name="connsiteX337" fmla="*/ 243840 w 2391727"/>
                    <a:gd name="connsiteY337" fmla="*/ 16192 h 929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2391727" h="929639">
                      <a:moveTo>
                        <a:pt x="28575" y="288607"/>
                      </a:moveTo>
                      <a:lnTo>
                        <a:pt x="952" y="293370"/>
                      </a:lnTo>
                      <a:lnTo>
                        <a:pt x="0" y="279082"/>
                      </a:lnTo>
                      <a:lnTo>
                        <a:pt x="20955" y="273367"/>
                      </a:lnTo>
                      <a:lnTo>
                        <a:pt x="28575" y="288607"/>
                      </a:lnTo>
                      <a:close/>
                      <a:moveTo>
                        <a:pt x="1881188" y="83820"/>
                      </a:moveTo>
                      <a:lnTo>
                        <a:pt x="1922145" y="96202"/>
                      </a:lnTo>
                      <a:lnTo>
                        <a:pt x="1932622" y="86677"/>
                      </a:lnTo>
                      <a:lnTo>
                        <a:pt x="1966913" y="87630"/>
                      </a:lnTo>
                      <a:lnTo>
                        <a:pt x="1999297" y="95250"/>
                      </a:lnTo>
                      <a:lnTo>
                        <a:pt x="2007870" y="77152"/>
                      </a:lnTo>
                      <a:lnTo>
                        <a:pt x="2021205" y="73342"/>
                      </a:lnTo>
                      <a:lnTo>
                        <a:pt x="2034540" y="76200"/>
                      </a:lnTo>
                      <a:lnTo>
                        <a:pt x="2040255" y="86677"/>
                      </a:lnTo>
                      <a:lnTo>
                        <a:pt x="2051685" y="90488"/>
                      </a:lnTo>
                      <a:lnTo>
                        <a:pt x="2085022" y="114300"/>
                      </a:lnTo>
                      <a:lnTo>
                        <a:pt x="2095500" y="130492"/>
                      </a:lnTo>
                      <a:lnTo>
                        <a:pt x="2113597" y="132397"/>
                      </a:lnTo>
                      <a:lnTo>
                        <a:pt x="2125980" y="143827"/>
                      </a:lnTo>
                      <a:lnTo>
                        <a:pt x="2138363" y="159067"/>
                      </a:lnTo>
                      <a:lnTo>
                        <a:pt x="2154555" y="170497"/>
                      </a:lnTo>
                      <a:lnTo>
                        <a:pt x="2170747" y="201930"/>
                      </a:lnTo>
                      <a:lnTo>
                        <a:pt x="2168842" y="223838"/>
                      </a:lnTo>
                      <a:lnTo>
                        <a:pt x="2159317" y="237172"/>
                      </a:lnTo>
                      <a:lnTo>
                        <a:pt x="2166938" y="255270"/>
                      </a:lnTo>
                      <a:lnTo>
                        <a:pt x="2185035" y="283845"/>
                      </a:lnTo>
                      <a:lnTo>
                        <a:pt x="2180272" y="289560"/>
                      </a:lnTo>
                      <a:lnTo>
                        <a:pt x="2197417" y="298132"/>
                      </a:lnTo>
                      <a:lnTo>
                        <a:pt x="2225040" y="306705"/>
                      </a:lnTo>
                      <a:lnTo>
                        <a:pt x="2258377" y="302895"/>
                      </a:lnTo>
                      <a:lnTo>
                        <a:pt x="2273617" y="309563"/>
                      </a:lnTo>
                      <a:lnTo>
                        <a:pt x="2295525" y="325755"/>
                      </a:lnTo>
                      <a:lnTo>
                        <a:pt x="2326005" y="352425"/>
                      </a:lnTo>
                      <a:lnTo>
                        <a:pt x="2333625" y="360997"/>
                      </a:lnTo>
                      <a:lnTo>
                        <a:pt x="2302192" y="342900"/>
                      </a:lnTo>
                      <a:lnTo>
                        <a:pt x="2288858" y="358140"/>
                      </a:lnTo>
                      <a:lnTo>
                        <a:pt x="2287905" y="394335"/>
                      </a:lnTo>
                      <a:lnTo>
                        <a:pt x="2282190" y="398145"/>
                      </a:lnTo>
                      <a:lnTo>
                        <a:pt x="2255520" y="397192"/>
                      </a:lnTo>
                      <a:lnTo>
                        <a:pt x="2244090" y="401002"/>
                      </a:lnTo>
                      <a:lnTo>
                        <a:pt x="2255520" y="424815"/>
                      </a:lnTo>
                      <a:lnTo>
                        <a:pt x="2268855" y="436245"/>
                      </a:lnTo>
                      <a:lnTo>
                        <a:pt x="2268855" y="458152"/>
                      </a:lnTo>
                      <a:lnTo>
                        <a:pt x="2288858" y="481965"/>
                      </a:lnTo>
                      <a:lnTo>
                        <a:pt x="2290763" y="501967"/>
                      </a:lnTo>
                      <a:lnTo>
                        <a:pt x="2299335" y="522922"/>
                      </a:lnTo>
                      <a:lnTo>
                        <a:pt x="2302192" y="543877"/>
                      </a:lnTo>
                      <a:lnTo>
                        <a:pt x="2306955" y="550545"/>
                      </a:lnTo>
                      <a:lnTo>
                        <a:pt x="2320290" y="553402"/>
                      </a:lnTo>
                      <a:lnTo>
                        <a:pt x="2314575" y="589597"/>
                      </a:lnTo>
                      <a:lnTo>
                        <a:pt x="2308860" y="601027"/>
                      </a:lnTo>
                      <a:lnTo>
                        <a:pt x="2305050" y="620077"/>
                      </a:lnTo>
                      <a:lnTo>
                        <a:pt x="2321242" y="625792"/>
                      </a:lnTo>
                      <a:lnTo>
                        <a:pt x="2351722" y="644842"/>
                      </a:lnTo>
                      <a:lnTo>
                        <a:pt x="2352675" y="657225"/>
                      </a:lnTo>
                      <a:lnTo>
                        <a:pt x="2358390" y="671513"/>
                      </a:lnTo>
                      <a:lnTo>
                        <a:pt x="2361247" y="690563"/>
                      </a:lnTo>
                      <a:lnTo>
                        <a:pt x="2391727" y="712470"/>
                      </a:lnTo>
                      <a:lnTo>
                        <a:pt x="2391727" y="734377"/>
                      </a:lnTo>
                      <a:lnTo>
                        <a:pt x="2371725" y="729615"/>
                      </a:lnTo>
                      <a:lnTo>
                        <a:pt x="2336483" y="759142"/>
                      </a:lnTo>
                      <a:lnTo>
                        <a:pt x="2325052" y="747713"/>
                      </a:lnTo>
                      <a:lnTo>
                        <a:pt x="2322195" y="724852"/>
                      </a:lnTo>
                      <a:lnTo>
                        <a:pt x="2307908" y="710565"/>
                      </a:lnTo>
                      <a:lnTo>
                        <a:pt x="2295525" y="708660"/>
                      </a:lnTo>
                      <a:lnTo>
                        <a:pt x="2275522" y="721995"/>
                      </a:lnTo>
                      <a:lnTo>
                        <a:pt x="2235517" y="719138"/>
                      </a:lnTo>
                      <a:lnTo>
                        <a:pt x="2207895" y="708660"/>
                      </a:lnTo>
                      <a:lnTo>
                        <a:pt x="2180272" y="701040"/>
                      </a:lnTo>
                      <a:lnTo>
                        <a:pt x="2162175" y="706755"/>
                      </a:lnTo>
                      <a:lnTo>
                        <a:pt x="2141220" y="700088"/>
                      </a:lnTo>
                      <a:lnTo>
                        <a:pt x="2126933" y="718185"/>
                      </a:lnTo>
                      <a:lnTo>
                        <a:pt x="2107883" y="736282"/>
                      </a:lnTo>
                      <a:lnTo>
                        <a:pt x="2096452" y="739140"/>
                      </a:lnTo>
                      <a:lnTo>
                        <a:pt x="2081213" y="714375"/>
                      </a:lnTo>
                      <a:lnTo>
                        <a:pt x="2068830" y="712470"/>
                      </a:lnTo>
                      <a:lnTo>
                        <a:pt x="2057400" y="724852"/>
                      </a:lnTo>
                      <a:lnTo>
                        <a:pt x="2036445" y="732472"/>
                      </a:lnTo>
                      <a:lnTo>
                        <a:pt x="1992630" y="741997"/>
                      </a:lnTo>
                      <a:lnTo>
                        <a:pt x="1962150" y="744855"/>
                      </a:lnTo>
                      <a:lnTo>
                        <a:pt x="1923097" y="739140"/>
                      </a:lnTo>
                      <a:lnTo>
                        <a:pt x="1892617" y="741045"/>
                      </a:lnTo>
                      <a:lnTo>
                        <a:pt x="1863090" y="754380"/>
                      </a:lnTo>
                      <a:lnTo>
                        <a:pt x="1813560" y="781050"/>
                      </a:lnTo>
                      <a:lnTo>
                        <a:pt x="1774507" y="794385"/>
                      </a:lnTo>
                      <a:lnTo>
                        <a:pt x="1734502" y="802957"/>
                      </a:lnTo>
                      <a:lnTo>
                        <a:pt x="1662113" y="801052"/>
                      </a:lnTo>
                      <a:lnTo>
                        <a:pt x="1651635" y="798195"/>
                      </a:lnTo>
                      <a:lnTo>
                        <a:pt x="1618297" y="776288"/>
                      </a:lnTo>
                      <a:lnTo>
                        <a:pt x="1585913" y="770572"/>
                      </a:lnTo>
                      <a:lnTo>
                        <a:pt x="1553527" y="785813"/>
                      </a:lnTo>
                      <a:lnTo>
                        <a:pt x="1531620" y="793432"/>
                      </a:lnTo>
                      <a:lnTo>
                        <a:pt x="1498282" y="808672"/>
                      </a:lnTo>
                      <a:lnTo>
                        <a:pt x="1452563" y="807720"/>
                      </a:lnTo>
                      <a:lnTo>
                        <a:pt x="1434465" y="791527"/>
                      </a:lnTo>
                      <a:lnTo>
                        <a:pt x="1399222" y="784860"/>
                      </a:lnTo>
                      <a:lnTo>
                        <a:pt x="1393507" y="800100"/>
                      </a:lnTo>
                      <a:lnTo>
                        <a:pt x="1390650" y="836295"/>
                      </a:lnTo>
                      <a:lnTo>
                        <a:pt x="1407795" y="865822"/>
                      </a:lnTo>
                      <a:lnTo>
                        <a:pt x="1376363" y="879157"/>
                      </a:lnTo>
                      <a:lnTo>
                        <a:pt x="1376363" y="903922"/>
                      </a:lnTo>
                      <a:lnTo>
                        <a:pt x="1359217" y="914400"/>
                      </a:lnTo>
                      <a:lnTo>
                        <a:pt x="1351597" y="929640"/>
                      </a:lnTo>
                      <a:lnTo>
                        <a:pt x="1330642" y="918210"/>
                      </a:lnTo>
                      <a:lnTo>
                        <a:pt x="1321117" y="917257"/>
                      </a:lnTo>
                      <a:lnTo>
                        <a:pt x="1327785" y="904875"/>
                      </a:lnTo>
                      <a:lnTo>
                        <a:pt x="1303972" y="858202"/>
                      </a:lnTo>
                      <a:lnTo>
                        <a:pt x="1310640" y="843915"/>
                      </a:lnTo>
                      <a:lnTo>
                        <a:pt x="1343977" y="806767"/>
                      </a:lnTo>
                      <a:lnTo>
                        <a:pt x="1340167" y="783907"/>
                      </a:lnTo>
                      <a:lnTo>
                        <a:pt x="1321117" y="768667"/>
                      </a:lnTo>
                      <a:lnTo>
                        <a:pt x="1293495" y="788670"/>
                      </a:lnTo>
                      <a:lnTo>
                        <a:pt x="1277302" y="796290"/>
                      </a:lnTo>
                      <a:lnTo>
                        <a:pt x="1274445" y="807720"/>
                      </a:lnTo>
                      <a:lnTo>
                        <a:pt x="1263967" y="815340"/>
                      </a:lnTo>
                      <a:lnTo>
                        <a:pt x="1246822" y="819150"/>
                      </a:lnTo>
                      <a:lnTo>
                        <a:pt x="1219200" y="809625"/>
                      </a:lnTo>
                      <a:lnTo>
                        <a:pt x="1188720" y="796290"/>
                      </a:lnTo>
                      <a:lnTo>
                        <a:pt x="1170622" y="785813"/>
                      </a:lnTo>
                      <a:lnTo>
                        <a:pt x="1157288" y="782955"/>
                      </a:lnTo>
                      <a:lnTo>
                        <a:pt x="1144905" y="787717"/>
                      </a:lnTo>
                      <a:lnTo>
                        <a:pt x="1111567" y="814388"/>
                      </a:lnTo>
                      <a:lnTo>
                        <a:pt x="1082040" y="853440"/>
                      </a:lnTo>
                      <a:lnTo>
                        <a:pt x="1074420" y="861060"/>
                      </a:lnTo>
                      <a:lnTo>
                        <a:pt x="1043940" y="877252"/>
                      </a:lnTo>
                      <a:lnTo>
                        <a:pt x="1022985" y="882967"/>
                      </a:lnTo>
                      <a:lnTo>
                        <a:pt x="1013460" y="882015"/>
                      </a:lnTo>
                      <a:lnTo>
                        <a:pt x="971550" y="889635"/>
                      </a:lnTo>
                      <a:lnTo>
                        <a:pt x="950595" y="890588"/>
                      </a:lnTo>
                      <a:lnTo>
                        <a:pt x="935355" y="899160"/>
                      </a:lnTo>
                      <a:lnTo>
                        <a:pt x="902017" y="889635"/>
                      </a:lnTo>
                      <a:lnTo>
                        <a:pt x="881063" y="877252"/>
                      </a:lnTo>
                      <a:lnTo>
                        <a:pt x="867727" y="864870"/>
                      </a:lnTo>
                      <a:lnTo>
                        <a:pt x="845820" y="837247"/>
                      </a:lnTo>
                      <a:lnTo>
                        <a:pt x="830580" y="824865"/>
                      </a:lnTo>
                      <a:lnTo>
                        <a:pt x="799147" y="813435"/>
                      </a:lnTo>
                      <a:lnTo>
                        <a:pt x="743902" y="784860"/>
                      </a:lnTo>
                      <a:lnTo>
                        <a:pt x="693420" y="778192"/>
                      </a:lnTo>
                      <a:lnTo>
                        <a:pt x="655320" y="775335"/>
                      </a:lnTo>
                      <a:lnTo>
                        <a:pt x="648652" y="785813"/>
                      </a:lnTo>
                      <a:lnTo>
                        <a:pt x="649605" y="825817"/>
                      </a:lnTo>
                      <a:lnTo>
                        <a:pt x="644842" y="837247"/>
                      </a:lnTo>
                      <a:lnTo>
                        <a:pt x="643890" y="858202"/>
                      </a:lnTo>
                      <a:lnTo>
                        <a:pt x="633413" y="868680"/>
                      </a:lnTo>
                      <a:lnTo>
                        <a:pt x="613410" y="859155"/>
                      </a:lnTo>
                      <a:lnTo>
                        <a:pt x="595313" y="867727"/>
                      </a:lnTo>
                      <a:lnTo>
                        <a:pt x="560070" y="880110"/>
                      </a:lnTo>
                      <a:lnTo>
                        <a:pt x="548640" y="881063"/>
                      </a:lnTo>
                      <a:lnTo>
                        <a:pt x="504825" y="865822"/>
                      </a:lnTo>
                      <a:lnTo>
                        <a:pt x="477202" y="845820"/>
                      </a:lnTo>
                      <a:lnTo>
                        <a:pt x="471488" y="826770"/>
                      </a:lnTo>
                      <a:lnTo>
                        <a:pt x="459105" y="801052"/>
                      </a:lnTo>
                      <a:lnTo>
                        <a:pt x="441960" y="803910"/>
                      </a:lnTo>
                      <a:lnTo>
                        <a:pt x="420052" y="800100"/>
                      </a:lnTo>
                      <a:lnTo>
                        <a:pt x="389572" y="784860"/>
                      </a:lnTo>
                      <a:lnTo>
                        <a:pt x="366713" y="783907"/>
                      </a:lnTo>
                      <a:lnTo>
                        <a:pt x="355282" y="802005"/>
                      </a:lnTo>
                      <a:lnTo>
                        <a:pt x="345757" y="808672"/>
                      </a:lnTo>
                      <a:lnTo>
                        <a:pt x="333375" y="804863"/>
                      </a:lnTo>
                      <a:lnTo>
                        <a:pt x="340995" y="792480"/>
                      </a:lnTo>
                      <a:lnTo>
                        <a:pt x="305752" y="794385"/>
                      </a:lnTo>
                      <a:lnTo>
                        <a:pt x="288607" y="803910"/>
                      </a:lnTo>
                      <a:lnTo>
                        <a:pt x="274320" y="802957"/>
                      </a:lnTo>
                      <a:lnTo>
                        <a:pt x="264795" y="793432"/>
                      </a:lnTo>
                      <a:lnTo>
                        <a:pt x="283845" y="787717"/>
                      </a:lnTo>
                      <a:lnTo>
                        <a:pt x="320992" y="783907"/>
                      </a:lnTo>
                      <a:lnTo>
                        <a:pt x="329565" y="780097"/>
                      </a:lnTo>
                      <a:lnTo>
                        <a:pt x="338138" y="767715"/>
                      </a:lnTo>
                      <a:lnTo>
                        <a:pt x="354330" y="756285"/>
                      </a:lnTo>
                      <a:lnTo>
                        <a:pt x="342900" y="751522"/>
                      </a:lnTo>
                      <a:lnTo>
                        <a:pt x="285750" y="754380"/>
                      </a:lnTo>
                      <a:lnTo>
                        <a:pt x="245745" y="752475"/>
                      </a:lnTo>
                      <a:lnTo>
                        <a:pt x="236220" y="759142"/>
                      </a:lnTo>
                      <a:lnTo>
                        <a:pt x="232410" y="743902"/>
                      </a:lnTo>
                      <a:lnTo>
                        <a:pt x="266700" y="730567"/>
                      </a:lnTo>
                      <a:lnTo>
                        <a:pt x="263842" y="718185"/>
                      </a:lnTo>
                      <a:lnTo>
                        <a:pt x="223838" y="697230"/>
                      </a:lnTo>
                      <a:lnTo>
                        <a:pt x="220980" y="681990"/>
                      </a:lnTo>
                      <a:lnTo>
                        <a:pt x="201930" y="652463"/>
                      </a:lnTo>
                      <a:lnTo>
                        <a:pt x="220027" y="647700"/>
                      </a:lnTo>
                      <a:lnTo>
                        <a:pt x="220980" y="623888"/>
                      </a:lnTo>
                      <a:lnTo>
                        <a:pt x="217170" y="609600"/>
                      </a:lnTo>
                      <a:lnTo>
                        <a:pt x="180022" y="597217"/>
                      </a:lnTo>
                      <a:lnTo>
                        <a:pt x="172402" y="598170"/>
                      </a:lnTo>
                      <a:lnTo>
                        <a:pt x="161925" y="585788"/>
                      </a:lnTo>
                      <a:lnTo>
                        <a:pt x="145732" y="577215"/>
                      </a:lnTo>
                      <a:lnTo>
                        <a:pt x="134302" y="583882"/>
                      </a:lnTo>
                      <a:lnTo>
                        <a:pt x="102870" y="570547"/>
                      </a:lnTo>
                      <a:lnTo>
                        <a:pt x="97155" y="564832"/>
                      </a:lnTo>
                      <a:lnTo>
                        <a:pt x="101917" y="551497"/>
                      </a:lnTo>
                      <a:lnTo>
                        <a:pt x="111442" y="541020"/>
                      </a:lnTo>
                      <a:lnTo>
                        <a:pt x="102870" y="522922"/>
                      </a:lnTo>
                      <a:lnTo>
                        <a:pt x="101917" y="513397"/>
                      </a:lnTo>
                      <a:lnTo>
                        <a:pt x="119063" y="512445"/>
                      </a:lnTo>
                      <a:lnTo>
                        <a:pt x="128588" y="522922"/>
                      </a:lnTo>
                      <a:lnTo>
                        <a:pt x="131445" y="543877"/>
                      </a:lnTo>
                      <a:lnTo>
                        <a:pt x="165735" y="550545"/>
                      </a:lnTo>
                      <a:lnTo>
                        <a:pt x="193357" y="544830"/>
                      </a:lnTo>
                      <a:lnTo>
                        <a:pt x="169545" y="534352"/>
                      </a:lnTo>
                      <a:lnTo>
                        <a:pt x="159067" y="522922"/>
                      </a:lnTo>
                      <a:lnTo>
                        <a:pt x="147638" y="501015"/>
                      </a:lnTo>
                      <a:lnTo>
                        <a:pt x="164782" y="490538"/>
                      </a:lnTo>
                      <a:lnTo>
                        <a:pt x="176213" y="474345"/>
                      </a:lnTo>
                      <a:lnTo>
                        <a:pt x="150495" y="462915"/>
                      </a:lnTo>
                      <a:lnTo>
                        <a:pt x="152400" y="440055"/>
                      </a:lnTo>
                      <a:lnTo>
                        <a:pt x="128588" y="414338"/>
                      </a:lnTo>
                      <a:lnTo>
                        <a:pt x="131445" y="406717"/>
                      </a:lnTo>
                      <a:lnTo>
                        <a:pt x="153352" y="380047"/>
                      </a:lnTo>
                      <a:lnTo>
                        <a:pt x="141922" y="373380"/>
                      </a:lnTo>
                      <a:lnTo>
                        <a:pt x="100965" y="380047"/>
                      </a:lnTo>
                      <a:lnTo>
                        <a:pt x="85725" y="385763"/>
                      </a:lnTo>
                      <a:lnTo>
                        <a:pt x="56197" y="387667"/>
                      </a:lnTo>
                      <a:lnTo>
                        <a:pt x="53340" y="372427"/>
                      </a:lnTo>
                      <a:lnTo>
                        <a:pt x="59055" y="360045"/>
                      </a:lnTo>
                      <a:lnTo>
                        <a:pt x="54292" y="327660"/>
                      </a:lnTo>
                      <a:lnTo>
                        <a:pt x="56197" y="310515"/>
                      </a:lnTo>
                      <a:lnTo>
                        <a:pt x="72390" y="304800"/>
                      </a:lnTo>
                      <a:lnTo>
                        <a:pt x="88582" y="279082"/>
                      </a:lnTo>
                      <a:lnTo>
                        <a:pt x="117157" y="249555"/>
                      </a:lnTo>
                      <a:lnTo>
                        <a:pt x="150495" y="249555"/>
                      </a:lnTo>
                      <a:lnTo>
                        <a:pt x="162877" y="240982"/>
                      </a:lnTo>
                      <a:lnTo>
                        <a:pt x="182880" y="240982"/>
                      </a:lnTo>
                      <a:lnTo>
                        <a:pt x="190500" y="252413"/>
                      </a:lnTo>
                      <a:lnTo>
                        <a:pt x="208597" y="260985"/>
                      </a:lnTo>
                      <a:lnTo>
                        <a:pt x="239077" y="260032"/>
                      </a:lnTo>
                      <a:lnTo>
                        <a:pt x="252413" y="251460"/>
                      </a:lnTo>
                      <a:lnTo>
                        <a:pt x="237172" y="237172"/>
                      </a:lnTo>
                      <a:lnTo>
                        <a:pt x="253365" y="232410"/>
                      </a:lnTo>
                      <a:lnTo>
                        <a:pt x="267652" y="236220"/>
                      </a:lnTo>
                      <a:lnTo>
                        <a:pt x="266700" y="253365"/>
                      </a:lnTo>
                      <a:lnTo>
                        <a:pt x="305752" y="248602"/>
                      </a:lnTo>
                      <a:lnTo>
                        <a:pt x="347663" y="252413"/>
                      </a:lnTo>
                      <a:lnTo>
                        <a:pt x="360997" y="250507"/>
                      </a:lnTo>
                      <a:lnTo>
                        <a:pt x="393382" y="250507"/>
                      </a:lnTo>
                      <a:lnTo>
                        <a:pt x="398145" y="245745"/>
                      </a:lnTo>
                      <a:lnTo>
                        <a:pt x="363855" y="229552"/>
                      </a:lnTo>
                      <a:lnTo>
                        <a:pt x="382905" y="215265"/>
                      </a:lnTo>
                      <a:lnTo>
                        <a:pt x="447675" y="203835"/>
                      </a:lnTo>
                      <a:lnTo>
                        <a:pt x="482917" y="196215"/>
                      </a:lnTo>
                      <a:lnTo>
                        <a:pt x="428625" y="188595"/>
                      </a:lnTo>
                      <a:lnTo>
                        <a:pt x="415290" y="182880"/>
                      </a:lnTo>
                      <a:lnTo>
                        <a:pt x="396240" y="169545"/>
                      </a:lnTo>
                      <a:lnTo>
                        <a:pt x="386715" y="159067"/>
                      </a:lnTo>
                      <a:lnTo>
                        <a:pt x="389572" y="134302"/>
                      </a:lnTo>
                      <a:lnTo>
                        <a:pt x="395288" y="127635"/>
                      </a:lnTo>
                      <a:lnTo>
                        <a:pt x="416242" y="126682"/>
                      </a:lnTo>
                      <a:lnTo>
                        <a:pt x="489585" y="138113"/>
                      </a:lnTo>
                      <a:lnTo>
                        <a:pt x="540067" y="130492"/>
                      </a:lnTo>
                      <a:lnTo>
                        <a:pt x="598170" y="147638"/>
                      </a:lnTo>
                      <a:lnTo>
                        <a:pt x="651510" y="143827"/>
                      </a:lnTo>
                      <a:lnTo>
                        <a:pt x="661988" y="137160"/>
                      </a:lnTo>
                      <a:lnTo>
                        <a:pt x="672465" y="112395"/>
                      </a:lnTo>
                      <a:lnTo>
                        <a:pt x="742950" y="72390"/>
                      </a:lnTo>
                      <a:lnTo>
                        <a:pt x="765810" y="52388"/>
                      </a:lnTo>
                      <a:lnTo>
                        <a:pt x="792480" y="40957"/>
                      </a:lnTo>
                      <a:lnTo>
                        <a:pt x="840105" y="27622"/>
                      </a:lnTo>
                      <a:lnTo>
                        <a:pt x="878205" y="11430"/>
                      </a:lnTo>
                      <a:lnTo>
                        <a:pt x="889635" y="9525"/>
                      </a:lnTo>
                      <a:lnTo>
                        <a:pt x="988695" y="17145"/>
                      </a:lnTo>
                      <a:lnTo>
                        <a:pt x="1055370" y="18097"/>
                      </a:lnTo>
                      <a:lnTo>
                        <a:pt x="1083945" y="2857"/>
                      </a:lnTo>
                      <a:lnTo>
                        <a:pt x="1102995" y="7620"/>
                      </a:lnTo>
                      <a:lnTo>
                        <a:pt x="1102042" y="27622"/>
                      </a:lnTo>
                      <a:lnTo>
                        <a:pt x="1126807" y="52388"/>
                      </a:lnTo>
                      <a:lnTo>
                        <a:pt x="1160145" y="65722"/>
                      </a:lnTo>
                      <a:lnTo>
                        <a:pt x="1202055" y="54292"/>
                      </a:lnTo>
                      <a:lnTo>
                        <a:pt x="1219200" y="59055"/>
                      </a:lnTo>
                      <a:lnTo>
                        <a:pt x="1240155" y="97155"/>
                      </a:lnTo>
                      <a:lnTo>
                        <a:pt x="1254442" y="110490"/>
                      </a:lnTo>
                      <a:lnTo>
                        <a:pt x="1271588" y="119063"/>
                      </a:lnTo>
                      <a:lnTo>
                        <a:pt x="1283970" y="120967"/>
                      </a:lnTo>
                      <a:lnTo>
                        <a:pt x="1298257" y="107632"/>
                      </a:lnTo>
                      <a:lnTo>
                        <a:pt x="1314450" y="106680"/>
                      </a:lnTo>
                      <a:lnTo>
                        <a:pt x="1342072" y="119063"/>
                      </a:lnTo>
                      <a:lnTo>
                        <a:pt x="1353502" y="132397"/>
                      </a:lnTo>
                      <a:lnTo>
                        <a:pt x="1399222" y="142875"/>
                      </a:lnTo>
                      <a:lnTo>
                        <a:pt x="1440180" y="148590"/>
                      </a:lnTo>
                      <a:lnTo>
                        <a:pt x="1459230" y="160020"/>
                      </a:lnTo>
                      <a:lnTo>
                        <a:pt x="1518285" y="171450"/>
                      </a:lnTo>
                      <a:lnTo>
                        <a:pt x="1539240" y="169545"/>
                      </a:lnTo>
                      <a:lnTo>
                        <a:pt x="1573530" y="157163"/>
                      </a:lnTo>
                      <a:lnTo>
                        <a:pt x="1640205" y="144780"/>
                      </a:lnTo>
                      <a:lnTo>
                        <a:pt x="1689735" y="162877"/>
                      </a:lnTo>
                      <a:lnTo>
                        <a:pt x="1713547" y="163830"/>
                      </a:lnTo>
                      <a:lnTo>
                        <a:pt x="1729740" y="168592"/>
                      </a:lnTo>
                      <a:lnTo>
                        <a:pt x="1745932" y="165735"/>
                      </a:lnTo>
                      <a:lnTo>
                        <a:pt x="1793557" y="143827"/>
                      </a:lnTo>
                      <a:lnTo>
                        <a:pt x="1806892" y="132397"/>
                      </a:lnTo>
                      <a:lnTo>
                        <a:pt x="1823085" y="128588"/>
                      </a:lnTo>
                      <a:lnTo>
                        <a:pt x="1872615" y="97155"/>
                      </a:lnTo>
                      <a:lnTo>
                        <a:pt x="1881188" y="83820"/>
                      </a:lnTo>
                      <a:close/>
                      <a:moveTo>
                        <a:pt x="243840" y="16192"/>
                      </a:moveTo>
                      <a:lnTo>
                        <a:pt x="242888" y="33338"/>
                      </a:lnTo>
                      <a:lnTo>
                        <a:pt x="252413" y="52388"/>
                      </a:lnTo>
                      <a:lnTo>
                        <a:pt x="274320" y="78105"/>
                      </a:lnTo>
                      <a:lnTo>
                        <a:pt x="293370" y="91440"/>
                      </a:lnTo>
                      <a:lnTo>
                        <a:pt x="370522" y="122872"/>
                      </a:lnTo>
                      <a:lnTo>
                        <a:pt x="383857" y="125730"/>
                      </a:lnTo>
                      <a:lnTo>
                        <a:pt x="375285" y="159067"/>
                      </a:lnTo>
                      <a:lnTo>
                        <a:pt x="355282" y="163830"/>
                      </a:lnTo>
                      <a:lnTo>
                        <a:pt x="294322" y="149542"/>
                      </a:lnTo>
                      <a:lnTo>
                        <a:pt x="279082" y="148590"/>
                      </a:lnTo>
                      <a:lnTo>
                        <a:pt x="251460" y="161925"/>
                      </a:lnTo>
                      <a:lnTo>
                        <a:pt x="229552" y="158115"/>
                      </a:lnTo>
                      <a:lnTo>
                        <a:pt x="200025" y="163830"/>
                      </a:lnTo>
                      <a:lnTo>
                        <a:pt x="194310" y="183832"/>
                      </a:lnTo>
                      <a:lnTo>
                        <a:pt x="175260" y="206692"/>
                      </a:lnTo>
                      <a:lnTo>
                        <a:pt x="143827" y="224790"/>
                      </a:lnTo>
                      <a:lnTo>
                        <a:pt x="120015" y="234315"/>
                      </a:lnTo>
                      <a:lnTo>
                        <a:pt x="86677" y="269557"/>
                      </a:lnTo>
                      <a:lnTo>
                        <a:pt x="72390" y="290513"/>
                      </a:lnTo>
                      <a:lnTo>
                        <a:pt x="58102" y="297180"/>
                      </a:lnTo>
                      <a:lnTo>
                        <a:pt x="62865" y="278130"/>
                      </a:lnTo>
                      <a:lnTo>
                        <a:pt x="60007" y="261938"/>
                      </a:lnTo>
                      <a:lnTo>
                        <a:pt x="81915" y="242888"/>
                      </a:lnTo>
                      <a:lnTo>
                        <a:pt x="113347" y="227647"/>
                      </a:lnTo>
                      <a:lnTo>
                        <a:pt x="120015" y="215265"/>
                      </a:lnTo>
                      <a:lnTo>
                        <a:pt x="68580" y="218122"/>
                      </a:lnTo>
                      <a:lnTo>
                        <a:pt x="37147" y="218122"/>
                      </a:lnTo>
                      <a:lnTo>
                        <a:pt x="27622" y="200977"/>
                      </a:lnTo>
                      <a:lnTo>
                        <a:pt x="35242" y="197167"/>
                      </a:lnTo>
                      <a:lnTo>
                        <a:pt x="59055" y="166688"/>
                      </a:lnTo>
                      <a:lnTo>
                        <a:pt x="54292" y="124777"/>
                      </a:lnTo>
                      <a:lnTo>
                        <a:pt x="86677" y="100965"/>
                      </a:lnTo>
                      <a:lnTo>
                        <a:pt x="78105" y="71438"/>
                      </a:lnTo>
                      <a:lnTo>
                        <a:pt x="56197" y="57150"/>
                      </a:lnTo>
                      <a:lnTo>
                        <a:pt x="44767" y="54292"/>
                      </a:lnTo>
                      <a:lnTo>
                        <a:pt x="47625" y="40957"/>
                      </a:lnTo>
                      <a:lnTo>
                        <a:pt x="65722" y="38100"/>
                      </a:lnTo>
                      <a:lnTo>
                        <a:pt x="75247" y="17145"/>
                      </a:lnTo>
                      <a:lnTo>
                        <a:pt x="107632" y="13335"/>
                      </a:lnTo>
                      <a:lnTo>
                        <a:pt x="121920" y="2857"/>
                      </a:lnTo>
                      <a:lnTo>
                        <a:pt x="155257" y="0"/>
                      </a:lnTo>
                      <a:lnTo>
                        <a:pt x="187642" y="23813"/>
                      </a:lnTo>
                      <a:lnTo>
                        <a:pt x="201930" y="18097"/>
                      </a:lnTo>
                      <a:lnTo>
                        <a:pt x="219075" y="18097"/>
                      </a:lnTo>
                      <a:lnTo>
                        <a:pt x="227647" y="14288"/>
                      </a:lnTo>
                      <a:lnTo>
                        <a:pt x="243840" y="16192"/>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8" name="Ukraine" descr="{&quot;Key&quot;:&quot;ukraine&quot;,&quot;Name&quot;:&quot;Ukraine&quot;,&quot;Value&quot;:1.0,&quot;Formula&quot;:&quot;&quot;,&quot;Text&quot;:&quot;&quot;,&quot;OfficeApplication&quot;:1,&quot;HasValue&quot;:true}">
                  <a:extLst>
                    <a:ext uri="{FF2B5EF4-FFF2-40B4-BE49-F238E27FC236}">
                      <a16:creationId xmlns:a16="http://schemas.microsoft.com/office/drawing/2014/main" id="{41CA855B-2A73-555D-EC8D-2AFA4FD3923B}"/>
                    </a:ext>
                  </a:extLst>
                </p:cNvPr>
                <p:cNvSpPr/>
                <p:nvPr/>
              </p:nvSpPr>
              <p:spPr>
                <a:xfrm>
                  <a:off x="7723822" y="3798027"/>
                  <a:ext cx="2070734" cy="1158240"/>
                </a:xfrm>
                <a:custGeom>
                  <a:avLst/>
                  <a:gdLst>
                    <a:gd name="connsiteX0" fmla="*/ 1198245 w 2070734"/>
                    <a:gd name="connsiteY0" fmla="*/ 891540 h 1158240"/>
                    <a:gd name="connsiteX1" fmla="*/ 1198245 w 2070734"/>
                    <a:gd name="connsiteY1" fmla="*/ 897255 h 1158240"/>
                    <a:gd name="connsiteX2" fmla="*/ 1161097 w 2070734"/>
                    <a:gd name="connsiteY2" fmla="*/ 889635 h 1158240"/>
                    <a:gd name="connsiteX3" fmla="*/ 1152525 w 2070734"/>
                    <a:gd name="connsiteY3" fmla="*/ 881063 h 1158240"/>
                    <a:gd name="connsiteX4" fmla="*/ 1198245 w 2070734"/>
                    <a:gd name="connsiteY4" fmla="*/ 891540 h 1158240"/>
                    <a:gd name="connsiteX5" fmla="*/ 946785 w 2070734"/>
                    <a:gd name="connsiteY5" fmla="*/ 1030605 h 1158240"/>
                    <a:gd name="connsiteX6" fmla="*/ 928688 w 2070734"/>
                    <a:gd name="connsiteY6" fmla="*/ 1013460 h 1158240"/>
                    <a:gd name="connsiteX7" fmla="*/ 907732 w 2070734"/>
                    <a:gd name="connsiteY7" fmla="*/ 1006793 h 1158240"/>
                    <a:gd name="connsiteX8" fmla="*/ 886777 w 2070734"/>
                    <a:gd name="connsiteY8" fmla="*/ 1008697 h 1158240"/>
                    <a:gd name="connsiteX9" fmla="*/ 865822 w 2070734"/>
                    <a:gd name="connsiteY9" fmla="*/ 1021080 h 1158240"/>
                    <a:gd name="connsiteX10" fmla="*/ 850582 w 2070734"/>
                    <a:gd name="connsiteY10" fmla="*/ 1025843 h 1158240"/>
                    <a:gd name="connsiteX11" fmla="*/ 842010 w 2070734"/>
                    <a:gd name="connsiteY11" fmla="*/ 1022985 h 1158240"/>
                    <a:gd name="connsiteX12" fmla="*/ 836295 w 2070734"/>
                    <a:gd name="connsiteY12" fmla="*/ 1034415 h 1158240"/>
                    <a:gd name="connsiteX13" fmla="*/ 798195 w 2070734"/>
                    <a:gd name="connsiteY13" fmla="*/ 1025843 h 1158240"/>
                    <a:gd name="connsiteX14" fmla="*/ 781050 w 2070734"/>
                    <a:gd name="connsiteY14" fmla="*/ 1017270 h 1158240"/>
                    <a:gd name="connsiteX15" fmla="*/ 766763 w 2070734"/>
                    <a:gd name="connsiteY15" fmla="*/ 1002030 h 1158240"/>
                    <a:gd name="connsiteX16" fmla="*/ 777240 w 2070734"/>
                    <a:gd name="connsiteY16" fmla="*/ 995363 h 1158240"/>
                    <a:gd name="connsiteX17" fmla="*/ 796290 w 2070734"/>
                    <a:gd name="connsiteY17" fmla="*/ 993457 h 1158240"/>
                    <a:gd name="connsiteX18" fmla="*/ 800100 w 2070734"/>
                    <a:gd name="connsiteY18" fmla="*/ 983932 h 1158240"/>
                    <a:gd name="connsiteX19" fmla="*/ 795338 w 2070734"/>
                    <a:gd name="connsiteY19" fmla="*/ 970597 h 1158240"/>
                    <a:gd name="connsiteX20" fmla="*/ 819150 w 2070734"/>
                    <a:gd name="connsiteY20" fmla="*/ 942975 h 1158240"/>
                    <a:gd name="connsiteX21" fmla="*/ 819150 w 2070734"/>
                    <a:gd name="connsiteY21" fmla="*/ 930593 h 1158240"/>
                    <a:gd name="connsiteX22" fmla="*/ 841057 w 2070734"/>
                    <a:gd name="connsiteY22" fmla="*/ 914400 h 1158240"/>
                    <a:gd name="connsiteX23" fmla="*/ 844867 w 2070734"/>
                    <a:gd name="connsiteY23" fmla="*/ 895350 h 1158240"/>
                    <a:gd name="connsiteX24" fmla="*/ 835342 w 2070734"/>
                    <a:gd name="connsiteY24" fmla="*/ 879157 h 1158240"/>
                    <a:gd name="connsiteX25" fmla="*/ 830580 w 2070734"/>
                    <a:gd name="connsiteY25" fmla="*/ 859155 h 1158240"/>
                    <a:gd name="connsiteX26" fmla="*/ 854392 w 2070734"/>
                    <a:gd name="connsiteY26" fmla="*/ 843915 h 1158240"/>
                    <a:gd name="connsiteX27" fmla="*/ 874395 w 2070734"/>
                    <a:gd name="connsiteY27" fmla="*/ 853440 h 1158240"/>
                    <a:gd name="connsiteX28" fmla="*/ 892492 w 2070734"/>
                    <a:gd name="connsiteY28" fmla="*/ 855345 h 1158240"/>
                    <a:gd name="connsiteX29" fmla="*/ 912495 w 2070734"/>
                    <a:gd name="connsiteY29" fmla="*/ 862965 h 1158240"/>
                    <a:gd name="connsiteX30" fmla="*/ 927735 w 2070734"/>
                    <a:gd name="connsiteY30" fmla="*/ 857250 h 1158240"/>
                    <a:gd name="connsiteX31" fmla="*/ 939165 w 2070734"/>
                    <a:gd name="connsiteY31" fmla="*/ 869632 h 1158240"/>
                    <a:gd name="connsiteX32" fmla="*/ 966788 w 2070734"/>
                    <a:gd name="connsiteY32" fmla="*/ 865822 h 1158240"/>
                    <a:gd name="connsiteX33" fmla="*/ 972502 w 2070734"/>
                    <a:gd name="connsiteY33" fmla="*/ 859155 h 1158240"/>
                    <a:gd name="connsiteX34" fmla="*/ 944880 w 2070734"/>
                    <a:gd name="connsiteY34" fmla="*/ 842963 h 1158240"/>
                    <a:gd name="connsiteX35" fmla="*/ 942975 w 2070734"/>
                    <a:gd name="connsiteY35" fmla="*/ 815340 h 1158240"/>
                    <a:gd name="connsiteX36" fmla="*/ 933450 w 2070734"/>
                    <a:gd name="connsiteY36" fmla="*/ 800100 h 1158240"/>
                    <a:gd name="connsiteX37" fmla="*/ 913447 w 2070734"/>
                    <a:gd name="connsiteY37" fmla="*/ 792480 h 1158240"/>
                    <a:gd name="connsiteX38" fmla="*/ 894397 w 2070734"/>
                    <a:gd name="connsiteY38" fmla="*/ 780097 h 1158240"/>
                    <a:gd name="connsiteX39" fmla="*/ 885825 w 2070734"/>
                    <a:gd name="connsiteY39" fmla="*/ 762000 h 1158240"/>
                    <a:gd name="connsiteX40" fmla="*/ 885825 w 2070734"/>
                    <a:gd name="connsiteY40" fmla="*/ 739140 h 1158240"/>
                    <a:gd name="connsiteX41" fmla="*/ 858202 w 2070734"/>
                    <a:gd name="connsiteY41" fmla="*/ 720090 h 1158240"/>
                    <a:gd name="connsiteX42" fmla="*/ 836295 w 2070734"/>
                    <a:gd name="connsiteY42" fmla="*/ 708660 h 1158240"/>
                    <a:gd name="connsiteX43" fmla="*/ 830580 w 2070734"/>
                    <a:gd name="connsiteY43" fmla="*/ 697230 h 1158240"/>
                    <a:gd name="connsiteX44" fmla="*/ 836295 w 2070734"/>
                    <a:gd name="connsiteY44" fmla="*/ 667703 h 1158240"/>
                    <a:gd name="connsiteX45" fmla="*/ 830580 w 2070734"/>
                    <a:gd name="connsiteY45" fmla="*/ 645795 h 1158240"/>
                    <a:gd name="connsiteX46" fmla="*/ 817245 w 2070734"/>
                    <a:gd name="connsiteY46" fmla="*/ 632460 h 1158240"/>
                    <a:gd name="connsiteX47" fmla="*/ 803910 w 2070734"/>
                    <a:gd name="connsiteY47" fmla="*/ 639128 h 1158240"/>
                    <a:gd name="connsiteX48" fmla="*/ 790575 w 2070734"/>
                    <a:gd name="connsiteY48" fmla="*/ 629603 h 1158240"/>
                    <a:gd name="connsiteX49" fmla="*/ 777240 w 2070734"/>
                    <a:gd name="connsiteY49" fmla="*/ 611505 h 1158240"/>
                    <a:gd name="connsiteX50" fmla="*/ 723900 w 2070734"/>
                    <a:gd name="connsiteY50" fmla="*/ 605790 h 1158240"/>
                    <a:gd name="connsiteX51" fmla="*/ 718185 w 2070734"/>
                    <a:gd name="connsiteY51" fmla="*/ 594360 h 1158240"/>
                    <a:gd name="connsiteX52" fmla="*/ 694372 w 2070734"/>
                    <a:gd name="connsiteY52" fmla="*/ 591503 h 1158240"/>
                    <a:gd name="connsiteX53" fmla="*/ 660082 w 2070734"/>
                    <a:gd name="connsiteY53" fmla="*/ 568643 h 1158240"/>
                    <a:gd name="connsiteX54" fmla="*/ 626745 w 2070734"/>
                    <a:gd name="connsiteY54" fmla="*/ 559118 h 1158240"/>
                    <a:gd name="connsiteX55" fmla="*/ 611505 w 2070734"/>
                    <a:gd name="connsiteY55" fmla="*/ 568643 h 1158240"/>
                    <a:gd name="connsiteX56" fmla="*/ 603885 w 2070734"/>
                    <a:gd name="connsiteY56" fmla="*/ 565785 h 1158240"/>
                    <a:gd name="connsiteX57" fmla="*/ 592455 w 2070734"/>
                    <a:gd name="connsiteY57" fmla="*/ 575310 h 1158240"/>
                    <a:gd name="connsiteX58" fmla="*/ 554355 w 2070734"/>
                    <a:gd name="connsiteY58" fmla="*/ 574357 h 1158240"/>
                    <a:gd name="connsiteX59" fmla="*/ 547688 w 2070734"/>
                    <a:gd name="connsiteY59" fmla="*/ 572453 h 1158240"/>
                    <a:gd name="connsiteX60" fmla="*/ 525780 w 2070734"/>
                    <a:gd name="connsiteY60" fmla="*/ 585788 h 1158240"/>
                    <a:gd name="connsiteX61" fmla="*/ 523875 w 2070734"/>
                    <a:gd name="connsiteY61" fmla="*/ 591503 h 1158240"/>
                    <a:gd name="connsiteX62" fmla="*/ 488632 w 2070734"/>
                    <a:gd name="connsiteY62" fmla="*/ 599122 h 1158240"/>
                    <a:gd name="connsiteX63" fmla="*/ 486727 w 2070734"/>
                    <a:gd name="connsiteY63" fmla="*/ 612457 h 1158240"/>
                    <a:gd name="connsiteX64" fmla="*/ 476250 w 2070734"/>
                    <a:gd name="connsiteY64" fmla="*/ 630555 h 1158240"/>
                    <a:gd name="connsiteX65" fmla="*/ 396240 w 2070734"/>
                    <a:gd name="connsiteY65" fmla="*/ 641985 h 1158240"/>
                    <a:gd name="connsiteX66" fmla="*/ 363855 w 2070734"/>
                    <a:gd name="connsiteY66" fmla="*/ 654368 h 1158240"/>
                    <a:gd name="connsiteX67" fmla="*/ 354330 w 2070734"/>
                    <a:gd name="connsiteY67" fmla="*/ 665797 h 1158240"/>
                    <a:gd name="connsiteX68" fmla="*/ 334327 w 2070734"/>
                    <a:gd name="connsiteY68" fmla="*/ 670560 h 1158240"/>
                    <a:gd name="connsiteX69" fmla="*/ 293370 w 2070734"/>
                    <a:gd name="connsiteY69" fmla="*/ 639128 h 1158240"/>
                    <a:gd name="connsiteX70" fmla="*/ 281940 w 2070734"/>
                    <a:gd name="connsiteY70" fmla="*/ 636270 h 1158240"/>
                    <a:gd name="connsiteX71" fmla="*/ 247650 w 2070734"/>
                    <a:gd name="connsiteY71" fmla="*/ 642938 h 1158240"/>
                    <a:gd name="connsiteX72" fmla="*/ 181927 w 2070734"/>
                    <a:gd name="connsiteY72" fmla="*/ 629603 h 1158240"/>
                    <a:gd name="connsiteX73" fmla="*/ 156210 w 2070734"/>
                    <a:gd name="connsiteY73" fmla="*/ 630555 h 1158240"/>
                    <a:gd name="connsiteX74" fmla="*/ 130492 w 2070734"/>
                    <a:gd name="connsiteY74" fmla="*/ 616268 h 1158240"/>
                    <a:gd name="connsiteX75" fmla="*/ 123825 w 2070734"/>
                    <a:gd name="connsiteY75" fmla="*/ 616268 h 1158240"/>
                    <a:gd name="connsiteX76" fmla="*/ 115252 w 2070734"/>
                    <a:gd name="connsiteY76" fmla="*/ 627697 h 1158240"/>
                    <a:gd name="connsiteX77" fmla="*/ 95250 w 2070734"/>
                    <a:gd name="connsiteY77" fmla="*/ 636270 h 1158240"/>
                    <a:gd name="connsiteX78" fmla="*/ 88582 w 2070734"/>
                    <a:gd name="connsiteY78" fmla="*/ 620078 h 1158240"/>
                    <a:gd name="connsiteX79" fmla="*/ 80010 w 2070734"/>
                    <a:gd name="connsiteY79" fmla="*/ 613410 h 1158240"/>
                    <a:gd name="connsiteX80" fmla="*/ 58102 w 2070734"/>
                    <a:gd name="connsiteY80" fmla="*/ 609600 h 1158240"/>
                    <a:gd name="connsiteX81" fmla="*/ 49530 w 2070734"/>
                    <a:gd name="connsiteY81" fmla="*/ 599122 h 1158240"/>
                    <a:gd name="connsiteX82" fmla="*/ 28575 w 2070734"/>
                    <a:gd name="connsiteY82" fmla="*/ 591503 h 1158240"/>
                    <a:gd name="connsiteX83" fmla="*/ 15240 w 2070734"/>
                    <a:gd name="connsiteY83" fmla="*/ 569595 h 1158240"/>
                    <a:gd name="connsiteX84" fmla="*/ 952 w 2070734"/>
                    <a:gd name="connsiteY84" fmla="*/ 569595 h 1158240"/>
                    <a:gd name="connsiteX85" fmla="*/ 0 w 2070734"/>
                    <a:gd name="connsiteY85" fmla="*/ 545782 h 1158240"/>
                    <a:gd name="connsiteX86" fmla="*/ 15240 w 2070734"/>
                    <a:gd name="connsiteY86" fmla="*/ 529590 h 1158240"/>
                    <a:gd name="connsiteX87" fmla="*/ 22860 w 2070734"/>
                    <a:gd name="connsiteY87" fmla="*/ 501968 h 1158240"/>
                    <a:gd name="connsiteX88" fmla="*/ 37147 w 2070734"/>
                    <a:gd name="connsiteY88" fmla="*/ 473393 h 1158240"/>
                    <a:gd name="connsiteX89" fmla="*/ 68580 w 2070734"/>
                    <a:gd name="connsiteY89" fmla="*/ 480060 h 1158240"/>
                    <a:gd name="connsiteX90" fmla="*/ 72390 w 2070734"/>
                    <a:gd name="connsiteY90" fmla="*/ 471488 h 1158240"/>
                    <a:gd name="connsiteX91" fmla="*/ 54292 w 2070734"/>
                    <a:gd name="connsiteY91" fmla="*/ 458153 h 1158240"/>
                    <a:gd name="connsiteX92" fmla="*/ 55245 w 2070734"/>
                    <a:gd name="connsiteY92" fmla="*/ 441007 h 1158240"/>
                    <a:gd name="connsiteX93" fmla="*/ 40957 w 2070734"/>
                    <a:gd name="connsiteY93" fmla="*/ 404813 h 1158240"/>
                    <a:gd name="connsiteX94" fmla="*/ 46672 w 2070734"/>
                    <a:gd name="connsiteY94" fmla="*/ 395288 h 1158240"/>
                    <a:gd name="connsiteX95" fmla="*/ 79057 w 2070734"/>
                    <a:gd name="connsiteY95" fmla="*/ 353378 h 1158240"/>
                    <a:gd name="connsiteX96" fmla="*/ 101917 w 2070734"/>
                    <a:gd name="connsiteY96" fmla="*/ 327660 h 1158240"/>
                    <a:gd name="connsiteX97" fmla="*/ 147638 w 2070734"/>
                    <a:gd name="connsiteY97" fmla="*/ 283845 h 1158240"/>
                    <a:gd name="connsiteX98" fmla="*/ 176213 w 2070734"/>
                    <a:gd name="connsiteY98" fmla="*/ 279082 h 1158240"/>
                    <a:gd name="connsiteX99" fmla="*/ 187642 w 2070734"/>
                    <a:gd name="connsiteY99" fmla="*/ 261938 h 1158240"/>
                    <a:gd name="connsiteX100" fmla="*/ 186690 w 2070734"/>
                    <a:gd name="connsiteY100" fmla="*/ 249555 h 1158240"/>
                    <a:gd name="connsiteX101" fmla="*/ 169545 w 2070734"/>
                    <a:gd name="connsiteY101" fmla="*/ 224790 h 1158240"/>
                    <a:gd name="connsiteX102" fmla="*/ 180975 w 2070734"/>
                    <a:gd name="connsiteY102" fmla="*/ 212407 h 1158240"/>
                    <a:gd name="connsiteX103" fmla="*/ 167640 w 2070734"/>
                    <a:gd name="connsiteY103" fmla="*/ 202882 h 1158240"/>
                    <a:gd name="connsiteX104" fmla="*/ 149542 w 2070734"/>
                    <a:gd name="connsiteY104" fmla="*/ 176213 h 1158240"/>
                    <a:gd name="connsiteX105" fmla="*/ 123825 w 2070734"/>
                    <a:gd name="connsiteY105" fmla="*/ 149543 h 1158240"/>
                    <a:gd name="connsiteX106" fmla="*/ 123825 w 2070734"/>
                    <a:gd name="connsiteY106" fmla="*/ 137160 h 1158240"/>
                    <a:gd name="connsiteX107" fmla="*/ 112395 w 2070734"/>
                    <a:gd name="connsiteY107" fmla="*/ 120015 h 1158240"/>
                    <a:gd name="connsiteX108" fmla="*/ 111442 w 2070734"/>
                    <a:gd name="connsiteY108" fmla="*/ 106680 h 1158240"/>
                    <a:gd name="connsiteX109" fmla="*/ 121920 w 2070734"/>
                    <a:gd name="connsiteY109" fmla="*/ 101918 h 1158240"/>
                    <a:gd name="connsiteX110" fmla="*/ 140017 w 2070734"/>
                    <a:gd name="connsiteY110" fmla="*/ 104775 h 1158240"/>
                    <a:gd name="connsiteX111" fmla="*/ 150495 w 2070734"/>
                    <a:gd name="connsiteY111" fmla="*/ 109538 h 1158240"/>
                    <a:gd name="connsiteX112" fmla="*/ 168592 w 2070734"/>
                    <a:gd name="connsiteY112" fmla="*/ 98107 h 1158240"/>
                    <a:gd name="connsiteX113" fmla="*/ 183832 w 2070734"/>
                    <a:gd name="connsiteY113" fmla="*/ 82868 h 1158240"/>
                    <a:gd name="connsiteX114" fmla="*/ 191452 w 2070734"/>
                    <a:gd name="connsiteY114" fmla="*/ 69532 h 1158240"/>
                    <a:gd name="connsiteX115" fmla="*/ 247650 w 2070734"/>
                    <a:gd name="connsiteY115" fmla="*/ 64770 h 1158240"/>
                    <a:gd name="connsiteX116" fmla="*/ 269557 w 2070734"/>
                    <a:gd name="connsiteY116" fmla="*/ 60007 h 1158240"/>
                    <a:gd name="connsiteX117" fmla="*/ 292417 w 2070734"/>
                    <a:gd name="connsiteY117" fmla="*/ 59055 h 1158240"/>
                    <a:gd name="connsiteX118" fmla="*/ 366713 w 2070734"/>
                    <a:gd name="connsiteY118" fmla="*/ 62865 h 1158240"/>
                    <a:gd name="connsiteX119" fmla="*/ 428625 w 2070734"/>
                    <a:gd name="connsiteY119" fmla="*/ 77153 h 1158240"/>
                    <a:gd name="connsiteX120" fmla="*/ 486727 w 2070734"/>
                    <a:gd name="connsiteY120" fmla="*/ 85725 h 1158240"/>
                    <a:gd name="connsiteX121" fmla="*/ 508635 w 2070734"/>
                    <a:gd name="connsiteY121" fmla="*/ 85725 h 1158240"/>
                    <a:gd name="connsiteX122" fmla="*/ 525780 w 2070734"/>
                    <a:gd name="connsiteY122" fmla="*/ 105728 h 1158240"/>
                    <a:gd name="connsiteX123" fmla="*/ 535305 w 2070734"/>
                    <a:gd name="connsiteY123" fmla="*/ 108585 h 1158240"/>
                    <a:gd name="connsiteX124" fmla="*/ 563880 w 2070734"/>
                    <a:gd name="connsiteY124" fmla="*/ 107632 h 1158240"/>
                    <a:gd name="connsiteX125" fmla="*/ 574357 w 2070734"/>
                    <a:gd name="connsiteY125" fmla="*/ 111443 h 1158240"/>
                    <a:gd name="connsiteX126" fmla="*/ 581977 w 2070734"/>
                    <a:gd name="connsiteY126" fmla="*/ 124778 h 1158240"/>
                    <a:gd name="connsiteX127" fmla="*/ 593407 w 2070734"/>
                    <a:gd name="connsiteY127" fmla="*/ 108585 h 1158240"/>
                    <a:gd name="connsiteX128" fmla="*/ 611505 w 2070734"/>
                    <a:gd name="connsiteY128" fmla="*/ 113347 h 1158240"/>
                    <a:gd name="connsiteX129" fmla="*/ 629602 w 2070734"/>
                    <a:gd name="connsiteY129" fmla="*/ 106680 h 1158240"/>
                    <a:gd name="connsiteX130" fmla="*/ 678180 w 2070734"/>
                    <a:gd name="connsiteY130" fmla="*/ 116205 h 1158240"/>
                    <a:gd name="connsiteX131" fmla="*/ 685800 w 2070734"/>
                    <a:gd name="connsiteY131" fmla="*/ 128588 h 1158240"/>
                    <a:gd name="connsiteX132" fmla="*/ 695325 w 2070734"/>
                    <a:gd name="connsiteY132" fmla="*/ 131445 h 1158240"/>
                    <a:gd name="connsiteX133" fmla="*/ 701040 w 2070734"/>
                    <a:gd name="connsiteY133" fmla="*/ 120968 h 1158240"/>
                    <a:gd name="connsiteX134" fmla="*/ 737235 w 2070734"/>
                    <a:gd name="connsiteY134" fmla="*/ 105728 h 1158240"/>
                    <a:gd name="connsiteX135" fmla="*/ 761047 w 2070734"/>
                    <a:gd name="connsiteY135" fmla="*/ 134303 h 1158240"/>
                    <a:gd name="connsiteX136" fmla="*/ 766763 w 2070734"/>
                    <a:gd name="connsiteY136" fmla="*/ 139065 h 1158240"/>
                    <a:gd name="connsiteX137" fmla="*/ 788670 w 2070734"/>
                    <a:gd name="connsiteY137" fmla="*/ 131445 h 1158240"/>
                    <a:gd name="connsiteX138" fmla="*/ 856297 w 2070734"/>
                    <a:gd name="connsiteY138" fmla="*/ 125730 h 1158240"/>
                    <a:gd name="connsiteX139" fmla="*/ 875347 w 2070734"/>
                    <a:gd name="connsiteY139" fmla="*/ 136207 h 1158240"/>
                    <a:gd name="connsiteX140" fmla="*/ 880110 w 2070734"/>
                    <a:gd name="connsiteY140" fmla="*/ 147638 h 1158240"/>
                    <a:gd name="connsiteX141" fmla="*/ 905827 w 2070734"/>
                    <a:gd name="connsiteY141" fmla="*/ 156210 h 1158240"/>
                    <a:gd name="connsiteX142" fmla="*/ 913447 w 2070734"/>
                    <a:gd name="connsiteY142" fmla="*/ 142875 h 1158240"/>
                    <a:gd name="connsiteX143" fmla="*/ 896302 w 2070734"/>
                    <a:gd name="connsiteY143" fmla="*/ 108585 h 1158240"/>
                    <a:gd name="connsiteX144" fmla="*/ 905827 w 2070734"/>
                    <a:gd name="connsiteY144" fmla="*/ 77153 h 1158240"/>
                    <a:gd name="connsiteX145" fmla="*/ 913447 w 2070734"/>
                    <a:gd name="connsiteY145" fmla="*/ 65722 h 1158240"/>
                    <a:gd name="connsiteX146" fmla="*/ 934402 w 2070734"/>
                    <a:gd name="connsiteY146" fmla="*/ 43815 h 1158240"/>
                    <a:gd name="connsiteX147" fmla="*/ 944880 w 2070734"/>
                    <a:gd name="connsiteY147" fmla="*/ 39053 h 1158240"/>
                    <a:gd name="connsiteX148" fmla="*/ 961072 w 2070734"/>
                    <a:gd name="connsiteY148" fmla="*/ 42863 h 1158240"/>
                    <a:gd name="connsiteX149" fmla="*/ 974407 w 2070734"/>
                    <a:gd name="connsiteY149" fmla="*/ 35243 h 1158240"/>
                    <a:gd name="connsiteX150" fmla="*/ 1022032 w 2070734"/>
                    <a:gd name="connsiteY150" fmla="*/ 36195 h 1158240"/>
                    <a:gd name="connsiteX151" fmla="*/ 1046797 w 2070734"/>
                    <a:gd name="connsiteY151" fmla="*/ 43815 h 1158240"/>
                    <a:gd name="connsiteX152" fmla="*/ 1062990 w 2070734"/>
                    <a:gd name="connsiteY152" fmla="*/ 42863 h 1158240"/>
                    <a:gd name="connsiteX153" fmla="*/ 1080135 w 2070734"/>
                    <a:gd name="connsiteY153" fmla="*/ 34290 h 1158240"/>
                    <a:gd name="connsiteX154" fmla="*/ 1084897 w 2070734"/>
                    <a:gd name="connsiteY154" fmla="*/ 11430 h 1158240"/>
                    <a:gd name="connsiteX155" fmla="*/ 1100138 w 2070734"/>
                    <a:gd name="connsiteY155" fmla="*/ 5715 h 1158240"/>
                    <a:gd name="connsiteX156" fmla="*/ 1135380 w 2070734"/>
                    <a:gd name="connsiteY156" fmla="*/ 14288 h 1158240"/>
                    <a:gd name="connsiteX157" fmla="*/ 1144905 w 2070734"/>
                    <a:gd name="connsiteY157" fmla="*/ 13335 h 1158240"/>
                    <a:gd name="connsiteX158" fmla="*/ 1170622 w 2070734"/>
                    <a:gd name="connsiteY158" fmla="*/ 1905 h 1158240"/>
                    <a:gd name="connsiteX159" fmla="*/ 1185863 w 2070734"/>
                    <a:gd name="connsiteY159" fmla="*/ 0 h 1158240"/>
                    <a:gd name="connsiteX160" fmla="*/ 1204913 w 2070734"/>
                    <a:gd name="connsiteY160" fmla="*/ 2857 h 1158240"/>
                    <a:gd name="connsiteX161" fmla="*/ 1237297 w 2070734"/>
                    <a:gd name="connsiteY161" fmla="*/ 953 h 1158240"/>
                    <a:gd name="connsiteX162" fmla="*/ 1261110 w 2070734"/>
                    <a:gd name="connsiteY162" fmla="*/ 14288 h 1158240"/>
                    <a:gd name="connsiteX163" fmla="*/ 1274445 w 2070734"/>
                    <a:gd name="connsiteY163" fmla="*/ 27622 h 1158240"/>
                    <a:gd name="connsiteX164" fmla="*/ 1290638 w 2070734"/>
                    <a:gd name="connsiteY164" fmla="*/ 53340 h 1158240"/>
                    <a:gd name="connsiteX165" fmla="*/ 1328738 w 2070734"/>
                    <a:gd name="connsiteY165" fmla="*/ 81915 h 1158240"/>
                    <a:gd name="connsiteX166" fmla="*/ 1327785 w 2070734"/>
                    <a:gd name="connsiteY166" fmla="*/ 91440 h 1158240"/>
                    <a:gd name="connsiteX167" fmla="*/ 1300163 w 2070734"/>
                    <a:gd name="connsiteY167" fmla="*/ 96203 h 1158240"/>
                    <a:gd name="connsiteX168" fmla="*/ 1312545 w 2070734"/>
                    <a:gd name="connsiteY168" fmla="*/ 114300 h 1158240"/>
                    <a:gd name="connsiteX169" fmla="*/ 1317307 w 2070734"/>
                    <a:gd name="connsiteY169" fmla="*/ 133350 h 1158240"/>
                    <a:gd name="connsiteX170" fmla="*/ 1328738 w 2070734"/>
                    <a:gd name="connsiteY170" fmla="*/ 149543 h 1158240"/>
                    <a:gd name="connsiteX171" fmla="*/ 1324927 w 2070734"/>
                    <a:gd name="connsiteY171" fmla="*/ 159068 h 1158240"/>
                    <a:gd name="connsiteX172" fmla="*/ 1354455 w 2070734"/>
                    <a:gd name="connsiteY172" fmla="*/ 160020 h 1158240"/>
                    <a:gd name="connsiteX173" fmla="*/ 1382077 w 2070734"/>
                    <a:gd name="connsiteY173" fmla="*/ 169545 h 1158240"/>
                    <a:gd name="connsiteX174" fmla="*/ 1421130 w 2070734"/>
                    <a:gd name="connsiteY174" fmla="*/ 164782 h 1158240"/>
                    <a:gd name="connsiteX175" fmla="*/ 1435417 w 2070734"/>
                    <a:gd name="connsiteY175" fmla="*/ 185738 h 1158240"/>
                    <a:gd name="connsiteX176" fmla="*/ 1453515 w 2070734"/>
                    <a:gd name="connsiteY176" fmla="*/ 187643 h 1158240"/>
                    <a:gd name="connsiteX177" fmla="*/ 1455420 w 2070734"/>
                    <a:gd name="connsiteY177" fmla="*/ 196215 h 1158240"/>
                    <a:gd name="connsiteX178" fmla="*/ 1468755 w 2070734"/>
                    <a:gd name="connsiteY178" fmla="*/ 222885 h 1158240"/>
                    <a:gd name="connsiteX179" fmla="*/ 1477327 w 2070734"/>
                    <a:gd name="connsiteY179" fmla="*/ 233363 h 1158240"/>
                    <a:gd name="connsiteX180" fmla="*/ 1475422 w 2070734"/>
                    <a:gd name="connsiteY180" fmla="*/ 250507 h 1158240"/>
                    <a:gd name="connsiteX181" fmla="*/ 1480185 w 2070734"/>
                    <a:gd name="connsiteY181" fmla="*/ 260032 h 1158240"/>
                    <a:gd name="connsiteX182" fmla="*/ 1498282 w 2070734"/>
                    <a:gd name="connsiteY182" fmla="*/ 275272 h 1158240"/>
                    <a:gd name="connsiteX183" fmla="*/ 1504950 w 2070734"/>
                    <a:gd name="connsiteY183" fmla="*/ 284797 h 1158240"/>
                    <a:gd name="connsiteX184" fmla="*/ 1515427 w 2070734"/>
                    <a:gd name="connsiteY184" fmla="*/ 288607 h 1158240"/>
                    <a:gd name="connsiteX185" fmla="*/ 1537335 w 2070734"/>
                    <a:gd name="connsiteY185" fmla="*/ 275272 h 1158240"/>
                    <a:gd name="connsiteX186" fmla="*/ 1564005 w 2070734"/>
                    <a:gd name="connsiteY186" fmla="*/ 279082 h 1158240"/>
                    <a:gd name="connsiteX187" fmla="*/ 1589722 w 2070734"/>
                    <a:gd name="connsiteY187" fmla="*/ 298132 h 1158240"/>
                    <a:gd name="connsiteX188" fmla="*/ 1611630 w 2070734"/>
                    <a:gd name="connsiteY188" fmla="*/ 298132 h 1158240"/>
                    <a:gd name="connsiteX189" fmla="*/ 1627822 w 2070734"/>
                    <a:gd name="connsiteY189" fmla="*/ 308610 h 1158240"/>
                    <a:gd name="connsiteX190" fmla="*/ 1641157 w 2070734"/>
                    <a:gd name="connsiteY190" fmla="*/ 296228 h 1158240"/>
                    <a:gd name="connsiteX191" fmla="*/ 1682115 w 2070734"/>
                    <a:gd name="connsiteY191" fmla="*/ 287655 h 1158240"/>
                    <a:gd name="connsiteX192" fmla="*/ 1704022 w 2070734"/>
                    <a:gd name="connsiteY192" fmla="*/ 278130 h 1158240"/>
                    <a:gd name="connsiteX193" fmla="*/ 1713547 w 2070734"/>
                    <a:gd name="connsiteY193" fmla="*/ 279082 h 1158240"/>
                    <a:gd name="connsiteX194" fmla="*/ 1735455 w 2070734"/>
                    <a:gd name="connsiteY194" fmla="*/ 296228 h 1158240"/>
                    <a:gd name="connsiteX195" fmla="*/ 1740217 w 2070734"/>
                    <a:gd name="connsiteY195" fmla="*/ 307657 h 1158240"/>
                    <a:gd name="connsiteX196" fmla="*/ 1754505 w 2070734"/>
                    <a:gd name="connsiteY196" fmla="*/ 322897 h 1158240"/>
                    <a:gd name="connsiteX197" fmla="*/ 1799272 w 2070734"/>
                    <a:gd name="connsiteY197" fmla="*/ 350520 h 1158240"/>
                    <a:gd name="connsiteX198" fmla="*/ 1811655 w 2070734"/>
                    <a:gd name="connsiteY198" fmla="*/ 344805 h 1158240"/>
                    <a:gd name="connsiteX199" fmla="*/ 1820227 w 2070734"/>
                    <a:gd name="connsiteY199" fmla="*/ 330518 h 1158240"/>
                    <a:gd name="connsiteX200" fmla="*/ 1844992 w 2070734"/>
                    <a:gd name="connsiteY200" fmla="*/ 343853 h 1158240"/>
                    <a:gd name="connsiteX201" fmla="*/ 1867852 w 2070734"/>
                    <a:gd name="connsiteY201" fmla="*/ 345757 h 1158240"/>
                    <a:gd name="connsiteX202" fmla="*/ 1902142 w 2070734"/>
                    <a:gd name="connsiteY202" fmla="*/ 363855 h 1158240"/>
                    <a:gd name="connsiteX203" fmla="*/ 1915477 w 2070734"/>
                    <a:gd name="connsiteY203" fmla="*/ 364807 h 1158240"/>
                    <a:gd name="connsiteX204" fmla="*/ 1930717 w 2070734"/>
                    <a:gd name="connsiteY204" fmla="*/ 359093 h 1158240"/>
                    <a:gd name="connsiteX205" fmla="*/ 1949767 w 2070734"/>
                    <a:gd name="connsiteY205" fmla="*/ 376238 h 1158240"/>
                    <a:gd name="connsiteX206" fmla="*/ 1967865 w 2070734"/>
                    <a:gd name="connsiteY206" fmla="*/ 378143 h 1158240"/>
                    <a:gd name="connsiteX207" fmla="*/ 2009775 w 2070734"/>
                    <a:gd name="connsiteY207" fmla="*/ 400050 h 1158240"/>
                    <a:gd name="connsiteX208" fmla="*/ 2037397 w 2070734"/>
                    <a:gd name="connsiteY208" fmla="*/ 397193 h 1158240"/>
                    <a:gd name="connsiteX209" fmla="*/ 2046922 w 2070734"/>
                    <a:gd name="connsiteY209" fmla="*/ 404813 h 1158240"/>
                    <a:gd name="connsiteX210" fmla="*/ 2045970 w 2070734"/>
                    <a:gd name="connsiteY210" fmla="*/ 421005 h 1158240"/>
                    <a:gd name="connsiteX211" fmla="*/ 2055495 w 2070734"/>
                    <a:gd name="connsiteY211" fmla="*/ 429578 h 1158240"/>
                    <a:gd name="connsiteX212" fmla="*/ 2054542 w 2070734"/>
                    <a:gd name="connsiteY212" fmla="*/ 454343 h 1158240"/>
                    <a:gd name="connsiteX213" fmla="*/ 2038350 w 2070734"/>
                    <a:gd name="connsiteY213" fmla="*/ 474345 h 1158240"/>
                    <a:gd name="connsiteX214" fmla="*/ 2016442 w 2070734"/>
                    <a:gd name="connsiteY214" fmla="*/ 481965 h 1158240"/>
                    <a:gd name="connsiteX215" fmla="*/ 2026920 w 2070734"/>
                    <a:gd name="connsiteY215" fmla="*/ 496253 h 1158240"/>
                    <a:gd name="connsiteX216" fmla="*/ 2056447 w 2070734"/>
                    <a:gd name="connsiteY216" fmla="*/ 504825 h 1158240"/>
                    <a:gd name="connsiteX217" fmla="*/ 2047875 w 2070734"/>
                    <a:gd name="connsiteY217" fmla="*/ 513397 h 1158240"/>
                    <a:gd name="connsiteX218" fmla="*/ 2034540 w 2070734"/>
                    <a:gd name="connsiteY218" fmla="*/ 511493 h 1158240"/>
                    <a:gd name="connsiteX219" fmla="*/ 2026920 w 2070734"/>
                    <a:gd name="connsiteY219" fmla="*/ 521018 h 1158240"/>
                    <a:gd name="connsiteX220" fmla="*/ 2024063 w 2070734"/>
                    <a:gd name="connsiteY220" fmla="*/ 542925 h 1158240"/>
                    <a:gd name="connsiteX221" fmla="*/ 2047875 w 2070734"/>
                    <a:gd name="connsiteY221" fmla="*/ 549593 h 1158240"/>
                    <a:gd name="connsiteX222" fmla="*/ 2059305 w 2070734"/>
                    <a:gd name="connsiteY222" fmla="*/ 576263 h 1158240"/>
                    <a:gd name="connsiteX223" fmla="*/ 2059305 w 2070734"/>
                    <a:gd name="connsiteY223" fmla="*/ 586740 h 1158240"/>
                    <a:gd name="connsiteX224" fmla="*/ 2070735 w 2070734"/>
                    <a:gd name="connsiteY224" fmla="*/ 589597 h 1158240"/>
                    <a:gd name="connsiteX225" fmla="*/ 2058352 w 2070734"/>
                    <a:gd name="connsiteY225" fmla="*/ 634365 h 1158240"/>
                    <a:gd name="connsiteX226" fmla="*/ 2057400 w 2070734"/>
                    <a:gd name="connsiteY226" fmla="*/ 651510 h 1158240"/>
                    <a:gd name="connsiteX227" fmla="*/ 2017395 w 2070734"/>
                    <a:gd name="connsiteY227" fmla="*/ 653415 h 1158240"/>
                    <a:gd name="connsiteX228" fmla="*/ 1960245 w 2070734"/>
                    <a:gd name="connsiteY228" fmla="*/ 650557 h 1158240"/>
                    <a:gd name="connsiteX229" fmla="*/ 1951672 w 2070734"/>
                    <a:gd name="connsiteY229" fmla="*/ 652463 h 1158240"/>
                    <a:gd name="connsiteX230" fmla="*/ 1943100 w 2070734"/>
                    <a:gd name="connsiteY230" fmla="*/ 670560 h 1158240"/>
                    <a:gd name="connsiteX231" fmla="*/ 1921192 w 2070734"/>
                    <a:gd name="connsiteY231" fmla="*/ 683895 h 1158240"/>
                    <a:gd name="connsiteX232" fmla="*/ 1905000 w 2070734"/>
                    <a:gd name="connsiteY232" fmla="*/ 685800 h 1158240"/>
                    <a:gd name="connsiteX233" fmla="*/ 1897380 w 2070734"/>
                    <a:gd name="connsiteY233" fmla="*/ 693420 h 1158240"/>
                    <a:gd name="connsiteX234" fmla="*/ 1897380 w 2070734"/>
                    <a:gd name="connsiteY234" fmla="*/ 715328 h 1158240"/>
                    <a:gd name="connsiteX235" fmla="*/ 1893570 w 2070734"/>
                    <a:gd name="connsiteY235" fmla="*/ 727710 h 1158240"/>
                    <a:gd name="connsiteX236" fmla="*/ 1904047 w 2070734"/>
                    <a:gd name="connsiteY236" fmla="*/ 734378 h 1158240"/>
                    <a:gd name="connsiteX237" fmla="*/ 1897380 w 2070734"/>
                    <a:gd name="connsiteY237" fmla="*/ 749618 h 1158240"/>
                    <a:gd name="connsiteX238" fmla="*/ 1902142 w 2070734"/>
                    <a:gd name="connsiteY238" fmla="*/ 762000 h 1158240"/>
                    <a:gd name="connsiteX239" fmla="*/ 1897380 w 2070734"/>
                    <a:gd name="connsiteY239" fmla="*/ 762953 h 1158240"/>
                    <a:gd name="connsiteX240" fmla="*/ 1856422 w 2070734"/>
                    <a:gd name="connsiteY240" fmla="*/ 761047 h 1158240"/>
                    <a:gd name="connsiteX241" fmla="*/ 1824038 w 2070734"/>
                    <a:gd name="connsiteY241" fmla="*/ 763905 h 1158240"/>
                    <a:gd name="connsiteX242" fmla="*/ 1804035 w 2070734"/>
                    <a:gd name="connsiteY242" fmla="*/ 786765 h 1158240"/>
                    <a:gd name="connsiteX243" fmla="*/ 1789747 w 2070734"/>
                    <a:gd name="connsiteY243" fmla="*/ 786765 h 1158240"/>
                    <a:gd name="connsiteX244" fmla="*/ 1759267 w 2070734"/>
                    <a:gd name="connsiteY244" fmla="*/ 801053 h 1158240"/>
                    <a:gd name="connsiteX245" fmla="*/ 1745932 w 2070734"/>
                    <a:gd name="connsiteY245" fmla="*/ 817245 h 1158240"/>
                    <a:gd name="connsiteX246" fmla="*/ 1732597 w 2070734"/>
                    <a:gd name="connsiteY246" fmla="*/ 809625 h 1158240"/>
                    <a:gd name="connsiteX247" fmla="*/ 1703070 w 2070734"/>
                    <a:gd name="connsiteY247" fmla="*/ 814388 h 1158240"/>
                    <a:gd name="connsiteX248" fmla="*/ 1686877 w 2070734"/>
                    <a:gd name="connsiteY248" fmla="*/ 824865 h 1158240"/>
                    <a:gd name="connsiteX249" fmla="*/ 1657350 w 2070734"/>
                    <a:gd name="connsiteY249" fmla="*/ 823913 h 1158240"/>
                    <a:gd name="connsiteX250" fmla="*/ 1635442 w 2070734"/>
                    <a:gd name="connsiteY250" fmla="*/ 829628 h 1158240"/>
                    <a:gd name="connsiteX251" fmla="*/ 1591627 w 2070734"/>
                    <a:gd name="connsiteY251" fmla="*/ 865822 h 1158240"/>
                    <a:gd name="connsiteX252" fmla="*/ 1579245 w 2070734"/>
                    <a:gd name="connsiteY252" fmla="*/ 866775 h 1158240"/>
                    <a:gd name="connsiteX253" fmla="*/ 1569720 w 2070734"/>
                    <a:gd name="connsiteY253" fmla="*/ 857250 h 1158240"/>
                    <a:gd name="connsiteX254" fmla="*/ 1554480 w 2070734"/>
                    <a:gd name="connsiteY254" fmla="*/ 882015 h 1158240"/>
                    <a:gd name="connsiteX255" fmla="*/ 1531620 w 2070734"/>
                    <a:gd name="connsiteY255" fmla="*/ 893445 h 1158240"/>
                    <a:gd name="connsiteX256" fmla="*/ 1537335 w 2070734"/>
                    <a:gd name="connsiteY256" fmla="*/ 922972 h 1158240"/>
                    <a:gd name="connsiteX257" fmla="*/ 1564005 w 2070734"/>
                    <a:gd name="connsiteY257" fmla="*/ 965835 h 1158240"/>
                    <a:gd name="connsiteX258" fmla="*/ 1598295 w 2070734"/>
                    <a:gd name="connsiteY258" fmla="*/ 1002982 h 1158240"/>
                    <a:gd name="connsiteX259" fmla="*/ 1614488 w 2070734"/>
                    <a:gd name="connsiteY259" fmla="*/ 1016318 h 1158240"/>
                    <a:gd name="connsiteX260" fmla="*/ 1637347 w 2070734"/>
                    <a:gd name="connsiteY260" fmla="*/ 1022985 h 1158240"/>
                    <a:gd name="connsiteX261" fmla="*/ 1666875 w 2070734"/>
                    <a:gd name="connsiteY261" fmla="*/ 1009650 h 1158240"/>
                    <a:gd name="connsiteX262" fmla="*/ 1689735 w 2070734"/>
                    <a:gd name="connsiteY262" fmla="*/ 1013460 h 1158240"/>
                    <a:gd name="connsiteX263" fmla="*/ 1705927 w 2070734"/>
                    <a:gd name="connsiteY263" fmla="*/ 1002030 h 1158240"/>
                    <a:gd name="connsiteX264" fmla="*/ 1720215 w 2070734"/>
                    <a:gd name="connsiteY264" fmla="*/ 1001078 h 1158240"/>
                    <a:gd name="connsiteX265" fmla="*/ 1755457 w 2070734"/>
                    <a:gd name="connsiteY265" fmla="*/ 1010603 h 1158240"/>
                    <a:gd name="connsiteX266" fmla="*/ 1744980 w 2070734"/>
                    <a:gd name="connsiteY266" fmla="*/ 1034415 h 1158240"/>
                    <a:gd name="connsiteX267" fmla="*/ 1742122 w 2070734"/>
                    <a:gd name="connsiteY267" fmla="*/ 1059180 h 1158240"/>
                    <a:gd name="connsiteX268" fmla="*/ 1724025 w 2070734"/>
                    <a:gd name="connsiteY268" fmla="*/ 1064895 h 1158240"/>
                    <a:gd name="connsiteX269" fmla="*/ 1703070 w 2070734"/>
                    <a:gd name="connsiteY269" fmla="*/ 1063943 h 1158240"/>
                    <a:gd name="connsiteX270" fmla="*/ 1682115 w 2070734"/>
                    <a:gd name="connsiteY270" fmla="*/ 1067753 h 1158240"/>
                    <a:gd name="connsiteX271" fmla="*/ 1656397 w 2070734"/>
                    <a:gd name="connsiteY271" fmla="*/ 1053465 h 1158240"/>
                    <a:gd name="connsiteX272" fmla="*/ 1632585 w 2070734"/>
                    <a:gd name="connsiteY272" fmla="*/ 1053465 h 1158240"/>
                    <a:gd name="connsiteX273" fmla="*/ 1622107 w 2070734"/>
                    <a:gd name="connsiteY273" fmla="*/ 1071563 h 1158240"/>
                    <a:gd name="connsiteX274" fmla="*/ 1600200 w 2070734"/>
                    <a:gd name="connsiteY274" fmla="*/ 1083945 h 1158240"/>
                    <a:gd name="connsiteX275" fmla="*/ 1594485 w 2070734"/>
                    <a:gd name="connsiteY275" fmla="*/ 1097280 h 1158240"/>
                    <a:gd name="connsiteX276" fmla="*/ 1569720 w 2070734"/>
                    <a:gd name="connsiteY276" fmla="*/ 1094423 h 1158240"/>
                    <a:gd name="connsiteX277" fmla="*/ 1549717 w 2070734"/>
                    <a:gd name="connsiteY277" fmla="*/ 1096328 h 1158240"/>
                    <a:gd name="connsiteX278" fmla="*/ 1523047 w 2070734"/>
                    <a:gd name="connsiteY278" fmla="*/ 1109663 h 1158240"/>
                    <a:gd name="connsiteX279" fmla="*/ 1504950 w 2070734"/>
                    <a:gd name="connsiteY279" fmla="*/ 1136332 h 1158240"/>
                    <a:gd name="connsiteX280" fmla="*/ 1483042 w 2070734"/>
                    <a:gd name="connsiteY280" fmla="*/ 1153478 h 1158240"/>
                    <a:gd name="connsiteX281" fmla="*/ 1464945 w 2070734"/>
                    <a:gd name="connsiteY281" fmla="*/ 1158240 h 1158240"/>
                    <a:gd name="connsiteX282" fmla="*/ 1445895 w 2070734"/>
                    <a:gd name="connsiteY282" fmla="*/ 1157288 h 1158240"/>
                    <a:gd name="connsiteX283" fmla="*/ 1433513 w 2070734"/>
                    <a:gd name="connsiteY283" fmla="*/ 1151573 h 1158240"/>
                    <a:gd name="connsiteX284" fmla="*/ 1405890 w 2070734"/>
                    <a:gd name="connsiteY284" fmla="*/ 1134428 h 1158240"/>
                    <a:gd name="connsiteX285" fmla="*/ 1412557 w 2070734"/>
                    <a:gd name="connsiteY285" fmla="*/ 1115378 h 1158240"/>
                    <a:gd name="connsiteX286" fmla="*/ 1417320 w 2070734"/>
                    <a:gd name="connsiteY286" fmla="*/ 1082040 h 1158240"/>
                    <a:gd name="connsiteX287" fmla="*/ 1405890 w 2070734"/>
                    <a:gd name="connsiteY287" fmla="*/ 1054418 h 1158240"/>
                    <a:gd name="connsiteX288" fmla="*/ 1383982 w 2070734"/>
                    <a:gd name="connsiteY288" fmla="*/ 1041082 h 1158240"/>
                    <a:gd name="connsiteX289" fmla="*/ 1368742 w 2070734"/>
                    <a:gd name="connsiteY289" fmla="*/ 1042988 h 1158240"/>
                    <a:gd name="connsiteX290" fmla="*/ 1360170 w 2070734"/>
                    <a:gd name="connsiteY290" fmla="*/ 1040130 h 1158240"/>
                    <a:gd name="connsiteX291" fmla="*/ 1324927 w 2070734"/>
                    <a:gd name="connsiteY291" fmla="*/ 1017270 h 1158240"/>
                    <a:gd name="connsiteX292" fmla="*/ 1306830 w 2070734"/>
                    <a:gd name="connsiteY292" fmla="*/ 1015365 h 1158240"/>
                    <a:gd name="connsiteX293" fmla="*/ 1288732 w 2070734"/>
                    <a:gd name="connsiteY293" fmla="*/ 1020128 h 1158240"/>
                    <a:gd name="connsiteX294" fmla="*/ 1274445 w 2070734"/>
                    <a:gd name="connsiteY294" fmla="*/ 1008697 h 1158240"/>
                    <a:gd name="connsiteX295" fmla="*/ 1307782 w 2070734"/>
                    <a:gd name="connsiteY295" fmla="*/ 981075 h 1158240"/>
                    <a:gd name="connsiteX296" fmla="*/ 1341120 w 2070734"/>
                    <a:gd name="connsiteY296" fmla="*/ 958215 h 1158240"/>
                    <a:gd name="connsiteX297" fmla="*/ 1357313 w 2070734"/>
                    <a:gd name="connsiteY297" fmla="*/ 956310 h 1158240"/>
                    <a:gd name="connsiteX298" fmla="*/ 1377315 w 2070734"/>
                    <a:gd name="connsiteY298" fmla="*/ 944880 h 1158240"/>
                    <a:gd name="connsiteX299" fmla="*/ 1398270 w 2070734"/>
                    <a:gd name="connsiteY299" fmla="*/ 929640 h 1158240"/>
                    <a:gd name="connsiteX300" fmla="*/ 1385888 w 2070734"/>
                    <a:gd name="connsiteY300" fmla="*/ 907732 h 1158240"/>
                    <a:gd name="connsiteX301" fmla="*/ 1367790 w 2070734"/>
                    <a:gd name="connsiteY301" fmla="*/ 913447 h 1158240"/>
                    <a:gd name="connsiteX302" fmla="*/ 1346835 w 2070734"/>
                    <a:gd name="connsiteY302" fmla="*/ 902970 h 1158240"/>
                    <a:gd name="connsiteX303" fmla="*/ 1338263 w 2070734"/>
                    <a:gd name="connsiteY303" fmla="*/ 895350 h 1158240"/>
                    <a:gd name="connsiteX304" fmla="*/ 1308735 w 2070734"/>
                    <a:gd name="connsiteY304" fmla="*/ 902970 h 1158240"/>
                    <a:gd name="connsiteX305" fmla="*/ 1291590 w 2070734"/>
                    <a:gd name="connsiteY305" fmla="*/ 902018 h 1158240"/>
                    <a:gd name="connsiteX306" fmla="*/ 1255395 w 2070734"/>
                    <a:gd name="connsiteY306" fmla="*/ 909638 h 1158240"/>
                    <a:gd name="connsiteX307" fmla="*/ 1237297 w 2070734"/>
                    <a:gd name="connsiteY307" fmla="*/ 902018 h 1158240"/>
                    <a:gd name="connsiteX308" fmla="*/ 1199197 w 2070734"/>
                    <a:gd name="connsiteY308" fmla="*/ 882968 h 1158240"/>
                    <a:gd name="connsiteX309" fmla="*/ 1174432 w 2070734"/>
                    <a:gd name="connsiteY309" fmla="*/ 880110 h 1158240"/>
                    <a:gd name="connsiteX310" fmla="*/ 1174432 w 2070734"/>
                    <a:gd name="connsiteY310" fmla="*/ 870585 h 1158240"/>
                    <a:gd name="connsiteX311" fmla="*/ 1191577 w 2070734"/>
                    <a:gd name="connsiteY311" fmla="*/ 867728 h 1158240"/>
                    <a:gd name="connsiteX312" fmla="*/ 1192530 w 2070734"/>
                    <a:gd name="connsiteY312" fmla="*/ 858203 h 1158240"/>
                    <a:gd name="connsiteX313" fmla="*/ 1156335 w 2070734"/>
                    <a:gd name="connsiteY313" fmla="*/ 852488 h 1158240"/>
                    <a:gd name="connsiteX314" fmla="*/ 1155382 w 2070734"/>
                    <a:gd name="connsiteY314" fmla="*/ 840105 h 1158240"/>
                    <a:gd name="connsiteX315" fmla="*/ 1174432 w 2070734"/>
                    <a:gd name="connsiteY315" fmla="*/ 844868 h 1158240"/>
                    <a:gd name="connsiteX316" fmla="*/ 1204913 w 2070734"/>
                    <a:gd name="connsiteY316" fmla="*/ 846772 h 1158240"/>
                    <a:gd name="connsiteX317" fmla="*/ 1232535 w 2070734"/>
                    <a:gd name="connsiteY317" fmla="*/ 851535 h 1158240"/>
                    <a:gd name="connsiteX318" fmla="*/ 1252538 w 2070734"/>
                    <a:gd name="connsiteY318" fmla="*/ 834390 h 1158240"/>
                    <a:gd name="connsiteX319" fmla="*/ 1229677 w 2070734"/>
                    <a:gd name="connsiteY319" fmla="*/ 839153 h 1158240"/>
                    <a:gd name="connsiteX320" fmla="*/ 1202055 w 2070734"/>
                    <a:gd name="connsiteY320" fmla="*/ 834390 h 1158240"/>
                    <a:gd name="connsiteX321" fmla="*/ 1182052 w 2070734"/>
                    <a:gd name="connsiteY321" fmla="*/ 817245 h 1158240"/>
                    <a:gd name="connsiteX322" fmla="*/ 1161097 w 2070734"/>
                    <a:gd name="connsiteY322" fmla="*/ 828675 h 1158240"/>
                    <a:gd name="connsiteX323" fmla="*/ 1130617 w 2070734"/>
                    <a:gd name="connsiteY323" fmla="*/ 823913 h 1158240"/>
                    <a:gd name="connsiteX324" fmla="*/ 1107757 w 2070734"/>
                    <a:gd name="connsiteY324" fmla="*/ 831532 h 1158240"/>
                    <a:gd name="connsiteX325" fmla="*/ 1085850 w 2070734"/>
                    <a:gd name="connsiteY325" fmla="*/ 829628 h 1158240"/>
                    <a:gd name="connsiteX326" fmla="*/ 1046797 w 2070734"/>
                    <a:gd name="connsiteY326" fmla="*/ 840105 h 1158240"/>
                    <a:gd name="connsiteX327" fmla="*/ 1042988 w 2070734"/>
                    <a:gd name="connsiteY327" fmla="*/ 867728 h 1158240"/>
                    <a:gd name="connsiteX328" fmla="*/ 1023938 w 2070734"/>
                    <a:gd name="connsiteY328" fmla="*/ 905828 h 1158240"/>
                    <a:gd name="connsiteX329" fmla="*/ 994410 w 2070734"/>
                    <a:gd name="connsiteY329" fmla="*/ 941070 h 1158240"/>
                    <a:gd name="connsiteX330" fmla="*/ 950595 w 2070734"/>
                    <a:gd name="connsiteY330" fmla="*/ 961072 h 1158240"/>
                    <a:gd name="connsiteX331" fmla="*/ 934402 w 2070734"/>
                    <a:gd name="connsiteY331" fmla="*/ 957263 h 1158240"/>
                    <a:gd name="connsiteX332" fmla="*/ 925830 w 2070734"/>
                    <a:gd name="connsiteY332" fmla="*/ 967740 h 1158240"/>
                    <a:gd name="connsiteX333" fmla="*/ 927735 w 2070734"/>
                    <a:gd name="connsiteY333" fmla="*/ 980122 h 1158240"/>
                    <a:gd name="connsiteX334" fmla="*/ 937260 w 2070734"/>
                    <a:gd name="connsiteY334" fmla="*/ 988695 h 1158240"/>
                    <a:gd name="connsiteX335" fmla="*/ 947738 w 2070734"/>
                    <a:gd name="connsiteY335" fmla="*/ 1018222 h 1158240"/>
                    <a:gd name="connsiteX336" fmla="*/ 946785 w 2070734"/>
                    <a:gd name="connsiteY336" fmla="*/ 1030605 h 115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2070734" h="1158240">
                      <a:moveTo>
                        <a:pt x="1198245" y="891540"/>
                      </a:moveTo>
                      <a:lnTo>
                        <a:pt x="1198245" y="897255"/>
                      </a:lnTo>
                      <a:lnTo>
                        <a:pt x="1161097" y="889635"/>
                      </a:lnTo>
                      <a:lnTo>
                        <a:pt x="1152525" y="881063"/>
                      </a:lnTo>
                      <a:lnTo>
                        <a:pt x="1198245" y="891540"/>
                      </a:lnTo>
                      <a:close/>
                      <a:moveTo>
                        <a:pt x="946785" y="1030605"/>
                      </a:moveTo>
                      <a:lnTo>
                        <a:pt x="928688" y="1013460"/>
                      </a:lnTo>
                      <a:lnTo>
                        <a:pt x="907732" y="1006793"/>
                      </a:lnTo>
                      <a:lnTo>
                        <a:pt x="886777" y="1008697"/>
                      </a:lnTo>
                      <a:lnTo>
                        <a:pt x="865822" y="1021080"/>
                      </a:lnTo>
                      <a:lnTo>
                        <a:pt x="850582" y="1025843"/>
                      </a:lnTo>
                      <a:lnTo>
                        <a:pt x="842010" y="1022985"/>
                      </a:lnTo>
                      <a:lnTo>
                        <a:pt x="836295" y="1034415"/>
                      </a:lnTo>
                      <a:lnTo>
                        <a:pt x="798195" y="1025843"/>
                      </a:lnTo>
                      <a:lnTo>
                        <a:pt x="781050" y="1017270"/>
                      </a:lnTo>
                      <a:lnTo>
                        <a:pt x="766763" y="1002030"/>
                      </a:lnTo>
                      <a:lnTo>
                        <a:pt x="777240" y="995363"/>
                      </a:lnTo>
                      <a:lnTo>
                        <a:pt x="796290" y="993457"/>
                      </a:lnTo>
                      <a:lnTo>
                        <a:pt x="800100" y="983932"/>
                      </a:lnTo>
                      <a:lnTo>
                        <a:pt x="795338" y="970597"/>
                      </a:lnTo>
                      <a:lnTo>
                        <a:pt x="819150" y="942975"/>
                      </a:lnTo>
                      <a:lnTo>
                        <a:pt x="819150" y="930593"/>
                      </a:lnTo>
                      <a:lnTo>
                        <a:pt x="841057" y="914400"/>
                      </a:lnTo>
                      <a:lnTo>
                        <a:pt x="844867" y="895350"/>
                      </a:lnTo>
                      <a:lnTo>
                        <a:pt x="835342" y="879157"/>
                      </a:lnTo>
                      <a:lnTo>
                        <a:pt x="830580" y="859155"/>
                      </a:lnTo>
                      <a:lnTo>
                        <a:pt x="854392" y="843915"/>
                      </a:lnTo>
                      <a:lnTo>
                        <a:pt x="874395" y="853440"/>
                      </a:lnTo>
                      <a:lnTo>
                        <a:pt x="892492" y="855345"/>
                      </a:lnTo>
                      <a:lnTo>
                        <a:pt x="912495" y="862965"/>
                      </a:lnTo>
                      <a:lnTo>
                        <a:pt x="927735" y="857250"/>
                      </a:lnTo>
                      <a:lnTo>
                        <a:pt x="939165" y="869632"/>
                      </a:lnTo>
                      <a:lnTo>
                        <a:pt x="966788" y="865822"/>
                      </a:lnTo>
                      <a:lnTo>
                        <a:pt x="972502" y="859155"/>
                      </a:lnTo>
                      <a:lnTo>
                        <a:pt x="944880" y="842963"/>
                      </a:lnTo>
                      <a:lnTo>
                        <a:pt x="942975" y="815340"/>
                      </a:lnTo>
                      <a:lnTo>
                        <a:pt x="933450" y="800100"/>
                      </a:lnTo>
                      <a:lnTo>
                        <a:pt x="913447" y="792480"/>
                      </a:lnTo>
                      <a:lnTo>
                        <a:pt x="894397" y="780097"/>
                      </a:lnTo>
                      <a:lnTo>
                        <a:pt x="885825" y="762000"/>
                      </a:lnTo>
                      <a:lnTo>
                        <a:pt x="885825" y="739140"/>
                      </a:lnTo>
                      <a:lnTo>
                        <a:pt x="858202" y="720090"/>
                      </a:lnTo>
                      <a:lnTo>
                        <a:pt x="836295" y="708660"/>
                      </a:lnTo>
                      <a:lnTo>
                        <a:pt x="830580" y="697230"/>
                      </a:lnTo>
                      <a:lnTo>
                        <a:pt x="836295" y="667703"/>
                      </a:lnTo>
                      <a:lnTo>
                        <a:pt x="830580" y="645795"/>
                      </a:lnTo>
                      <a:lnTo>
                        <a:pt x="817245" y="632460"/>
                      </a:lnTo>
                      <a:lnTo>
                        <a:pt x="803910" y="639128"/>
                      </a:lnTo>
                      <a:lnTo>
                        <a:pt x="790575" y="629603"/>
                      </a:lnTo>
                      <a:lnTo>
                        <a:pt x="777240" y="611505"/>
                      </a:lnTo>
                      <a:lnTo>
                        <a:pt x="723900" y="605790"/>
                      </a:lnTo>
                      <a:lnTo>
                        <a:pt x="718185" y="594360"/>
                      </a:lnTo>
                      <a:lnTo>
                        <a:pt x="694372" y="591503"/>
                      </a:lnTo>
                      <a:lnTo>
                        <a:pt x="660082" y="568643"/>
                      </a:lnTo>
                      <a:lnTo>
                        <a:pt x="626745" y="559118"/>
                      </a:lnTo>
                      <a:lnTo>
                        <a:pt x="611505" y="568643"/>
                      </a:lnTo>
                      <a:lnTo>
                        <a:pt x="603885" y="565785"/>
                      </a:lnTo>
                      <a:lnTo>
                        <a:pt x="592455" y="575310"/>
                      </a:lnTo>
                      <a:lnTo>
                        <a:pt x="554355" y="574357"/>
                      </a:lnTo>
                      <a:lnTo>
                        <a:pt x="547688" y="572453"/>
                      </a:lnTo>
                      <a:lnTo>
                        <a:pt x="525780" y="585788"/>
                      </a:lnTo>
                      <a:lnTo>
                        <a:pt x="523875" y="591503"/>
                      </a:lnTo>
                      <a:lnTo>
                        <a:pt x="488632" y="599122"/>
                      </a:lnTo>
                      <a:lnTo>
                        <a:pt x="486727" y="612457"/>
                      </a:lnTo>
                      <a:lnTo>
                        <a:pt x="476250" y="630555"/>
                      </a:lnTo>
                      <a:lnTo>
                        <a:pt x="396240" y="641985"/>
                      </a:lnTo>
                      <a:lnTo>
                        <a:pt x="363855" y="654368"/>
                      </a:lnTo>
                      <a:lnTo>
                        <a:pt x="354330" y="665797"/>
                      </a:lnTo>
                      <a:lnTo>
                        <a:pt x="334327" y="670560"/>
                      </a:lnTo>
                      <a:lnTo>
                        <a:pt x="293370" y="639128"/>
                      </a:lnTo>
                      <a:lnTo>
                        <a:pt x="281940" y="636270"/>
                      </a:lnTo>
                      <a:lnTo>
                        <a:pt x="247650" y="642938"/>
                      </a:lnTo>
                      <a:lnTo>
                        <a:pt x="181927" y="629603"/>
                      </a:lnTo>
                      <a:lnTo>
                        <a:pt x="156210" y="630555"/>
                      </a:lnTo>
                      <a:lnTo>
                        <a:pt x="130492" y="616268"/>
                      </a:lnTo>
                      <a:lnTo>
                        <a:pt x="123825" y="616268"/>
                      </a:lnTo>
                      <a:lnTo>
                        <a:pt x="115252" y="627697"/>
                      </a:lnTo>
                      <a:lnTo>
                        <a:pt x="95250" y="636270"/>
                      </a:lnTo>
                      <a:lnTo>
                        <a:pt x="88582" y="620078"/>
                      </a:lnTo>
                      <a:lnTo>
                        <a:pt x="80010" y="613410"/>
                      </a:lnTo>
                      <a:lnTo>
                        <a:pt x="58102" y="609600"/>
                      </a:lnTo>
                      <a:lnTo>
                        <a:pt x="49530" y="599122"/>
                      </a:lnTo>
                      <a:lnTo>
                        <a:pt x="28575" y="591503"/>
                      </a:lnTo>
                      <a:lnTo>
                        <a:pt x="15240" y="569595"/>
                      </a:lnTo>
                      <a:lnTo>
                        <a:pt x="952" y="569595"/>
                      </a:lnTo>
                      <a:lnTo>
                        <a:pt x="0" y="545782"/>
                      </a:lnTo>
                      <a:lnTo>
                        <a:pt x="15240" y="529590"/>
                      </a:lnTo>
                      <a:lnTo>
                        <a:pt x="22860" y="501968"/>
                      </a:lnTo>
                      <a:lnTo>
                        <a:pt x="37147" y="473393"/>
                      </a:lnTo>
                      <a:lnTo>
                        <a:pt x="68580" y="480060"/>
                      </a:lnTo>
                      <a:lnTo>
                        <a:pt x="72390" y="471488"/>
                      </a:lnTo>
                      <a:lnTo>
                        <a:pt x="54292" y="458153"/>
                      </a:lnTo>
                      <a:lnTo>
                        <a:pt x="55245" y="441007"/>
                      </a:lnTo>
                      <a:lnTo>
                        <a:pt x="40957" y="404813"/>
                      </a:lnTo>
                      <a:lnTo>
                        <a:pt x="46672" y="395288"/>
                      </a:lnTo>
                      <a:lnTo>
                        <a:pt x="79057" y="353378"/>
                      </a:lnTo>
                      <a:lnTo>
                        <a:pt x="101917" y="327660"/>
                      </a:lnTo>
                      <a:lnTo>
                        <a:pt x="147638" y="283845"/>
                      </a:lnTo>
                      <a:lnTo>
                        <a:pt x="176213" y="279082"/>
                      </a:lnTo>
                      <a:lnTo>
                        <a:pt x="187642" y="261938"/>
                      </a:lnTo>
                      <a:lnTo>
                        <a:pt x="186690" y="249555"/>
                      </a:lnTo>
                      <a:lnTo>
                        <a:pt x="169545" y="224790"/>
                      </a:lnTo>
                      <a:lnTo>
                        <a:pt x="180975" y="212407"/>
                      </a:lnTo>
                      <a:lnTo>
                        <a:pt x="167640" y="202882"/>
                      </a:lnTo>
                      <a:lnTo>
                        <a:pt x="149542" y="176213"/>
                      </a:lnTo>
                      <a:lnTo>
                        <a:pt x="123825" y="149543"/>
                      </a:lnTo>
                      <a:lnTo>
                        <a:pt x="123825" y="137160"/>
                      </a:lnTo>
                      <a:lnTo>
                        <a:pt x="112395" y="120015"/>
                      </a:lnTo>
                      <a:lnTo>
                        <a:pt x="111442" y="106680"/>
                      </a:lnTo>
                      <a:lnTo>
                        <a:pt x="121920" y="101918"/>
                      </a:lnTo>
                      <a:lnTo>
                        <a:pt x="140017" y="104775"/>
                      </a:lnTo>
                      <a:lnTo>
                        <a:pt x="150495" y="109538"/>
                      </a:lnTo>
                      <a:lnTo>
                        <a:pt x="168592" y="98107"/>
                      </a:lnTo>
                      <a:lnTo>
                        <a:pt x="183832" y="82868"/>
                      </a:lnTo>
                      <a:lnTo>
                        <a:pt x="191452" y="69532"/>
                      </a:lnTo>
                      <a:lnTo>
                        <a:pt x="247650" y="64770"/>
                      </a:lnTo>
                      <a:lnTo>
                        <a:pt x="269557" y="60007"/>
                      </a:lnTo>
                      <a:lnTo>
                        <a:pt x="292417" y="59055"/>
                      </a:lnTo>
                      <a:lnTo>
                        <a:pt x="366713" y="62865"/>
                      </a:lnTo>
                      <a:lnTo>
                        <a:pt x="428625" y="77153"/>
                      </a:lnTo>
                      <a:lnTo>
                        <a:pt x="486727" y="85725"/>
                      </a:lnTo>
                      <a:lnTo>
                        <a:pt x="508635" y="85725"/>
                      </a:lnTo>
                      <a:lnTo>
                        <a:pt x="525780" y="105728"/>
                      </a:lnTo>
                      <a:lnTo>
                        <a:pt x="535305" y="108585"/>
                      </a:lnTo>
                      <a:lnTo>
                        <a:pt x="563880" y="107632"/>
                      </a:lnTo>
                      <a:lnTo>
                        <a:pt x="574357" y="111443"/>
                      </a:lnTo>
                      <a:lnTo>
                        <a:pt x="581977" y="124778"/>
                      </a:lnTo>
                      <a:lnTo>
                        <a:pt x="593407" y="108585"/>
                      </a:lnTo>
                      <a:lnTo>
                        <a:pt x="611505" y="113347"/>
                      </a:lnTo>
                      <a:lnTo>
                        <a:pt x="629602" y="106680"/>
                      </a:lnTo>
                      <a:lnTo>
                        <a:pt x="678180" y="116205"/>
                      </a:lnTo>
                      <a:lnTo>
                        <a:pt x="685800" y="128588"/>
                      </a:lnTo>
                      <a:lnTo>
                        <a:pt x="695325" y="131445"/>
                      </a:lnTo>
                      <a:lnTo>
                        <a:pt x="701040" y="120968"/>
                      </a:lnTo>
                      <a:lnTo>
                        <a:pt x="737235" y="105728"/>
                      </a:lnTo>
                      <a:lnTo>
                        <a:pt x="761047" y="134303"/>
                      </a:lnTo>
                      <a:lnTo>
                        <a:pt x="766763" y="139065"/>
                      </a:lnTo>
                      <a:lnTo>
                        <a:pt x="788670" y="131445"/>
                      </a:lnTo>
                      <a:lnTo>
                        <a:pt x="856297" y="125730"/>
                      </a:lnTo>
                      <a:lnTo>
                        <a:pt x="875347" y="136207"/>
                      </a:lnTo>
                      <a:lnTo>
                        <a:pt x="880110" y="147638"/>
                      </a:lnTo>
                      <a:lnTo>
                        <a:pt x="905827" y="156210"/>
                      </a:lnTo>
                      <a:lnTo>
                        <a:pt x="913447" y="142875"/>
                      </a:lnTo>
                      <a:lnTo>
                        <a:pt x="896302" y="108585"/>
                      </a:lnTo>
                      <a:lnTo>
                        <a:pt x="905827" y="77153"/>
                      </a:lnTo>
                      <a:lnTo>
                        <a:pt x="913447" y="65722"/>
                      </a:lnTo>
                      <a:lnTo>
                        <a:pt x="934402" y="43815"/>
                      </a:lnTo>
                      <a:lnTo>
                        <a:pt x="944880" y="39053"/>
                      </a:lnTo>
                      <a:lnTo>
                        <a:pt x="961072" y="42863"/>
                      </a:lnTo>
                      <a:lnTo>
                        <a:pt x="974407" y="35243"/>
                      </a:lnTo>
                      <a:lnTo>
                        <a:pt x="1022032" y="36195"/>
                      </a:lnTo>
                      <a:lnTo>
                        <a:pt x="1046797" y="43815"/>
                      </a:lnTo>
                      <a:lnTo>
                        <a:pt x="1062990" y="42863"/>
                      </a:lnTo>
                      <a:lnTo>
                        <a:pt x="1080135" y="34290"/>
                      </a:lnTo>
                      <a:lnTo>
                        <a:pt x="1084897" y="11430"/>
                      </a:lnTo>
                      <a:lnTo>
                        <a:pt x="1100138" y="5715"/>
                      </a:lnTo>
                      <a:lnTo>
                        <a:pt x="1135380" y="14288"/>
                      </a:lnTo>
                      <a:lnTo>
                        <a:pt x="1144905" y="13335"/>
                      </a:lnTo>
                      <a:lnTo>
                        <a:pt x="1170622" y="1905"/>
                      </a:lnTo>
                      <a:lnTo>
                        <a:pt x="1185863" y="0"/>
                      </a:lnTo>
                      <a:lnTo>
                        <a:pt x="1204913" y="2857"/>
                      </a:lnTo>
                      <a:lnTo>
                        <a:pt x="1237297" y="953"/>
                      </a:lnTo>
                      <a:lnTo>
                        <a:pt x="1261110" y="14288"/>
                      </a:lnTo>
                      <a:lnTo>
                        <a:pt x="1274445" y="27622"/>
                      </a:lnTo>
                      <a:lnTo>
                        <a:pt x="1290638" y="53340"/>
                      </a:lnTo>
                      <a:lnTo>
                        <a:pt x="1328738" y="81915"/>
                      </a:lnTo>
                      <a:lnTo>
                        <a:pt x="1327785" y="91440"/>
                      </a:lnTo>
                      <a:lnTo>
                        <a:pt x="1300163" y="96203"/>
                      </a:lnTo>
                      <a:lnTo>
                        <a:pt x="1312545" y="114300"/>
                      </a:lnTo>
                      <a:lnTo>
                        <a:pt x="1317307" y="133350"/>
                      </a:lnTo>
                      <a:lnTo>
                        <a:pt x="1328738" y="149543"/>
                      </a:lnTo>
                      <a:lnTo>
                        <a:pt x="1324927" y="159068"/>
                      </a:lnTo>
                      <a:lnTo>
                        <a:pt x="1354455" y="160020"/>
                      </a:lnTo>
                      <a:lnTo>
                        <a:pt x="1382077" y="169545"/>
                      </a:lnTo>
                      <a:lnTo>
                        <a:pt x="1421130" y="164782"/>
                      </a:lnTo>
                      <a:lnTo>
                        <a:pt x="1435417" y="185738"/>
                      </a:lnTo>
                      <a:lnTo>
                        <a:pt x="1453515" y="187643"/>
                      </a:lnTo>
                      <a:lnTo>
                        <a:pt x="1455420" y="196215"/>
                      </a:lnTo>
                      <a:lnTo>
                        <a:pt x="1468755" y="222885"/>
                      </a:lnTo>
                      <a:lnTo>
                        <a:pt x="1477327" y="233363"/>
                      </a:lnTo>
                      <a:lnTo>
                        <a:pt x="1475422" y="250507"/>
                      </a:lnTo>
                      <a:lnTo>
                        <a:pt x="1480185" y="260032"/>
                      </a:lnTo>
                      <a:lnTo>
                        <a:pt x="1498282" y="275272"/>
                      </a:lnTo>
                      <a:lnTo>
                        <a:pt x="1504950" y="284797"/>
                      </a:lnTo>
                      <a:lnTo>
                        <a:pt x="1515427" y="288607"/>
                      </a:lnTo>
                      <a:lnTo>
                        <a:pt x="1537335" y="275272"/>
                      </a:lnTo>
                      <a:lnTo>
                        <a:pt x="1564005" y="279082"/>
                      </a:lnTo>
                      <a:lnTo>
                        <a:pt x="1589722" y="298132"/>
                      </a:lnTo>
                      <a:lnTo>
                        <a:pt x="1611630" y="298132"/>
                      </a:lnTo>
                      <a:lnTo>
                        <a:pt x="1627822" y="308610"/>
                      </a:lnTo>
                      <a:lnTo>
                        <a:pt x="1641157" y="296228"/>
                      </a:lnTo>
                      <a:lnTo>
                        <a:pt x="1682115" y="287655"/>
                      </a:lnTo>
                      <a:lnTo>
                        <a:pt x="1704022" y="278130"/>
                      </a:lnTo>
                      <a:lnTo>
                        <a:pt x="1713547" y="279082"/>
                      </a:lnTo>
                      <a:lnTo>
                        <a:pt x="1735455" y="296228"/>
                      </a:lnTo>
                      <a:lnTo>
                        <a:pt x="1740217" y="307657"/>
                      </a:lnTo>
                      <a:lnTo>
                        <a:pt x="1754505" y="322897"/>
                      </a:lnTo>
                      <a:lnTo>
                        <a:pt x="1799272" y="350520"/>
                      </a:lnTo>
                      <a:lnTo>
                        <a:pt x="1811655" y="344805"/>
                      </a:lnTo>
                      <a:lnTo>
                        <a:pt x="1820227" y="330518"/>
                      </a:lnTo>
                      <a:lnTo>
                        <a:pt x="1844992" y="343853"/>
                      </a:lnTo>
                      <a:lnTo>
                        <a:pt x="1867852" y="345757"/>
                      </a:lnTo>
                      <a:lnTo>
                        <a:pt x="1902142" y="363855"/>
                      </a:lnTo>
                      <a:lnTo>
                        <a:pt x="1915477" y="364807"/>
                      </a:lnTo>
                      <a:lnTo>
                        <a:pt x="1930717" y="359093"/>
                      </a:lnTo>
                      <a:lnTo>
                        <a:pt x="1949767" y="376238"/>
                      </a:lnTo>
                      <a:lnTo>
                        <a:pt x="1967865" y="378143"/>
                      </a:lnTo>
                      <a:lnTo>
                        <a:pt x="2009775" y="400050"/>
                      </a:lnTo>
                      <a:lnTo>
                        <a:pt x="2037397" y="397193"/>
                      </a:lnTo>
                      <a:lnTo>
                        <a:pt x="2046922" y="404813"/>
                      </a:lnTo>
                      <a:lnTo>
                        <a:pt x="2045970" y="421005"/>
                      </a:lnTo>
                      <a:lnTo>
                        <a:pt x="2055495" y="429578"/>
                      </a:lnTo>
                      <a:lnTo>
                        <a:pt x="2054542" y="454343"/>
                      </a:lnTo>
                      <a:lnTo>
                        <a:pt x="2038350" y="474345"/>
                      </a:lnTo>
                      <a:lnTo>
                        <a:pt x="2016442" y="481965"/>
                      </a:lnTo>
                      <a:lnTo>
                        <a:pt x="2026920" y="496253"/>
                      </a:lnTo>
                      <a:lnTo>
                        <a:pt x="2056447" y="504825"/>
                      </a:lnTo>
                      <a:lnTo>
                        <a:pt x="2047875" y="513397"/>
                      </a:lnTo>
                      <a:lnTo>
                        <a:pt x="2034540" y="511493"/>
                      </a:lnTo>
                      <a:lnTo>
                        <a:pt x="2026920" y="521018"/>
                      </a:lnTo>
                      <a:lnTo>
                        <a:pt x="2024063" y="542925"/>
                      </a:lnTo>
                      <a:lnTo>
                        <a:pt x="2047875" y="549593"/>
                      </a:lnTo>
                      <a:lnTo>
                        <a:pt x="2059305" y="576263"/>
                      </a:lnTo>
                      <a:lnTo>
                        <a:pt x="2059305" y="586740"/>
                      </a:lnTo>
                      <a:lnTo>
                        <a:pt x="2070735" y="589597"/>
                      </a:lnTo>
                      <a:lnTo>
                        <a:pt x="2058352" y="634365"/>
                      </a:lnTo>
                      <a:lnTo>
                        <a:pt x="2057400" y="651510"/>
                      </a:lnTo>
                      <a:lnTo>
                        <a:pt x="2017395" y="653415"/>
                      </a:lnTo>
                      <a:lnTo>
                        <a:pt x="1960245" y="650557"/>
                      </a:lnTo>
                      <a:lnTo>
                        <a:pt x="1951672" y="652463"/>
                      </a:lnTo>
                      <a:lnTo>
                        <a:pt x="1943100" y="670560"/>
                      </a:lnTo>
                      <a:lnTo>
                        <a:pt x="1921192" y="683895"/>
                      </a:lnTo>
                      <a:lnTo>
                        <a:pt x="1905000" y="685800"/>
                      </a:lnTo>
                      <a:lnTo>
                        <a:pt x="1897380" y="693420"/>
                      </a:lnTo>
                      <a:lnTo>
                        <a:pt x="1897380" y="715328"/>
                      </a:lnTo>
                      <a:lnTo>
                        <a:pt x="1893570" y="727710"/>
                      </a:lnTo>
                      <a:lnTo>
                        <a:pt x="1904047" y="734378"/>
                      </a:lnTo>
                      <a:lnTo>
                        <a:pt x="1897380" y="749618"/>
                      </a:lnTo>
                      <a:lnTo>
                        <a:pt x="1902142" y="762000"/>
                      </a:lnTo>
                      <a:lnTo>
                        <a:pt x="1897380" y="762953"/>
                      </a:lnTo>
                      <a:lnTo>
                        <a:pt x="1856422" y="761047"/>
                      </a:lnTo>
                      <a:lnTo>
                        <a:pt x="1824038" y="763905"/>
                      </a:lnTo>
                      <a:lnTo>
                        <a:pt x="1804035" y="786765"/>
                      </a:lnTo>
                      <a:lnTo>
                        <a:pt x="1789747" y="786765"/>
                      </a:lnTo>
                      <a:lnTo>
                        <a:pt x="1759267" y="801053"/>
                      </a:lnTo>
                      <a:lnTo>
                        <a:pt x="1745932" y="817245"/>
                      </a:lnTo>
                      <a:lnTo>
                        <a:pt x="1732597" y="809625"/>
                      </a:lnTo>
                      <a:lnTo>
                        <a:pt x="1703070" y="814388"/>
                      </a:lnTo>
                      <a:lnTo>
                        <a:pt x="1686877" y="824865"/>
                      </a:lnTo>
                      <a:lnTo>
                        <a:pt x="1657350" y="823913"/>
                      </a:lnTo>
                      <a:lnTo>
                        <a:pt x="1635442" y="829628"/>
                      </a:lnTo>
                      <a:lnTo>
                        <a:pt x="1591627" y="865822"/>
                      </a:lnTo>
                      <a:lnTo>
                        <a:pt x="1579245" y="866775"/>
                      </a:lnTo>
                      <a:lnTo>
                        <a:pt x="1569720" y="857250"/>
                      </a:lnTo>
                      <a:lnTo>
                        <a:pt x="1554480" y="882015"/>
                      </a:lnTo>
                      <a:lnTo>
                        <a:pt x="1531620" y="893445"/>
                      </a:lnTo>
                      <a:lnTo>
                        <a:pt x="1537335" y="922972"/>
                      </a:lnTo>
                      <a:lnTo>
                        <a:pt x="1564005" y="965835"/>
                      </a:lnTo>
                      <a:lnTo>
                        <a:pt x="1598295" y="1002982"/>
                      </a:lnTo>
                      <a:lnTo>
                        <a:pt x="1614488" y="1016318"/>
                      </a:lnTo>
                      <a:lnTo>
                        <a:pt x="1637347" y="1022985"/>
                      </a:lnTo>
                      <a:lnTo>
                        <a:pt x="1666875" y="1009650"/>
                      </a:lnTo>
                      <a:lnTo>
                        <a:pt x="1689735" y="1013460"/>
                      </a:lnTo>
                      <a:lnTo>
                        <a:pt x="1705927" y="1002030"/>
                      </a:lnTo>
                      <a:lnTo>
                        <a:pt x="1720215" y="1001078"/>
                      </a:lnTo>
                      <a:lnTo>
                        <a:pt x="1755457" y="1010603"/>
                      </a:lnTo>
                      <a:lnTo>
                        <a:pt x="1744980" y="1034415"/>
                      </a:lnTo>
                      <a:lnTo>
                        <a:pt x="1742122" y="1059180"/>
                      </a:lnTo>
                      <a:lnTo>
                        <a:pt x="1724025" y="1064895"/>
                      </a:lnTo>
                      <a:lnTo>
                        <a:pt x="1703070" y="1063943"/>
                      </a:lnTo>
                      <a:lnTo>
                        <a:pt x="1682115" y="1067753"/>
                      </a:lnTo>
                      <a:lnTo>
                        <a:pt x="1656397" y="1053465"/>
                      </a:lnTo>
                      <a:lnTo>
                        <a:pt x="1632585" y="1053465"/>
                      </a:lnTo>
                      <a:lnTo>
                        <a:pt x="1622107" y="1071563"/>
                      </a:lnTo>
                      <a:lnTo>
                        <a:pt x="1600200" y="1083945"/>
                      </a:lnTo>
                      <a:lnTo>
                        <a:pt x="1594485" y="1097280"/>
                      </a:lnTo>
                      <a:lnTo>
                        <a:pt x="1569720" y="1094423"/>
                      </a:lnTo>
                      <a:lnTo>
                        <a:pt x="1549717" y="1096328"/>
                      </a:lnTo>
                      <a:lnTo>
                        <a:pt x="1523047" y="1109663"/>
                      </a:lnTo>
                      <a:lnTo>
                        <a:pt x="1504950" y="1136332"/>
                      </a:lnTo>
                      <a:lnTo>
                        <a:pt x="1483042" y="1153478"/>
                      </a:lnTo>
                      <a:lnTo>
                        <a:pt x="1464945" y="1158240"/>
                      </a:lnTo>
                      <a:lnTo>
                        <a:pt x="1445895" y="1157288"/>
                      </a:lnTo>
                      <a:lnTo>
                        <a:pt x="1433513" y="1151573"/>
                      </a:lnTo>
                      <a:lnTo>
                        <a:pt x="1405890" y="1134428"/>
                      </a:lnTo>
                      <a:lnTo>
                        <a:pt x="1412557" y="1115378"/>
                      </a:lnTo>
                      <a:lnTo>
                        <a:pt x="1417320" y="1082040"/>
                      </a:lnTo>
                      <a:lnTo>
                        <a:pt x="1405890" y="1054418"/>
                      </a:lnTo>
                      <a:lnTo>
                        <a:pt x="1383982" y="1041082"/>
                      </a:lnTo>
                      <a:lnTo>
                        <a:pt x="1368742" y="1042988"/>
                      </a:lnTo>
                      <a:lnTo>
                        <a:pt x="1360170" y="1040130"/>
                      </a:lnTo>
                      <a:lnTo>
                        <a:pt x="1324927" y="1017270"/>
                      </a:lnTo>
                      <a:lnTo>
                        <a:pt x="1306830" y="1015365"/>
                      </a:lnTo>
                      <a:lnTo>
                        <a:pt x="1288732" y="1020128"/>
                      </a:lnTo>
                      <a:lnTo>
                        <a:pt x="1274445" y="1008697"/>
                      </a:lnTo>
                      <a:lnTo>
                        <a:pt x="1307782" y="981075"/>
                      </a:lnTo>
                      <a:lnTo>
                        <a:pt x="1341120" y="958215"/>
                      </a:lnTo>
                      <a:lnTo>
                        <a:pt x="1357313" y="956310"/>
                      </a:lnTo>
                      <a:lnTo>
                        <a:pt x="1377315" y="944880"/>
                      </a:lnTo>
                      <a:lnTo>
                        <a:pt x="1398270" y="929640"/>
                      </a:lnTo>
                      <a:lnTo>
                        <a:pt x="1385888" y="907732"/>
                      </a:lnTo>
                      <a:lnTo>
                        <a:pt x="1367790" y="913447"/>
                      </a:lnTo>
                      <a:lnTo>
                        <a:pt x="1346835" y="902970"/>
                      </a:lnTo>
                      <a:lnTo>
                        <a:pt x="1338263" y="895350"/>
                      </a:lnTo>
                      <a:lnTo>
                        <a:pt x="1308735" y="902970"/>
                      </a:lnTo>
                      <a:lnTo>
                        <a:pt x="1291590" y="902018"/>
                      </a:lnTo>
                      <a:lnTo>
                        <a:pt x="1255395" y="909638"/>
                      </a:lnTo>
                      <a:lnTo>
                        <a:pt x="1237297" y="902018"/>
                      </a:lnTo>
                      <a:lnTo>
                        <a:pt x="1199197" y="882968"/>
                      </a:lnTo>
                      <a:lnTo>
                        <a:pt x="1174432" y="880110"/>
                      </a:lnTo>
                      <a:lnTo>
                        <a:pt x="1174432" y="870585"/>
                      </a:lnTo>
                      <a:lnTo>
                        <a:pt x="1191577" y="867728"/>
                      </a:lnTo>
                      <a:lnTo>
                        <a:pt x="1192530" y="858203"/>
                      </a:lnTo>
                      <a:lnTo>
                        <a:pt x="1156335" y="852488"/>
                      </a:lnTo>
                      <a:lnTo>
                        <a:pt x="1155382" y="840105"/>
                      </a:lnTo>
                      <a:lnTo>
                        <a:pt x="1174432" y="844868"/>
                      </a:lnTo>
                      <a:lnTo>
                        <a:pt x="1204913" y="846772"/>
                      </a:lnTo>
                      <a:lnTo>
                        <a:pt x="1232535" y="851535"/>
                      </a:lnTo>
                      <a:lnTo>
                        <a:pt x="1252538" y="834390"/>
                      </a:lnTo>
                      <a:lnTo>
                        <a:pt x="1229677" y="839153"/>
                      </a:lnTo>
                      <a:lnTo>
                        <a:pt x="1202055" y="834390"/>
                      </a:lnTo>
                      <a:lnTo>
                        <a:pt x="1182052" y="817245"/>
                      </a:lnTo>
                      <a:lnTo>
                        <a:pt x="1161097" y="828675"/>
                      </a:lnTo>
                      <a:lnTo>
                        <a:pt x="1130617" y="823913"/>
                      </a:lnTo>
                      <a:lnTo>
                        <a:pt x="1107757" y="831532"/>
                      </a:lnTo>
                      <a:lnTo>
                        <a:pt x="1085850" y="829628"/>
                      </a:lnTo>
                      <a:lnTo>
                        <a:pt x="1046797" y="840105"/>
                      </a:lnTo>
                      <a:lnTo>
                        <a:pt x="1042988" y="867728"/>
                      </a:lnTo>
                      <a:lnTo>
                        <a:pt x="1023938" y="905828"/>
                      </a:lnTo>
                      <a:lnTo>
                        <a:pt x="994410" y="941070"/>
                      </a:lnTo>
                      <a:lnTo>
                        <a:pt x="950595" y="961072"/>
                      </a:lnTo>
                      <a:lnTo>
                        <a:pt x="934402" y="957263"/>
                      </a:lnTo>
                      <a:lnTo>
                        <a:pt x="925830" y="967740"/>
                      </a:lnTo>
                      <a:lnTo>
                        <a:pt x="927735" y="980122"/>
                      </a:lnTo>
                      <a:lnTo>
                        <a:pt x="937260" y="988695"/>
                      </a:lnTo>
                      <a:lnTo>
                        <a:pt x="947738" y="1018222"/>
                      </a:lnTo>
                      <a:lnTo>
                        <a:pt x="946785" y="1030605"/>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29" name="Kosovo" descr="{&quot;Key&quot;:&quot;kosovo&quot;,&quot;Name&quot;:&quot;Kosovo&quot;,&quot;Value&quot;:1.0,&quot;Formula&quot;:&quot;&quot;,&quot;Text&quot;:&quot;&quot;,&quot;OfficeApplication&quot;:1,&quot;HasValue&quot;:true}">
                  <a:extLst>
                    <a:ext uri="{FF2B5EF4-FFF2-40B4-BE49-F238E27FC236}">
                      <a16:creationId xmlns:a16="http://schemas.microsoft.com/office/drawing/2014/main" id="{DA6EE907-A030-8237-5371-ED1CB13CA538}"/>
                    </a:ext>
                  </a:extLst>
                </p:cNvPr>
                <p:cNvSpPr/>
                <p:nvPr/>
              </p:nvSpPr>
              <p:spPr>
                <a:xfrm>
                  <a:off x="7562850" y="5122954"/>
                  <a:ext cx="207644" cy="207645"/>
                </a:xfrm>
                <a:custGeom>
                  <a:avLst/>
                  <a:gdLst>
                    <a:gd name="connsiteX0" fmla="*/ 190500 w 207644"/>
                    <a:gd name="connsiteY0" fmla="*/ 149543 h 207645"/>
                    <a:gd name="connsiteX1" fmla="*/ 170498 w 207644"/>
                    <a:gd name="connsiteY1" fmla="*/ 153353 h 207645"/>
                    <a:gd name="connsiteX2" fmla="*/ 156210 w 207644"/>
                    <a:gd name="connsiteY2" fmla="*/ 171450 h 207645"/>
                    <a:gd name="connsiteX3" fmla="*/ 140970 w 207644"/>
                    <a:gd name="connsiteY3" fmla="*/ 160020 h 207645"/>
                    <a:gd name="connsiteX4" fmla="*/ 131445 w 207644"/>
                    <a:gd name="connsiteY4" fmla="*/ 160973 h 207645"/>
                    <a:gd name="connsiteX5" fmla="*/ 99060 w 207644"/>
                    <a:gd name="connsiteY5" fmla="*/ 175260 h 207645"/>
                    <a:gd name="connsiteX6" fmla="*/ 97155 w 207644"/>
                    <a:gd name="connsiteY6" fmla="*/ 200025 h 207645"/>
                    <a:gd name="connsiteX7" fmla="*/ 92393 w 207644"/>
                    <a:gd name="connsiteY7" fmla="*/ 207645 h 207645"/>
                    <a:gd name="connsiteX8" fmla="*/ 76200 w 207644"/>
                    <a:gd name="connsiteY8" fmla="*/ 204788 h 207645"/>
                    <a:gd name="connsiteX9" fmla="*/ 75248 w 207644"/>
                    <a:gd name="connsiteY9" fmla="*/ 183833 h 207645"/>
                    <a:gd name="connsiteX10" fmla="*/ 61913 w 207644"/>
                    <a:gd name="connsiteY10" fmla="*/ 153353 h 207645"/>
                    <a:gd name="connsiteX11" fmla="*/ 43815 w 207644"/>
                    <a:gd name="connsiteY11" fmla="*/ 140970 h 207645"/>
                    <a:gd name="connsiteX12" fmla="*/ 30480 w 207644"/>
                    <a:gd name="connsiteY12" fmla="*/ 136208 h 207645"/>
                    <a:gd name="connsiteX13" fmla="*/ 11430 w 207644"/>
                    <a:gd name="connsiteY13" fmla="*/ 108585 h 207645"/>
                    <a:gd name="connsiteX14" fmla="*/ 6668 w 207644"/>
                    <a:gd name="connsiteY14" fmla="*/ 104775 h 207645"/>
                    <a:gd name="connsiteX15" fmla="*/ 8573 w 207644"/>
                    <a:gd name="connsiteY15" fmla="*/ 92393 h 207645"/>
                    <a:gd name="connsiteX16" fmla="*/ 0 w 207644"/>
                    <a:gd name="connsiteY16" fmla="*/ 78105 h 207645"/>
                    <a:gd name="connsiteX17" fmla="*/ 19050 w 207644"/>
                    <a:gd name="connsiteY17" fmla="*/ 74295 h 207645"/>
                    <a:gd name="connsiteX18" fmla="*/ 20955 w 207644"/>
                    <a:gd name="connsiteY18" fmla="*/ 67628 h 207645"/>
                    <a:gd name="connsiteX19" fmla="*/ 36195 w 207644"/>
                    <a:gd name="connsiteY19" fmla="*/ 63818 h 207645"/>
                    <a:gd name="connsiteX20" fmla="*/ 50482 w 207644"/>
                    <a:gd name="connsiteY20" fmla="*/ 59055 h 207645"/>
                    <a:gd name="connsiteX21" fmla="*/ 50482 w 207644"/>
                    <a:gd name="connsiteY21" fmla="*/ 45720 h 207645"/>
                    <a:gd name="connsiteX22" fmla="*/ 66675 w 207644"/>
                    <a:gd name="connsiteY22" fmla="*/ 33338 h 207645"/>
                    <a:gd name="connsiteX23" fmla="*/ 70485 w 207644"/>
                    <a:gd name="connsiteY23" fmla="*/ 23813 h 207645"/>
                    <a:gd name="connsiteX24" fmla="*/ 64770 w 207644"/>
                    <a:gd name="connsiteY24" fmla="*/ 8573 h 207645"/>
                    <a:gd name="connsiteX25" fmla="*/ 80963 w 207644"/>
                    <a:gd name="connsiteY25" fmla="*/ 0 h 207645"/>
                    <a:gd name="connsiteX26" fmla="*/ 91440 w 207644"/>
                    <a:gd name="connsiteY26" fmla="*/ 12383 h 207645"/>
                    <a:gd name="connsiteX27" fmla="*/ 118110 w 207644"/>
                    <a:gd name="connsiteY27" fmla="*/ 24765 h 207645"/>
                    <a:gd name="connsiteX28" fmla="*/ 140018 w 207644"/>
                    <a:gd name="connsiteY28" fmla="*/ 44768 h 207645"/>
                    <a:gd name="connsiteX29" fmla="*/ 141923 w 207644"/>
                    <a:gd name="connsiteY29" fmla="*/ 51435 h 207645"/>
                    <a:gd name="connsiteX30" fmla="*/ 162877 w 207644"/>
                    <a:gd name="connsiteY30" fmla="*/ 62865 h 207645"/>
                    <a:gd name="connsiteX31" fmla="*/ 162877 w 207644"/>
                    <a:gd name="connsiteY31" fmla="*/ 75248 h 207645"/>
                    <a:gd name="connsiteX32" fmla="*/ 207645 w 207644"/>
                    <a:gd name="connsiteY32" fmla="*/ 86678 h 207645"/>
                    <a:gd name="connsiteX33" fmla="*/ 205740 w 207644"/>
                    <a:gd name="connsiteY33" fmla="*/ 98108 h 207645"/>
                    <a:gd name="connsiteX34" fmla="*/ 194310 w 207644"/>
                    <a:gd name="connsiteY34" fmla="*/ 128588 h 207645"/>
                    <a:gd name="connsiteX35" fmla="*/ 184785 w 207644"/>
                    <a:gd name="connsiteY35" fmla="*/ 137160 h 207645"/>
                    <a:gd name="connsiteX36" fmla="*/ 190500 w 207644"/>
                    <a:gd name="connsiteY36" fmla="*/ 149543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7644" h="207645">
                      <a:moveTo>
                        <a:pt x="190500" y="149543"/>
                      </a:moveTo>
                      <a:lnTo>
                        <a:pt x="170498" y="153353"/>
                      </a:lnTo>
                      <a:lnTo>
                        <a:pt x="156210" y="171450"/>
                      </a:lnTo>
                      <a:lnTo>
                        <a:pt x="140970" y="160020"/>
                      </a:lnTo>
                      <a:lnTo>
                        <a:pt x="131445" y="160973"/>
                      </a:lnTo>
                      <a:lnTo>
                        <a:pt x="99060" y="175260"/>
                      </a:lnTo>
                      <a:lnTo>
                        <a:pt x="97155" y="200025"/>
                      </a:lnTo>
                      <a:lnTo>
                        <a:pt x="92393" y="207645"/>
                      </a:lnTo>
                      <a:lnTo>
                        <a:pt x="76200" y="204788"/>
                      </a:lnTo>
                      <a:lnTo>
                        <a:pt x="75248" y="183833"/>
                      </a:lnTo>
                      <a:lnTo>
                        <a:pt x="61913" y="153353"/>
                      </a:lnTo>
                      <a:lnTo>
                        <a:pt x="43815" y="140970"/>
                      </a:lnTo>
                      <a:lnTo>
                        <a:pt x="30480" y="136208"/>
                      </a:lnTo>
                      <a:lnTo>
                        <a:pt x="11430" y="108585"/>
                      </a:lnTo>
                      <a:lnTo>
                        <a:pt x="6668" y="104775"/>
                      </a:lnTo>
                      <a:lnTo>
                        <a:pt x="8573" y="92393"/>
                      </a:lnTo>
                      <a:lnTo>
                        <a:pt x="0" y="78105"/>
                      </a:lnTo>
                      <a:lnTo>
                        <a:pt x="19050" y="74295"/>
                      </a:lnTo>
                      <a:lnTo>
                        <a:pt x="20955" y="67628"/>
                      </a:lnTo>
                      <a:lnTo>
                        <a:pt x="36195" y="63818"/>
                      </a:lnTo>
                      <a:lnTo>
                        <a:pt x="50482" y="59055"/>
                      </a:lnTo>
                      <a:lnTo>
                        <a:pt x="50482" y="45720"/>
                      </a:lnTo>
                      <a:lnTo>
                        <a:pt x="66675" y="33338"/>
                      </a:lnTo>
                      <a:lnTo>
                        <a:pt x="70485" y="23813"/>
                      </a:lnTo>
                      <a:lnTo>
                        <a:pt x="64770" y="8573"/>
                      </a:lnTo>
                      <a:lnTo>
                        <a:pt x="80963" y="0"/>
                      </a:lnTo>
                      <a:lnTo>
                        <a:pt x="91440" y="12383"/>
                      </a:lnTo>
                      <a:lnTo>
                        <a:pt x="118110" y="24765"/>
                      </a:lnTo>
                      <a:lnTo>
                        <a:pt x="140018" y="44768"/>
                      </a:lnTo>
                      <a:lnTo>
                        <a:pt x="141923" y="51435"/>
                      </a:lnTo>
                      <a:lnTo>
                        <a:pt x="162877" y="62865"/>
                      </a:lnTo>
                      <a:lnTo>
                        <a:pt x="162877" y="75248"/>
                      </a:lnTo>
                      <a:lnTo>
                        <a:pt x="207645" y="86678"/>
                      </a:lnTo>
                      <a:lnTo>
                        <a:pt x="205740" y="98108"/>
                      </a:lnTo>
                      <a:lnTo>
                        <a:pt x="194310" y="128588"/>
                      </a:lnTo>
                      <a:lnTo>
                        <a:pt x="184785" y="137160"/>
                      </a:lnTo>
                      <a:lnTo>
                        <a:pt x="190500" y="14954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0" name="Netherlands" descr="{&quot;Key&quot;:&quot;netherlands&quot;,&quot;Name&quot;:&quot;Netherlands&quot;,&quot;Value&quot;:1.0,&quot;Formula&quot;:&quot;&quot;,&quot;Text&quot;:&quot;&quot;,&quot;OfficeApplication&quot;:1,&quot;HasValue&quot;:true}">
                  <a:extLst>
                    <a:ext uri="{FF2B5EF4-FFF2-40B4-BE49-F238E27FC236}">
                      <a16:creationId xmlns:a16="http://schemas.microsoft.com/office/drawing/2014/main" id="{6685E320-39E5-A968-19D4-EDAFA2DB5C4F}"/>
                    </a:ext>
                  </a:extLst>
                </p:cNvPr>
                <p:cNvSpPr/>
                <p:nvPr/>
              </p:nvSpPr>
              <p:spPr>
                <a:xfrm>
                  <a:off x="5541644" y="3642769"/>
                  <a:ext cx="424815" cy="385762"/>
                </a:xfrm>
                <a:custGeom>
                  <a:avLst/>
                  <a:gdLst>
                    <a:gd name="connsiteX0" fmla="*/ 99060 w 424815"/>
                    <a:gd name="connsiteY0" fmla="*/ 293370 h 385762"/>
                    <a:gd name="connsiteX1" fmla="*/ 93345 w 424815"/>
                    <a:gd name="connsiteY1" fmla="*/ 304800 h 385762"/>
                    <a:gd name="connsiteX2" fmla="*/ 62865 w 424815"/>
                    <a:gd name="connsiteY2" fmla="*/ 319088 h 385762"/>
                    <a:gd name="connsiteX3" fmla="*/ 25718 w 424815"/>
                    <a:gd name="connsiteY3" fmla="*/ 308610 h 385762"/>
                    <a:gd name="connsiteX4" fmla="*/ 14288 w 424815"/>
                    <a:gd name="connsiteY4" fmla="*/ 314325 h 385762"/>
                    <a:gd name="connsiteX5" fmla="*/ 2858 w 424815"/>
                    <a:gd name="connsiteY5" fmla="*/ 307657 h 385762"/>
                    <a:gd name="connsiteX6" fmla="*/ 0 w 424815"/>
                    <a:gd name="connsiteY6" fmla="*/ 295275 h 385762"/>
                    <a:gd name="connsiteX7" fmla="*/ 26670 w 424815"/>
                    <a:gd name="connsiteY7" fmla="*/ 291465 h 385762"/>
                    <a:gd name="connsiteX8" fmla="*/ 60008 w 424815"/>
                    <a:gd name="connsiteY8" fmla="*/ 298132 h 385762"/>
                    <a:gd name="connsiteX9" fmla="*/ 74295 w 424815"/>
                    <a:gd name="connsiteY9" fmla="*/ 292417 h 385762"/>
                    <a:gd name="connsiteX10" fmla="*/ 85725 w 424815"/>
                    <a:gd name="connsiteY10" fmla="*/ 297180 h 385762"/>
                    <a:gd name="connsiteX11" fmla="*/ 99060 w 424815"/>
                    <a:gd name="connsiteY11" fmla="*/ 293370 h 385762"/>
                    <a:gd name="connsiteX12" fmla="*/ 66675 w 424815"/>
                    <a:gd name="connsiteY12" fmla="*/ 242888 h 385762"/>
                    <a:gd name="connsiteX13" fmla="*/ 80963 w 424815"/>
                    <a:gd name="connsiteY13" fmla="*/ 256222 h 385762"/>
                    <a:gd name="connsiteX14" fmla="*/ 66675 w 424815"/>
                    <a:gd name="connsiteY14" fmla="*/ 259080 h 385762"/>
                    <a:gd name="connsiteX15" fmla="*/ 51435 w 424815"/>
                    <a:gd name="connsiteY15" fmla="*/ 249555 h 385762"/>
                    <a:gd name="connsiteX16" fmla="*/ 66675 w 424815"/>
                    <a:gd name="connsiteY16" fmla="*/ 242888 h 385762"/>
                    <a:gd name="connsiteX17" fmla="*/ 239078 w 424815"/>
                    <a:gd name="connsiteY17" fmla="*/ 161925 h 385762"/>
                    <a:gd name="connsiteX18" fmla="*/ 210503 w 424815"/>
                    <a:gd name="connsiteY18" fmla="*/ 158115 h 385762"/>
                    <a:gd name="connsiteX19" fmla="*/ 201930 w 424815"/>
                    <a:gd name="connsiteY19" fmla="*/ 151447 h 385762"/>
                    <a:gd name="connsiteX20" fmla="*/ 224790 w 424815"/>
                    <a:gd name="connsiteY20" fmla="*/ 135255 h 385762"/>
                    <a:gd name="connsiteX21" fmla="*/ 255270 w 424815"/>
                    <a:gd name="connsiteY21" fmla="*/ 120967 h 385762"/>
                    <a:gd name="connsiteX22" fmla="*/ 271463 w 424815"/>
                    <a:gd name="connsiteY22" fmla="*/ 124777 h 385762"/>
                    <a:gd name="connsiteX23" fmla="*/ 276225 w 424815"/>
                    <a:gd name="connsiteY23" fmla="*/ 133350 h 385762"/>
                    <a:gd name="connsiteX24" fmla="*/ 265748 w 424815"/>
                    <a:gd name="connsiteY24" fmla="*/ 143827 h 385762"/>
                    <a:gd name="connsiteX25" fmla="*/ 239078 w 424815"/>
                    <a:gd name="connsiteY25" fmla="*/ 161925 h 385762"/>
                    <a:gd name="connsiteX26" fmla="*/ 166688 w 424815"/>
                    <a:gd name="connsiteY26" fmla="*/ 52388 h 385762"/>
                    <a:gd name="connsiteX27" fmla="*/ 156210 w 424815"/>
                    <a:gd name="connsiteY27" fmla="*/ 62865 h 385762"/>
                    <a:gd name="connsiteX28" fmla="*/ 150495 w 424815"/>
                    <a:gd name="connsiteY28" fmla="*/ 49530 h 385762"/>
                    <a:gd name="connsiteX29" fmla="*/ 166688 w 424815"/>
                    <a:gd name="connsiteY29" fmla="*/ 36195 h 385762"/>
                    <a:gd name="connsiteX30" fmla="*/ 166688 w 424815"/>
                    <a:gd name="connsiteY30" fmla="*/ 52388 h 385762"/>
                    <a:gd name="connsiteX31" fmla="*/ 99060 w 424815"/>
                    <a:gd name="connsiteY31" fmla="*/ 293370 h 385762"/>
                    <a:gd name="connsiteX32" fmla="*/ 74295 w 424815"/>
                    <a:gd name="connsiteY32" fmla="*/ 285750 h 385762"/>
                    <a:gd name="connsiteX33" fmla="*/ 53340 w 424815"/>
                    <a:gd name="connsiteY33" fmla="*/ 290513 h 385762"/>
                    <a:gd name="connsiteX34" fmla="*/ 26670 w 424815"/>
                    <a:gd name="connsiteY34" fmla="*/ 283845 h 385762"/>
                    <a:gd name="connsiteX35" fmla="*/ 10478 w 424815"/>
                    <a:gd name="connsiteY35" fmla="*/ 271463 h 385762"/>
                    <a:gd name="connsiteX36" fmla="*/ 21908 w 424815"/>
                    <a:gd name="connsiteY36" fmla="*/ 264795 h 385762"/>
                    <a:gd name="connsiteX37" fmla="*/ 43815 w 424815"/>
                    <a:gd name="connsiteY37" fmla="*/ 263842 h 385762"/>
                    <a:gd name="connsiteX38" fmla="*/ 81915 w 424815"/>
                    <a:gd name="connsiteY38" fmla="*/ 270510 h 385762"/>
                    <a:gd name="connsiteX39" fmla="*/ 93345 w 424815"/>
                    <a:gd name="connsiteY39" fmla="*/ 261938 h 385762"/>
                    <a:gd name="connsiteX40" fmla="*/ 87630 w 424815"/>
                    <a:gd name="connsiteY40" fmla="*/ 252413 h 385762"/>
                    <a:gd name="connsiteX41" fmla="*/ 65723 w 424815"/>
                    <a:gd name="connsiteY41" fmla="*/ 232410 h 385762"/>
                    <a:gd name="connsiteX42" fmla="*/ 80963 w 424815"/>
                    <a:gd name="connsiteY42" fmla="*/ 206692 h 385762"/>
                    <a:gd name="connsiteX43" fmla="*/ 94298 w 424815"/>
                    <a:gd name="connsiteY43" fmla="*/ 197167 h 385762"/>
                    <a:gd name="connsiteX44" fmla="*/ 124778 w 424815"/>
                    <a:gd name="connsiteY44" fmla="*/ 160972 h 385762"/>
                    <a:gd name="connsiteX45" fmla="*/ 133350 w 424815"/>
                    <a:gd name="connsiteY45" fmla="*/ 141922 h 385762"/>
                    <a:gd name="connsiteX46" fmla="*/ 144780 w 424815"/>
                    <a:gd name="connsiteY46" fmla="*/ 89535 h 385762"/>
                    <a:gd name="connsiteX47" fmla="*/ 154305 w 424815"/>
                    <a:gd name="connsiteY47" fmla="*/ 70485 h 385762"/>
                    <a:gd name="connsiteX48" fmla="*/ 167640 w 424815"/>
                    <a:gd name="connsiteY48" fmla="*/ 75247 h 385762"/>
                    <a:gd name="connsiteX49" fmla="*/ 186690 w 424815"/>
                    <a:gd name="connsiteY49" fmla="*/ 67627 h 385762"/>
                    <a:gd name="connsiteX50" fmla="*/ 219075 w 424815"/>
                    <a:gd name="connsiteY50" fmla="*/ 48577 h 385762"/>
                    <a:gd name="connsiteX51" fmla="*/ 228600 w 424815"/>
                    <a:gd name="connsiteY51" fmla="*/ 32385 h 385762"/>
                    <a:gd name="connsiteX52" fmla="*/ 238125 w 424815"/>
                    <a:gd name="connsiteY52" fmla="*/ 23813 h 385762"/>
                    <a:gd name="connsiteX53" fmla="*/ 276225 w 424815"/>
                    <a:gd name="connsiteY53" fmla="*/ 8572 h 385762"/>
                    <a:gd name="connsiteX54" fmla="*/ 296228 w 424815"/>
                    <a:gd name="connsiteY54" fmla="*/ 4763 h 385762"/>
                    <a:gd name="connsiteX55" fmla="*/ 381000 w 424815"/>
                    <a:gd name="connsiteY55" fmla="*/ 0 h 385762"/>
                    <a:gd name="connsiteX56" fmla="*/ 398145 w 424815"/>
                    <a:gd name="connsiteY56" fmla="*/ 16192 h 385762"/>
                    <a:gd name="connsiteX57" fmla="*/ 423863 w 424815"/>
                    <a:gd name="connsiteY57" fmla="*/ 21907 h 385762"/>
                    <a:gd name="connsiteX58" fmla="*/ 424815 w 424815"/>
                    <a:gd name="connsiteY58" fmla="*/ 62865 h 385762"/>
                    <a:gd name="connsiteX59" fmla="*/ 418148 w 424815"/>
                    <a:gd name="connsiteY59" fmla="*/ 79057 h 385762"/>
                    <a:gd name="connsiteX60" fmla="*/ 407670 w 424815"/>
                    <a:gd name="connsiteY60" fmla="*/ 115252 h 385762"/>
                    <a:gd name="connsiteX61" fmla="*/ 378143 w 424815"/>
                    <a:gd name="connsiteY61" fmla="*/ 114300 h 385762"/>
                    <a:gd name="connsiteX62" fmla="*/ 372428 w 424815"/>
                    <a:gd name="connsiteY62" fmla="*/ 129540 h 385762"/>
                    <a:gd name="connsiteX63" fmla="*/ 379095 w 424815"/>
                    <a:gd name="connsiteY63" fmla="*/ 139065 h 385762"/>
                    <a:gd name="connsiteX64" fmla="*/ 403860 w 424815"/>
                    <a:gd name="connsiteY64" fmla="*/ 141922 h 385762"/>
                    <a:gd name="connsiteX65" fmla="*/ 411480 w 424815"/>
                    <a:gd name="connsiteY65" fmla="*/ 151447 h 385762"/>
                    <a:gd name="connsiteX66" fmla="*/ 405765 w 424815"/>
                    <a:gd name="connsiteY66" fmla="*/ 176213 h 385762"/>
                    <a:gd name="connsiteX67" fmla="*/ 381000 w 424815"/>
                    <a:gd name="connsiteY67" fmla="*/ 191452 h 385762"/>
                    <a:gd name="connsiteX68" fmla="*/ 378143 w 424815"/>
                    <a:gd name="connsiteY68" fmla="*/ 200025 h 385762"/>
                    <a:gd name="connsiteX69" fmla="*/ 387668 w 424815"/>
                    <a:gd name="connsiteY69" fmla="*/ 208597 h 385762"/>
                    <a:gd name="connsiteX70" fmla="*/ 381000 w 424815"/>
                    <a:gd name="connsiteY70" fmla="*/ 218122 h 385762"/>
                    <a:gd name="connsiteX71" fmla="*/ 338138 w 424815"/>
                    <a:gd name="connsiteY71" fmla="*/ 230505 h 385762"/>
                    <a:gd name="connsiteX72" fmla="*/ 316230 w 424815"/>
                    <a:gd name="connsiteY72" fmla="*/ 222885 h 385762"/>
                    <a:gd name="connsiteX73" fmla="*/ 299085 w 424815"/>
                    <a:gd name="connsiteY73" fmla="*/ 229552 h 385762"/>
                    <a:gd name="connsiteX74" fmla="*/ 292418 w 424815"/>
                    <a:gd name="connsiteY74" fmla="*/ 240030 h 385762"/>
                    <a:gd name="connsiteX75" fmla="*/ 321945 w 424815"/>
                    <a:gd name="connsiteY75" fmla="*/ 279082 h 385762"/>
                    <a:gd name="connsiteX76" fmla="*/ 321945 w 424815"/>
                    <a:gd name="connsiteY76" fmla="*/ 290513 h 385762"/>
                    <a:gd name="connsiteX77" fmla="*/ 309563 w 424815"/>
                    <a:gd name="connsiteY77" fmla="*/ 317182 h 385762"/>
                    <a:gd name="connsiteX78" fmla="*/ 316230 w 424815"/>
                    <a:gd name="connsiteY78" fmla="*/ 328613 h 385762"/>
                    <a:gd name="connsiteX79" fmla="*/ 295275 w 424815"/>
                    <a:gd name="connsiteY79" fmla="*/ 343852 h 385762"/>
                    <a:gd name="connsiteX80" fmla="*/ 290513 w 424815"/>
                    <a:gd name="connsiteY80" fmla="*/ 351472 h 385762"/>
                    <a:gd name="connsiteX81" fmla="*/ 308610 w 424815"/>
                    <a:gd name="connsiteY81" fmla="*/ 362902 h 385762"/>
                    <a:gd name="connsiteX82" fmla="*/ 302895 w 424815"/>
                    <a:gd name="connsiteY82" fmla="*/ 385763 h 385762"/>
                    <a:gd name="connsiteX83" fmla="*/ 291465 w 424815"/>
                    <a:gd name="connsiteY83" fmla="*/ 384810 h 385762"/>
                    <a:gd name="connsiteX84" fmla="*/ 268605 w 424815"/>
                    <a:gd name="connsiteY84" fmla="*/ 381952 h 385762"/>
                    <a:gd name="connsiteX85" fmla="*/ 261938 w 424815"/>
                    <a:gd name="connsiteY85" fmla="*/ 371475 h 385762"/>
                    <a:gd name="connsiteX86" fmla="*/ 272415 w 424815"/>
                    <a:gd name="connsiteY86" fmla="*/ 359092 h 385762"/>
                    <a:gd name="connsiteX87" fmla="*/ 281940 w 424815"/>
                    <a:gd name="connsiteY87" fmla="*/ 331470 h 385762"/>
                    <a:gd name="connsiteX88" fmla="*/ 257175 w 424815"/>
                    <a:gd name="connsiteY88" fmla="*/ 320992 h 385762"/>
                    <a:gd name="connsiteX89" fmla="*/ 240983 w 424815"/>
                    <a:gd name="connsiteY89" fmla="*/ 308610 h 385762"/>
                    <a:gd name="connsiteX90" fmla="*/ 222885 w 424815"/>
                    <a:gd name="connsiteY90" fmla="*/ 312420 h 385762"/>
                    <a:gd name="connsiteX91" fmla="*/ 198120 w 424815"/>
                    <a:gd name="connsiteY91" fmla="*/ 299085 h 385762"/>
                    <a:gd name="connsiteX92" fmla="*/ 193358 w 424815"/>
                    <a:gd name="connsiteY92" fmla="*/ 283845 h 385762"/>
                    <a:gd name="connsiteX93" fmla="*/ 169545 w 424815"/>
                    <a:gd name="connsiteY93" fmla="*/ 291465 h 385762"/>
                    <a:gd name="connsiteX94" fmla="*/ 159068 w 424815"/>
                    <a:gd name="connsiteY94" fmla="*/ 279082 h 385762"/>
                    <a:gd name="connsiteX95" fmla="*/ 144780 w 424815"/>
                    <a:gd name="connsiteY95" fmla="*/ 288607 h 385762"/>
                    <a:gd name="connsiteX96" fmla="*/ 130493 w 424815"/>
                    <a:gd name="connsiteY96" fmla="*/ 280988 h 385762"/>
                    <a:gd name="connsiteX97" fmla="*/ 117158 w 424815"/>
                    <a:gd name="connsiteY97" fmla="*/ 287655 h 385762"/>
                    <a:gd name="connsiteX98" fmla="*/ 119063 w 424815"/>
                    <a:gd name="connsiteY98" fmla="*/ 296227 h 385762"/>
                    <a:gd name="connsiteX99" fmla="*/ 99060 w 424815"/>
                    <a:gd name="connsiteY99" fmla="*/ 293370 h 385762"/>
                    <a:gd name="connsiteX100" fmla="*/ 271463 w 424815"/>
                    <a:gd name="connsiteY100" fmla="*/ 144780 h 385762"/>
                    <a:gd name="connsiteX101" fmla="*/ 280035 w 424815"/>
                    <a:gd name="connsiteY101" fmla="*/ 136207 h 385762"/>
                    <a:gd name="connsiteX102" fmla="*/ 275273 w 424815"/>
                    <a:gd name="connsiteY102" fmla="*/ 118110 h 385762"/>
                    <a:gd name="connsiteX103" fmla="*/ 255270 w 424815"/>
                    <a:gd name="connsiteY103" fmla="*/ 115252 h 385762"/>
                    <a:gd name="connsiteX104" fmla="*/ 250508 w 424815"/>
                    <a:gd name="connsiteY104" fmla="*/ 107632 h 385762"/>
                    <a:gd name="connsiteX105" fmla="*/ 254318 w 424815"/>
                    <a:gd name="connsiteY105" fmla="*/ 83820 h 385762"/>
                    <a:gd name="connsiteX106" fmla="*/ 227648 w 424815"/>
                    <a:gd name="connsiteY106" fmla="*/ 80010 h 385762"/>
                    <a:gd name="connsiteX107" fmla="*/ 223838 w 424815"/>
                    <a:gd name="connsiteY107" fmla="*/ 56197 h 385762"/>
                    <a:gd name="connsiteX108" fmla="*/ 209550 w 424815"/>
                    <a:gd name="connsiteY108" fmla="*/ 59055 h 385762"/>
                    <a:gd name="connsiteX109" fmla="*/ 187643 w 424815"/>
                    <a:gd name="connsiteY109" fmla="*/ 73342 h 385762"/>
                    <a:gd name="connsiteX110" fmla="*/ 193358 w 424815"/>
                    <a:gd name="connsiteY110" fmla="*/ 85725 h 385762"/>
                    <a:gd name="connsiteX111" fmla="*/ 208598 w 424815"/>
                    <a:gd name="connsiteY111" fmla="*/ 100965 h 385762"/>
                    <a:gd name="connsiteX112" fmla="*/ 208598 w 424815"/>
                    <a:gd name="connsiteY112" fmla="*/ 109538 h 385762"/>
                    <a:gd name="connsiteX113" fmla="*/ 188595 w 424815"/>
                    <a:gd name="connsiteY113" fmla="*/ 116205 h 385762"/>
                    <a:gd name="connsiteX114" fmla="*/ 189548 w 424815"/>
                    <a:gd name="connsiteY114" fmla="*/ 140970 h 385762"/>
                    <a:gd name="connsiteX115" fmla="*/ 187643 w 424815"/>
                    <a:gd name="connsiteY115" fmla="*/ 156210 h 385762"/>
                    <a:gd name="connsiteX116" fmla="*/ 239078 w 424815"/>
                    <a:gd name="connsiteY116" fmla="*/ 169545 h 385762"/>
                    <a:gd name="connsiteX117" fmla="*/ 271463 w 424815"/>
                    <a:gd name="connsiteY117" fmla="*/ 14478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24815" h="385762">
                      <a:moveTo>
                        <a:pt x="99060" y="293370"/>
                      </a:moveTo>
                      <a:lnTo>
                        <a:pt x="93345" y="304800"/>
                      </a:lnTo>
                      <a:lnTo>
                        <a:pt x="62865" y="319088"/>
                      </a:lnTo>
                      <a:lnTo>
                        <a:pt x="25718" y="308610"/>
                      </a:lnTo>
                      <a:lnTo>
                        <a:pt x="14288" y="314325"/>
                      </a:lnTo>
                      <a:lnTo>
                        <a:pt x="2858" y="307657"/>
                      </a:lnTo>
                      <a:lnTo>
                        <a:pt x="0" y="295275"/>
                      </a:lnTo>
                      <a:lnTo>
                        <a:pt x="26670" y="291465"/>
                      </a:lnTo>
                      <a:lnTo>
                        <a:pt x="60008" y="298132"/>
                      </a:lnTo>
                      <a:lnTo>
                        <a:pt x="74295" y="292417"/>
                      </a:lnTo>
                      <a:lnTo>
                        <a:pt x="85725" y="297180"/>
                      </a:lnTo>
                      <a:lnTo>
                        <a:pt x="99060" y="293370"/>
                      </a:lnTo>
                      <a:close/>
                      <a:moveTo>
                        <a:pt x="66675" y="242888"/>
                      </a:moveTo>
                      <a:lnTo>
                        <a:pt x="80963" y="256222"/>
                      </a:lnTo>
                      <a:lnTo>
                        <a:pt x="66675" y="259080"/>
                      </a:lnTo>
                      <a:lnTo>
                        <a:pt x="51435" y="249555"/>
                      </a:lnTo>
                      <a:lnTo>
                        <a:pt x="66675" y="242888"/>
                      </a:lnTo>
                      <a:close/>
                      <a:moveTo>
                        <a:pt x="239078" y="161925"/>
                      </a:moveTo>
                      <a:lnTo>
                        <a:pt x="210503" y="158115"/>
                      </a:lnTo>
                      <a:lnTo>
                        <a:pt x="201930" y="151447"/>
                      </a:lnTo>
                      <a:lnTo>
                        <a:pt x="224790" y="135255"/>
                      </a:lnTo>
                      <a:lnTo>
                        <a:pt x="255270" y="120967"/>
                      </a:lnTo>
                      <a:lnTo>
                        <a:pt x="271463" y="124777"/>
                      </a:lnTo>
                      <a:lnTo>
                        <a:pt x="276225" y="133350"/>
                      </a:lnTo>
                      <a:lnTo>
                        <a:pt x="265748" y="143827"/>
                      </a:lnTo>
                      <a:lnTo>
                        <a:pt x="239078" y="161925"/>
                      </a:lnTo>
                      <a:close/>
                      <a:moveTo>
                        <a:pt x="166688" y="52388"/>
                      </a:moveTo>
                      <a:lnTo>
                        <a:pt x="156210" y="62865"/>
                      </a:lnTo>
                      <a:lnTo>
                        <a:pt x="150495" y="49530"/>
                      </a:lnTo>
                      <a:lnTo>
                        <a:pt x="166688" y="36195"/>
                      </a:lnTo>
                      <a:lnTo>
                        <a:pt x="166688" y="52388"/>
                      </a:lnTo>
                      <a:close/>
                      <a:moveTo>
                        <a:pt x="99060" y="293370"/>
                      </a:moveTo>
                      <a:lnTo>
                        <a:pt x="74295" y="285750"/>
                      </a:lnTo>
                      <a:lnTo>
                        <a:pt x="53340" y="290513"/>
                      </a:lnTo>
                      <a:lnTo>
                        <a:pt x="26670" y="283845"/>
                      </a:lnTo>
                      <a:lnTo>
                        <a:pt x="10478" y="271463"/>
                      </a:lnTo>
                      <a:lnTo>
                        <a:pt x="21908" y="264795"/>
                      </a:lnTo>
                      <a:lnTo>
                        <a:pt x="43815" y="263842"/>
                      </a:lnTo>
                      <a:lnTo>
                        <a:pt x="81915" y="270510"/>
                      </a:lnTo>
                      <a:lnTo>
                        <a:pt x="93345" y="261938"/>
                      </a:lnTo>
                      <a:lnTo>
                        <a:pt x="87630" y="252413"/>
                      </a:lnTo>
                      <a:lnTo>
                        <a:pt x="65723" y="232410"/>
                      </a:lnTo>
                      <a:lnTo>
                        <a:pt x="80963" y="206692"/>
                      </a:lnTo>
                      <a:lnTo>
                        <a:pt x="94298" y="197167"/>
                      </a:lnTo>
                      <a:lnTo>
                        <a:pt x="124778" y="160972"/>
                      </a:lnTo>
                      <a:lnTo>
                        <a:pt x="133350" y="141922"/>
                      </a:lnTo>
                      <a:lnTo>
                        <a:pt x="144780" y="89535"/>
                      </a:lnTo>
                      <a:lnTo>
                        <a:pt x="154305" y="70485"/>
                      </a:lnTo>
                      <a:lnTo>
                        <a:pt x="167640" y="75247"/>
                      </a:lnTo>
                      <a:lnTo>
                        <a:pt x="186690" y="67627"/>
                      </a:lnTo>
                      <a:lnTo>
                        <a:pt x="219075" y="48577"/>
                      </a:lnTo>
                      <a:lnTo>
                        <a:pt x="228600" y="32385"/>
                      </a:lnTo>
                      <a:lnTo>
                        <a:pt x="238125" y="23813"/>
                      </a:lnTo>
                      <a:lnTo>
                        <a:pt x="276225" y="8572"/>
                      </a:lnTo>
                      <a:lnTo>
                        <a:pt x="296228" y="4763"/>
                      </a:lnTo>
                      <a:lnTo>
                        <a:pt x="381000" y="0"/>
                      </a:lnTo>
                      <a:lnTo>
                        <a:pt x="398145" y="16192"/>
                      </a:lnTo>
                      <a:lnTo>
                        <a:pt x="423863" y="21907"/>
                      </a:lnTo>
                      <a:lnTo>
                        <a:pt x="424815" y="62865"/>
                      </a:lnTo>
                      <a:lnTo>
                        <a:pt x="418148" y="79057"/>
                      </a:lnTo>
                      <a:lnTo>
                        <a:pt x="407670" y="115252"/>
                      </a:lnTo>
                      <a:lnTo>
                        <a:pt x="378143" y="114300"/>
                      </a:lnTo>
                      <a:lnTo>
                        <a:pt x="372428" y="129540"/>
                      </a:lnTo>
                      <a:lnTo>
                        <a:pt x="379095" y="139065"/>
                      </a:lnTo>
                      <a:lnTo>
                        <a:pt x="403860" y="141922"/>
                      </a:lnTo>
                      <a:lnTo>
                        <a:pt x="411480" y="151447"/>
                      </a:lnTo>
                      <a:lnTo>
                        <a:pt x="405765" y="176213"/>
                      </a:lnTo>
                      <a:lnTo>
                        <a:pt x="381000" y="191452"/>
                      </a:lnTo>
                      <a:lnTo>
                        <a:pt x="378143" y="200025"/>
                      </a:lnTo>
                      <a:lnTo>
                        <a:pt x="387668" y="208597"/>
                      </a:lnTo>
                      <a:lnTo>
                        <a:pt x="381000" y="218122"/>
                      </a:lnTo>
                      <a:lnTo>
                        <a:pt x="338138" y="230505"/>
                      </a:lnTo>
                      <a:lnTo>
                        <a:pt x="316230" y="222885"/>
                      </a:lnTo>
                      <a:lnTo>
                        <a:pt x="299085" y="229552"/>
                      </a:lnTo>
                      <a:lnTo>
                        <a:pt x="292418" y="240030"/>
                      </a:lnTo>
                      <a:lnTo>
                        <a:pt x="321945" y="279082"/>
                      </a:lnTo>
                      <a:lnTo>
                        <a:pt x="321945" y="290513"/>
                      </a:lnTo>
                      <a:lnTo>
                        <a:pt x="309563" y="317182"/>
                      </a:lnTo>
                      <a:lnTo>
                        <a:pt x="316230" y="328613"/>
                      </a:lnTo>
                      <a:lnTo>
                        <a:pt x="295275" y="343852"/>
                      </a:lnTo>
                      <a:lnTo>
                        <a:pt x="290513" y="351472"/>
                      </a:lnTo>
                      <a:lnTo>
                        <a:pt x="308610" y="362902"/>
                      </a:lnTo>
                      <a:lnTo>
                        <a:pt x="302895" y="385763"/>
                      </a:lnTo>
                      <a:lnTo>
                        <a:pt x="291465" y="384810"/>
                      </a:lnTo>
                      <a:lnTo>
                        <a:pt x="268605" y="381952"/>
                      </a:lnTo>
                      <a:lnTo>
                        <a:pt x="261938" y="371475"/>
                      </a:lnTo>
                      <a:lnTo>
                        <a:pt x="272415" y="359092"/>
                      </a:lnTo>
                      <a:lnTo>
                        <a:pt x="281940" y="331470"/>
                      </a:lnTo>
                      <a:lnTo>
                        <a:pt x="257175" y="320992"/>
                      </a:lnTo>
                      <a:lnTo>
                        <a:pt x="240983" y="308610"/>
                      </a:lnTo>
                      <a:lnTo>
                        <a:pt x="222885" y="312420"/>
                      </a:lnTo>
                      <a:lnTo>
                        <a:pt x="198120" y="299085"/>
                      </a:lnTo>
                      <a:lnTo>
                        <a:pt x="193358" y="283845"/>
                      </a:lnTo>
                      <a:lnTo>
                        <a:pt x="169545" y="291465"/>
                      </a:lnTo>
                      <a:lnTo>
                        <a:pt x="159068" y="279082"/>
                      </a:lnTo>
                      <a:lnTo>
                        <a:pt x="144780" y="288607"/>
                      </a:lnTo>
                      <a:lnTo>
                        <a:pt x="130493" y="280988"/>
                      </a:lnTo>
                      <a:lnTo>
                        <a:pt x="117158" y="287655"/>
                      </a:lnTo>
                      <a:lnTo>
                        <a:pt x="119063" y="296227"/>
                      </a:lnTo>
                      <a:lnTo>
                        <a:pt x="99060" y="293370"/>
                      </a:lnTo>
                      <a:close/>
                      <a:moveTo>
                        <a:pt x="271463" y="144780"/>
                      </a:moveTo>
                      <a:lnTo>
                        <a:pt x="280035" y="136207"/>
                      </a:lnTo>
                      <a:lnTo>
                        <a:pt x="275273" y="118110"/>
                      </a:lnTo>
                      <a:lnTo>
                        <a:pt x="255270" y="115252"/>
                      </a:lnTo>
                      <a:lnTo>
                        <a:pt x="250508" y="107632"/>
                      </a:lnTo>
                      <a:lnTo>
                        <a:pt x="254318" y="83820"/>
                      </a:lnTo>
                      <a:lnTo>
                        <a:pt x="227648" y="80010"/>
                      </a:lnTo>
                      <a:lnTo>
                        <a:pt x="223838" y="56197"/>
                      </a:lnTo>
                      <a:lnTo>
                        <a:pt x="209550" y="59055"/>
                      </a:lnTo>
                      <a:lnTo>
                        <a:pt x="187643" y="73342"/>
                      </a:lnTo>
                      <a:lnTo>
                        <a:pt x="193358" y="85725"/>
                      </a:lnTo>
                      <a:lnTo>
                        <a:pt x="208598" y="100965"/>
                      </a:lnTo>
                      <a:lnTo>
                        <a:pt x="208598" y="109538"/>
                      </a:lnTo>
                      <a:lnTo>
                        <a:pt x="188595" y="116205"/>
                      </a:lnTo>
                      <a:lnTo>
                        <a:pt x="189548" y="140970"/>
                      </a:lnTo>
                      <a:lnTo>
                        <a:pt x="187643" y="156210"/>
                      </a:lnTo>
                      <a:lnTo>
                        <a:pt x="239078" y="169545"/>
                      </a:lnTo>
                      <a:lnTo>
                        <a:pt x="271463" y="14478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1" name="Spain" descr="{&quot;Key&quot;:&quot;spain&quot;,&quot;Name&quot;:&quot;Spain&quot;,&quot;Value&quot;:1.0,&quot;Formula&quot;:&quot;&quot;,&quot;Text&quot;:&quot;&quot;,&quot;OfficeApplication&quot;:1,&quot;HasValue&quot;:true}">
                  <a:extLst>
                    <a:ext uri="{FF2B5EF4-FFF2-40B4-BE49-F238E27FC236}">
                      <a16:creationId xmlns:a16="http://schemas.microsoft.com/office/drawing/2014/main" id="{501FBB75-16A7-2201-EF1B-32690264F77E}"/>
                    </a:ext>
                  </a:extLst>
                </p:cNvPr>
                <p:cNvSpPr/>
                <p:nvPr/>
              </p:nvSpPr>
              <p:spPr>
                <a:xfrm>
                  <a:off x="4055744" y="5048659"/>
                  <a:ext cx="1630680" cy="1149667"/>
                </a:xfrm>
                <a:custGeom>
                  <a:avLst/>
                  <a:gdLst>
                    <a:gd name="connsiteX0" fmla="*/ 1282065 w 1630680"/>
                    <a:gd name="connsiteY0" fmla="*/ 718185 h 1149667"/>
                    <a:gd name="connsiteX1" fmla="*/ 1278255 w 1630680"/>
                    <a:gd name="connsiteY1" fmla="*/ 727710 h 1149667"/>
                    <a:gd name="connsiteX2" fmla="*/ 1259205 w 1630680"/>
                    <a:gd name="connsiteY2" fmla="*/ 723900 h 1149667"/>
                    <a:gd name="connsiteX3" fmla="*/ 1259205 w 1630680"/>
                    <a:gd name="connsiteY3" fmla="*/ 709613 h 1149667"/>
                    <a:gd name="connsiteX4" fmla="*/ 1270635 w 1630680"/>
                    <a:gd name="connsiteY4" fmla="*/ 694373 h 1149667"/>
                    <a:gd name="connsiteX5" fmla="*/ 1296353 w 1630680"/>
                    <a:gd name="connsiteY5" fmla="*/ 687705 h 1149667"/>
                    <a:gd name="connsiteX6" fmla="*/ 1303973 w 1630680"/>
                    <a:gd name="connsiteY6" fmla="*/ 700088 h 1149667"/>
                    <a:gd name="connsiteX7" fmla="*/ 1282065 w 1630680"/>
                    <a:gd name="connsiteY7" fmla="*/ 718185 h 1149667"/>
                    <a:gd name="connsiteX8" fmla="*/ 1488758 w 1630680"/>
                    <a:gd name="connsiteY8" fmla="*/ 588645 h 1149667"/>
                    <a:gd name="connsiteX9" fmla="*/ 1500188 w 1630680"/>
                    <a:gd name="connsiteY9" fmla="*/ 593407 h 1149667"/>
                    <a:gd name="connsiteX10" fmla="*/ 1512570 w 1630680"/>
                    <a:gd name="connsiteY10" fmla="*/ 588645 h 1149667"/>
                    <a:gd name="connsiteX11" fmla="*/ 1525905 w 1630680"/>
                    <a:gd name="connsiteY11" fmla="*/ 592455 h 1149667"/>
                    <a:gd name="connsiteX12" fmla="*/ 1527810 w 1630680"/>
                    <a:gd name="connsiteY12" fmla="*/ 601980 h 1149667"/>
                    <a:gd name="connsiteX13" fmla="*/ 1506855 w 1630680"/>
                    <a:gd name="connsiteY13" fmla="*/ 635318 h 1149667"/>
                    <a:gd name="connsiteX14" fmla="*/ 1501140 w 1630680"/>
                    <a:gd name="connsiteY14" fmla="*/ 648653 h 1149667"/>
                    <a:gd name="connsiteX15" fmla="*/ 1481138 w 1630680"/>
                    <a:gd name="connsiteY15" fmla="*/ 661035 h 1149667"/>
                    <a:gd name="connsiteX16" fmla="*/ 1443038 w 1630680"/>
                    <a:gd name="connsiteY16" fmla="*/ 644843 h 1149667"/>
                    <a:gd name="connsiteX17" fmla="*/ 1440180 w 1630680"/>
                    <a:gd name="connsiteY17" fmla="*/ 629603 h 1149667"/>
                    <a:gd name="connsiteX18" fmla="*/ 1426845 w 1630680"/>
                    <a:gd name="connsiteY18" fmla="*/ 622935 h 1149667"/>
                    <a:gd name="connsiteX19" fmla="*/ 1410653 w 1630680"/>
                    <a:gd name="connsiteY19" fmla="*/ 635318 h 1149667"/>
                    <a:gd name="connsiteX20" fmla="*/ 1397318 w 1630680"/>
                    <a:gd name="connsiteY20" fmla="*/ 625793 h 1149667"/>
                    <a:gd name="connsiteX21" fmla="*/ 1394460 w 1630680"/>
                    <a:gd name="connsiteY21" fmla="*/ 614363 h 1149667"/>
                    <a:gd name="connsiteX22" fmla="*/ 1444943 w 1630680"/>
                    <a:gd name="connsiteY22" fmla="*/ 579120 h 1149667"/>
                    <a:gd name="connsiteX23" fmla="*/ 1459230 w 1630680"/>
                    <a:gd name="connsiteY23" fmla="*/ 570548 h 1149667"/>
                    <a:gd name="connsiteX24" fmla="*/ 1489710 w 1630680"/>
                    <a:gd name="connsiteY24" fmla="*/ 561975 h 1149667"/>
                    <a:gd name="connsiteX25" fmla="*/ 1494473 w 1630680"/>
                    <a:gd name="connsiteY25" fmla="*/ 573405 h 1149667"/>
                    <a:gd name="connsiteX26" fmla="*/ 1488758 w 1630680"/>
                    <a:gd name="connsiteY26" fmla="*/ 588645 h 1149667"/>
                    <a:gd name="connsiteX27" fmla="*/ 1628775 w 1630680"/>
                    <a:gd name="connsiteY27" fmla="*/ 581025 h 1149667"/>
                    <a:gd name="connsiteX28" fmla="*/ 1625918 w 1630680"/>
                    <a:gd name="connsiteY28" fmla="*/ 582930 h 1149667"/>
                    <a:gd name="connsiteX29" fmla="*/ 1588770 w 1630680"/>
                    <a:gd name="connsiteY29" fmla="*/ 564832 h 1149667"/>
                    <a:gd name="connsiteX30" fmla="*/ 1573530 w 1630680"/>
                    <a:gd name="connsiteY30" fmla="*/ 561023 h 1149667"/>
                    <a:gd name="connsiteX31" fmla="*/ 1574483 w 1630680"/>
                    <a:gd name="connsiteY31" fmla="*/ 547688 h 1149667"/>
                    <a:gd name="connsiteX32" fmla="*/ 1599248 w 1630680"/>
                    <a:gd name="connsiteY32" fmla="*/ 545782 h 1149667"/>
                    <a:gd name="connsiteX33" fmla="*/ 1619250 w 1630680"/>
                    <a:gd name="connsiteY33" fmla="*/ 552450 h 1149667"/>
                    <a:gd name="connsiteX34" fmla="*/ 1630680 w 1630680"/>
                    <a:gd name="connsiteY34" fmla="*/ 569595 h 1149667"/>
                    <a:gd name="connsiteX35" fmla="*/ 1628775 w 1630680"/>
                    <a:gd name="connsiteY35" fmla="*/ 581025 h 1149667"/>
                    <a:gd name="connsiteX36" fmla="*/ 891540 w 1630680"/>
                    <a:gd name="connsiteY36" fmla="*/ 52388 h 1149667"/>
                    <a:gd name="connsiteX37" fmla="*/ 896303 w 1630680"/>
                    <a:gd name="connsiteY37" fmla="*/ 64770 h 1149667"/>
                    <a:gd name="connsiteX38" fmla="*/ 937260 w 1630680"/>
                    <a:gd name="connsiteY38" fmla="*/ 77153 h 1149667"/>
                    <a:gd name="connsiteX39" fmla="*/ 934403 w 1630680"/>
                    <a:gd name="connsiteY39" fmla="*/ 107632 h 1149667"/>
                    <a:gd name="connsiteX40" fmla="*/ 951548 w 1630680"/>
                    <a:gd name="connsiteY40" fmla="*/ 103823 h 1149667"/>
                    <a:gd name="connsiteX41" fmla="*/ 993458 w 1630680"/>
                    <a:gd name="connsiteY41" fmla="*/ 120015 h 1149667"/>
                    <a:gd name="connsiteX42" fmla="*/ 1014413 w 1630680"/>
                    <a:gd name="connsiteY42" fmla="*/ 121920 h 1149667"/>
                    <a:gd name="connsiteX43" fmla="*/ 1035368 w 1630680"/>
                    <a:gd name="connsiteY43" fmla="*/ 141923 h 1149667"/>
                    <a:gd name="connsiteX44" fmla="*/ 1069658 w 1630680"/>
                    <a:gd name="connsiteY44" fmla="*/ 138113 h 1149667"/>
                    <a:gd name="connsiteX45" fmla="*/ 1100138 w 1630680"/>
                    <a:gd name="connsiteY45" fmla="*/ 158115 h 1149667"/>
                    <a:gd name="connsiteX46" fmla="*/ 1129665 w 1630680"/>
                    <a:gd name="connsiteY46" fmla="*/ 154305 h 1149667"/>
                    <a:gd name="connsiteX47" fmla="*/ 1136333 w 1630680"/>
                    <a:gd name="connsiteY47" fmla="*/ 158115 h 1149667"/>
                    <a:gd name="connsiteX48" fmla="*/ 1181100 w 1630680"/>
                    <a:gd name="connsiteY48" fmla="*/ 158115 h 1149667"/>
                    <a:gd name="connsiteX49" fmla="*/ 1188720 w 1630680"/>
                    <a:gd name="connsiteY49" fmla="*/ 135255 h 1149667"/>
                    <a:gd name="connsiteX50" fmla="*/ 1226820 w 1630680"/>
                    <a:gd name="connsiteY50" fmla="*/ 145732 h 1149667"/>
                    <a:gd name="connsiteX51" fmla="*/ 1250633 w 1630680"/>
                    <a:gd name="connsiteY51" fmla="*/ 155257 h 1149667"/>
                    <a:gd name="connsiteX52" fmla="*/ 1266825 w 1630680"/>
                    <a:gd name="connsiteY52" fmla="*/ 158115 h 1149667"/>
                    <a:gd name="connsiteX53" fmla="*/ 1277303 w 1630680"/>
                    <a:gd name="connsiteY53" fmla="*/ 172403 h 1149667"/>
                    <a:gd name="connsiteX54" fmla="*/ 1277303 w 1630680"/>
                    <a:gd name="connsiteY54" fmla="*/ 192405 h 1149667"/>
                    <a:gd name="connsiteX55" fmla="*/ 1283970 w 1630680"/>
                    <a:gd name="connsiteY55" fmla="*/ 196215 h 1149667"/>
                    <a:gd name="connsiteX56" fmla="*/ 1310640 w 1630680"/>
                    <a:gd name="connsiteY56" fmla="*/ 185738 h 1149667"/>
                    <a:gd name="connsiteX57" fmla="*/ 1337310 w 1630680"/>
                    <a:gd name="connsiteY57" fmla="*/ 197168 h 1149667"/>
                    <a:gd name="connsiteX58" fmla="*/ 1349693 w 1630680"/>
                    <a:gd name="connsiteY58" fmla="*/ 208598 h 1149667"/>
                    <a:gd name="connsiteX59" fmla="*/ 1369695 w 1630680"/>
                    <a:gd name="connsiteY59" fmla="*/ 198120 h 1149667"/>
                    <a:gd name="connsiteX60" fmla="*/ 1414463 w 1630680"/>
                    <a:gd name="connsiteY60" fmla="*/ 209550 h 1149667"/>
                    <a:gd name="connsiteX61" fmla="*/ 1425893 w 1630680"/>
                    <a:gd name="connsiteY61" fmla="*/ 201930 h 1149667"/>
                    <a:gd name="connsiteX62" fmla="*/ 1462088 w 1630680"/>
                    <a:gd name="connsiteY62" fmla="*/ 191453 h 1149667"/>
                    <a:gd name="connsiteX63" fmla="*/ 1491615 w 1630680"/>
                    <a:gd name="connsiteY63" fmla="*/ 197168 h 1149667"/>
                    <a:gd name="connsiteX64" fmla="*/ 1503045 w 1630680"/>
                    <a:gd name="connsiteY64" fmla="*/ 218123 h 1149667"/>
                    <a:gd name="connsiteX65" fmla="*/ 1485900 w 1630680"/>
                    <a:gd name="connsiteY65" fmla="*/ 222885 h 1149667"/>
                    <a:gd name="connsiteX66" fmla="*/ 1483995 w 1630680"/>
                    <a:gd name="connsiteY66" fmla="*/ 236220 h 1149667"/>
                    <a:gd name="connsiteX67" fmla="*/ 1495425 w 1630680"/>
                    <a:gd name="connsiteY67" fmla="*/ 248603 h 1149667"/>
                    <a:gd name="connsiteX68" fmla="*/ 1496378 w 1630680"/>
                    <a:gd name="connsiteY68" fmla="*/ 268605 h 1149667"/>
                    <a:gd name="connsiteX69" fmla="*/ 1467803 w 1630680"/>
                    <a:gd name="connsiteY69" fmla="*/ 295275 h 1149667"/>
                    <a:gd name="connsiteX70" fmla="*/ 1384935 w 1630680"/>
                    <a:gd name="connsiteY70" fmla="*/ 340043 h 1149667"/>
                    <a:gd name="connsiteX71" fmla="*/ 1357313 w 1630680"/>
                    <a:gd name="connsiteY71" fmla="*/ 365760 h 1149667"/>
                    <a:gd name="connsiteX72" fmla="*/ 1294448 w 1630680"/>
                    <a:gd name="connsiteY72" fmla="*/ 380048 h 1149667"/>
                    <a:gd name="connsiteX73" fmla="*/ 1251585 w 1630680"/>
                    <a:gd name="connsiteY73" fmla="*/ 394335 h 1149667"/>
                    <a:gd name="connsiteX74" fmla="*/ 1230630 w 1630680"/>
                    <a:gd name="connsiteY74" fmla="*/ 399098 h 1149667"/>
                    <a:gd name="connsiteX75" fmla="*/ 1191578 w 1630680"/>
                    <a:gd name="connsiteY75" fmla="*/ 435293 h 1149667"/>
                    <a:gd name="connsiteX76" fmla="*/ 1202055 w 1630680"/>
                    <a:gd name="connsiteY76" fmla="*/ 438150 h 1149667"/>
                    <a:gd name="connsiteX77" fmla="*/ 1213485 w 1630680"/>
                    <a:gd name="connsiteY77" fmla="*/ 449580 h 1149667"/>
                    <a:gd name="connsiteX78" fmla="*/ 1209675 w 1630680"/>
                    <a:gd name="connsiteY78" fmla="*/ 455295 h 1149667"/>
                    <a:gd name="connsiteX79" fmla="*/ 1185863 w 1630680"/>
                    <a:gd name="connsiteY79" fmla="*/ 465773 h 1149667"/>
                    <a:gd name="connsiteX80" fmla="*/ 1177290 w 1630680"/>
                    <a:gd name="connsiteY80" fmla="*/ 465773 h 1149667"/>
                    <a:gd name="connsiteX81" fmla="*/ 1149668 w 1630680"/>
                    <a:gd name="connsiteY81" fmla="*/ 509588 h 1149667"/>
                    <a:gd name="connsiteX82" fmla="*/ 1124903 w 1630680"/>
                    <a:gd name="connsiteY82" fmla="*/ 541020 h 1149667"/>
                    <a:gd name="connsiteX83" fmla="*/ 1110615 w 1630680"/>
                    <a:gd name="connsiteY83" fmla="*/ 555307 h 1149667"/>
                    <a:gd name="connsiteX84" fmla="*/ 1096328 w 1630680"/>
                    <a:gd name="connsiteY84" fmla="*/ 575310 h 1149667"/>
                    <a:gd name="connsiteX85" fmla="*/ 1065848 w 1630680"/>
                    <a:gd name="connsiteY85" fmla="*/ 628650 h 1149667"/>
                    <a:gd name="connsiteX86" fmla="*/ 1064895 w 1630680"/>
                    <a:gd name="connsiteY86" fmla="*/ 643890 h 1149667"/>
                    <a:gd name="connsiteX87" fmla="*/ 1080135 w 1630680"/>
                    <a:gd name="connsiteY87" fmla="*/ 696278 h 1149667"/>
                    <a:gd name="connsiteX88" fmla="*/ 1101090 w 1630680"/>
                    <a:gd name="connsiteY88" fmla="*/ 721995 h 1149667"/>
                    <a:gd name="connsiteX89" fmla="*/ 1123950 w 1630680"/>
                    <a:gd name="connsiteY89" fmla="*/ 732473 h 1149667"/>
                    <a:gd name="connsiteX90" fmla="*/ 1129665 w 1630680"/>
                    <a:gd name="connsiteY90" fmla="*/ 741998 h 1149667"/>
                    <a:gd name="connsiteX91" fmla="*/ 1122045 w 1630680"/>
                    <a:gd name="connsiteY91" fmla="*/ 751523 h 1149667"/>
                    <a:gd name="connsiteX92" fmla="*/ 1099185 w 1630680"/>
                    <a:gd name="connsiteY92" fmla="*/ 767715 h 1149667"/>
                    <a:gd name="connsiteX93" fmla="*/ 1058228 w 1630680"/>
                    <a:gd name="connsiteY93" fmla="*/ 789623 h 1149667"/>
                    <a:gd name="connsiteX94" fmla="*/ 1041083 w 1630680"/>
                    <a:gd name="connsiteY94" fmla="*/ 807720 h 1149667"/>
                    <a:gd name="connsiteX95" fmla="*/ 1038225 w 1630680"/>
                    <a:gd name="connsiteY95" fmla="*/ 824865 h 1149667"/>
                    <a:gd name="connsiteX96" fmla="*/ 1025843 w 1630680"/>
                    <a:gd name="connsiteY96" fmla="*/ 832485 h 1149667"/>
                    <a:gd name="connsiteX97" fmla="*/ 1021080 w 1630680"/>
                    <a:gd name="connsiteY97" fmla="*/ 856298 h 1149667"/>
                    <a:gd name="connsiteX98" fmla="*/ 1003935 w 1630680"/>
                    <a:gd name="connsiteY98" fmla="*/ 898207 h 1149667"/>
                    <a:gd name="connsiteX99" fmla="*/ 1016318 w 1630680"/>
                    <a:gd name="connsiteY99" fmla="*/ 909638 h 1149667"/>
                    <a:gd name="connsiteX100" fmla="*/ 1003935 w 1630680"/>
                    <a:gd name="connsiteY100" fmla="*/ 917257 h 1149667"/>
                    <a:gd name="connsiteX101" fmla="*/ 942023 w 1630680"/>
                    <a:gd name="connsiteY101" fmla="*/ 920115 h 1149667"/>
                    <a:gd name="connsiteX102" fmla="*/ 902970 w 1630680"/>
                    <a:gd name="connsiteY102" fmla="*/ 946785 h 1149667"/>
                    <a:gd name="connsiteX103" fmla="*/ 883920 w 1630680"/>
                    <a:gd name="connsiteY103" fmla="*/ 969645 h 1149667"/>
                    <a:gd name="connsiteX104" fmla="*/ 865823 w 1630680"/>
                    <a:gd name="connsiteY104" fmla="*/ 1012507 h 1149667"/>
                    <a:gd name="connsiteX105" fmla="*/ 844868 w 1630680"/>
                    <a:gd name="connsiteY105" fmla="*/ 1037273 h 1149667"/>
                    <a:gd name="connsiteX106" fmla="*/ 835343 w 1630680"/>
                    <a:gd name="connsiteY106" fmla="*/ 1042035 h 1149667"/>
                    <a:gd name="connsiteX107" fmla="*/ 821055 w 1630680"/>
                    <a:gd name="connsiteY107" fmla="*/ 1030605 h 1149667"/>
                    <a:gd name="connsiteX108" fmla="*/ 802958 w 1630680"/>
                    <a:gd name="connsiteY108" fmla="*/ 1029653 h 1149667"/>
                    <a:gd name="connsiteX109" fmla="*/ 784860 w 1630680"/>
                    <a:gd name="connsiteY109" fmla="*/ 1032510 h 1149667"/>
                    <a:gd name="connsiteX110" fmla="*/ 775335 w 1630680"/>
                    <a:gd name="connsiteY110" fmla="*/ 1042035 h 1149667"/>
                    <a:gd name="connsiteX111" fmla="*/ 761048 w 1630680"/>
                    <a:gd name="connsiteY111" fmla="*/ 1046798 h 1149667"/>
                    <a:gd name="connsiteX112" fmla="*/ 746760 w 1630680"/>
                    <a:gd name="connsiteY112" fmla="*/ 1042035 h 1149667"/>
                    <a:gd name="connsiteX113" fmla="*/ 702945 w 1630680"/>
                    <a:gd name="connsiteY113" fmla="*/ 1040130 h 1149667"/>
                    <a:gd name="connsiteX114" fmla="*/ 681038 w 1630680"/>
                    <a:gd name="connsiteY114" fmla="*/ 1047750 h 1149667"/>
                    <a:gd name="connsiteX115" fmla="*/ 662940 w 1630680"/>
                    <a:gd name="connsiteY115" fmla="*/ 1042988 h 1149667"/>
                    <a:gd name="connsiteX116" fmla="*/ 632460 w 1630680"/>
                    <a:gd name="connsiteY116" fmla="*/ 1040130 h 1149667"/>
                    <a:gd name="connsiteX117" fmla="*/ 565785 w 1630680"/>
                    <a:gd name="connsiteY117" fmla="*/ 1045845 h 1149667"/>
                    <a:gd name="connsiteX118" fmla="*/ 527685 w 1630680"/>
                    <a:gd name="connsiteY118" fmla="*/ 1078230 h 1149667"/>
                    <a:gd name="connsiteX119" fmla="*/ 495300 w 1630680"/>
                    <a:gd name="connsiteY119" fmla="*/ 1078230 h 1149667"/>
                    <a:gd name="connsiteX120" fmla="*/ 465773 w 1630680"/>
                    <a:gd name="connsiteY120" fmla="*/ 1089660 h 1149667"/>
                    <a:gd name="connsiteX121" fmla="*/ 445770 w 1630680"/>
                    <a:gd name="connsiteY121" fmla="*/ 1118235 h 1149667"/>
                    <a:gd name="connsiteX122" fmla="*/ 441008 w 1630680"/>
                    <a:gd name="connsiteY122" fmla="*/ 1133475 h 1149667"/>
                    <a:gd name="connsiteX123" fmla="*/ 431483 w 1630680"/>
                    <a:gd name="connsiteY123" fmla="*/ 1130618 h 1149667"/>
                    <a:gd name="connsiteX124" fmla="*/ 428625 w 1630680"/>
                    <a:gd name="connsiteY124" fmla="*/ 1142048 h 1149667"/>
                    <a:gd name="connsiteX125" fmla="*/ 408623 w 1630680"/>
                    <a:gd name="connsiteY125" fmla="*/ 1149668 h 1149667"/>
                    <a:gd name="connsiteX126" fmla="*/ 385763 w 1630680"/>
                    <a:gd name="connsiteY126" fmla="*/ 1140143 h 1149667"/>
                    <a:gd name="connsiteX127" fmla="*/ 366713 w 1630680"/>
                    <a:gd name="connsiteY127" fmla="*/ 1125855 h 1149667"/>
                    <a:gd name="connsiteX128" fmla="*/ 357188 w 1630680"/>
                    <a:gd name="connsiteY128" fmla="*/ 1124903 h 1149667"/>
                    <a:gd name="connsiteX129" fmla="*/ 341948 w 1630680"/>
                    <a:gd name="connsiteY129" fmla="*/ 1103948 h 1149667"/>
                    <a:gd name="connsiteX130" fmla="*/ 330518 w 1630680"/>
                    <a:gd name="connsiteY130" fmla="*/ 1074420 h 1149667"/>
                    <a:gd name="connsiteX131" fmla="*/ 330518 w 1630680"/>
                    <a:gd name="connsiteY131" fmla="*/ 1063943 h 1149667"/>
                    <a:gd name="connsiteX132" fmla="*/ 316230 w 1630680"/>
                    <a:gd name="connsiteY132" fmla="*/ 1058228 h 1149667"/>
                    <a:gd name="connsiteX133" fmla="*/ 313373 w 1630680"/>
                    <a:gd name="connsiteY133" fmla="*/ 1044893 h 1149667"/>
                    <a:gd name="connsiteX134" fmla="*/ 315278 w 1630680"/>
                    <a:gd name="connsiteY134" fmla="*/ 1029653 h 1149667"/>
                    <a:gd name="connsiteX135" fmla="*/ 303848 w 1630680"/>
                    <a:gd name="connsiteY135" fmla="*/ 1010603 h 1149667"/>
                    <a:gd name="connsiteX136" fmla="*/ 256223 w 1630680"/>
                    <a:gd name="connsiteY136" fmla="*/ 975360 h 1149667"/>
                    <a:gd name="connsiteX137" fmla="*/ 220980 w 1630680"/>
                    <a:gd name="connsiteY137" fmla="*/ 972503 h 1149667"/>
                    <a:gd name="connsiteX138" fmla="*/ 192405 w 1630680"/>
                    <a:gd name="connsiteY138" fmla="*/ 977265 h 1149667"/>
                    <a:gd name="connsiteX139" fmla="*/ 181928 w 1630680"/>
                    <a:gd name="connsiteY139" fmla="*/ 916305 h 1149667"/>
                    <a:gd name="connsiteX140" fmla="*/ 189548 w 1630680"/>
                    <a:gd name="connsiteY140" fmla="*/ 895350 h 1149667"/>
                    <a:gd name="connsiteX141" fmla="*/ 222885 w 1630680"/>
                    <a:gd name="connsiteY141" fmla="*/ 854393 h 1149667"/>
                    <a:gd name="connsiteX142" fmla="*/ 242888 w 1630680"/>
                    <a:gd name="connsiteY142" fmla="*/ 848678 h 1149667"/>
                    <a:gd name="connsiteX143" fmla="*/ 249555 w 1630680"/>
                    <a:gd name="connsiteY143" fmla="*/ 825818 h 1149667"/>
                    <a:gd name="connsiteX144" fmla="*/ 233363 w 1630680"/>
                    <a:gd name="connsiteY144" fmla="*/ 827723 h 1149667"/>
                    <a:gd name="connsiteX145" fmla="*/ 204788 w 1630680"/>
                    <a:gd name="connsiteY145" fmla="*/ 786765 h 1149667"/>
                    <a:gd name="connsiteX146" fmla="*/ 213360 w 1630680"/>
                    <a:gd name="connsiteY146" fmla="*/ 748665 h 1149667"/>
                    <a:gd name="connsiteX147" fmla="*/ 243840 w 1630680"/>
                    <a:gd name="connsiteY147" fmla="*/ 720090 h 1149667"/>
                    <a:gd name="connsiteX148" fmla="*/ 249555 w 1630680"/>
                    <a:gd name="connsiteY148" fmla="*/ 697230 h 1149667"/>
                    <a:gd name="connsiteX149" fmla="*/ 244793 w 1630680"/>
                    <a:gd name="connsiteY149" fmla="*/ 689610 h 1149667"/>
                    <a:gd name="connsiteX150" fmla="*/ 228600 w 1630680"/>
                    <a:gd name="connsiteY150" fmla="*/ 685800 h 1149667"/>
                    <a:gd name="connsiteX151" fmla="*/ 213360 w 1630680"/>
                    <a:gd name="connsiteY151" fmla="*/ 655320 h 1149667"/>
                    <a:gd name="connsiteX152" fmla="*/ 210503 w 1630680"/>
                    <a:gd name="connsiteY152" fmla="*/ 637223 h 1149667"/>
                    <a:gd name="connsiteX153" fmla="*/ 197168 w 1630680"/>
                    <a:gd name="connsiteY153" fmla="*/ 625793 h 1149667"/>
                    <a:gd name="connsiteX154" fmla="*/ 186690 w 1630680"/>
                    <a:gd name="connsiteY154" fmla="*/ 607695 h 1149667"/>
                    <a:gd name="connsiteX155" fmla="*/ 197168 w 1630680"/>
                    <a:gd name="connsiteY155" fmla="*/ 604838 h 1149667"/>
                    <a:gd name="connsiteX156" fmla="*/ 238125 w 1630680"/>
                    <a:gd name="connsiteY156" fmla="*/ 604838 h 1149667"/>
                    <a:gd name="connsiteX157" fmla="*/ 247650 w 1630680"/>
                    <a:gd name="connsiteY157" fmla="*/ 600075 h 1149667"/>
                    <a:gd name="connsiteX158" fmla="*/ 263843 w 1630680"/>
                    <a:gd name="connsiteY158" fmla="*/ 566738 h 1149667"/>
                    <a:gd name="connsiteX159" fmla="*/ 263843 w 1630680"/>
                    <a:gd name="connsiteY159" fmla="*/ 548640 h 1149667"/>
                    <a:gd name="connsiteX160" fmla="*/ 250508 w 1630680"/>
                    <a:gd name="connsiteY160" fmla="*/ 536257 h 1149667"/>
                    <a:gd name="connsiteX161" fmla="*/ 252413 w 1630680"/>
                    <a:gd name="connsiteY161" fmla="*/ 526732 h 1149667"/>
                    <a:gd name="connsiteX162" fmla="*/ 278130 w 1630680"/>
                    <a:gd name="connsiteY162" fmla="*/ 506730 h 1149667"/>
                    <a:gd name="connsiteX163" fmla="*/ 274320 w 1630680"/>
                    <a:gd name="connsiteY163" fmla="*/ 496253 h 1149667"/>
                    <a:gd name="connsiteX164" fmla="*/ 278130 w 1630680"/>
                    <a:gd name="connsiteY164" fmla="*/ 460057 h 1149667"/>
                    <a:gd name="connsiteX165" fmla="*/ 274320 w 1630680"/>
                    <a:gd name="connsiteY165" fmla="*/ 426720 h 1149667"/>
                    <a:gd name="connsiteX166" fmla="*/ 266700 w 1630680"/>
                    <a:gd name="connsiteY166" fmla="*/ 407670 h 1149667"/>
                    <a:gd name="connsiteX167" fmla="*/ 285750 w 1630680"/>
                    <a:gd name="connsiteY167" fmla="*/ 392430 h 1149667"/>
                    <a:gd name="connsiteX168" fmla="*/ 296228 w 1630680"/>
                    <a:gd name="connsiteY168" fmla="*/ 377190 h 1149667"/>
                    <a:gd name="connsiteX169" fmla="*/ 311468 w 1630680"/>
                    <a:gd name="connsiteY169" fmla="*/ 363855 h 1149667"/>
                    <a:gd name="connsiteX170" fmla="*/ 331470 w 1630680"/>
                    <a:gd name="connsiteY170" fmla="*/ 353378 h 1149667"/>
                    <a:gd name="connsiteX171" fmla="*/ 355283 w 1630680"/>
                    <a:gd name="connsiteY171" fmla="*/ 329565 h 1149667"/>
                    <a:gd name="connsiteX172" fmla="*/ 352425 w 1630680"/>
                    <a:gd name="connsiteY172" fmla="*/ 319088 h 1149667"/>
                    <a:gd name="connsiteX173" fmla="*/ 334328 w 1630680"/>
                    <a:gd name="connsiteY173" fmla="*/ 310515 h 1149667"/>
                    <a:gd name="connsiteX174" fmla="*/ 316230 w 1630680"/>
                    <a:gd name="connsiteY174" fmla="*/ 308610 h 1149667"/>
                    <a:gd name="connsiteX175" fmla="*/ 315278 w 1630680"/>
                    <a:gd name="connsiteY175" fmla="*/ 279082 h 1149667"/>
                    <a:gd name="connsiteX176" fmla="*/ 308610 w 1630680"/>
                    <a:gd name="connsiteY176" fmla="*/ 268605 h 1149667"/>
                    <a:gd name="connsiteX177" fmla="*/ 259080 w 1630680"/>
                    <a:gd name="connsiteY177" fmla="*/ 267653 h 1149667"/>
                    <a:gd name="connsiteX178" fmla="*/ 244793 w 1630680"/>
                    <a:gd name="connsiteY178" fmla="*/ 262890 h 1149667"/>
                    <a:gd name="connsiteX179" fmla="*/ 237173 w 1630680"/>
                    <a:gd name="connsiteY179" fmla="*/ 276225 h 1149667"/>
                    <a:gd name="connsiteX180" fmla="*/ 213360 w 1630680"/>
                    <a:gd name="connsiteY180" fmla="*/ 284798 h 1149667"/>
                    <a:gd name="connsiteX181" fmla="*/ 200025 w 1630680"/>
                    <a:gd name="connsiteY181" fmla="*/ 284798 h 1149667"/>
                    <a:gd name="connsiteX182" fmla="*/ 179070 w 1630680"/>
                    <a:gd name="connsiteY182" fmla="*/ 277178 h 1149667"/>
                    <a:gd name="connsiteX183" fmla="*/ 151448 w 1630680"/>
                    <a:gd name="connsiteY183" fmla="*/ 278130 h 1149667"/>
                    <a:gd name="connsiteX184" fmla="*/ 122873 w 1630680"/>
                    <a:gd name="connsiteY184" fmla="*/ 288607 h 1149667"/>
                    <a:gd name="connsiteX185" fmla="*/ 114300 w 1630680"/>
                    <a:gd name="connsiteY185" fmla="*/ 276225 h 1149667"/>
                    <a:gd name="connsiteX186" fmla="*/ 126683 w 1630680"/>
                    <a:gd name="connsiteY186" fmla="*/ 258128 h 1149667"/>
                    <a:gd name="connsiteX187" fmla="*/ 117158 w 1630680"/>
                    <a:gd name="connsiteY187" fmla="*/ 240982 h 1149667"/>
                    <a:gd name="connsiteX188" fmla="*/ 78105 w 1630680"/>
                    <a:gd name="connsiteY188" fmla="*/ 250507 h 1149667"/>
                    <a:gd name="connsiteX189" fmla="*/ 60008 w 1630680"/>
                    <a:gd name="connsiteY189" fmla="*/ 259080 h 1149667"/>
                    <a:gd name="connsiteX190" fmla="*/ 48578 w 1630680"/>
                    <a:gd name="connsiteY190" fmla="*/ 269557 h 1149667"/>
                    <a:gd name="connsiteX191" fmla="*/ 36195 w 1630680"/>
                    <a:gd name="connsiteY191" fmla="*/ 268605 h 1149667"/>
                    <a:gd name="connsiteX192" fmla="*/ 36195 w 1630680"/>
                    <a:gd name="connsiteY192" fmla="*/ 244793 h 1149667"/>
                    <a:gd name="connsiteX193" fmla="*/ 60960 w 1630680"/>
                    <a:gd name="connsiteY193" fmla="*/ 220028 h 1149667"/>
                    <a:gd name="connsiteX194" fmla="*/ 45720 w 1630680"/>
                    <a:gd name="connsiteY194" fmla="*/ 218123 h 1149667"/>
                    <a:gd name="connsiteX195" fmla="*/ 57150 w 1630680"/>
                    <a:gd name="connsiteY195" fmla="*/ 200025 h 1149667"/>
                    <a:gd name="connsiteX196" fmla="*/ 47625 w 1630680"/>
                    <a:gd name="connsiteY196" fmla="*/ 190500 h 1149667"/>
                    <a:gd name="connsiteX197" fmla="*/ 48578 w 1630680"/>
                    <a:gd name="connsiteY197" fmla="*/ 165735 h 1149667"/>
                    <a:gd name="connsiteX198" fmla="*/ 26670 w 1630680"/>
                    <a:gd name="connsiteY198" fmla="*/ 174307 h 1149667"/>
                    <a:gd name="connsiteX199" fmla="*/ 21908 w 1630680"/>
                    <a:gd name="connsiteY199" fmla="*/ 162878 h 1149667"/>
                    <a:gd name="connsiteX200" fmla="*/ 35243 w 1630680"/>
                    <a:gd name="connsiteY200" fmla="*/ 141923 h 1149667"/>
                    <a:gd name="connsiteX201" fmla="*/ 21908 w 1630680"/>
                    <a:gd name="connsiteY201" fmla="*/ 140018 h 1149667"/>
                    <a:gd name="connsiteX202" fmla="*/ 0 w 1630680"/>
                    <a:gd name="connsiteY202" fmla="*/ 116205 h 1149667"/>
                    <a:gd name="connsiteX203" fmla="*/ 7620 w 1630680"/>
                    <a:gd name="connsiteY203" fmla="*/ 86678 h 1149667"/>
                    <a:gd name="connsiteX204" fmla="*/ 26670 w 1630680"/>
                    <a:gd name="connsiteY204" fmla="*/ 77153 h 1149667"/>
                    <a:gd name="connsiteX205" fmla="*/ 44768 w 1630680"/>
                    <a:gd name="connsiteY205" fmla="*/ 62865 h 1149667"/>
                    <a:gd name="connsiteX206" fmla="*/ 69533 w 1630680"/>
                    <a:gd name="connsiteY206" fmla="*/ 65723 h 1149667"/>
                    <a:gd name="connsiteX207" fmla="*/ 85725 w 1630680"/>
                    <a:gd name="connsiteY207" fmla="*/ 62865 h 1149667"/>
                    <a:gd name="connsiteX208" fmla="*/ 120015 w 1630680"/>
                    <a:gd name="connsiteY208" fmla="*/ 47625 h 1149667"/>
                    <a:gd name="connsiteX209" fmla="*/ 116205 w 1630680"/>
                    <a:gd name="connsiteY209" fmla="*/ 33338 h 1149667"/>
                    <a:gd name="connsiteX210" fmla="*/ 120015 w 1630680"/>
                    <a:gd name="connsiteY210" fmla="*/ 26670 h 1149667"/>
                    <a:gd name="connsiteX211" fmla="*/ 150495 w 1630680"/>
                    <a:gd name="connsiteY211" fmla="*/ 10478 h 1149667"/>
                    <a:gd name="connsiteX212" fmla="*/ 169545 w 1630680"/>
                    <a:gd name="connsiteY212" fmla="*/ 8573 h 1149667"/>
                    <a:gd name="connsiteX213" fmla="*/ 187643 w 1630680"/>
                    <a:gd name="connsiteY213" fmla="*/ 0 h 1149667"/>
                    <a:gd name="connsiteX214" fmla="*/ 200025 w 1630680"/>
                    <a:gd name="connsiteY214" fmla="*/ 4763 h 1149667"/>
                    <a:gd name="connsiteX215" fmla="*/ 210503 w 1630680"/>
                    <a:gd name="connsiteY215" fmla="*/ 3810 h 1149667"/>
                    <a:gd name="connsiteX216" fmla="*/ 222885 w 1630680"/>
                    <a:gd name="connsiteY216" fmla="*/ 9525 h 1149667"/>
                    <a:gd name="connsiteX217" fmla="*/ 239078 w 1630680"/>
                    <a:gd name="connsiteY217" fmla="*/ 24765 h 1149667"/>
                    <a:gd name="connsiteX218" fmla="*/ 262890 w 1630680"/>
                    <a:gd name="connsiteY218" fmla="*/ 30480 h 1149667"/>
                    <a:gd name="connsiteX219" fmla="*/ 281940 w 1630680"/>
                    <a:gd name="connsiteY219" fmla="*/ 25718 h 1149667"/>
                    <a:gd name="connsiteX220" fmla="*/ 316230 w 1630680"/>
                    <a:gd name="connsiteY220" fmla="*/ 24765 h 1149667"/>
                    <a:gd name="connsiteX221" fmla="*/ 332423 w 1630680"/>
                    <a:gd name="connsiteY221" fmla="*/ 26670 h 1149667"/>
                    <a:gd name="connsiteX222" fmla="*/ 362903 w 1630680"/>
                    <a:gd name="connsiteY222" fmla="*/ 23813 h 1149667"/>
                    <a:gd name="connsiteX223" fmla="*/ 380048 w 1630680"/>
                    <a:gd name="connsiteY223" fmla="*/ 24765 h 1149667"/>
                    <a:gd name="connsiteX224" fmla="*/ 407670 w 1630680"/>
                    <a:gd name="connsiteY224" fmla="*/ 17145 h 1149667"/>
                    <a:gd name="connsiteX225" fmla="*/ 429578 w 1630680"/>
                    <a:gd name="connsiteY225" fmla="*/ 26670 h 1149667"/>
                    <a:gd name="connsiteX226" fmla="*/ 471488 w 1630680"/>
                    <a:gd name="connsiteY226" fmla="*/ 30480 h 1149667"/>
                    <a:gd name="connsiteX227" fmla="*/ 496253 w 1630680"/>
                    <a:gd name="connsiteY227" fmla="*/ 38100 h 1149667"/>
                    <a:gd name="connsiteX228" fmla="*/ 564833 w 1630680"/>
                    <a:gd name="connsiteY228" fmla="*/ 51435 h 1149667"/>
                    <a:gd name="connsiteX229" fmla="*/ 590550 w 1630680"/>
                    <a:gd name="connsiteY229" fmla="*/ 51435 h 1149667"/>
                    <a:gd name="connsiteX230" fmla="*/ 625793 w 1630680"/>
                    <a:gd name="connsiteY230" fmla="*/ 43815 h 1149667"/>
                    <a:gd name="connsiteX231" fmla="*/ 641033 w 1630680"/>
                    <a:gd name="connsiteY231" fmla="*/ 39053 h 1149667"/>
                    <a:gd name="connsiteX232" fmla="*/ 655320 w 1630680"/>
                    <a:gd name="connsiteY232" fmla="*/ 41910 h 1149667"/>
                    <a:gd name="connsiteX233" fmla="*/ 675323 w 1630680"/>
                    <a:gd name="connsiteY233" fmla="*/ 36195 h 1149667"/>
                    <a:gd name="connsiteX234" fmla="*/ 697230 w 1630680"/>
                    <a:gd name="connsiteY234" fmla="*/ 45720 h 1149667"/>
                    <a:gd name="connsiteX235" fmla="*/ 741998 w 1630680"/>
                    <a:gd name="connsiteY235" fmla="*/ 58103 h 1149667"/>
                    <a:gd name="connsiteX236" fmla="*/ 762000 w 1630680"/>
                    <a:gd name="connsiteY236" fmla="*/ 45720 h 1149667"/>
                    <a:gd name="connsiteX237" fmla="*/ 794385 w 1630680"/>
                    <a:gd name="connsiteY237" fmla="*/ 51435 h 1149667"/>
                    <a:gd name="connsiteX238" fmla="*/ 825818 w 1630680"/>
                    <a:gd name="connsiteY238" fmla="*/ 63818 h 1149667"/>
                    <a:gd name="connsiteX239" fmla="*/ 842963 w 1630680"/>
                    <a:gd name="connsiteY239" fmla="*/ 64770 h 1149667"/>
                    <a:gd name="connsiteX240" fmla="*/ 867728 w 1630680"/>
                    <a:gd name="connsiteY240" fmla="*/ 61913 h 1149667"/>
                    <a:gd name="connsiteX241" fmla="*/ 891540 w 1630680"/>
                    <a:gd name="connsiteY241" fmla="*/ 52388 h 114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30680" h="1149667">
                      <a:moveTo>
                        <a:pt x="1282065" y="718185"/>
                      </a:moveTo>
                      <a:lnTo>
                        <a:pt x="1278255" y="727710"/>
                      </a:lnTo>
                      <a:lnTo>
                        <a:pt x="1259205" y="723900"/>
                      </a:lnTo>
                      <a:lnTo>
                        <a:pt x="1259205" y="709613"/>
                      </a:lnTo>
                      <a:lnTo>
                        <a:pt x="1270635" y="694373"/>
                      </a:lnTo>
                      <a:lnTo>
                        <a:pt x="1296353" y="687705"/>
                      </a:lnTo>
                      <a:lnTo>
                        <a:pt x="1303973" y="700088"/>
                      </a:lnTo>
                      <a:lnTo>
                        <a:pt x="1282065" y="718185"/>
                      </a:lnTo>
                      <a:close/>
                      <a:moveTo>
                        <a:pt x="1488758" y="588645"/>
                      </a:moveTo>
                      <a:lnTo>
                        <a:pt x="1500188" y="593407"/>
                      </a:lnTo>
                      <a:lnTo>
                        <a:pt x="1512570" y="588645"/>
                      </a:lnTo>
                      <a:lnTo>
                        <a:pt x="1525905" y="592455"/>
                      </a:lnTo>
                      <a:lnTo>
                        <a:pt x="1527810" y="601980"/>
                      </a:lnTo>
                      <a:lnTo>
                        <a:pt x="1506855" y="635318"/>
                      </a:lnTo>
                      <a:lnTo>
                        <a:pt x="1501140" y="648653"/>
                      </a:lnTo>
                      <a:lnTo>
                        <a:pt x="1481138" y="661035"/>
                      </a:lnTo>
                      <a:lnTo>
                        <a:pt x="1443038" y="644843"/>
                      </a:lnTo>
                      <a:lnTo>
                        <a:pt x="1440180" y="629603"/>
                      </a:lnTo>
                      <a:lnTo>
                        <a:pt x="1426845" y="622935"/>
                      </a:lnTo>
                      <a:lnTo>
                        <a:pt x="1410653" y="635318"/>
                      </a:lnTo>
                      <a:lnTo>
                        <a:pt x="1397318" y="625793"/>
                      </a:lnTo>
                      <a:lnTo>
                        <a:pt x="1394460" y="614363"/>
                      </a:lnTo>
                      <a:lnTo>
                        <a:pt x="1444943" y="579120"/>
                      </a:lnTo>
                      <a:lnTo>
                        <a:pt x="1459230" y="570548"/>
                      </a:lnTo>
                      <a:lnTo>
                        <a:pt x="1489710" y="561975"/>
                      </a:lnTo>
                      <a:lnTo>
                        <a:pt x="1494473" y="573405"/>
                      </a:lnTo>
                      <a:lnTo>
                        <a:pt x="1488758" y="588645"/>
                      </a:lnTo>
                      <a:close/>
                      <a:moveTo>
                        <a:pt x="1628775" y="581025"/>
                      </a:moveTo>
                      <a:lnTo>
                        <a:pt x="1625918" y="582930"/>
                      </a:lnTo>
                      <a:lnTo>
                        <a:pt x="1588770" y="564832"/>
                      </a:lnTo>
                      <a:lnTo>
                        <a:pt x="1573530" y="561023"/>
                      </a:lnTo>
                      <a:lnTo>
                        <a:pt x="1574483" y="547688"/>
                      </a:lnTo>
                      <a:lnTo>
                        <a:pt x="1599248" y="545782"/>
                      </a:lnTo>
                      <a:lnTo>
                        <a:pt x="1619250" y="552450"/>
                      </a:lnTo>
                      <a:lnTo>
                        <a:pt x="1630680" y="569595"/>
                      </a:lnTo>
                      <a:lnTo>
                        <a:pt x="1628775" y="581025"/>
                      </a:lnTo>
                      <a:close/>
                      <a:moveTo>
                        <a:pt x="891540" y="52388"/>
                      </a:moveTo>
                      <a:lnTo>
                        <a:pt x="896303" y="64770"/>
                      </a:lnTo>
                      <a:lnTo>
                        <a:pt x="937260" y="77153"/>
                      </a:lnTo>
                      <a:lnTo>
                        <a:pt x="934403" y="107632"/>
                      </a:lnTo>
                      <a:lnTo>
                        <a:pt x="951548" y="103823"/>
                      </a:lnTo>
                      <a:lnTo>
                        <a:pt x="993458" y="120015"/>
                      </a:lnTo>
                      <a:lnTo>
                        <a:pt x="1014413" y="121920"/>
                      </a:lnTo>
                      <a:lnTo>
                        <a:pt x="1035368" y="141923"/>
                      </a:lnTo>
                      <a:lnTo>
                        <a:pt x="1069658" y="138113"/>
                      </a:lnTo>
                      <a:lnTo>
                        <a:pt x="1100138" y="158115"/>
                      </a:lnTo>
                      <a:lnTo>
                        <a:pt x="1129665" y="154305"/>
                      </a:lnTo>
                      <a:lnTo>
                        <a:pt x="1136333" y="158115"/>
                      </a:lnTo>
                      <a:lnTo>
                        <a:pt x="1181100" y="158115"/>
                      </a:lnTo>
                      <a:lnTo>
                        <a:pt x="1188720" y="135255"/>
                      </a:lnTo>
                      <a:lnTo>
                        <a:pt x="1226820" y="145732"/>
                      </a:lnTo>
                      <a:lnTo>
                        <a:pt x="1250633" y="155257"/>
                      </a:lnTo>
                      <a:lnTo>
                        <a:pt x="1266825" y="158115"/>
                      </a:lnTo>
                      <a:lnTo>
                        <a:pt x="1277303" y="172403"/>
                      </a:lnTo>
                      <a:lnTo>
                        <a:pt x="1277303" y="192405"/>
                      </a:lnTo>
                      <a:lnTo>
                        <a:pt x="1283970" y="196215"/>
                      </a:lnTo>
                      <a:lnTo>
                        <a:pt x="1310640" y="185738"/>
                      </a:lnTo>
                      <a:lnTo>
                        <a:pt x="1337310" y="197168"/>
                      </a:lnTo>
                      <a:lnTo>
                        <a:pt x="1349693" y="208598"/>
                      </a:lnTo>
                      <a:lnTo>
                        <a:pt x="1369695" y="198120"/>
                      </a:lnTo>
                      <a:lnTo>
                        <a:pt x="1414463" y="209550"/>
                      </a:lnTo>
                      <a:lnTo>
                        <a:pt x="1425893" y="201930"/>
                      </a:lnTo>
                      <a:lnTo>
                        <a:pt x="1462088" y="191453"/>
                      </a:lnTo>
                      <a:lnTo>
                        <a:pt x="1491615" y="197168"/>
                      </a:lnTo>
                      <a:lnTo>
                        <a:pt x="1503045" y="218123"/>
                      </a:lnTo>
                      <a:lnTo>
                        <a:pt x="1485900" y="222885"/>
                      </a:lnTo>
                      <a:lnTo>
                        <a:pt x="1483995" y="236220"/>
                      </a:lnTo>
                      <a:lnTo>
                        <a:pt x="1495425" y="248603"/>
                      </a:lnTo>
                      <a:lnTo>
                        <a:pt x="1496378" y="268605"/>
                      </a:lnTo>
                      <a:lnTo>
                        <a:pt x="1467803" y="295275"/>
                      </a:lnTo>
                      <a:lnTo>
                        <a:pt x="1384935" y="340043"/>
                      </a:lnTo>
                      <a:lnTo>
                        <a:pt x="1357313" y="365760"/>
                      </a:lnTo>
                      <a:lnTo>
                        <a:pt x="1294448" y="380048"/>
                      </a:lnTo>
                      <a:lnTo>
                        <a:pt x="1251585" y="394335"/>
                      </a:lnTo>
                      <a:lnTo>
                        <a:pt x="1230630" y="399098"/>
                      </a:lnTo>
                      <a:lnTo>
                        <a:pt x="1191578" y="435293"/>
                      </a:lnTo>
                      <a:lnTo>
                        <a:pt x="1202055" y="438150"/>
                      </a:lnTo>
                      <a:lnTo>
                        <a:pt x="1213485" y="449580"/>
                      </a:lnTo>
                      <a:lnTo>
                        <a:pt x="1209675" y="455295"/>
                      </a:lnTo>
                      <a:lnTo>
                        <a:pt x="1185863" y="465773"/>
                      </a:lnTo>
                      <a:lnTo>
                        <a:pt x="1177290" y="465773"/>
                      </a:lnTo>
                      <a:lnTo>
                        <a:pt x="1149668" y="509588"/>
                      </a:lnTo>
                      <a:lnTo>
                        <a:pt x="1124903" y="541020"/>
                      </a:lnTo>
                      <a:lnTo>
                        <a:pt x="1110615" y="555307"/>
                      </a:lnTo>
                      <a:lnTo>
                        <a:pt x="1096328" y="575310"/>
                      </a:lnTo>
                      <a:lnTo>
                        <a:pt x="1065848" y="628650"/>
                      </a:lnTo>
                      <a:lnTo>
                        <a:pt x="1064895" y="643890"/>
                      </a:lnTo>
                      <a:lnTo>
                        <a:pt x="1080135" y="696278"/>
                      </a:lnTo>
                      <a:lnTo>
                        <a:pt x="1101090" y="721995"/>
                      </a:lnTo>
                      <a:lnTo>
                        <a:pt x="1123950" y="732473"/>
                      </a:lnTo>
                      <a:lnTo>
                        <a:pt x="1129665" y="741998"/>
                      </a:lnTo>
                      <a:lnTo>
                        <a:pt x="1122045" y="751523"/>
                      </a:lnTo>
                      <a:lnTo>
                        <a:pt x="1099185" y="767715"/>
                      </a:lnTo>
                      <a:lnTo>
                        <a:pt x="1058228" y="789623"/>
                      </a:lnTo>
                      <a:lnTo>
                        <a:pt x="1041083" y="807720"/>
                      </a:lnTo>
                      <a:lnTo>
                        <a:pt x="1038225" y="824865"/>
                      </a:lnTo>
                      <a:lnTo>
                        <a:pt x="1025843" y="832485"/>
                      </a:lnTo>
                      <a:lnTo>
                        <a:pt x="1021080" y="856298"/>
                      </a:lnTo>
                      <a:lnTo>
                        <a:pt x="1003935" y="898207"/>
                      </a:lnTo>
                      <a:lnTo>
                        <a:pt x="1016318" y="909638"/>
                      </a:lnTo>
                      <a:lnTo>
                        <a:pt x="1003935" y="917257"/>
                      </a:lnTo>
                      <a:lnTo>
                        <a:pt x="942023" y="920115"/>
                      </a:lnTo>
                      <a:lnTo>
                        <a:pt x="902970" y="946785"/>
                      </a:lnTo>
                      <a:lnTo>
                        <a:pt x="883920" y="969645"/>
                      </a:lnTo>
                      <a:lnTo>
                        <a:pt x="865823" y="1012507"/>
                      </a:lnTo>
                      <a:lnTo>
                        <a:pt x="844868" y="1037273"/>
                      </a:lnTo>
                      <a:lnTo>
                        <a:pt x="835343" y="1042035"/>
                      </a:lnTo>
                      <a:lnTo>
                        <a:pt x="821055" y="1030605"/>
                      </a:lnTo>
                      <a:lnTo>
                        <a:pt x="802958" y="1029653"/>
                      </a:lnTo>
                      <a:lnTo>
                        <a:pt x="784860" y="1032510"/>
                      </a:lnTo>
                      <a:lnTo>
                        <a:pt x="775335" y="1042035"/>
                      </a:lnTo>
                      <a:lnTo>
                        <a:pt x="761048" y="1046798"/>
                      </a:lnTo>
                      <a:lnTo>
                        <a:pt x="746760" y="1042035"/>
                      </a:lnTo>
                      <a:lnTo>
                        <a:pt x="702945" y="1040130"/>
                      </a:lnTo>
                      <a:lnTo>
                        <a:pt x="681038" y="1047750"/>
                      </a:lnTo>
                      <a:lnTo>
                        <a:pt x="662940" y="1042988"/>
                      </a:lnTo>
                      <a:lnTo>
                        <a:pt x="632460" y="1040130"/>
                      </a:lnTo>
                      <a:lnTo>
                        <a:pt x="565785" y="1045845"/>
                      </a:lnTo>
                      <a:lnTo>
                        <a:pt x="527685" y="1078230"/>
                      </a:lnTo>
                      <a:lnTo>
                        <a:pt x="495300" y="1078230"/>
                      </a:lnTo>
                      <a:lnTo>
                        <a:pt x="465773" y="1089660"/>
                      </a:lnTo>
                      <a:lnTo>
                        <a:pt x="445770" y="1118235"/>
                      </a:lnTo>
                      <a:lnTo>
                        <a:pt x="441008" y="1133475"/>
                      </a:lnTo>
                      <a:lnTo>
                        <a:pt x="431483" y="1130618"/>
                      </a:lnTo>
                      <a:lnTo>
                        <a:pt x="428625" y="1142048"/>
                      </a:lnTo>
                      <a:lnTo>
                        <a:pt x="408623" y="1149668"/>
                      </a:lnTo>
                      <a:lnTo>
                        <a:pt x="385763" y="1140143"/>
                      </a:lnTo>
                      <a:lnTo>
                        <a:pt x="366713" y="1125855"/>
                      </a:lnTo>
                      <a:lnTo>
                        <a:pt x="357188" y="1124903"/>
                      </a:lnTo>
                      <a:lnTo>
                        <a:pt x="341948" y="1103948"/>
                      </a:lnTo>
                      <a:lnTo>
                        <a:pt x="330518" y="1074420"/>
                      </a:lnTo>
                      <a:lnTo>
                        <a:pt x="330518" y="1063943"/>
                      </a:lnTo>
                      <a:lnTo>
                        <a:pt x="316230" y="1058228"/>
                      </a:lnTo>
                      <a:lnTo>
                        <a:pt x="313373" y="1044893"/>
                      </a:lnTo>
                      <a:lnTo>
                        <a:pt x="315278" y="1029653"/>
                      </a:lnTo>
                      <a:lnTo>
                        <a:pt x="303848" y="1010603"/>
                      </a:lnTo>
                      <a:lnTo>
                        <a:pt x="256223" y="975360"/>
                      </a:lnTo>
                      <a:lnTo>
                        <a:pt x="220980" y="972503"/>
                      </a:lnTo>
                      <a:lnTo>
                        <a:pt x="192405" y="977265"/>
                      </a:lnTo>
                      <a:lnTo>
                        <a:pt x="181928" y="916305"/>
                      </a:lnTo>
                      <a:lnTo>
                        <a:pt x="189548" y="895350"/>
                      </a:lnTo>
                      <a:lnTo>
                        <a:pt x="222885" y="854393"/>
                      </a:lnTo>
                      <a:lnTo>
                        <a:pt x="242888" y="848678"/>
                      </a:lnTo>
                      <a:lnTo>
                        <a:pt x="249555" y="825818"/>
                      </a:lnTo>
                      <a:lnTo>
                        <a:pt x="233363" y="827723"/>
                      </a:lnTo>
                      <a:lnTo>
                        <a:pt x="204788" y="786765"/>
                      </a:lnTo>
                      <a:lnTo>
                        <a:pt x="213360" y="748665"/>
                      </a:lnTo>
                      <a:lnTo>
                        <a:pt x="243840" y="720090"/>
                      </a:lnTo>
                      <a:lnTo>
                        <a:pt x="249555" y="697230"/>
                      </a:lnTo>
                      <a:lnTo>
                        <a:pt x="244793" y="689610"/>
                      </a:lnTo>
                      <a:lnTo>
                        <a:pt x="228600" y="685800"/>
                      </a:lnTo>
                      <a:lnTo>
                        <a:pt x="213360" y="655320"/>
                      </a:lnTo>
                      <a:lnTo>
                        <a:pt x="210503" y="637223"/>
                      </a:lnTo>
                      <a:lnTo>
                        <a:pt x="197168" y="625793"/>
                      </a:lnTo>
                      <a:lnTo>
                        <a:pt x="186690" y="607695"/>
                      </a:lnTo>
                      <a:lnTo>
                        <a:pt x="197168" y="604838"/>
                      </a:lnTo>
                      <a:lnTo>
                        <a:pt x="238125" y="604838"/>
                      </a:lnTo>
                      <a:lnTo>
                        <a:pt x="247650" y="600075"/>
                      </a:lnTo>
                      <a:lnTo>
                        <a:pt x="263843" y="566738"/>
                      </a:lnTo>
                      <a:lnTo>
                        <a:pt x="263843" y="548640"/>
                      </a:lnTo>
                      <a:lnTo>
                        <a:pt x="250508" y="536257"/>
                      </a:lnTo>
                      <a:lnTo>
                        <a:pt x="252413" y="526732"/>
                      </a:lnTo>
                      <a:lnTo>
                        <a:pt x="278130" y="506730"/>
                      </a:lnTo>
                      <a:lnTo>
                        <a:pt x="274320" y="496253"/>
                      </a:lnTo>
                      <a:lnTo>
                        <a:pt x="278130" y="460057"/>
                      </a:lnTo>
                      <a:lnTo>
                        <a:pt x="274320" y="426720"/>
                      </a:lnTo>
                      <a:lnTo>
                        <a:pt x="266700" y="407670"/>
                      </a:lnTo>
                      <a:lnTo>
                        <a:pt x="285750" y="392430"/>
                      </a:lnTo>
                      <a:lnTo>
                        <a:pt x="296228" y="377190"/>
                      </a:lnTo>
                      <a:lnTo>
                        <a:pt x="311468" y="363855"/>
                      </a:lnTo>
                      <a:lnTo>
                        <a:pt x="331470" y="353378"/>
                      </a:lnTo>
                      <a:lnTo>
                        <a:pt x="355283" y="329565"/>
                      </a:lnTo>
                      <a:lnTo>
                        <a:pt x="352425" y="319088"/>
                      </a:lnTo>
                      <a:lnTo>
                        <a:pt x="334328" y="310515"/>
                      </a:lnTo>
                      <a:lnTo>
                        <a:pt x="316230" y="308610"/>
                      </a:lnTo>
                      <a:lnTo>
                        <a:pt x="315278" y="279082"/>
                      </a:lnTo>
                      <a:lnTo>
                        <a:pt x="308610" y="268605"/>
                      </a:lnTo>
                      <a:lnTo>
                        <a:pt x="259080" y="267653"/>
                      </a:lnTo>
                      <a:lnTo>
                        <a:pt x="244793" y="262890"/>
                      </a:lnTo>
                      <a:lnTo>
                        <a:pt x="237173" y="276225"/>
                      </a:lnTo>
                      <a:lnTo>
                        <a:pt x="213360" y="284798"/>
                      </a:lnTo>
                      <a:lnTo>
                        <a:pt x="200025" y="284798"/>
                      </a:lnTo>
                      <a:lnTo>
                        <a:pt x="179070" y="277178"/>
                      </a:lnTo>
                      <a:lnTo>
                        <a:pt x="151448" y="278130"/>
                      </a:lnTo>
                      <a:lnTo>
                        <a:pt x="122873" y="288607"/>
                      </a:lnTo>
                      <a:lnTo>
                        <a:pt x="114300" y="276225"/>
                      </a:lnTo>
                      <a:lnTo>
                        <a:pt x="126683" y="258128"/>
                      </a:lnTo>
                      <a:lnTo>
                        <a:pt x="117158" y="240982"/>
                      </a:lnTo>
                      <a:lnTo>
                        <a:pt x="78105" y="250507"/>
                      </a:lnTo>
                      <a:lnTo>
                        <a:pt x="60008" y="259080"/>
                      </a:lnTo>
                      <a:lnTo>
                        <a:pt x="48578" y="269557"/>
                      </a:lnTo>
                      <a:lnTo>
                        <a:pt x="36195" y="268605"/>
                      </a:lnTo>
                      <a:lnTo>
                        <a:pt x="36195" y="244793"/>
                      </a:lnTo>
                      <a:lnTo>
                        <a:pt x="60960" y="220028"/>
                      </a:lnTo>
                      <a:lnTo>
                        <a:pt x="45720" y="218123"/>
                      </a:lnTo>
                      <a:lnTo>
                        <a:pt x="57150" y="200025"/>
                      </a:lnTo>
                      <a:lnTo>
                        <a:pt x="47625" y="190500"/>
                      </a:lnTo>
                      <a:lnTo>
                        <a:pt x="48578" y="165735"/>
                      </a:lnTo>
                      <a:lnTo>
                        <a:pt x="26670" y="174307"/>
                      </a:lnTo>
                      <a:lnTo>
                        <a:pt x="21908" y="162878"/>
                      </a:lnTo>
                      <a:lnTo>
                        <a:pt x="35243" y="141923"/>
                      </a:lnTo>
                      <a:lnTo>
                        <a:pt x="21908" y="140018"/>
                      </a:lnTo>
                      <a:lnTo>
                        <a:pt x="0" y="116205"/>
                      </a:lnTo>
                      <a:lnTo>
                        <a:pt x="7620" y="86678"/>
                      </a:lnTo>
                      <a:lnTo>
                        <a:pt x="26670" y="77153"/>
                      </a:lnTo>
                      <a:lnTo>
                        <a:pt x="44768" y="62865"/>
                      </a:lnTo>
                      <a:lnTo>
                        <a:pt x="69533" y="65723"/>
                      </a:lnTo>
                      <a:lnTo>
                        <a:pt x="85725" y="62865"/>
                      </a:lnTo>
                      <a:lnTo>
                        <a:pt x="120015" y="47625"/>
                      </a:lnTo>
                      <a:lnTo>
                        <a:pt x="116205" y="33338"/>
                      </a:lnTo>
                      <a:lnTo>
                        <a:pt x="120015" y="26670"/>
                      </a:lnTo>
                      <a:lnTo>
                        <a:pt x="150495" y="10478"/>
                      </a:lnTo>
                      <a:lnTo>
                        <a:pt x="169545" y="8573"/>
                      </a:lnTo>
                      <a:lnTo>
                        <a:pt x="187643" y="0"/>
                      </a:lnTo>
                      <a:lnTo>
                        <a:pt x="200025" y="4763"/>
                      </a:lnTo>
                      <a:lnTo>
                        <a:pt x="210503" y="3810"/>
                      </a:lnTo>
                      <a:lnTo>
                        <a:pt x="222885" y="9525"/>
                      </a:lnTo>
                      <a:lnTo>
                        <a:pt x="239078" y="24765"/>
                      </a:lnTo>
                      <a:lnTo>
                        <a:pt x="262890" y="30480"/>
                      </a:lnTo>
                      <a:lnTo>
                        <a:pt x="281940" y="25718"/>
                      </a:lnTo>
                      <a:lnTo>
                        <a:pt x="316230" y="24765"/>
                      </a:lnTo>
                      <a:lnTo>
                        <a:pt x="332423" y="26670"/>
                      </a:lnTo>
                      <a:lnTo>
                        <a:pt x="362903" y="23813"/>
                      </a:lnTo>
                      <a:lnTo>
                        <a:pt x="380048" y="24765"/>
                      </a:lnTo>
                      <a:lnTo>
                        <a:pt x="407670" y="17145"/>
                      </a:lnTo>
                      <a:lnTo>
                        <a:pt x="429578" y="26670"/>
                      </a:lnTo>
                      <a:lnTo>
                        <a:pt x="471488" y="30480"/>
                      </a:lnTo>
                      <a:lnTo>
                        <a:pt x="496253" y="38100"/>
                      </a:lnTo>
                      <a:lnTo>
                        <a:pt x="564833" y="51435"/>
                      </a:lnTo>
                      <a:lnTo>
                        <a:pt x="590550" y="51435"/>
                      </a:lnTo>
                      <a:lnTo>
                        <a:pt x="625793" y="43815"/>
                      </a:lnTo>
                      <a:lnTo>
                        <a:pt x="641033" y="39053"/>
                      </a:lnTo>
                      <a:lnTo>
                        <a:pt x="655320" y="41910"/>
                      </a:lnTo>
                      <a:lnTo>
                        <a:pt x="675323" y="36195"/>
                      </a:lnTo>
                      <a:lnTo>
                        <a:pt x="697230" y="45720"/>
                      </a:lnTo>
                      <a:lnTo>
                        <a:pt x="741998" y="58103"/>
                      </a:lnTo>
                      <a:lnTo>
                        <a:pt x="762000" y="45720"/>
                      </a:lnTo>
                      <a:lnTo>
                        <a:pt x="794385" y="51435"/>
                      </a:lnTo>
                      <a:lnTo>
                        <a:pt x="825818" y="63818"/>
                      </a:lnTo>
                      <a:lnTo>
                        <a:pt x="842963" y="64770"/>
                      </a:lnTo>
                      <a:lnTo>
                        <a:pt x="867728" y="61913"/>
                      </a:lnTo>
                      <a:lnTo>
                        <a:pt x="891540" y="52388"/>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2" name="France" descr="{&quot;Key&quot;:&quot;france&quot;,&quot;Name&quot;:&quot;France&quot;,&quot;Value&quot;:1.0,&quot;Formula&quot;:&quot;&quot;,&quot;Text&quot;:&quot;&quot;,&quot;OfficeApplication&quot;:1,&quot;HasValue&quot;:true}">
                  <a:extLst>
                    <a:ext uri="{FF2B5EF4-FFF2-40B4-BE49-F238E27FC236}">
                      <a16:creationId xmlns:a16="http://schemas.microsoft.com/office/drawing/2014/main" id="{C6C0DA0E-06AB-9717-A129-0139582C1446}"/>
                    </a:ext>
                  </a:extLst>
                </p:cNvPr>
                <p:cNvSpPr/>
                <p:nvPr/>
              </p:nvSpPr>
              <p:spPr>
                <a:xfrm>
                  <a:off x="4610100" y="3978049"/>
                  <a:ext cx="1700212" cy="1422082"/>
                </a:xfrm>
                <a:custGeom>
                  <a:avLst/>
                  <a:gdLst>
                    <a:gd name="connsiteX0" fmla="*/ 1687830 w 1700212"/>
                    <a:gd name="connsiteY0" fmla="*/ 1211580 h 1422082"/>
                    <a:gd name="connsiteX1" fmla="*/ 1684973 w 1700212"/>
                    <a:gd name="connsiteY1" fmla="*/ 1233488 h 1422082"/>
                    <a:gd name="connsiteX2" fmla="*/ 1694498 w 1700212"/>
                    <a:gd name="connsiteY2" fmla="*/ 1249680 h 1422082"/>
                    <a:gd name="connsiteX3" fmla="*/ 1700213 w 1700212"/>
                    <a:gd name="connsiteY3" fmla="*/ 1311592 h 1422082"/>
                    <a:gd name="connsiteX4" fmla="*/ 1683068 w 1700212"/>
                    <a:gd name="connsiteY4" fmla="*/ 1342073 h 1422082"/>
                    <a:gd name="connsiteX5" fmla="*/ 1684020 w 1700212"/>
                    <a:gd name="connsiteY5" fmla="*/ 1370648 h 1422082"/>
                    <a:gd name="connsiteX6" fmla="*/ 1668780 w 1700212"/>
                    <a:gd name="connsiteY6" fmla="*/ 1411605 h 1422082"/>
                    <a:gd name="connsiteX7" fmla="*/ 1661160 w 1700212"/>
                    <a:gd name="connsiteY7" fmla="*/ 1422083 h 1422082"/>
                    <a:gd name="connsiteX8" fmla="*/ 1624965 w 1700212"/>
                    <a:gd name="connsiteY8" fmla="*/ 1403033 h 1422082"/>
                    <a:gd name="connsiteX9" fmla="*/ 1613535 w 1700212"/>
                    <a:gd name="connsiteY9" fmla="*/ 1392555 h 1422082"/>
                    <a:gd name="connsiteX10" fmla="*/ 1623060 w 1700212"/>
                    <a:gd name="connsiteY10" fmla="*/ 1375410 h 1422082"/>
                    <a:gd name="connsiteX11" fmla="*/ 1602105 w 1700212"/>
                    <a:gd name="connsiteY11" fmla="*/ 1366838 h 1422082"/>
                    <a:gd name="connsiteX12" fmla="*/ 1605915 w 1700212"/>
                    <a:gd name="connsiteY12" fmla="*/ 1350645 h 1422082"/>
                    <a:gd name="connsiteX13" fmla="*/ 1604010 w 1700212"/>
                    <a:gd name="connsiteY13" fmla="*/ 1342073 h 1422082"/>
                    <a:gd name="connsiteX14" fmla="*/ 1588770 w 1700212"/>
                    <a:gd name="connsiteY14" fmla="*/ 1337310 h 1422082"/>
                    <a:gd name="connsiteX15" fmla="*/ 1598295 w 1700212"/>
                    <a:gd name="connsiteY15" fmla="*/ 1324928 h 1422082"/>
                    <a:gd name="connsiteX16" fmla="*/ 1598295 w 1700212"/>
                    <a:gd name="connsiteY16" fmla="*/ 1317308 h 1422082"/>
                    <a:gd name="connsiteX17" fmla="*/ 1584007 w 1700212"/>
                    <a:gd name="connsiteY17" fmla="*/ 1307783 h 1422082"/>
                    <a:gd name="connsiteX18" fmla="*/ 1581150 w 1700212"/>
                    <a:gd name="connsiteY18" fmla="*/ 1299210 h 1422082"/>
                    <a:gd name="connsiteX19" fmla="*/ 1593532 w 1700212"/>
                    <a:gd name="connsiteY19" fmla="*/ 1288733 h 1422082"/>
                    <a:gd name="connsiteX20" fmla="*/ 1587818 w 1700212"/>
                    <a:gd name="connsiteY20" fmla="*/ 1280160 h 1422082"/>
                    <a:gd name="connsiteX21" fmla="*/ 1588770 w 1700212"/>
                    <a:gd name="connsiteY21" fmla="*/ 1267778 h 1422082"/>
                    <a:gd name="connsiteX22" fmla="*/ 1597343 w 1700212"/>
                    <a:gd name="connsiteY22" fmla="*/ 1249680 h 1422082"/>
                    <a:gd name="connsiteX23" fmla="*/ 1608773 w 1700212"/>
                    <a:gd name="connsiteY23" fmla="*/ 1241108 h 1422082"/>
                    <a:gd name="connsiteX24" fmla="*/ 1635443 w 1700212"/>
                    <a:gd name="connsiteY24" fmla="*/ 1233488 h 1422082"/>
                    <a:gd name="connsiteX25" fmla="*/ 1646873 w 1700212"/>
                    <a:gd name="connsiteY25" fmla="*/ 1223010 h 1422082"/>
                    <a:gd name="connsiteX26" fmla="*/ 1664970 w 1700212"/>
                    <a:gd name="connsiteY26" fmla="*/ 1228725 h 1422082"/>
                    <a:gd name="connsiteX27" fmla="*/ 1670685 w 1700212"/>
                    <a:gd name="connsiteY27" fmla="*/ 1217295 h 1422082"/>
                    <a:gd name="connsiteX28" fmla="*/ 1668780 w 1700212"/>
                    <a:gd name="connsiteY28" fmla="*/ 1191578 h 1422082"/>
                    <a:gd name="connsiteX29" fmla="*/ 1671638 w 1700212"/>
                    <a:gd name="connsiteY29" fmla="*/ 1181100 h 1422082"/>
                    <a:gd name="connsiteX30" fmla="*/ 1684020 w 1700212"/>
                    <a:gd name="connsiteY30" fmla="*/ 1185863 h 1422082"/>
                    <a:gd name="connsiteX31" fmla="*/ 1687830 w 1700212"/>
                    <a:gd name="connsiteY31" fmla="*/ 1211580 h 1422082"/>
                    <a:gd name="connsiteX32" fmla="*/ 412432 w 1700212"/>
                    <a:gd name="connsiteY32" fmla="*/ 755333 h 1422082"/>
                    <a:gd name="connsiteX33" fmla="*/ 408622 w 1700212"/>
                    <a:gd name="connsiteY33" fmla="*/ 768668 h 1422082"/>
                    <a:gd name="connsiteX34" fmla="*/ 390525 w 1700212"/>
                    <a:gd name="connsiteY34" fmla="*/ 745808 h 1422082"/>
                    <a:gd name="connsiteX35" fmla="*/ 400050 w 1700212"/>
                    <a:gd name="connsiteY35" fmla="*/ 741045 h 1422082"/>
                    <a:gd name="connsiteX36" fmla="*/ 412432 w 1700212"/>
                    <a:gd name="connsiteY36" fmla="*/ 755333 h 1422082"/>
                    <a:gd name="connsiteX37" fmla="*/ 1216343 w 1700212"/>
                    <a:gd name="connsiteY37" fmla="*/ 225743 h 1422082"/>
                    <a:gd name="connsiteX38" fmla="*/ 1236345 w 1700212"/>
                    <a:gd name="connsiteY38" fmla="*/ 237172 h 1422082"/>
                    <a:gd name="connsiteX39" fmla="*/ 1249680 w 1700212"/>
                    <a:gd name="connsiteY39" fmla="*/ 237172 h 1422082"/>
                    <a:gd name="connsiteX40" fmla="*/ 1268730 w 1700212"/>
                    <a:gd name="connsiteY40" fmla="*/ 231458 h 1422082"/>
                    <a:gd name="connsiteX41" fmla="*/ 1281113 w 1700212"/>
                    <a:gd name="connsiteY41" fmla="*/ 238125 h 1422082"/>
                    <a:gd name="connsiteX42" fmla="*/ 1294448 w 1700212"/>
                    <a:gd name="connsiteY42" fmla="*/ 239078 h 1422082"/>
                    <a:gd name="connsiteX43" fmla="*/ 1327785 w 1700212"/>
                    <a:gd name="connsiteY43" fmla="*/ 280035 h 1422082"/>
                    <a:gd name="connsiteX44" fmla="*/ 1344930 w 1700212"/>
                    <a:gd name="connsiteY44" fmla="*/ 273368 h 1422082"/>
                    <a:gd name="connsiteX45" fmla="*/ 1358265 w 1700212"/>
                    <a:gd name="connsiteY45" fmla="*/ 277178 h 1422082"/>
                    <a:gd name="connsiteX46" fmla="*/ 1361123 w 1700212"/>
                    <a:gd name="connsiteY46" fmla="*/ 285750 h 1422082"/>
                    <a:gd name="connsiteX47" fmla="*/ 1381125 w 1700212"/>
                    <a:gd name="connsiteY47" fmla="*/ 286703 h 1422082"/>
                    <a:gd name="connsiteX48" fmla="*/ 1409700 w 1700212"/>
                    <a:gd name="connsiteY48" fmla="*/ 280988 h 1422082"/>
                    <a:gd name="connsiteX49" fmla="*/ 1428750 w 1700212"/>
                    <a:gd name="connsiteY49" fmla="*/ 294322 h 1422082"/>
                    <a:gd name="connsiteX50" fmla="*/ 1474470 w 1700212"/>
                    <a:gd name="connsiteY50" fmla="*/ 301943 h 1422082"/>
                    <a:gd name="connsiteX51" fmla="*/ 1489710 w 1700212"/>
                    <a:gd name="connsiteY51" fmla="*/ 307658 h 1422082"/>
                    <a:gd name="connsiteX52" fmla="*/ 1490663 w 1700212"/>
                    <a:gd name="connsiteY52" fmla="*/ 320040 h 1422082"/>
                    <a:gd name="connsiteX53" fmla="*/ 1457325 w 1700212"/>
                    <a:gd name="connsiteY53" fmla="*/ 356235 h 1422082"/>
                    <a:gd name="connsiteX54" fmla="*/ 1443990 w 1700212"/>
                    <a:gd name="connsiteY54" fmla="*/ 408622 h 1422082"/>
                    <a:gd name="connsiteX55" fmla="*/ 1434465 w 1700212"/>
                    <a:gd name="connsiteY55" fmla="*/ 425768 h 1422082"/>
                    <a:gd name="connsiteX56" fmla="*/ 1431607 w 1700212"/>
                    <a:gd name="connsiteY56" fmla="*/ 440055 h 1422082"/>
                    <a:gd name="connsiteX57" fmla="*/ 1433513 w 1700212"/>
                    <a:gd name="connsiteY57" fmla="*/ 462915 h 1422082"/>
                    <a:gd name="connsiteX58" fmla="*/ 1427798 w 1700212"/>
                    <a:gd name="connsiteY58" fmla="*/ 481965 h 1422082"/>
                    <a:gd name="connsiteX59" fmla="*/ 1427798 w 1700212"/>
                    <a:gd name="connsiteY59" fmla="*/ 496253 h 1422082"/>
                    <a:gd name="connsiteX60" fmla="*/ 1438275 w 1700212"/>
                    <a:gd name="connsiteY60" fmla="*/ 508635 h 1422082"/>
                    <a:gd name="connsiteX61" fmla="*/ 1423988 w 1700212"/>
                    <a:gd name="connsiteY61" fmla="*/ 515303 h 1422082"/>
                    <a:gd name="connsiteX62" fmla="*/ 1416368 w 1700212"/>
                    <a:gd name="connsiteY62" fmla="*/ 528638 h 1422082"/>
                    <a:gd name="connsiteX63" fmla="*/ 1390650 w 1700212"/>
                    <a:gd name="connsiteY63" fmla="*/ 531495 h 1422082"/>
                    <a:gd name="connsiteX64" fmla="*/ 1383030 w 1700212"/>
                    <a:gd name="connsiteY64" fmla="*/ 523875 h 1422082"/>
                    <a:gd name="connsiteX65" fmla="*/ 1372553 w 1700212"/>
                    <a:gd name="connsiteY65" fmla="*/ 523875 h 1422082"/>
                    <a:gd name="connsiteX66" fmla="*/ 1355407 w 1700212"/>
                    <a:gd name="connsiteY66" fmla="*/ 537210 h 1422082"/>
                    <a:gd name="connsiteX67" fmla="*/ 1367790 w 1700212"/>
                    <a:gd name="connsiteY67" fmla="*/ 547688 h 1422082"/>
                    <a:gd name="connsiteX68" fmla="*/ 1362075 w 1700212"/>
                    <a:gd name="connsiteY68" fmla="*/ 556260 h 1422082"/>
                    <a:gd name="connsiteX69" fmla="*/ 1325880 w 1700212"/>
                    <a:gd name="connsiteY69" fmla="*/ 594360 h 1422082"/>
                    <a:gd name="connsiteX70" fmla="*/ 1305878 w 1700212"/>
                    <a:gd name="connsiteY70" fmla="*/ 602933 h 1422082"/>
                    <a:gd name="connsiteX71" fmla="*/ 1301115 w 1700212"/>
                    <a:gd name="connsiteY71" fmla="*/ 630555 h 1422082"/>
                    <a:gd name="connsiteX72" fmla="*/ 1272540 w 1700212"/>
                    <a:gd name="connsiteY72" fmla="*/ 651510 h 1422082"/>
                    <a:gd name="connsiteX73" fmla="*/ 1262063 w 1700212"/>
                    <a:gd name="connsiteY73" fmla="*/ 679133 h 1422082"/>
                    <a:gd name="connsiteX74" fmla="*/ 1269682 w 1700212"/>
                    <a:gd name="connsiteY74" fmla="*/ 685800 h 1422082"/>
                    <a:gd name="connsiteX75" fmla="*/ 1266825 w 1700212"/>
                    <a:gd name="connsiteY75" fmla="*/ 700088 h 1422082"/>
                    <a:gd name="connsiteX76" fmla="*/ 1252538 w 1700212"/>
                    <a:gd name="connsiteY76" fmla="*/ 709613 h 1422082"/>
                    <a:gd name="connsiteX77" fmla="*/ 1252538 w 1700212"/>
                    <a:gd name="connsiteY77" fmla="*/ 719138 h 1422082"/>
                    <a:gd name="connsiteX78" fmla="*/ 1265873 w 1700212"/>
                    <a:gd name="connsiteY78" fmla="*/ 720090 h 1422082"/>
                    <a:gd name="connsiteX79" fmla="*/ 1287780 w 1700212"/>
                    <a:gd name="connsiteY79" fmla="*/ 704850 h 1422082"/>
                    <a:gd name="connsiteX80" fmla="*/ 1283018 w 1700212"/>
                    <a:gd name="connsiteY80" fmla="*/ 692468 h 1422082"/>
                    <a:gd name="connsiteX81" fmla="*/ 1304925 w 1700212"/>
                    <a:gd name="connsiteY81" fmla="*/ 678180 h 1422082"/>
                    <a:gd name="connsiteX82" fmla="*/ 1323023 w 1700212"/>
                    <a:gd name="connsiteY82" fmla="*/ 677228 h 1422082"/>
                    <a:gd name="connsiteX83" fmla="*/ 1343978 w 1700212"/>
                    <a:gd name="connsiteY83" fmla="*/ 680085 h 1422082"/>
                    <a:gd name="connsiteX84" fmla="*/ 1351598 w 1700212"/>
                    <a:gd name="connsiteY84" fmla="*/ 701040 h 1422082"/>
                    <a:gd name="connsiteX85" fmla="*/ 1346835 w 1700212"/>
                    <a:gd name="connsiteY85" fmla="*/ 717233 h 1422082"/>
                    <a:gd name="connsiteX86" fmla="*/ 1368743 w 1700212"/>
                    <a:gd name="connsiteY86" fmla="*/ 739140 h 1422082"/>
                    <a:gd name="connsiteX87" fmla="*/ 1377315 w 1700212"/>
                    <a:gd name="connsiteY87" fmla="*/ 752475 h 1422082"/>
                    <a:gd name="connsiteX88" fmla="*/ 1352550 w 1700212"/>
                    <a:gd name="connsiteY88" fmla="*/ 768668 h 1422082"/>
                    <a:gd name="connsiteX89" fmla="*/ 1353503 w 1700212"/>
                    <a:gd name="connsiteY89" fmla="*/ 783908 h 1422082"/>
                    <a:gd name="connsiteX90" fmla="*/ 1362075 w 1700212"/>
                    <a:gd name="connsiteY90" fmla="*/ 789622 h 1422082"/>
                    <a:gd name="connsiteX91" fmla="*/ 1378268 w 1700212"/>
                    <a:gd name="connsiteY91" fmla="*/ 814388 h 1422082"/>
                    <a:gd name="connsiteX92" fmla="*/ 1395413 w 1700212"/>
                    <a:gd name="connsiteY92" fmla="*/ 829628 h 1422082"/>
                    <a:gd name="connsiteX93" fmla="*/ 1387793 w 1700212"/>
                    <a:gd name="connsiteY93" fmla="*/ 853440 h 1422082"/>
                    <a:gd name="connsiteX94" fmla="*/ 1376363 w 1700212"/>
                    <a:gd name="connsiteY94" fmla="*/ 856297 h 1422082"/>
                    <a:gd name="connsiteX95" fmla="*/ 1360170 w 1700212"/>
                    <a:gd name="connsiteY95" fmla="*/ 868680 h 1422082"/>
                    <a:gd name="connsiteX96" fmla="*/ 1342073 w 1700212"/>
                    <a:gd name="connsiteY96" fmla="*/ 866775 h 1422082"/>
                    <a:gd name="connsiteX97" fmla="*/ 1334453 w 1700212"/>
                    <a:gd name="connsiteY97" fmla="*/ 870585 h 1422082"/>
                    <a:gd name="connsiteX98" fmla="*/ 1348740 w 1700212"/>
                    <a:gd name="connsiteY98" fmla="*/ 900113 h 1422082"/>
                    <a:gd name="connsiteX99" fmla="*/ 1379220 w 1700212"/>
                    <a:gd name="connsiteY99" fmla="*/ 913447 h 1422082"/>
                    <a:gd name="connsiteX100" fmla="*/ 1383982 w 1700212"/>
                    <a:gd name="connsiteY100" fmla="*/ 929640 h 1422082"/>
                    <a:gd name="connsiteX101" fmla="*/ 1376363 w 1700212"/>
                    <a:gd name="connsiteY101" fmla="*/ 936308 h 1422082"/>
                    <a:gd name="connsiteX102" fmla="*/ 1363028 w 1700212"/>
                    <a:gd name="connsiteY102" fmla="*/ 960120 h 1422082"/>
                    <a:gd name="connsiteX103" fmla="*/ 1369695 w 1700212"/>
                    <a:gd name="connsiteY103" fmla="*/ 972503 h 1422082"/>
                    <a:gd name="connsiteX104" fmla="*/ 1370648 w 1700212"/>
                    <a:gd name="connsiteY104" fmla="*/ 985838 h 1422082"/>
                    <a:gd name="connsiteX105" fmla="*/ 1379220 w 1700212"/>
                    <a:gd name="connsiteY105" fmla="*/ 994410 h 1422082"/>
                    <a:gd name="connsiteX106" fmla="*/ 1427798 w 1700212"/>
                    <a:gd name="connsiteY106" fmla="*/ 1017270 h 1422082"/>
                    <a:gd name="connsiteX107" fmla="*/ 1459230 w 1700212"/>
                    <a:gd name="connsiteY107" fmla="*/ 1011555 h 1422082"/>
                    <a:gd name="connsiteX108" fmla="*/ 1462088 w 1700212"/>
                    <a:gd name="connsiteY108" fmla="*/ 1030605 h 1422082"/>
                    <a:gd name="connsiteX109" fmla="*/ 1442085 w 1700212"/>
                    <a:gd name="connsiteY109" fmla="*/ 1055370 h 1422082"/>
                    <a:gd name="connsiteX110" fmla="*/ 1443990 w 1700212"/>
                    <a:gd name="connsiteY110" fmla="*/ 1069658 h 1422082"/>
                    <a:gd name="connsiteX111" fmla="*/ 1438275 w 1700212"/>
                    <a:gd name="connsiteY111" fmla="*/ 1072515 h 1422082"/>
                    <a:gd name="connsiteX112" fmla="*/ 1430655 w 1700212"/>
                    <a:gd name="connsiteY112" fmla="*/ 1075373 h 1422082"/>
                    <a:gd name="connsiteX113" fmla="*/ 1407795 w 1700212"/>
                    <a:gd name="connsiteY113" fmla="*/ 1085850 h 1422082"/>
                    <a:gd name="connsiteX114" fmla="*/ 1370648 w 1700212"/>
                    <a:gd name="connsiteY114" fmla="*/ 1118235 h 1422082"/>
                    <a:gd name="connsiteX115" fmla="*/ 1353503 w 1700212"/>
                    <a:gd name="connsiteY115" fmla="*/ 1127760 h 1422082"/>
                    <a:gd name="connsiteX116" fmla="*/ 1346835 w 1700212"/>
                    <a:gd name="connsiteY116" fmla="*/ 1144905 h 1422082"/>
                    <a:gd name="connsiteX117" fmla="*/ 1327785 w 1700212"/>
                    <a:gd name="connsiteY117" fmla="*/ 1158240 h 1422082"/>
                    <a:gd name="connsiteX118" fmla="*/ 1304925 w 1700212"/>
                    <a:gd name="connsiteY118" fmla="*/ 1163003 h 1422082"/>
                    <a:gd name="connsiteX119" fmla="*/ 1283018 w 1700212"/>
                    <a:gd name="connsiteY119" fmla="*/ 1172528 h 1422082"/>
                    <a:gd name="connsiteX120" fmla="*/ 1272540 w 1700212"/>
                    <a:gd name="connsiteY120" fmla="*/ 1168717 h 1422082"/>
                    <a:gd name="connsiteX121" fmla="*/ 1245870 w 1700212"/>
                    <a:gd name="connsiteY121" fmla="*/ 1168717 h 1422082"/>
                    <a:gd name="connsiteX122" fmla="*/ 1229678 w 1700212"/>
                    <a:gd name="connsiteY122" fmla="*/ 1157288 h 1422082"/>
                    <a:gd name="connsiteX123" fmla="*/ 1197293 w 1700212"/>
                    <a:gd name="connsiteY123" fmla="*/ 1149667 h 1422082"/>
                    <a:gd name="connsiteX124" fmla="*/ 1186815 w 1700212"/>
                    <a:gd name="connsiteY124" fmla="*/ 1132523 h 1422082"/>
                    <a:gd name="connsiteX125" fmla="*/ 1163003 w 1700212"/>
                    <a:gd name="connsiteY125" fmla="*/ 1131570 h 1422082"/>
                    <a:gd name="connsiteX126" fmla="*/ 1155382 w 1700212"/>
                    <a:gd name="connsiteY126" fmla="*/ 1117283 h 1422082"/>
                    <a:gd name="connsiteX127" fmla="*/ 1137285 w 1700212"/>
                    <a:gd name="connsiteY127" fmla="*/ 1120140 h 1422082"/>
                    <a:gd name="connsiteX128" fmla="*/ 1122998 w 1700212"/>
                    <a:gd name="connsiteY128" fmla="*/ 1126808 h 1422082"/>
                    <a:gd name="connsiteX129" fmla="*/ 1103948 w 1700212"/>
                    <a:gd name="connsiteY129" fmla="*/ 1125855 h 1422082"/>
                    <a:gd name="connsiteX130" fmla="*/ 1047750 w 1700212"/>
                    <a:gd name="connsiteY130" fmla="*/ 1108710 h 1422082"/>
                    <a:gd name="connsiteX131" fmla="*/ 1034415 w 1700212"/>
                    <a:gd name="connsiteY131" fmla="*/ 1095375 h 1422082"/>
                    <a:gd name="connsiteX132" fmla="*/ 1018222 w 1700212"/>
                    <a:gd name="connsiteY132" fmla="*/ 1100138 h 1422082"/>
                    <a:gd name="connsiteX133" fmla="*/ 1002982 w 1700212"/>
                    <a:gd name="connsiteY133" fmla="*/ 1115378 h 1422082"/>
                    <a:gd name="connsiteX134" fmla="*/ 941070 w 1700212"/>
                    <a:gd name="connsiteY134" fmla="*/ 1154430 h 1422082"/>
                    <a:gd name="connsiteX135" fmla="*/ 916305 w 1700212"/>
                    <a:gd name="connsiteY135" fmla="*/ 1195388 h 1422082"/>
                    <a:gd name="connsiteX136" fmla="*/ 915353 w 1700212"/>
                    <a:gd name="connsiteY136" fmla="*/ 1206817 h 1422082"/>
                    <a:gd name="connsiteX137" fmla="*/ 922020 w 1700212"/>
                    <a:gd name="connsiteY137" fmla="*/ 1243965 h 1422082"/>
                    <a:gd name="connsiteX138" fmla="*/ 937260 w 1700212"/>
                    <a:gd name="connsiteY138" fmla="*/ 1267778 h 1422082"/>
                    <a:gd name="connsiteX139" fmla="*/ 907732 w 1700212"/>
                    <a:gd name="connsiteY139" fmla="*/ 1262063 h 1422082"/>
                    <a:gd name="connsiteX140" fmla="*/ 871538 w 1700212"/>
                    <a:gd name="connsiteY140" fmla="*/ 1272540 h 1422082"/>
                    <a:gd name="connsiteX141" fmla="*/ 860107 w 1700212"/>
                    <a:gd name="connsiteY141" fmla="*/ 1280160 h 1422082"/>
                    <a:gd name="connsiteX142" fmla="*/ 815340 w 1700212"/>
                    <a:gd name="connsiteY142" fmla="*/ 1268730 h 1422082"/>
                    <a:gd name="connsiteX143" fmla="*/ 795338 w 1700212"/>
                    <a:gd name="connsiteY143" fmla="*/ 1279208 h 1422082"/>
                    <a:gd name="connsiteX144" fmla="*/ 782955 w 1700212"/>
                    <a:gd name="connsiteY144" fmla="*/ 1267778 h 1422082"/>
                    <a:gd name="connsiteX145" fmla="*/ 756285 w 1700212"/>
                    <a:gd name="connsiteY145" fmla="*/ 1256348 h 1422082"/>
                    <a:gd name="connsiteX146" fmla="*/ 756285 w 1700212"/>
                    <a:gd name="connsiteY146" fmla="*/ 1242060 h 1422082"/>
                    <a:gd name="connsiteX147" fmla="*/ 731520 w 1700212"/>
                    <a:gd name="connsiteY147" fmla="*/ 1236345 h 1422082"/>
                    <a:gd name="connsiteX148" fmla="*/ 722947 w 1700212"/>
                    <a:gd name="connsiteY148" fmla="*/ 1243013 h 1422082"/>
                    <a:gd name="connsiteX149" fmla="*/ 712470 w 1700212"/>
                    <a:gd name="connsiteY149" fmla="*/ 1228725 h 1422082"/>
                    <a:gd name="connsiteX150" fmla="*/ 696278 w 1700212"/>
                    <a:gd name="connsiteY150" fmla="*/ 1225867 h 1422082"/>
                    <a:gd name="connsiteX151" fmla="*/ 672465 w 1700212"/>
                    <a:gd name="connsiteY151" fmla="*/ 1216342 h 1422082"/>
                    <a:gd name="connsiteX152" fmla="*/ 634365 w 1700212"/>
                    <a:gd name="connsiteY152" fmla="*/ 1205865 h 1422082"/>
                    <a:gd name="connsiteX153" fmla="*/ 626745 w 1700212"/>
                    <a:gd name="connsiteY153" fmla="*/ 1228725 h 1422082"/>
                    <a:gd name="connsiteX154" fmla="*/ 581978 w 1700212"/>
                    <a:gd name="connsiteY154" fmla="*/ 1228725 h 1422082"/>
                    <a:gd name="connsiteX155" fmla="*/ 575310 w 1700212"/>
                    <a:gd name="connsiteY155" fmla="*/ 1224915 h 1422082"/>
                    <a:gd name="connsiteX156" fmla="*/ 545782 w 1700212"/>
                    <a:gd name="connsiteY156" fmla="*/ 1228725 h 1422082"/>
                    <a:gd name="connsiteX157" fmla="*/ 515303 w 1700212"/>
                    <a:gd name="connsiteY157" fmla="*/ 1208723 h 1422082"/>
                    <a:gd name="connsiteX158" fmla="*/ 481013 w 1700212"/>
                    <a:gd name="connsiteY158" fmla="*/ 1212533 h 1422082"/>
                    <a:gd name="connsiteX159" fmla="*/ 460057 w 1700212"/>
                    <a:gd name="connsiteY159" fmla="*/ 1192530 h 1422082"/>
                    <a:gd name="connsiteX160" fmla="*/ 439103 w 1700212"/>
                    <a:gd name="connsiteY160" fmla="*/ 1190625 h 1422082"/>
                    <a:gd name="connsiteX161" fmla="*/ 397193 w 1700212"/>
                    <a:gd name="connsiteY161" fmla="*/ 1174433 h 1422082"/>
                    <a:gd name="connsiteX162" fmla="*/ 380047 w 1700212"/>
                    <a:gd name="connsiteY162" fmla="*/ 1178242 h 1422082"/>
                    <a:gd name="connsiteX163" fmla="*/ 382905 w 1700212"/>
                    <a:gd name="connsiteY163" fmla="*/ 1147763 h 1422082"/>
                    <a:gd name="connsiteX164" fmla="*/ 341947 w 1700212"/>
                    <a:gd name="connsiteY164" fmla="*/ 1135380 h 1422082"/>
                    <a:gd name="connsiteX165" fmla="*/ 337185 w 1700212"/>
                    <a:gd name="connsiteY165" fmla="*/ 1122998 h 1422082"/>
                    <a:gd name="connsiteX166" fmla="*/ 356235 w 1700212"/>
                    <a:gd name="connsiteY166" fmla="*/ 1118235 h 1422082"/>
                    <a:gd name="connsiteX167" fmla="*/ 374332 w 1700212"/>
                    <a:gd name="connsiteY167" fmla="*/ 1100138 h 1422082"/>
                    <a:gd name="connsiteX168" fmla="*/ 390525 w 1700212"/>
                    <a:gd name="connsiteY168" fmla="*/ 1032510 h 1422082"/>
                    <a:gd name="connsiteX169" fmla="*/ 402907 w 1700212"/>
                    <a:gd name="connsiteY169" fmla="*/ 953453 h 1422082"/>
                    <a:gd name="connsiteX170" fmla="*/ 412432 w 1700212"/>
                    <a:gd name="connsiteY170" fmla="*/ 938213 h 1422082"/>
                    <a:gd name="connsiteX171" fmla="*/ 423863 w 1700212"/>
                    <a:gd name="connsiteY171" fmla="*/ 934403 h 1422082"/>
                    <a:gd name="connsiteX172" fmla="*/ 414338 w 1700212"/>
                    <a:gd name="connsiteY172" fmla="*/ 922972 h 1422082"/>
                    <a:gd name="connsiteX173" fmla="*/ 403860 w 1700212"/>
                    <a:gd name="connsiteY173" fmla="*/ 937260 h 1422082"/>
                    <a:gd name="connsiteX174" fmla="*/ 410528 w 1700212"/>
                    <a:gd name="connsiteY174" fmla="*/ 864870 h 1422082"/>
                    <a:gd name="connsiteX175" fmla="*/ 415290 w 1700212"/>
                    <a:gd name="connsiteY175" fmla="*/ 838200 h 1422082"/>
                    <a:gd name="connsiteX176" fmla="*/ 423863 w 1700212"/>
                    <a:gd name="connsiteY176" fmla="*/ 809625 h 1422082"/>
                    <a:gd name="connsiteX177" fmla="*/ 453390 w 1700212"/>
                    <a:gd name="connsiteY177" fmla="*/ 832485 h 1422082"/>
                    <a:gd name="connsiteX178" fmla="*/ 461010 w 1700212"/>
                    <a:gd name="connsiteY178" fmla="*/ 842010 h 1422082"/>
                    <a:gd name="connsiteX179" fmla="*/ 469582 w 1700212"/>
                    <a:gd name="connsiteY179" fmla="*/ 874395 h 1422082"/>
                    <a:gd name="connsiteX180" fmla="*/ 475297 w 1700212"/>
                    <a:gd name="connsiteY180" fmla="*/ 875347 h 1422082"/>
                    <a:gd name="connsiteX181" fmla="*/ 464820 w 1700212"/>
                    <a:gd name="connsiteY181" fmla="*/ 831533 h 1422082"/>
                    <a:gd name="connsiteX182" fmla="*/ 447675 w 1700212"/>
                    <a:gd name="connsiteY182" fmla="*/ 809625 h 1422082"/>
                    <a:gd name="connsiteX183" fmla="*/ 413385 w 1700212"/>
                    <a:gd name="connsiteY183" fmla="*/ 787718 h 1422082"/>
                    <a:gd name="connsiteX184" fmla="*/ 408622 w 1700212"/>
                    <a:gd name="connsiteY184" fmla="*/ 775335 h 1422082"/>
                    <a:gd name="connsiteX185" fmla="*/ 425768 w 1700212"/>
                    <a:gd name="connsiteY185" fmla="*/ 769620 h 1422082"/>
                    <a:gd name="connsiteX186" fmla="*/ 421005 w 1700212"/>
                    <a:gd name="connsiteY186" fmla="*/ 752475 h 1422082"/>
                    <a:gd name="connsiteX187" fmla="*/ 416243 w 1700212"/>
                    <a:gd name="connsiteY187" fmla="*/ 696278 h 1422082"/>
                    <a:gd name="connsiteX188" fmla="*/ 387668 w 1700212"/>
                    <a:gd name="connsiteY188" fmla="*/ 690563 h 1422082"/>
                    <a:gd name="connsiteX189" fmla="*/ 341947 w 1700212"/>
                    <a:gd name="connsiteY189" fmla="*/ 665797 h 1422082"/>
                    <a:gd name="connsiteX190" fmla="*/ 325755 w 1700212"/>
                    <a:gd name="connsiteY190" fmla="*/ 641033 h 1422082"/>
                    <a:gd name="connsiteX191" fmla="*/ 310515 w 1700212"/>
                    <a:gd name="connsiteY191" fmla="*/ 622935 h 1422082"/>
                    <a:gd name="connsiteX192" fmla="*/ 306705 w 1700212"/>
                    <a:gd name="connsiteY192" fmla="*/ 606743 h 1422082"/>
                    <a:gd name="connsiteX193" fmla="*/ 315278 w 1700212"/>
                    <a:gd name="connsiteY193" fmla="*/ 589597 h 1422082"/>
                    <a:gd name="connsiteX194" fmla="*/ 307657 w 1700212"/>
                    <a:gd name="connsiteY194" fmla="*/ 579120 h 1422082"/>
                    <a:gd name="connsiteX195" fmla="*/ 294322 w 1700212"/>
                    <a:gd name="connsiteY195" fmla="*/ 571500 h 1422082"/>
                    <a:gd name="connsiteX196" fmla="*/ 304800 w 1700212"/>
                    <a:gd name="connsiteY196" fmla="*/ 556260 h 1422082"/>
                    <a:gd name="connsiteX197" fmla="*/ 276225 w 1700212"/>
                    <a:gd name="connsiteY197" fmla="*/ 554355 h 1422082"/>
                    <a:gd name="connsiteX198" fmla="*/ 259080 w 1700212"/>
                    <a:gd name="connsiteY198" fmla="*/ 549593 h 1422082"/>
                    <a:gd name="connsiteX199" fmla="*/ 256222 w 1700212"/>
                    <a:gd name="connsiteY199" fmla="*/ 539115 h 1422082"/>
                    <a:gd name="connsiteX200" fmla="*/ 268605 w 1700212"/>
                    <a:gd name="connsiteY200" fmla="*/ 525780 h 1422082"/>
                    <a:gd name="connsiteX201" fmla="*/ 253365 w 1700212"/>
                    <a:gd name="connsiteY201" fmla="*/ 518160 h 1422082"/>
                    <a:gd name="connsiteX202" fmla="*/ 228600 w 1700212"/>
                    <a:gd name="connsiteY202" fmla="*/ 520065 h 1422082"/>
                    <a:gd name="connsiteX203" fmla="*/ 226695 w 1700212"/>
                    <a:gd name="connsiteY203" fmla="*/ 503872 h 1422082"/>
                    <a:gd name="connsiteX204" fmla="*/ 205740 w 1700212"/>
                    <a:gd name="connsiteY204" fmla="*/ 506730 h 1422082"/>
                    <a:gd name="connsiteX205" fmla="*/ 194310 w 1700212"/>
                    <a:gd name="connsiteY205" fmla="*/ 503872 h 1422082"/>
                    <a:gd name="connsiteX206" fmla="*/ 183832 w 1700212"/>
                    <a:gd name="connsiteY206" fmla="*/ 493395 h 1422082"/>
                    <a:gd name="connsiteX207" fmla="*/ 171450 w 1700212"/>
                    <a:gd name="connsiteY207" fmla="*/ 495300 h 1422082"/>
                    <a:gd name="connsiteX208" fmla="*/ 150495 w 1700212"/>
                    <a:gd name="connsiteY208" fmla="*/ 491490 h 1422082"/>
                    <a:gd name="connsiteX209" fmla="*/ 142875 w 1700212"/>
                    <a:gd name="connsiteY209" fmla="*/ 484822 h 1422082"/>
                    <a:gd name="connsiteX210" fmla="*/ 97155 w 1700212"/>
                    <a:gd name="connsiteY210" fmla="*/ 472440 h 1422082"/>
                    <a:gd name="connsiteX211" fmla="*/ 78105 w 1700212"/>
                    <a:gd name="connsiteY211" fmla="*/ 471488 h 1422082"/>
                    <a:gd name="connsiteX212" fmla="*/ 60007 w 1700212"/>
                    <a:gd name="connsiteY212" fmla="*/ 477203 h 1422082"/>
                    <a:gd name="connsiteX213" fmla="*/ 49530 w 1700212"/>
                    <a:gd name="connsiteY213" fmla="*/ 474345 h 1422082"/>
                    <a:gd name="connsiteX214" fmla="*/ 37147 w 1700212"/>
                    <a:gd name="connsiteY214" fmla="*/ 453390 h 1422082"/>
                    <a:gd name="connsiteX215" fmla="*/ 7620 w 1700212"/>
                    <a:gd name="connsiteY215" fmla="*/ 442913 h 1422082"/>
                    <a:gd name="connsiteX216" fmla="*/ 13335 w 1700212"/>
                    <a:gd name="connsiteY216" fmla="*/ 436245 h 1422082"/>
                    <a:gd name="connsiteX217" fmla="*/ 42863 w 1700212"/>
                    <a:gd name="connsiteY217" fmla="*/ 430530 h 1422082"/>
                    <a:gd name="connsiteX218" fmla="*/ 48578 w 1700212"/>
                    <a:gd name="connsiteY218" fmla="*/ 423863 h 1422082"/>
                    <a:gd name="connsiteX219" fmla="*/ 27622 w 1700212"/>
                    <a:gd name="connsiteY219" fmla="*/ 415290 h 1422082"/>
                    <a:gd name="connsiteX220" fmla="*/ 25718 w 1700212"/>
                    <a:gd name="connsiteY220" fmla="*/ 403860 h 1422082"/>
                    <a:gd name="connsiteX221" fmla="*/ 40957 w 1700212"/>
                    <a:gd name="connsiteY221" fmla="*/ 406718 h 1422082"/>
                    <a:gd name="connsiteX222" fmla="*/ 41910 w 1700212"/>
                    <a:gd name="connsiteY222" fmla="*/ 395288 h 1422082"/>
                    <a:gd name="connsiteX223" fmla="*/ 3810 w 1700212"/>
                    <a:gd name="connsiteY223" fmla="*/ 396240 h 1422082"/>
                    <a:gd name="connsiteX224" fmla="*/ 0 w 1700212"/>
                    <a:gd name="connsiteY224" fmla="*/ 383858 h 1422082"/>
                    <a:gd name="connsiteX225" fmla="*/ 4763 w 1700212"/>
                    <a:gd name="connsiteY225" fmla="*/ 370522 h 1422082"/>
                    <a:gd name="connsiteX226" fmla="*/ 26670 w 1700212"/>
                    <a:gd name="connsiteY226" fmla="*/ 359093 h 1422082"/>
                    <a:gd name="connsiteX227" fmla="*/ 81915 w 1700212"/>
                    <a:gd name="connsiteY227" fmla="*/ 345758 h 1422082"/>
                    <a:gd name="connsiteX228" fmla="*/ 105728 w 1700212"/>
                    <a:gd name="connsiteY228" fmla="*/ 347663 h 1422082"/>
                    <a:gd name="connsiteX229" fmla="*/ 121920 w 1700212"/>
                    <a:gd name="connsiteY229" fmla="*/ 345758 h 1422082"/>
                    <a:gd name="connsiteX230" fmla="*/ 150495 w 1700212"/>
                    <a:gd name="connsiteY230" fmla="*/ 330518 h 1422082"/>
                    <a:gd name="connsiteX231" fmla="*/ 178118 w 1700212"/>
                    <a:gd name="connsiteY231" fmla="*/ 326708 h 1422082"/>
                    <a:gd name="connsiteX232" fmla="*/ 203835 w 1700212"/>
                    <a:gd name="connsiteY232" fmla="*/ 334328 h 1422082"/>
                    <a:gd name="connsiteX233" fmla="*/ 227647 w 1700212"/>
                    <a:gd name="connsiteY233" fmla="*/ 360997 h 1422082"/>
                    <a:gd name="connsiteX234" fmla="*/ 239078 w 1700212"/>
                    <a:gd name="connsiteY234" fmla="*/ 370522 h 1422082"/>
                    <a:gd name="connsiteX235" fmla="*/ 268605 w 1700212"/>
                    <a:gd name="connsiteY235" fmla="*/ 354330 h 1422082"/>
                    <a:gd name="connsiteX236" fmla="*/ 310515 w 1700212"/>
                    <a:gd name="connsiteY236" fmla="*/ 355283 h 1422082"/>
                    <a:gd name="connsiteX237" fmla="*/ 319088 w 1700212"/>
                    <a:gd name="connsiteY237" fmla="*/ 363855 h 1422082"/>
                    <a:gd name="connsiteX238" fmla="*/ 330518 w 1700212"/>
                    <a:gd name="connsiteY238" fmla="*/ 347663 h 1422082"/>
                    <a:gd name="connsiteX239" fmla="*/ 340043 w 1700212"/>
                    <a:gd name="connsiteY239" fmla="*/ 357188 h 1422082"/>
                    <a:gd name="connsiteX240" fmla="*/ 384810 w 1700212"/>
                    <a:gd name="connsiteY240" fmla="*/ 355283 h 1422082"/>
                    <a:gd name="connsiteX241" fmla="*/ 370522 w 1700212"/>
                    <a:gd name="connsiteY241" fmla="*/ 331470 h 1422082"/>
                    <a:gd name="connsiteX242" fmla="*/ 368618 w 1700212"/>
                    <a:gd name="connsiteY242" fmla="*/ 274320 h 1422082"/>
                    <a:gd name="connsiteX243" fmla="*/ 356235 w 1700212"/>
                    <a:gd name="connsiteY243" fmla="*/ 258128 h 1422082"/>
                    <a:gd name="connsiteX244" fmla="*/ 336232 w 1700212"/>
                    <a:gd name="connsiteY244" fmla="*/ 217170 h 1422082"/>
                    <a:gd name="connsiteX245" fmla="*/ 338138 w 1700212"/>
                    <a:gd name="connsiteY245" fmla="*/ 203835 h 1422082"/>
                    <a:gd name="connsiteX246" fmla="*/ 368618 w 1700212"/>
                    <a:gd name="connsiteY246" fmla="*/ 206693 h 1422082"/>
                    <a:gd name="connsiteX247" fmla="*/ 394335 w 1700212"/>
                    <a:gd name="connsiteY247" fmla="*/ 200978 h 1422082"/>
                    <a:gd name="connsiteX248" fmla="*/ 406718 w 1700212"/>
                    <a:gd name="connsiteY248" fmla="*/ 204788 h 1422082"/>
                    <a:gd name="connsiteX249" fmla="*/ 409575 w 1700212"/>
                    <a:gd name="connsiteY249" fmla="*/ 231458 h 1422082"/>
                    <a:gd name="connsiteX250" fmla="*/ 420053 w 1700212"/>
                    <a:gd name="connsiteY250" fmla="*/ 246697 h 1422082"/>
                    <a:gd name="connsiteX251" fmla="*/ 441007 w 1700212"/>
                    <a:gd name="connsiteY251" fmla="*/ 246697 h 1422082"/>
                    <a:gd name="connsiteX252" fmla="*/ 462915 w 1700212"/>
                    <a:gd name="connsiteY252" fmla="*/ 251460 h 1422082"/>
                    <a:gd name="connsiteX253" fmla="*/ 491490 w 1700212"/>
                    <a:gd name="connsiteY253" fmla="*/ 252413 h 1422082"/>
                    <a:gd name="connsiteX254" fmla="*/ 532447 w 1700212"/>
                    <a:gd name="connsiteY254" fmla="*/ 260033 h 1422082"/>
                    <a:gd name="connsiteX255" fmla="*/ 549593 w 1700212"/>
                    <a:gd name="connsiteY255" fmla="*/ 255270 h 1422082"/>
                    <a:gd name="connsiteX256" fmla="*/ 582930 w 1700212"/>
                    <a:gd name="connsiteY256" fmla="*/ 236220 h 1422082"/>
                    <a:gd name="connsiteX257" fmla="*/ 565785 w 1700212"/>
                    <a:gd name="connsiteY257" fmla="*/ 229553 h 1422082"/>
                    <a:gd name="connsiteX258" fmla="*/ 563880 w 1700212"/>
                    <a:gd name="connsiteY258" fmla="*/ 222885 h 1422082"/>
                    <a:gd name="connsiteX259" fmla="*/ 572453 w 1700212"/>
                    <a:gd name="connsiteY259" fmla="*/ 201930 h 1422082"/>
                    <a:gd name="connsiteX260" fmla="*/ 621982 w 1700212"/>
                    <a:gd name="connsiteY260" fmla="*/ 178118 h 1422082"/>
                    <a:gd name="connsiteX261" fmla="*/ 657225 w 1700212"/>
                    <a:gd name="connsiteY261" fmla="*/ 171450 h 1422082"/>
                    <a:gd name="connsiteX262" fmla="*/ 693420 w 1700212"/>
                    <a:gd name="connsiteY262" fmla="*/ 159068 h 1422082"/>
                    <a:gd name="connsiteX263" fmla="*/ 712470 w 1700212"/>
                    <a:gd name="connsiteY263" fmla="*/ 145733 h 1422082"/>
                    <a:gd name="connsiteX264" fmla="*/ 723900 w 1700212"/>
                    <a:gd name="connsiteY264" fmla="*/ 128588 h 1422082"/>
                    <a:gd name="connsiteX265" fmla="*/ 728663 w 1700212"/>
                    <a:gd name="connsiteY265" fmla="*/ 116205 h 1422082"/>
                    <a:gd name="connsiteX266" fmla="*/ 731520 w 1700212"/>
                    <a:gd name="connsiteY266" fmla="*/ 51435 h 1422082"/>
                    <a:gd name="connsiteX267" fmla="*/ 741045 w 1700212"/>
                    <a:gd name="connsiteY267" fmla="*/ 30480 h 1422082"/>
                    <a:gd name="connsiteX268" fmla="*/ 768668 w 1700212"/>
                    <a:gd name="connsiteY268" fmla="*/ 15240 h 1422082"/>
                    <a:gd name="connsiteX269" fmla="*/ 829628 w 1700212"/>
                    <a:gd name="connsiteY269" fmla="*/ 4763 h 1422082"/>
                    <a:gd name="connsiteX270" fmla="*/ 838200 w 1700212"/>
                    <a:gd name="connsiteY270" fmla="*/ 0 h 1422082"/>
                    <a:gd name="connsiteX271" fmla="*/ 846772 w 1700212"/>
                    <a:gd name="connsiteY271" fmla="*/ 20955 h 1422082"/>
                    <a:gd name="connsiteX272" fmla="*/ 846772 w 1700212"/>
                    <a:gd name="connsiteY272" fmla="*/ 32385 h 1422082"/>
                    <a:gd name="connsiteX273" fmla="*/ 874395 w 1700212"/>
                    <a:gd name="connsiteY273" fmla="*/ 55245 h 1422082"/>
                    <a:gd name="connsiteX274" fmla="*/ 904875 w 1700212"/>
                    <a:gd name="connsiteY274" fmla="*/ 45720 h 1422082"/>
                    <a:gd name="connsiteX275" fmla="*/ 920115 w 1700212"/>
                    <a:gd name="connsiteY275" fmla="*/ 62865 h 1422082"/>
                    <a:gd name="connsiteX276" fmla="*/ 924878 w 1700212"/>
                    <a:gd name="connsiteY276" fmla="*/ 81915 h 1422082"/>
                    <a:gd name="connsiteX277" fmla="*/ 964882 w 1700212"/>
                    <a:gd name="connsiteY277" fmla="*/ 92393 h 1422082"/>
                    <a:gd name="connsiteX278" fmla="*/ 970597 w 1700212"/>
                    <a:gd name="connsiteY278" fmla="*/ 111443 h 1422082"/>
                    <a:gd name="connsiteX279" fmla="*/ 979170 w 1700212"/>
                    <a:gd name="connsiteY279" fmla="*/ 108585 h 1422082"/>
                    <a:gd name="connsiteX280" fmla="*/ 1013460 w 1700212"/>
                    <a:gd name="connsiteY280" fmla="*/ 112395 h 1422082"/>
                    <a:gd name="connsiteX281" fmla="*/ 1028700 w 1700212"/>
                    <a:gd name="connsiteY281" fmla="*/ 122872 h 1422082"/>
                    <a:gd name="connsiteX282" fmla="*/ 1024890 w 1700212"/>
                    <a:gd name="connsiteY282" fmla="*/ 138113 h 1422082"/>
                    <a:gd name="connsiteX283" fmla="*/ 1031557 w 1700212"/>
                    <a:gd name="connsiteY283" fmla="*/ 144780 h 1422082"/>
                    <a:gd name="connsiteX284" fmla="*/ 1024890 w 1700212"/>
                    <a:gd name="connsiteY284" fmla="*/ 158115 h 1422082"/>
                    <a:gd name="connsiteX285" fmla="*/ 1029653 w 1700212"/>
                    <a:gd name="connsiteY285" fmla="*/ 163830 h 1422082"/>
                    <a:gd name="connsiteX286" fmla="*/ 1051560 w 1700212"/>
                    <a:gd name="connsiteY286" fmla="*/ 166688 h 1422082"/>
                    <a:gd name="connsiteX287" fmla="*/ 1072515 w 1700212"/>
                    <a:gd name="connsiteY287" fmla="*/ 163830 h 1422082"/>
                    <a:gd name="connsiteX288" fmla="*/ 1084898 w 1700212"/>
                    <a:gd name="connsiteY288" fmla="*/ 158115 h 1422082"/>
                    <a:gd name="connsiteX289" fmla="*/ 1089660 w 1700212"/>
                    <a:gd name="connsiteY289" fmla="*/ 144780 h 1422082"/>
                    <a:gd name="connsiteX290" fmla="*/ 1107757 w 1700212"/>
                    <a:gd name="connsiteY290" fmla="*/ 139065 h 1422082"/>
                    <a:gd name="connsiteX291" fmla="*/ 1100138 w 1700212"/>
                    <a:gd name="connsiteY291" fmla="*/ 164783 h 1422082"/>
                    <a:gd name="connsiteX292" fmla="*/ 1105853 w 1700212"/>
                    <a:gd name="connsiteY292" fmla="*/ 170497 h 1422082"/>
                    <a:gd name="connsiteX293" fmla="*/ 1109663 w 1700212"/>
                    <a:gd name="connsiteY293" fmla="*/ 189547 h 1422082"/>
                    <a:gd name="connsiteX294" fmla="*/ 1125855 w 1700212"/>
                    <a:gd name="connsiteY294" fmla="*/ 190500 h 1422082"/>
                    <a:gd name="connsiteX295" fmla="*/ 1157288 w 1700212"/>
                    <a:gd name="connsiteY295" fmla="*/ 204788 h 1422082"/>
                    <a:gd name="connsiteX296" fmla="*/ 1183957 w 1700212"/>
                    <a:gd name="connsiteY296" fmla="*/ 229553 h 1422082"/>
                    <a:gd name="connsiteX297" fmla="*/ 1216343 w 1700212"/>
                    <a:gd name="connsiteY297" fmla="*/ 225743 h 142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700212" h="1422082">
                      <a:moveTo>
                        <a:pt x="1687830" y="1211580"/>
                      </a:moveTo>
                      <a:lnTo>
                        <a:pt x="1684973" y="1233488"/>
                      </a:lnTo>
                      <a:lnTo>
                        <a:pt x="1694498" y="1249680"/>
                      </a:lnTo>
                      <a:lnTo>
                        <a:pt x="1700213" y="1311592"/>
                      </a:lnTo>
                      <a:lnTo>
                        <a:pt x="1683068" y="1342073"/>
                      </a:lnTo>
                      <a:lnTo>
                        <a:pt x="1684020" y="1370648"/>
                      </a:lnTo>
                      <a:lnTo>
                        <a:pt x="1668780" y="1411605"/>
                      </a:lnTo>
                      <a:lnTo>
                        <a:pt x="1661160" y="1422083"/>
                      </a:lnTo>
                      <a:lnTo>
                        <a:pt x="1624965" y="1403033"/>
                      </a:lnTo>
                      <a:lnTo>
                        <a:pt x="1613535" y="1392555"/>
                      </a:lnTo>
                      <a:lnTo>
                        <a:pt x="1623060" y="1375410"/>
                      </a:lnTo>
                      <a:lnTo>
                        <a:pt x="1602105" y="1366838"/>
                      </a:lnTo>
                      <a:lnTo>
                        <a:pt x="1605915" y="1350645"/>
                      </a:lnTo>
                      <a:lnTo>
                        <a:pt x="1604010" y="1342073"/>
                      </a:lnTo>
                      <a:lnTo>
                        <a:pt x="1588770" y="1337310"/>
                      </a:lnTo>
                      <a:lnTo>
                        <a:pt x="1598295" y="1324928"/>
                      </a:lnTo>
                      <a:lnTo>
                        <a:pt x="1598295" y="1317308"/>
                      </a:lnTo>
                      <a:lnTo>
                        <a:pt x="1584007" y="1307783"/>
                      </a:lnTo>
                      <a:lnTo>
                        <a:pt x="1581150" y="1299210"/>
                      </a:lnTo>
                      <a:lnTo>
                        <a:pt x="1593532" y="1288733"/>
                      </a:lnTo>
                      <a:lnTo>
                        <a:pt x="1587818" y="1280160"/>
                      </a:lnTo>
                      <a:lnTo>
                        <a:pt x="1588770" y="1267778"/>
                      </a:lnTo>
                      <a:lnTo>
                        <a:pt x="1597343" y="1249680"/>
                      </a:lnTo>
                      <a:lnTo>
                        <a:pt x="1608773" y="1241108"/>
                      </a:lnTo>
                      <a:lnTo>
                        <a:pt x="1635443" y="1233488"/>
                      </a:lnTo>
                      <a:lnTo>
                        <a:pt x="1646873" y="1223010"/>
                      </a:lnTo>
                      <a:lnTo>
                        <a:pt x="1664970" y="1228725"/>
                      </a:lnTo>
                      <a:lnTo>
                        <a:pt x="1670685" y="1217295"/>
                      </a:lnTo>
                      <a:lnTo>
                        <a:pt x="1668780" y="1191578"/>
                      </a:lnTo>
                      <a:lnTo>
                        <a:pt x="1671638" y="1181100"/>
                      </a:lnTo>
                      <a:lnTo>
                        <a:pt x="1684020" y="1185863"/>
                      </a:lnTo>
                      <a:lnTo>
                        <a:pt x="1687830" y="1211580"/>
                      </a:lnTo>
                      <a:close/>
                      <a:moveTo>
                        <a:pt x="412432" y="755333"/>
                      </a:moveTo>
                      <a:lnTo>
                        <a:pt x="408622" y="768668"/>
                      </a:lnTo>
                      <a:lnTo>
                        <a:pt x="390525" y="745808"/>
                      </a:lnTo>
                      <a:lnTo>
                        <a:pt x="400050" y="741045"/>
                      </a:lnTo>
                      <a:lnTo>
                        <a:pt x="412432" y="755333"/>
                      </a:lnTo>
                      <a:close/>
                      <a:moveTo>
                        <a:pt x="1216343" y="225743"/>
                      </a:moveTo>
                      <a:lnTo>
                        <a:pt x="1236345" y="237172"/>
                      </a:lnTo>
                      <a:lnTo>
                        <a:pt x="1249680" y="237172"/>
                      </a:lnTo>
                      <a:lnTo>
                        <a:pt x="1268730" y="231458"/>
                      </a:lnTo>
                      <a:lnTo>
                        <a:pt x="1281113" y="238125"/>
                      </a:lnTo>
                      <a:lnTo>
                        <a:pt x="1294448" y="239078"/>
                      </a:lnTo>
                      <a:lnTo>
                        <a:pt x="1327785" y="280035"/>
                      </a:lnTo>
                      <a:lnTo>
                        <a:pt x="1344930" y="273368"/>
                      </a:lnTo>
                      <a:lnTo>
                        <a:pt x="1358265" y="277178"/>
                      </a:lnTo>
                      <a:lnTo>
                        <a:pt x="1361123" y="285750"/>
                      </a:lnTo>
                      <a:lnTo>
                        <a:pt x="1381125" y="286703"/>
                      </a:lnTo>
                      <a:lnTo>
                        <a:pt x="1409700" y="280988"/>
                      </a:lnTo>
                      <a:lnTo>
                        <a:pt x="1428750" y="294322"/>
                      </a:lnTo>
                      <a:lnTo>
                        <a:pt x="1474470" y="301943"/>
                      </a:lnTo>
                      <a:lnTo>
                        <a:pt x="1489710" y="307658"/>
                      </a:lnTo>
                      <a:lnTo>
                        <a:pt x="1490663" y="320040"/>
                      </a:lnTo>
                      <a:lnTo>
                        <a:pt x="1457325" y="356235"/>
                      </a:lnTo>
                      <a:lnTo>
                        <a:pt x="1443990" y="408622"/>
                      </a:lnTo>
                      <a:lnTo>
                        <a:pt x="1434465" y="425768"/>
                      </a:lnTo>
                      <a:lnTo>
                        <a:pt x="1431607" y="440055"/>
                      </a:lnTo>
                      <a:lnTo>
                        <a:pt x="1433513" y="462915"/>
                      </a:lnTo>
                      <a:lnTo>
                        <a:pt x="1427798" y="481965"/>
                      </a:lnTo>
                      <a:lnTo>
                        <a:pt x="1427798" y="496253"/>
                      </a:lnTo>
                      <a:lnTo>
                        <a:pt x="1438275" y="508635"/>
                      </a:lnTo>
                      <a:lnTo>
                        <a:pt x="1423988" y="515303"/>
                      </a:lnTo>
                      <a:lnTo>
                        <a:pt x="1416368" y="528638"/>
                      </a:lnTo>
                      <a:lnTo>
                        <a:pt x="1390650" y="531495"/>
                      </a:lnTo>
                      <a:lnTo>
                        <a:pt x="1383030" y="523875"/>
                      </a:lnTo>
                      <a:lnTo>
                        <a:pt x="1372553" y="523875"/>
                      </a:lnTo>
                      <a:lnTo>
                        <a:pt x="1355407" y="537210"/>
                      </a:lnTo>
                      <a:lnTo>
                        <a:pt x="1367790" y="547688"/>
                      </a:lnTo>
                      <a:lnTo>
                        <a:pt x="1362075" y="556260"/>
                      </a:lnTo>
                      <a:lnTo>
                        <a:pt x="1325880" y="594360"/>
                      </a:lnTo>
                      <a:lnTo>
                        <a:pt x="1305878" y="602933"/>
                      </a:lnTo>
                      <a:lnTo>
                        <a:pt x="1301115" y="630555"/>
                      </a:lnTo>
                      <a:lnTo>
                        <a:pt x="1272540" y="651510"/>
                      </a:lnTo>
                      <a:lnTo>
                        <a:pt x="1262063" y="679133"/>
                      </a:lnTo>
                      <a:lnTo>
                        <a:pt x="1269682" y="685800"/>
                      </a:lnTo>
                      <a:lnTo>
                        <a:pt x="1266825" y="700088"/>
                      </a:lnTo>
                      <a:lnTo>
                        <a:pt x="1252538" y="709613"/>
                      </a:lnTo>
                      <a:lnTo>
                        <a:pt x="1252538" y="719138"/>
                      </a:lnTo>
                      <a:lnTo>
                        <a:pt x="1265873" y="720090"/>
                      </a:lnTo>
                      <a:lnTo>
                        <a:pt x="1287780" y="704850"/>
                      </a:lnTo>
                      <a:lnTo>
                        <a:pt x="1283018" y="692468"/>
                      </a:lnTo>
                      <a:lnTo>
                        <a:pt x="1304925" y="678180"/>
                      </a:lnTo>
                      <a:lnTo>
                        <a:pt x="1323023" y="677228"/>
                      </a:lnTo>
                      <a:lnTo>
                        <a:pt x="1343978" y="680085"/>
                      </a:lnTo>
                      <a:lnTo>
                        <a:pt x="1351598" y="701040"/>
                      </a:lnTo>
                      <a:lnTo>
                        <a:pt x="1346835" y="717233"/>
                      </a:lnTo>
                      <a:lnTo>
                        <a:pt x="1368743" y="739140"/>
                      </a:lnTo>
                      <a:lnTo>
                        <a:pt x="1377315" y="752475"/>
                      </a:lnTo>
                      <a:lnTo>
                        <a:pt x="1352550" y="768668"/>
                      </a:lnTo>
                      <a:lnTo>
                        <a:pt x="1353503" y="783908"/>
                      </a:lnTo>
                      <a:lnTo>
                        <a:pt x="1362075" y="789622"/>
                      </a:lnTo>
                      <a:lnTo>
                        <a:pt x="1378268" y="814388"/>
                      </a:lnTo>
                      <a:lnTo>
                        <a:pt x="1395413" y="829628"/>
                      </a:lnTo>
                      <a:lnTo>
                        <a:pt x="1387793" y="853440"/>
                      </a:lnTo>
                      <a:lnTo>
                        <a:pt x="1376363" y="856297"/>
                      </a:lnTo>
                      <a:lnTo>
                        <a:pt x="1360170" y="868680"/>
                      </a:lnTo>
                      <a:lnTo>
                        <a:pt x="1342073" y="866775"/>
                      </a:lnTo>
                      <a:lnTo>
                        <a:pt x="1334453" y="870585"/>
                      </a:lnTo>
                      <a:lnTo>
                        <a:pt x="1348740" y="900113"/>
                      </a:lnTo>
                      <a:lnTo>
                        <a:pt x="1379220" y="913447"/>
                      </a:lnTo>
                      <a:lnTo>
                        <a:pt x="1383982" y="929640"/>
                      </a:lnTo>
                      <a:lnTo>
                        <a:pt x="1376363" y="936308"/>
                      </a:lnTo>
                      <a:lnTo>
                        <a:pt x="1363028" y="960120"/>
                      </a:lnTo>
                      <a:lnTo>
                        <a:pt x="1369695" y="972503"/>
                      </a:lnTo>
                      <a:lnTo>
                        <a:pt x="1370648" y="985838"/>
                      </a:lnTo>
                      <a:lnTo>
                        <a:pt x="1379220" y="994410"/>
                      </a:lnTo>
                      <a:lnTo>
                        <a:pt x="1427798" y="1017270"/>
                      </a:lnTo>
                      <a:lnTo>
                        <a:pt x="1459230" y="1011555"/>
                      </a:lnTo>
                      <a:lnTo>
                        <a:pt x="1462088" y="1030605"/>
                      </a:lnTo>
                      <a:lnTo>
                        <a:pt x="1442085" y="1055370"/>
                      </a:lnTo>
                      <a:lnTo>
                        <a:pt x="1443990" y="1069658"/>
                      </a:lnTo>
                      <a:lnTo>
                        <a:pt x="1438275" y="1072515"/>
                      </a:lnTo>
                      <a:lnTo>
                        <a:pt x="1430655" y="1075373"/>
                      </a:lnTo>
                      <a:lnTo>
                        <a:pt x="1407795" y="1085850"/>
                      </a:lnTo>
                      <a:lnTo>
                        <a:pt x="1370648" y="1118235"/>
                      </a:lnTo>
                      <a:lnTo>
                        <a:pt x="1353503" y="1127760"/>
                      </a:lnTo>
                      <a:lnTo>
                        <a:pt x="1346835" y="1144905"/>
                      </a:lnTo>
                      <a:lnTo>
                        <a:pt x="1327785" y="1158240"/>
                      </a:lnTo>
                      <a:lnTo>
                        <a:pt x="1304925" y="1163003"/>
                      </a:lnTo>
                      <a:lnTo>
                        <a:pt x="1283018" y="1172528"/>
                      </a:lnTo>
                      <a:lnTo>
                        <a:pt x="1272540" y="1168717"/>
                      </a:lnTo>
                      <a:lnTo>
                        <a:pt x="1245870" y="1168717"/>
                      </a:lnTo>
                      <a:lnTo>
                        <a:pt x="1229678" y="1157288"/>
                      </a:lnTo>
                      <a:lnTo>
                        <a:pt x="1197293" y="1149667"/>
                      </a:lnTo>
                      <a:lnTo>
                        <a:pt x="1186815" y="1132523"/>
                      </a:lnTo>
                      <a:lnTo>
                        <a:pt x="1163003" y="1131570"/>
                      </a:lnTo>
                      <a:lnTo>
                        <a:pt x="1155382" y="1117283"/>
                      </a:lnTo>
                      <a:lnTo>
                        <a:pt x="1137285" y="1120140"/>
                      </a:lnTo>
                      <a:lnTo>
                        <a:pt x="1122998" y="1126808"/>
                      </a:lnTo>
                      <a:lnTo>
                        <a:pt x="1103948" y="1125855"/>
                      </a:lnTo>
                      <a:lnTo>
                        <a:pt x="1047750" y="1108710"/>
                      </a:lnTo>
                      <a:lnTo>
                        <a:pt x="1034415" y="1095375"/>
                      </a:lnTo>
                      <a:lnTo>
                        <a:pt x="1018222" y="1100138"/>
                      </a:lnTo>
                      <a:lnTo>
                        <a:pt x="1002982" y="1115378"/>
                      </a:lnTo>
                      <a:lnTo>
                        <a:pt x="941070" y="1154430"/>
                      </a:lnTo>
                      <a:lnTo>
                        <a:pt x="916305" y="1195388"/>
                      </a:lnTo>
                      <a:lnTo>
                        <a:pt x="915353" y="1206817"/>
                      </a:lnTo>
                      <a:lnTo>
                        <a:pt x="922020" y="1243965"/>
                      </a:lnTo>
                      <a:lnTo>
                        <a:pt x="937260" y="1267778"/>
                      </a:lnTo>
                      <a:lnTo>
                        <a:pt x="907732" y="1262063"/>
                      </a:lnTo>
                      <a:lnTo>
                        <a:pt x="871538" y="1272540"/>
                      </a:lnTo>
                      <a:lnTo>
                        <a:pt x="860107" y="1280160"/>
                      </a:lnTo>
                      <a:lnTo>
                        <a:pt x="815340" y="1268730"/>
                      </a:lnTo>
                      <a:lnTo>
                        <a:pt x="795338" y="1279208"/>
                      </a:lnTo>
                      <a:lnTo>
                        <a:pt x="782955" y="1267778"/>
                      </a:lnTo>
                      <a:lnTo>
                        <a:pt x="756285" y="1256348"/>
                      </a:lnTo>
                      <a:lnTo>
                        <a:pt x="756285" y="1242060"/>
                      </a:lnTo>
                      <a:lnTo>
                        <a:pt x="731520" y="1236345"/>
                      </a:lnTo>
                      <a:lnTo>
                        <a:pt x="722947" y="1243013"/>
                      </a:lnTo>
                      <a:lnTo>
                        <a:pt x="712470" y="1228725"/>
                      </a:lnTo>
                      <a:lnTo>
                        <a:pt x="696278" y="1225867"/>
                      </a:lnTo>
                      <a:lnTo>
                        <a:pt x="672465" y="1216342"/>
                      </a:lnTo>
                      <a:lnTo>
                        <a:pt x="634365" y="1205865"/>
                      </a:lnTo>
                      <a:lnTo>
                        <a:pt x="626745" y="1228725"/>
                      </a:lnTo>
                      <a:lnTo>
                        <a:pt x="581978" y="1228725"/>
                      </a:lnTo>
                      <a:lnTo>
                        <a:pt x="575310" y="1224915"/>
                      </a:lnTo>
                      <a:lnTo>
                        <a:pt x="545782" y="1228725"/>
                      </a:lnTo>
                      <a:lnTo>
                        <a:pt x="515303" y="1208723"/>
                      </a:lnTo>
                      <a:lnTo>
                        <a:pt x="481013" y="1212533"/>
                      </a:lnTo>
                      <a:lnTo>
                        <a:pt x="460057" y="1192530"/>
                      </a:lnTo>
                      <a:lnTo>
                        <a:pt x="439103" y="1190625"/>
                      </a:lnTo>
                      <a:lnTo>
                        <a:pt x="397193" y="1174433"/>
                      </a:lnTo>
                      <a:lnTo>
                        <a:pt x="380047" y="1178242"/>
                      </a:lnTo>
                      <a:lnTo>
                        <a:pt x="382905" y="1147763"/>
                      </a:lnTo>
                      <a:lnTo>
                        <a:pt x="341947" y="1135380"/>
                      </a:lnTo>
                      <a:lnTo>
                        <a:pt x="337185" y="1122998"/>
                      </a:lnTo>
                      <a:lnTo>
                        <a:pt x="356235" y="1118235"/>
                      </a:lnTo>
                      <a:lnTo>
                        <a:pt x="374332" y="1100138"/>
                      </a:lnTo>
                      <a:lnTo>
                        <a:pt x="390525" y="1032510"/>
                      </a:lnTo>
                      <a:lnTo>
                        <a:pt x="402907" y="953453"/>
                      </a:lnTo>
                      <a:lnTo>
                        <a:pt x="412432" y="938213"/>
                      </a:lnTo>
                      <a:lnTo>
                        <a:pt x="423863" y="934403"/>
                      </a:lnTo>
                      <a:lnTo>
                        <a:pt x="414338" y="922972"/>
                      </a:lnTo>
                      <a:lnTo>
                        <a:pt x="403860" y="937260"/>
                      </a:lnTo>
                      <a:lnTo>
                        <a:pt x="410528" y="864870"/>
                      </a:lnTo>
                      <a:lnTo>
                        <a:pt x="415290" y="838200"/>
                      </a:lnTo>
                      <a:lnTo>
                        <a:pt x="423863" y="809625"/>
                      </a:lnTo>
                      <a:lnTo>
                        <a:pt x="453390" y="832485"/>
                      </a:lnTo>
                      <a:lnTo>
                        <a:pt x="461010" y="842010"/>
                      </a:lnTo>
                      <a:lnTo>
                        <a:pt x="469582" y="874395"/>
                      </a:lnTo>
                      <a:lnTo>
                        <a:pt x="475297" y="875347"/>
                      </a:lnTo>
                      <a:lnTo>
                        <a:pt x="464820" y="831533"/>
                      </a:lnTo>
                      <a:lnTo>
                        <a:pt x="447675" y="809625"/>
                      </a:lnTo>
                      <a:lnTo>
                        <a:pt x="413385" y="787718"/>
                      </a:lnTo>
                      <a:lnTo>
                        <a:pt x="408622" y="775335"/>
                      </a:lnTo>
                      <a:lnTo>
                        <a:pt x="425768" y="769620"/>
                      </a:lnTo>
                      <a:lnTo>
                        <a:pt x="421005" y="752475"/>
                      </a:lnTo>
                      <a:lnTo>
                        <a:pt x="416243" y="696278"/>
                      </a:lnTo>
                      <a:lnTo>
                        <a:pt x="387668" y="690563"/>
                      </a:lnTo>
                      <a:lnTo>
                        <a:pt x="341947" y="665797"/>
                      </a:lnTo>
                      <a:lnTo>
                        <a:pt x="325755" y="641033"/>
                      </a:lnTo>
                      <a:lnTo>
                        <a:pt x="310515" y="622935"/>
                      </a:lnTo>
                      <a:lnTo>
                        <a:pt x="306705" y="606743"/>
                      </a:lnTo>
                      <a:lnTo>
                        <a:pt x="315278" y="589597"/>
                      </a:lnTo>
                      <a:lnTo>
                        <a:pt x="307657" y="579120"/>
                      </a:lnTo>
                      <a:lnTo>
                        <a:pt x="294322" y="571500"/>
                      </a:lnTo>
                      <a:lnTo>
                        <a:pt x="304800" y="556260"/>
                      </a:lnTo>
                      <a:lnTo>
                        <a:pt x="276225" y="554355"/>
                      </a:lnTo>
                      <a:lnTo>
                        <a:pt x="259080" y="549593"/>
                      </a:lnTo>
                      <a:lnTo>
                        <a:pt x="256222" y="539115"/>
                      </a:lnTo>
                      <a:lnTo>
                        <a:pt x="268605" y="525780"/>
                      </a:lnTo>
                      <a:lnTo>
                        <a:pt x="253365" y="518160"/>
                      </a:lnTo>
                      <a:lnTo>
                        <a:pt x="228600" y="520065"/>
                      </a:lnTo>
                      <a:lnTo>
                        <a:pt x="226695" y="503872"/>
                      </a:lnTo>
                      <a:lnTo>
                        <a:pt x="205740" y="506730"/>
                      </a:lnTo>
                      <a:lnTo>
                        <a:pt x="194310" y="503872"/>
                      </a:lnTo>
                      <a:lnTo>
                        <a:pt x="183832" y="493395"/>
                      </a:lnTo>
                      <a:lnTo>
                        <a:pt x="171450" y="495300"/>
                      </a:lnTo>
                      <a:lnTo>
                        <a:pt x="150495" y="491490"/>
                      </a:lnTo>
                      <a:lnTo>
                        <a:pt x="142875" y="484822"/>
                      </a:lnTo>
                      <a:lnTo>
                        <a:pt x="97155" y="472440"/>
                      </a:lnTo>
                      <a:lnTo>
                        <a:pt x="78105" y="471488"/>
                      </a:lnTo>
                      <a:lnTo>
                        <a:pt x="60007" y="477203"/>
                      </a:lnTo>
                      <a:lnTo>
                        <a:pt x="49530" y="474345"/>
                      </a:lnTo>
                      <a:lnTo>
                        <a:pt x="37147" y="453390"/>
                      </a:lnTo>
                      <a:lnTo>
                        <a:pt x="7620" y="442913"/>
                      </a:lnTo>
                      <a:lnTo>
                        <a:pt x="13335" y="436245"/>
                      </a:lnTo>
                      <a:lnTo>
                        <a:pt x="42863" y="430530"/>
                      </a:lnTo>
                      <a:lnTo>
                        <a:pt x="48578" y="423863"/>
                      </a:lnTo>
                      <a:lnTo>
                        <a:pt x="27622" y="415290"/>
                      </a:lnTo>
                      <a:lnTo>
                        <a:pt x="25718" y="403860"/>
                      </a:lnTo>
                      <a:lnTo>
                        <a:pt x="40957" y="406718"/>
                      </a:lnTo>
                      <a:lnTo>
                        <a:pt x="41910" y="395288"/>
                      </a:lnTo>
                      <a:lnTo>
                        <a:pt x="3810" y="396240"/>
                      </a:lnTo>
                      <a:lnTo>
                        <a:pt x="0" y="383858"/>
                      </a:lnTo>
                      <a:lnTo>
                        <a:pt x="4763" y="370522"/>
                      </a:lnTo>
                      <a:lnTo>
                        <a:pt x="26670" y="359093"/>
                      </a:lnTo>
                      <a:lnTo>
                        <a:pt x="81915" y="345758"/>
                      </a:lnTo>
                      <a:lnTo>
                        <a:pt x="105728" y="347663"/>
                      </a:lnTo>
                      <a:lnTo>
                        <a:pt x="121920" y="345758"/>
                      </a:lnTo>
                      <a:lnTo>
                        <a:pt x="150495" y="330518"/>
                      </a:lnTo>
                      <a:lnTo>
                        <a:pt x="178118" y="326708"/>
                      </a:lnTo>
                      <a:lnTo>
                        <a:pt x="203835" y="334328"/>
                      </a:lnTo>
                      <a:lnTo>
                        <a:pt x="227647" y="360997"/>
                      </a:lnTo>
                      <a:lnTo>
                        <a:pt x="239078" y="370522"/>
                      </a:lnTo>
                      <a:lnTo>
                        <a:pt x="268605" y="354330"/>
                      </a:lnTo>
                      <a:lnTo>
                        <a:pt x="310515" y="355283"/>
                      </a:lnTo>
                      <a:lnTo>
                        <a:pt x="319088" y="363855"/>
                      </a:lnTo>
                      <a:lnTo>
                        <a:pt x="330518" y="347663"/>
                      </a:lnTo>
                      <a:lnTo>
                        <a:pt x="340043" y="357188"/>
                      </a:lnTo>
                      <a:lnTo>
                        <a:pt x="384810" y="355283"/>
                      </a:lnTo>
                      <a:lnTo>
                        <a:pt x="370522" y="331470"/>
                      </a:lnTo>
                      <a:lnTo>
                        <a:pt x="368618" y="274320"/>
                      </a:lnTo>
                      <a:lnTo>
                        <a:pt x="356235" y="258128"/>
                      </a:lnTo>
                      <a:lnTo>
                        <a:pt x="336232" y="217170"/>
                      </a:lnTo>
                      <a:lnTo>
                        <a:pt x="338138" y="203835"/>
                      </a:lnTo>
                      <a:lnTo>
                        <a:pt x="368618" y="206693"/>
                      </a:lnTo>
                      <a:lnTo>
                        <a:pt x="394335" y="200978"/>
                      </a:lnTo>
                      <a:lnTo>
                        <a:pt x="406718" y="204788"/>
                      </a:lnTo>
                      <a:lnTo>
                        <a:pt x="409575" y="231458"/>
                      </a:lnTo>
                      <a:lnTo>
                        <a:pt x="420053" y="246697"/>
                      </a:lnTo>
                      <a:lnTo>
                        <a:pt x="441007" y="246697"/>
                      </a:lnTo>
                      <a:lnTo>
                        <a:pt x="462915" y="251460"/>
                      </a:lnTo>
                      <a:lnTo>
                        <a:pt x="491490" y="252413"/>
                      </a:lnTo>
                      <a:lnTo>
                        <a:pt x="532447" y="260033"/>
                      </a:lnTo>
                      <a:lnTo>
                        <a:pt x="549593" y="255270"/>
                      </a:lnTo>
                      <a:lnTo>
                        <a:pt x="582930" y="236220"/>
                      </a:lnTo>
                      <a:lnTo>
                        <a:pt x="565785" y="229553"/>
                      </a:lnTo>
                      <a:lnTo>
                        <a:pt x="563880" y="222885"/>
                      </a:lnTo>
                      <a:lnTo>
                        <a:pt x="572453" y="201930"/>
                      </a:lnTo>
                      <a:lnTo>
                        <a:pt x="621982" y="178118"/>
                      </a:lnTo>
                      <a:lnTo>
                        <a:pt x="657225" y="171450"/>
                      </a:lnTo>
                      <a:lnTo>
                        <a:pt x="693420" y="159068"/>
                      </a:lnTo>
                      <a:lnTo>
                        <a:pt x="712470" y="145733"/>
                      </a:lnTo>
                      <a:lnTo>
                        <a:pt x="723900" y="128588"/>
                      </a:lnTo>
                      <a:lnTo>
                        <a:pt x="728663" y="116205"/>
                      </a:lnTo>
                      <a:lnTo>
                        <a:pt x="731520" y="51435"/>
                      </a:lnTo>
                      <a:lnTo>
                        <a:pt x="741045" y="30480"/>
                      </a:lnTo>
                      <a:lnTo>
                        <a:pt x="768668" y="15240"/>
                      </a:lnTo>
                      <a:lnTo>
                        <a:pt x="829628" y="4763"/>
                      </a:lnTo>
                      <a:lnTo>
                        <a:pt x="838200" y="0"/>
                      </a:lnTo>
                      <a:lnTo>
                        <a:pt x="846772" y="20955"/>
                      </a:lnTo>
                      <a:lnTo>
                        <a:pt x="846772" y="32385"/>
                      </a:lnTo>
                      <a:lnTo>
                        <a:pt x="874395" y="55245"/>
                      </a:lnTo>
                      <a:lnTo>
                        <a:pt x="904875" y="45720"/>
                      </a:lnTo>
                      <a:lnTo>
                        <a:pt x="920115" y="62865"/>
                      </a:lnTo>
                      <a:lnTo>
                        <a:pt x="924878" y="81915"/>
                      </a:lnTo>
                      <a:lnTo>
                        <a:pt x="964882" y="92393"/>
                      </a:lnTo>
                      <a:lnTo>
                        <a:pt x="970597" y="111443"/>
                      </a:lnTo>
                      <a:lnTo>
                        <a:pt x="979170" y="108585"/>
                      </a:lnTo>
                      <a:lnTo>
                        <a:pt x="1013460" y="112395"/>
                      </a:lnTo>
                      <a:lnTo>
                        <a:pt x="1028700" y="122872"/>
                      </a:lnTo>
                      <a:lnTo>
                        <a:pt x="1024890" y="138113"/>
                      </a:lnTo>
                      <a:lnTo>
                        <a:pt x="1031557" y="144780"/>
                      </a:lnTo>
                      <a:lnTo>
                        <a:pt x="1024890" y="158115"/>
                      </a:lnTo>
                      <a:lnTo>
                        <a:pt x="1029653" y="163830"/>
                      </a:lnTo>
                      <a:lnTo>
                        <a:pt x="1051560" y="166688"/>
                      </a:lnTo>
                      <a:lnTo>
                        <a:pt x="1072515" y="163830"/>
                      </a:lnTo>
                      <a:lnTo>
                        <a:pt x="1084898" y="158115"/>
                      </a:lnTo>
                      <a:lnTo>
                        <a:pt x="1089660" y="144780"/>
                      </a:lnTo>
                      <a:lnTo>
                        <a:pt x="1107757" y="139065"/>
                      </a:lnTo>
                      <a:lnTo>
                        <a:pt x="1100138" y="164783"/>
                      </a:lnTo>
                      <a:lnTo>
                        <a:pt x="1105853" y="170497"/>
                      </a:lnTo>
                      <a:lnTo>
                        <a:pt x="1109663" y="189547"/>
                      </a:lnTo>
                      <a:lnTo>
                        <a:pt x="1125855" y="190500"/>
                      </a:lnTo>
                      <a:lnTo>
                        <a:pt x="1157288" y="204788"/>
                      </a:lnTo>
                      <a:lnTo>
                        <a:pt x="1183957" y="229553"/>
                      </a:lnTo>
                      <a:lnTo>
                        <a:pt x="1216343" y="22574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3" name="Portugal" descr="{&quot;Key&quot;:&quot;portugal&quot;,&quot;Name&quot;:&quot;Portugal&quot;,&quot;Value&quot;:1.0,&quot;Formula&quot;:&quot;&quot;,&quot;Text&quot;:&quot;&quot;,&quot;OfficeApplication&quot;:1,&quot;HasValue&quot;:true}">
                  <a:extLst>
                    <a:ext uri="{FF2B5EF4-FFF2-40B4-BE49-F238E27FC236}">
                      <a16:creationId xmlns:a16="http://schemas.microsoft.com/office/drawing/2014/main" id="{C3205250-DFF1-D07E-B79C-9E754B83EE4C}"/>
                    </a:ext>
                  </a:extLst>
                </p:cNvPr>
                <p:cNvSpPr/>
                <p:nvPr/>
              </p:nvSpPr>
              <p:spPr>
                <a:xfrm>
                  <a:off x="4001452" y="5289641"/>
                  <a:ext cx="409575" cy="762000"/>
                </a:xfrm>
                <a:custGeom>
                  <a:avLst/>
                  <a:gdLst>
                    <a:gd name="connsiteX0" fmla="*/ 246697 w 409575"/>
                    <a:gd name="connsiteY0" fmla="*/ 736283 h 762000"/>
                    <a:gd name="connsiteX1" fmla="*/ 235267 w 409575"/>
                    <a:gd name="connsiteY1" fmla="*/ 738188 h 762000"/>
                    <a:gd name="connsiteX2" fmla="*/ 192405 w 409575"/>
                    <a:gd name="connsiteY2" fmla="*/ 762000 h 762000"/>
                    <a:gd name="connsiteX3" fmla="*/ 180022 w 409575"/>
                    <a:gd name="connsiteY3" fmla="*/ 762000 h 762000"/>
                    <a:gd name="connsiteX4" fmla="*/ 156210 w 409575"/>
                    <a:gd name="connsiteY4" fmla="*/ 751523 h 762000"/>
                    <a:gd name="connsiteX5" fmla="*/ 113347 w 409575"/>
                    <a:gd name="connsiteY5" fmla="*/ 747713 h 762000"/>
                    <a:gd name="connsiteX6" fmla="*/ 99060 w 409575"/>
                    <a:gd name="connsiteY6" fmla="*/ 744855 h 762000"/>
                    <a:gd name="connsiteX7" fmla="*/ 81915 w 409575"/>
                    <a:gd name="connsiteY7" fmla="*/ 751523 h 762000"/>
                    <a:gd name="connsiteX8" fmla="*/ 67628 w 409575"/>
                    <a:gd name="connsiteY8" fmla="*/ 751523 h 762000"/>
                    <a:gd name="connsiteX9" fmla="*/ 57150 w 409575"/>
                    <a:gd name="connsiteY9" fmla="*/ 761048 h 762000"/>
                    <a:gd name="connsiteX10" fmla="*/ 49530 w 409575"/>
                    <a:gd name="connsiteY10" fmla="*/ 758190 h 762000"/>
                    <a:gd name="connsiteX11" fmla="*/ 59055 w 409575"/>
                    <a:gd name="connsiteY11" fmla="*/ 738188 h 762000"/>
                    <a:gd name="connsiteX12" fmla="*/ 74295 w 409575"/>
                    <a:gd name="connsiteY12" fmla="*/ 699135 h 762000"/>
                    <a:gd name="connsiteX13" fmla="*/ 74295 w 409575"/>
                    <a:gd name="connsiteY13" fmla="*/ 674370 h 762000"/>
                    <a:gd name="connsiteX14" fmla="*/ 78105 w 409575"/>
                    <a:gd name="connsiteY14" fmla="*/ 653415 h 762000"/>
                    <a:gd name="connsiteX15" fmla="*/ 75247 w 409575"/>
                    <a:gd name="connsiteY15" fmla="*/ 633413 h 762000"/>
                    <a:gd name="connsiteX16" fmla="*/ 68580 w 409575"/>
                    <a:gd name="connsiteY16" fmla="*/ 620078 h 762000"/>
                    <a:gd name="connsiteX17" fmla="*/ 79057 w 409575"/>
                    <a:gd name="connsiteY17" fmla="*/ 586740 h 762000"/>
                    <a:gd name="connsiteX18" fmla="*/ 79057 w 409575"/>
                    <a:gd name="connsiteY18" fmla="*/ 569595 h 762000"/>
                    <a:gd name="connsiteX19" fmla="*/ 70485 w 409575"/>
                    <a:gd name="connsiteY19" fmla="*/ 547688 h 762000"/>
                    <a:gd name="connsiteX20" fmla="*/ 97155 w 409575"/>
                    <a:gd name="connsiteY20" fmla="*/ 550545 h 762000"/>
                    <a:gd name="connsiteX21" fmla="*/ 80963 w 409575"/>
                    <a:gd name="connsiteY21" fmla="*/ 537210 h 762000"/>
                    <a:gd name="connsiteX22" fmla="*/ 66675 w 409575"/>
                    <a:gd name="connsiteY22" fmla="*/ 537210 h 762000"/>
                    <a:gd name="connsiteX23" fmla="*/ 44767 w 409575"/>
                    <a:gd name="connsiteY23" fmla="*/ 545783 h 762000"/>
                    <a:gd name="connsiteX24" fmla="*/ 30480 w 409575"/>
                    <a:gd name="connsiteY24" fmla="*/ 546735 h 762000"/>
                    <a:gd name="connsiteX25" fmla="*/ 31432 w 409575"/>
                    <a:gd name="connsiteY25" fmla="*/ 533400 h 762000"/>
                    <a:gd name="connsiteX26" fmla="*/ 26670 w 409575"/>
                    <a:gd name="connsiteY26" fmla="*/ 516255 h 762000"/>
                    <a:gd name="connsiteX27" fmla="*/ 45720 w 409575"/>
                    <a:gd name="connsiteY27" fmla="*/ 510540 h 762000"/>
                    <a:gd name="connsiteX28" fmla="*/ 60960 w 409575"/>
                    <a:gd name="connsiteY28" fmla="*/ 494348 h 762000"/>
                    <a:gd name="connsiteX29" fmla="*/ 58103 w 409575"/>
                    <a:gd name="connsiteY29" fmla="*/ 479108 h 762000"/>
                    <a:gd name="connsiteX30" fmla="*/ 46672 w 409575"/>
                    <a:gd name="connsiteY30" fmla="*/ 489585 h 762000"/>
                    <a:gd name="connsiteX31" fmla="*/ 40957 w 409575"/>
                    <a:gd name="connsiteY31" fmla="*/ 502920 h 762000"/>
                    <a:gd name="connsiteX32" fmla="*/ 14288 w 409575"/>
                    <a:gd name="connsiteY32" fmla="*/ 509588 h 762000"/>
                    <a:gd name="connsiteX33" fmla="*/ 0 w 409575"/>
                    <a:gd name="connsiteY33" fmla="*/ 504825 h 762000"/>
                    <a:gd name="connsiteX34" fmla="*/ 0 w 409575"/>
                    <a:gd name="connsiteY34" fmla="*/ 486728 h 762000"/>
                    <a:gd name="connsiteX35" fmla="*/ 5715 w 409575"/>
                    <a:gd name="connsiteY35" fmla="*/ 470535 h 762000"/>
                    <a:gd name="connsiteX36" fmla="*/ 9525 w 409575"/>
                    <a:gd name="connsiteY36" fmla="*/ 448628 h 762000"/>
                    <a:gd name="connsiteX37" fmla="*/ 17145 w 409575"/>
                    <a:gd name="connsiteY37" fmla="*/ 427673 h 762000"/>
                    <a:gd name="connsiteX38" fmla="*/ 15240 w 409575"/>
                    <a:gd name="connsiteY38" fmla="*/ 414338 h 762000"/>
                    <a:gd name="connsiteX39" fmla="*/ 30480 w 409575"/>
                    <a:gd name="connsiteY39" fmla="*/ 401955 h 762000"/>
                    <a:gd name="connsiteX40" fmla="*/ 43815 w 409575"/>
                    <a:gd name="connsiteY40" fmla="*/ 383858 h 762000"/>
                    <a:gd name="connsiteX41" fmla="*/ 84772 w 409575"/>
                    <a:gd name="connsiteY41" fmla="*/ 299085 h 762000"/>
                    <a:gd name="connsiteX42" fmla="*/ 79057 w 409575"/>
                    <a:gd name="connsiteY42" fmla="*/ 289560 h 762000"/>
                    <a:gd name="connsiteX43" fmla="*/ 95250 w 409575"/>
                    <a:gd name="connsiteY43" fmla="*/ 226695 h 762000"/>
                    <a:gd name="connsiteX44" fmla="*/ 106680 w 409575"/>
                    <a:gd name="connsiteY44" fmla="*/ 204788 h 762000"/>
                    <a:gd name="connsiteX45" fmla="*/ 112395 w 409575"/>
                    <a:gd name="connsiteY45" fmla="*/ 163830 h 762000"/>
                    <a:gd name="connsiteX46" fmla="*/ 110490 w 409575"/>
                    <a:gd name="connsiteY46" fmla="*/ 144780 h 762000"/>
                    <a:gd name="connsiteX47" fmla="*/ 103822 w 409575"/>
                    <a:gd name="connsiteY47" fmla="*/ 125730 h 762000"/>
                    <a:gd name="connsiteX48" fmla="*/ 97155 w 409575"/>
                    <a:gd name="connsiteY48" fmla="*/ 84773 h 762000"/>
                    <a:gd name="connsiteX49" fmla="*/ 97155 w 409575"/>
                    <a:gd name="connsiteY49" fmla="*/ 71438 h 762000"/>
                    <a:gd name="connsiteX50" fmla="*/ 88582 w 409575"/>
                    <a:gd name="connsiteY50" fmla="*/ 54293 h 762000"/>
                    <a:gd name="connsiteX51" fmla="*/ 89535 w 409575"/>
                    <a:gd name="connsiteY51" fmla="*/ 44768 h 762000"/>
                    <a:gd name="connsiteX52" fmla="*/ 102870 w 409575"/>
                    <a:gd name="connsiteY52" fmla="*/ 28575 h 762000"/>
                    <a:gd name="connsiteX53" fmla="*/ 114300 w 409575"/>
                    <a:gd name="connsiteY53" fmla="*/ 18098 h 762000"/>
                    <a:gd name="connsiteX54" fmla="*/ 132397 w 409575"/>
                    <a:gd name="connsiteY54" fmla="*/ 9525 h 762000"/>
                    <a:gd name="connsiteX55" fmla="*/ 171450 w 409575"/>
                    <a:gd name="connsiteY55" fmla="*/ 0 h 762000"/>
                    <a:gd name="connsiteX56" fmla="*/ 180975 w 409575"/>
                    <a:gd name="connsiteY56" fmla="*/ 17145 h 762000"/>
                    <a:gd name="connsiteX57" fmla="*/ 168592 w 409575"/>
                    <a:gd name="connsiteY57" fmla="*/ 35243 h 762000"/>
                    <a:gd name="connsiteX58" fmla="*/ 177165 w 409575"/>
                    <a:gd name="connsiteY58" fmla="*/ 47625 h 762000"/>
                    <a:gd name="connsiteX59" fmla="*/ 205740 w 409575"/>
                    <a:gd name="connsiteY59" fmla="*/ 37148 h 762000"/>
                    <a:gd name="connsiteX60" fmla="*/ 233363 w 409575"/>
                    <a:gd name="connsiteY60" fmla="*/ 36195 h 762000"/>
                    <a:gd name="connsiteX61" fmla="*/ 254317 w 409575"/>
                    <a:gd name="connsiteY61" fmla="*/ 43815 h 762000"/>
                    <a:gd name="connsiteX62" fmla="*/ 267653 w 409575"/>
                    <a:gd name="connsiteY62" fmla="*/ 43815 h 762000"/>
                    <a:gd name="connsiteX63" fmla="*/ 291465 w 409575"/>
                    <a:gd name="connsiteY63" fmla="*/ 35243 h 762000"/>
                    <a:gd name="connsiteX64" fmla="*/ 299085 w 409575"/>
                    <a:gd name="connsiteY64" fmla="*/ 21908 h 762000"/>
                    <a:gd name="connsiteX65" fmla="*/ 313372 w 409575"/>
                    <a:gd name="connsiteY65" fmla="*/ 26670 h 762000"/>
                    <a:gd name="connsiteX66" fmla="*/ 362903 w 409575"/>
                    <a:gd name="connsiteY66" fmla="*/ 27623 h 762000"/>
                    <a:gd name="connsiteX67" fmla="*/ 369570 w 409575"/>
                    <a:gd name="connsiteY67" fmla="*/ 38100 h 762000"/>
                    <a:gd name="connsiteX68" fmla="*/ 370522 w 409575"/>
                    <a:gd name="connsiteY68" fmla="*/ 67628 h 762000"/>
                    <a:gd name="connsiteX69" fmla="*/ 388620 w 409575"/>
                    <a:gd name="connsiteY69" fmla="*/ 69533 h 762000"/>
                    <a:gd name="connsiteX70" fmla="*/ 406717 w 409575"/>
                    <a:gd name="connsiteY70" fmla="*/ 78105 h 762000"/>
                    <a:gd name="connsiteX71" fmla="*/ 409575 w 409575"/>
                    <a:gd name="connsiteY71" fmla="*/ 88583 h 762000"/>
                    <a:gd name="connsiteX72" fmla="*/ 385763 w 409575"/>
                    <a:gd name="connsiteY72" fmla="*/ 112395 h 762000"/>
                    <a:gd name="connsiteX73" fmla="*/ 365760 w 409575"/>
                    <a:gd name="connsiteY73" fmla="*/ 122873 h 762000"/>
                    <a:gd name="connsiteX74" fmla="*/ 350520 w 409575"/>
                    <a:gd name="connsiteY74" fmla="*/ 136208 h 762000"/>
                    <a:gd name="connsiteX75" fmla="*/ 340042 w 409575"/>
                    <a:gd name="connsiteY75" fmla="*/ 151448 h 762000"/>
                    <a:gd name="connsiteX76" fmla="*/ 320992 w 409575"/>
                    <a:gd name="connsiteY76" fmla="*/ 166688 h 762000"/>
                    <a:gd name="connsiteX77" fmla="*/ 328613 w 409575"/>
                    <a:gd name="connsiteY77" fmla="*/ 185738 h 762000"/>
                    <a:gd name="connsiteX78" fmla="*/ 332422 w 409575"/>
                    <a:gd name="connsiteY78" fmla="*/ 219075 h 762000"/>
                    <a:gd name="connsiteX79" fmla="*/ 328613 w 409575"/>
                    <a:gd name="connsiteY79" fmla="*/ 255270 h 762000"/>
                    <a:gd name="connsiteX80" fmla="*/ 332422 w 409575"/>
                    <a:gd name="connsiteY80" fmla="*/ 265748 h 762000"/>
                    <a:gd name="connsiteX81" fmla="*/ 306705 w 409575"/>
                    <a:gd name="connsiteY81" fmla="*/ 285750 h 762000"/>
                    <a:gd name="connsiteX82" fmla="*/ 304800 w 409575"/>
                    <a:gd name="connsiteY82" fmla="*/ 295275 h 762000"/>
                    <a:gd name="connsiteX83" fmla="*/ 318135 w 409575"/>
                    <a:gd name="connsiteY83" fmla="*/ 307658 h 762000"/>
                    <a:gd name="connsiteX84" fmla="*/ 318135 w 409575"/>
                    <a:gd name="connsiteY84" fmla="*/ 325755 h 762000"/>
                    <a:gd name="connsiteX85" fmla="*/ 301942 w 409575"/>
                    <a:gd name="connsiteY85" fmla="*/ 359093 h 762000"/>
                    <a:gd name="connsiteX86" fmla="*/ 292417 w 409575"/>
                    <a:gd name="connsiteY86" fmla="*/ 363855 h 762000"/>
                    <a:gd name="connsiteX87" fmla="*/ 251460 w 409575"/>
                    <a:gd name="connsiteY87" fmla="*/ 363855 h 762000"/>
                    <a:gd name="connsiteX88" fmla="*/ 240982 w 409575"/>
                    <a:gd name="connsiteY88" fmla="*/ 366713 h 762000"/>
                    <a:gd name="connsiteX89" fmla="*/ 251460 w 409575"/>
                    <a:gd name="connsiteY89" fmla="*/ 384810 h 762000"/>
                    <a:gd name="connsiteX90" fmla="*/ 264795 w 409575"/>
                    <a:gd name="connsiteY90" fmla="*/ 396240 h 762000"/>
                    <a:gd name="connsiteX91" fmla="*/ 267653 w 409575"/>
                    <a:gd name="connsiteY91" fmla="*/ 414338 h 762000"/>
                    <a:gd name="connsiteX92" fmla="*/ 282892 w 409575"/>
                    <a:gd name="connsiteY92" fmla="*/ 444818 h 762000"/>
                    <a:gd name="connsiteX93" fmla="*/ 299085 w 409575"/>
                    <a:gd name="connsiteY93" fmla="*/ 448628 h 762000"/>
                    <a:gd name="connsiteX94" fmla="*/ 303847 w 409575"/>
                    <a:gd name="connsiteY94" fmla="*/ 456248 h 762000"/>
                    <a:gd name="connsiteX95" fmla="*/ 298132 w 409575"/>
                    <a:gd name="connsiteY95" fmla="*/ 479108 h 762000"/>
                    <a:gd name="connsiteX96" fmla="*/ 267653 w 409575"/>
                    <a:gd name="connsiteY96" fmla="*/ 507683 h 762000"/>
                    <a:gd name="connsiteX97" fmla="*/ 259080 w 409575"/>
                    <a:gd name="connsiteY97" fmla="*/ 545783 h 762000"/>
                    <a:gd name="connsiteX98" fmla="*/ 287655 w 409575"/>
                    <a:gd name="connsiteY98" fmla="*/ 586740 h 762000"/>
                    <a:gd name="connsiteX99" fmla="*/ 303847 w 409575"/>
                    <a:gd name="connsiteY99" fmla="*/ 584835 h 762000"/>
                    <a:gd name="connsiteX100" fmla="*/ 297180 w 409575"/>
                    <a:gd name="connsiteY100" fmla="*/ 607695 h 762000"/>
                    <a:gd name="connsiteX101" fmla="*/ 277178 w 409575"/>
                    <a:gd name="connsiteY101" fmla="*/ 613410 h 762000"/>
                    <a:gd name="connsiteX102" fmla="*/ 243840 w 409575"/>
                    <a:gd name="connsiteY102" fmla="*/ 654368 h 762000"/>
                    <a:gd name="connsiteX103" fmla="*/ 236220 w 409575"/>
                    <a:gd name="connsiteY103" fmla="*/ 675323 h 762000"/>
                    <a:gd name="connsiteX104" fmla="*/ 246697 w 409575"/>
                    <a:gd name="connsiteY104" fmla="*/ 736283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09575" h="762000">
                      <a:moveTo>
                        <a:pt x="246697" y="736283"/>
                      </a:moveTo>
                      <a:lnTo>
                        <a:pt x="235267" y="738188"/>
                      </a:lnTo>
                      <a:lnTo>
                        <a:pt x="192405" y="762000"/>
                      </a:lnTo>
                      <a:lnTo>
                        <a:pt x="180022" y="762000"/>
                      </a:lnTo>
                      <a:lnTo>
                        <a:pt x="156210" y="751523"/>
                      </a:lnTo>
                      <a:lnTo>
                        <a:pt x="113347" y="747713"/>
                      </a:lnTo>
                      <a:lnTo>
                        <a:pt x="99060" y="744855"/>
                      </a:lnTo>
                      <a:lnTo>
                        <a:pt x="81915" y="751523"/>
                      </a:lnTo>
                      <a:lnTo>
                        <a:pt x="67628" y="751523"/>
                      </a:lnTo>
                      <a:lnTo>
                        <a:pt x="57150" y="761048"/>
                      </a:lnTo>
                      <a:lnTo>
                        <a:pt x="49530" y="758190"/>
                      </a:lnTo>
                      <a:lnTo>
                        <a:pt x="59055" y="738188"/>
                      </a:lnTo>
                      <a:lnTo>
                        <a:pt x="74295" y="699135"/>
                      </a:lnTo>
                      <a:lnTo>
                        <a:pt x="74295" y="674370"/>
                      </a:lnTo>
                      <a:lnTo>
                        <a:pt x="78105" y="653415"/>
                      </a:lnTo>
                      <a:lnTo>
                        <a:pt x="75247" y="633413"/>
                      </a:lnTo>
                      <a:lnTo>
                        <a:pt x="68580" y="620078"/>
                      </a:lnTo>
                      <a:lnTo>
                        <a:pt x="79057" y="586740"/>
                      </a:lnTo>
                      <a:lnTo>
                        <a:pt x="79057" y="569595"/>
                      </a:lnTo>
                      <a:lnTo>
                        <a:pt x="70485" y="547688"/>
                      </a:lnTo>
                      <a:lnTo>
                        <a:pt x="97155" y="550545"/>
                      </a:lnTo>
                      <a:lnTo>
                        <a:pt x="80963" y="537210"/>
                      </a:lnTo>
                      <a:lnTo>
                        <a:pt x="66675" y="537210"/>
                      </a:lnTo>
                      <a:lnTo>
                        <a:pt x="44767" y="545783"/>
                      </a:lnTo>
                      <a:lnTo>
                        <a:pt x="30480" y="546735"/>
                      </a:lnTo>
                      <a:lnTo>
                        <a:pt x="31432" y="533400"/>
                      </a:lnTo>
                      <a:lnTo>
                        <a:pt x="26670" y="516255"/>
                      </a:lnTo>
                      <a:lnTo>
                        <a:pt x="45720" y="510540"/>
                      </a:lnTo>
                      <a:lnTo>
                        <a:pt x="60960" y="494348"/>
                      </a:lnTo>
                      <a:lnTo>
                        <a:pt x="58103" y="479108"/>
                      </a:lnTo>
                      <a:lnTo>
                        <a:pt x="46672" y="489585"/>
                      </a:lnTo>
                      <a:lnTo>
                        <a:pt x="40957" y="502920"/>
                      </a:lnTo>
                      <a:lnTo>
                        <a:pt x="14288" y="509588"/>
                      </a:lnTo>
                      <a:lnTo>
                        <a:pt x="0" y="504825"/>
                      </a:lnTo>
                      <a:lnTo>
                        <a:pt x="0" y="486728"/>
                      </a:lnTo>
                      <a:lnTo>
                        <a:pt x="5715" y="470535"/>
                      </a:lnTo>
                      <a:lnTo>
                        <a:pt x="9525" y="448628"/>
                      </a:lnTo>
                      <a:lnTo>
                        <a:pt x="17145" y="427673"/>
                      </a:lnTo>
                      <a:lnTo>
                        <a:pt x="15240" y="414338"/>
                      </a:lnTo>
                      <a:lnTo>
                        <a:pt x="30480" y="401955"/>
                      </a:lnTo>
                      <a:lnTo>
                        <a:pt x="43815" y="383858"/>
                      </a:lnTo>
                      <a:lnTo>
                        <a:pt x="84772" y="299085"/>
                      </a:lnTo>
                      <a:lnTo>
                        <a:pt x="79057" y="289560"/>
                      </a:lnTo>
                      <a:lnTo>
                        <a:pt x="95250" y="226695"/>
                      </a:lnTo>
                      <a:lnTo>
                        <a:pt x="106680" y="204788"/>
                      </a:lnTo>
                      <a:lnTo>
                        <a:pt x="112395" y="163830"/>
                      </a:lnTo>
                      <a:lnTo>
                        <a:pt x="110490" y="144780"/>
                      </a:lnTo>
                      <a:lnTo>
                        <a:pt x="103822" y="125730"/>
                      </a:lnTo>
                      <a:lnTo>
                        <a:pt x="97155" y="84773"/>
                      </a:lnTo>
                      <a:lnTo>
                        <a:pt x="97155" y="71438"/>
                      </a:lnTo>
                      <a:lnTo>
                        <a:pt x="88582" y="54293"/>
                      </a:lnTo>
                      <a:lnTo>
                        <a:pt x="89535" y="44768"/>
                      </a:lnTo>
                      <a:lnTo>
                        <a:pt x="102870" y="28575"/>
                      </a:lnTo>
                      <a:lnTo>
                        <a:pt x="114300" y="18098"/>
                      </a:lnTo>
                      <a:lnTo>
                        <a:pt x="132397" y="9525"/>
                      </a:lnTo>
                      <a:lnTo>
                        <a:pt x="171450" y="0"/>
                      </a:lnTo>
                      <a:lnTo>
                        <a:pt x="180975" y="17145"/>
                      </a:lnTo>
                      <a:lnTo>
                        <a:pt x="168592" y="35243"/>
                      </a:lnTo>
                      <a:lnTo>
                        <a:pt x="177165" y="47625"/>
                      </a:lnTo>
                      <a:lnTo>
                        <a:pt x="205740" y="37148"/>
                      </a:lnTo>
                      <a:lnTo>
                        <a:pt x="233363" y="36195"/>
                      </a:lnTo>
                      <a:lnTo>
                        <a:pt x="254317" y="43815"/>
                      </a:lnTo>
                      <a:lnTo>
                        <a:pt x="267653" y="43815"/>
                      </a:lnTo>
                      <a:lnTo>
                        <a:pt x="291465" y="35243"/>
                      </a:lnTo>
                      <a:lnTo>
                        <a:pt x="299085" y="21908"/>
                      </a:lnTo>
                      <a:lnTo>
                        <a:pt x="313372" y="26670"/>
                      </a:lnTo>
                      <a:lnTo>
                        <a:pt x="362903" y="27623"/>
                      </a:lnTo>
                      <a:lnTo>
                        <a:pt x="369570" y="38100"/>
                      </a:lnTo>
                      <a:lnTo>
                        <a:pt x="370522" y="67628"/>
                      </a:lnTo>
                      <a:lnTo>
                        <a:pt x="388620" y="69533"/>
                      </a:lnTo>
                      <a:lnTo>
                        <a:pt x="406717" y="78105"/>
                      </a:lnTo>
                      <a:lnTo>
                        <a:pt x="409575" y="88583"/>
                      </a:lnTo>
                      <a:lnTo>
                        <a:pt x="385763" y="112395"/>
                      </a:lnTo>
                      <a:lnTo>
                        <a:pt x="365760" y="122873"/>
                      </a:lnTo>
                      <a:lnTo>
                        <a:pt x="350520" y="136208"/>
                      </a:lnTo>
                      <a:lnTo>
                        <a:pt x="340042" y="151448"/>
                      </a:lnTo>
                      <a:lnTo>
                        <a:pt x="320992" y="166688"/>
                      </a:lnTo>
                      <a:lnTo>
                        <a:pt x="328613" y="185738"/>
                      </a:lnTo>
                      <a:lnTo>
                        <a:pt x="332422" y="219075"/>
                      </a:lnTo>
                      <a:lnTo>
                        <a:pt x="328613" y="255270"/>
                      </a:lnTo>
                      <a:lnTo>
                        <a:pt x="332422" y="265748"/>
                      </a:lnTo>
                      <a:lnTo>
                        <a:pt x="306705" y="285750"/>
                      </a:lnTo>
                      <a:lnTo>
                        <a:pt x="304800" y="295275"/>
                      </a:lnTo>
                      <a:lnTo>
                        <a:pt x="318135" y="307658"/>
                      </a:lnTo>
                      <a:lnTo>
                        <a:pt x="318135" y="325755"/>
                      </a:lnTo>
                      <a:lnTo>
                        <a:pt x="301942" y="359093"/>
                      </a:lnTo>
                      <a:lnTo>
                        <a:pt x="292417" y="363855"/>
                      </a:lnTo>
                      <a:lnTo>
                        <a:pt x="251460" y="363855"/>
                      </a:lnTo>
                      <a:lnTo>
                        <a:pt x="240982" y="366713"/>
                      </a:lnTo>
                      <a:lnTo>
                        <a:pt x="251460" y="384810"/>
                      </a:lnTo>
                      <a:lnTo>
                        <a:pt x="264795" y="396240"/>
                      </a:lnTo>
                      <a:lnTo>
                        <a:pt x="267653" y="414338"/>
                      </a:lnTo>
                      <a:lnTo>
                        <a:pt x="282892" y="444818"/>
                      </a:lnTo>
                      <a:lnTo>
                        <a:pt x="299085" y="448628"/>
                      </a:lnTo>
                      <a:lnTo>
                        <a:pt x="303847" y="456248"/>
                      </a:lnTo>
                      <a:lnTo>
                        <a:pt x="298132" y="479108"/>
                      </a:lnTo>
                      <a:lnTo>
                        <a:pt x="267653" y="507683"/>
                      </a:lnTo>
                      <a:lnTo>
                        <a:pt x="259080" y="545783"/>
                      </a:lnTo>
                      <a:lnTo>
                        <a:pt x="287655" y="586740"/>
                      </a:lnTo>
                      <a:lnTo>
                        <a:pt x="303847" y="584835"/>
                      </a:lnTo>
                      <a:lnTo>
                        <a:pt x="297180" y="607695"/>
                      </a:lnTo>
                      <a:lnTo>
                        <a:pt x="277178" y="613410"/>
                      </a:lnTo>
                      <a:lnTo>
                        <a:pt x="243840" y="654368"/>
                      </a:lnTo>
                      <a:lnTo>
                        <a:pt x="236220" y="675323"/>
                      </a:lnTo>
                      <a:lnTo>
                        <a:pt x="246697" y="736283"/>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4" name="Cyprus" descr="{&quot;Key&quot;:&quot;cyprus&quot;,&quot;Name&quot;:&quot;Cyprus&quot;,&quot;Value&quot;:1.0,&quot;Formula&quot;:&quot;&quot;,&quot;Text&quot;:&quot;&quot;,&quot;OfficeApplication&quot;:1,&quot;HasValue&quot;:true}">
                  <a:extLst>
                    <a:ext uri="{FF2B5EF4-FFF2-40B4-BE49-F238E27FC236}">
                      <a16:creationId xmlns:a16="http://schemas.microsoft.com/office/drawing/2014/main" id="{61382825-86A6-0C9D-8532-FEA8C2BCF982}"/>
                    </a:ext>
                  </a:extLst>
                </p:cNvPr>
                <p:cNvSpPr/>
                <p:nvPr/>
              </p:nvSpPr>
              <p:spPr>
                <a:xfrm>
                  <a:off x="9176385" y="6323104"/>
                  <a:ext cx="229552" cy="84772"/>
                </a:xfrm>
                <a:custGeom>
                  <a:avLst/>
                  <a:gdLst>
                    <a:gd name="connsiteX0" fmla="*/ 188595 w 229552"/>
                    <a:gd name="connsiteY0" fmla="*/ 30480 h 84772"/>
                    <a:gd name="connsiteX1" fmla="*/ 187642 w 229552"/>
                    <a:gd name="connsiteY1" fmla="*/ 30480 h 84772"/>
                    <a:gd name="connsiteX2" fmla="*/ 186690 w 229552"/>
                    <a:gd name="connsiteY2" fmla="*/ 30480 h 84772"/>
                    <a:gd name="connsiteX3" fmla="*/ 187642 w 229552"/>
                    <a:gd name="connsiteY3" fmla="*/ 29528 h 84772"/>
                    <a:gd name="connsiteX4" fmla="*/ 188595 w 229552"/>
                    <a:gd name="connsiteY4" fmla="*/ 30480 h 84772"/>
                    <a:gd name="connsiteX5" fmla="*/ 188595 w 229552"/>
                    <a:gd name="connsiteY5" fmla="*/ 30480 h 84772"/>
                    <a:gd name="connsiteX6" fmla="*/ 189547 w 229552"/>
                    <a:gd name="connsiteY6" fmla="*/ 30480 h 84772"/>
                    <a:gd name="connsiteX7" fmla="*/ 190500 w 229552"/>
                    <a:gd name="connsiteY7" fmla="*/ 30480 h 84772"/>
                    <a:gd name="connsiteX8" fmla="*/ 191452 w 229552"/>
                    <a:gd name="connsiteY8" fmla="*/ 31433 h 84772"/>
                    <a:gd name="connsiteX9" fmla="*/ 190500 w 229552"/>
                    <a:gd name="connsiteY9" fmla="*/ 31433 h 84772"/>
                    <a:gd name="connsiteX10" fmla="*/ 189547 w 229552"/>
                    <a:gd name="connsiteY10" fmla="*/ 31433 h 84772"/>
                    <a:gd name="connsiteX11" fmla="*/ 188595 w 229552"/>
                    <a:gd name="connsiteY11" fmla="*/ 31433 h 84772"/>
                    <a:gd name="connsiteX12" fmla="*/ 188595 w 229552"/>
                    <a:gd name="connsiteY12" fmla="*/ 30480 h 84772"/>
                    <a:gd name="connsiteX13" fmla="*/ 184785 w 229552"/>
                    <a:gd name="connsiteY13" fmla="*/ 27623 h 84772"/>
                    <a:gd name="connsiteX14" fmla="*/ 183832 w 229552"/>
                    <a:gd name="connsiteY14" fmla="*/ 27623 h 84772"/>
                    <a:gd name="connsiteX15" fmla="*/ 183832 w 229552"/>
                    <a:gd name="connsiteY15" fmla="*/ 26670 h 84772"/>
                    <a:gd name="connsiteX16" fmla="*/ 184785 w 229552"/>
                    <a:gd name="connsiteY16" fmla="*/ 26670 h 84772"/>
                    <a:gd name="connsiteX17" fmla="*/ 184785 w 229552"/>
                    <a:gd name="connsiteY17" fmla="*/ 25718 h 84772"/>
                    <a:gd name="connsiteX18" fmla="*/ 185738 w 229552"/>
                    <a:gd name="connsiteY18" fmla="*/ 26670 h 84772"/>
                    <a:gd name="connsiteX19" fmla="*/ 185738 w 229552"/>
                    <a:gd name="connsiteY19" fmla="*/ 27623 h 84772"/>
                    <a:gd name="connsiteX20" fmla="*/ 184785 w 229552"/>
                    <a:gd name="connsiteY20" fmla="*/ 27623 h 84772"/>
                    <a:gd name="connsiteX21" fmla="*/ 218122 w 229552"/>
                    <a:gd name="connsiteY21" fmla="*/ 20003 h 84772"/>
                    <a:gd name="connsiteX22" fmla="*/ 220027 w 229552"/>
                    <a:gd name="connsiteY22" fmla="*/ 20955 h 84772"/>
                    <a:gd name="connsiteX23" fmla="*/ 222885 w 229552"/>
                    <a:gd name="connsiteY23" fmla="*/ 23813 h 84772"/>
                    <a:gd name="connsiteX24" fmla="*/ 224790 w 229552"/>
                    <a:gd name="connsiteY24" fmla="*/ 27623 h 84772"/>
                    <a:gd name="connsiteX25" fmla="*/ 225742 w 229552"/>
                    <a:gd name="connsiteY25" fmla="*/ 30480 h 84772"/>
                    <a:gd name="connsiteX26" fmla="*/ 227647 w 229552"/>
                    <a:gd name="connsiteY26" fmla="*/ 32385 h 84772"/>
                    <a:gd name="connsiteX27" fmla="*/ 229552 w 229552"/>
                    <a:gd name="connsiteY27" fmla="*/ 33338 h 84772"/>
                    <a:gd name="connsiteX28" fmla="*/ 227647 w 229552"/>
                    <a:gd name="connsiteY28" fmla="*/ 33338 h 84772"/>
                    <a:gd name="connsiteX29" fmla="*/ 224790 w 229552"/>
                    <a:gd name="connsiteY29" fmla="*/ 33338 h 84772"/>
                    <a:gd name="connsiteX30" fmla="*/ 221932 w 229552"/>
                    <a:gd name="connsiteY30" fmla="*/ 32385 h 84772"/>
                    <a:gd name="connsiteX31" fmla="*/ 220027 w 229552"/>
                    <a:gd name="connsiteY31" fmla="*/ 30480 h 84772"/>
                    <a:gd name="connsiteX32" fmla="*/ 218122 w 229552"/>
                    <a:gd name="connsiteY32" fmla="*/ 30480 h 84772"/>
                    <a:gd name="connsiteX33" fmla="*/ 211455 w 229552"/>
                    <a:gd name="connsiteY33" fmla="*/ 31433 h 84772"/>
                    <a:gd name="connsiteX34" fmla="*/ 205740 w 229552"/>
                    <a:gd name="connsiteY34" fmla="*/ 32385 h 84772"/>
                    <a:gd name="connsiteX35" fmla="*/ 204788 w 229552"/>
                    <a:gd name="connsiteY35" fmla="*/ 33338 h 84772"/>
                    <a:gd name="connsiteX36" fmla="*/ 203835 w 229552"/>
                    <a:gd name="connsiteY36" fmla="*/ 34290 h 84772"/>
                    <a:gd name="connsiteX37" fmla="*/ 200977 w 229552"/>
                    <a:gd name="connsiteY37" fmla="*/ 34290 h 84772"/>
                    <a:gd name="connsiteX38" fmla="*/ 198120 w 229552"/>
                    <a:gd name="connsiteY38" fmla="*/ 34290 h 84772"/>
                    <a:gd name="connsiteX39" fmla="*/ 197167 w 229552"/>
                    <a:gd name="connsiteY39" fmla="*/ 33338 h 84772"/>
                    <a:gd name="connsiteX40" fmla="*/ 199072 w 229552"/>
                    <a:gd name="connsiteY40" fmla="*/ 32385 h 84772"/>
                    <a:gd name="connsiteX41" fmla="*/ 200025 w 229552"/>
                    <a:gd name="connsiteY41" fmla="*/ 32385 h 84772"/>
                    <a:gd name="connsiteX42" fmla="*/ 199072 w 229552"/>
                    <a:gd name="connsiteY42" fmla="*/ 29528 h 84772"/>
                    <a:gd name="connsiteX43" fmla="*/ 197167 w 229552"/>
                    <a:gd name="connsiteY43" fmla="*/ 29528 h 84772"/>
                    <a:gd name="connsiteX44" fmla="*/ 195263 w 229552"/>
                    <a:gd name="connsiteY44" fmla="*/ 28575 h 84772"/>
                    <a:gd name="connsiteX45" fmla="*/ 195263 w 229552"/>
                    <a:gd name="connsiteY45" fmla="*/ 24765 h 84772"/>
                    <a:gd name="connsiteX46" fmla="*/ 194310 w 229552"/>
                    <a:gd name="connsiteY46" fmla="*/ 23813 h 84772"/>
                    <a:gd name="connsiteX47" fmla="*/ 191452 w 229552"/>
                    <a:gd name="connsiteY47" fmla="*/ 22860 h 84772"/>
                    <a:gd name="connsiteX48" fmla="*/ 191452 w 229552"/>
                    <a:gd name="connsiteY48" fmla="*/ 20955 h 84772"/>
                    <a:gd name="connsiteX49" fmla="*/ 192405 w 229552"/>
                    <a:gd name="connsiteY49" fmla="*/ 20003 h 84772"/>
                    <a:gd name="connsiteX50" fmla="*/ 194310 w 229552"/>
                    <a:gd name="connsiteY50" fmla="*/ 19050 h 84772"/>
                    <a:gd name="connsiteX51" fmla="*/ 195263 w 229552"/>
                    <a:gd name="connsiteY51" fmla="*/ 20003 h 84772"/>
                    <a:gd name="connsiteX52" fmla="*/ 196215 w 229552"/>
                    <a:gd name="connsiteY52" fmla="*/ 20955 h 84772"/>
                    <a:gd name="connsiteX53" fmla="*/ 198120 w 229552"/>
                    <a:gd name="connsiteY53" fmla="*/ 20003 h 84772"/>
                    <a:gd name="connsiteX54" fmla="*/ 199072 w 229552"/>
                    <a:gd name="connsiteY54" fmla="*/ 19050 h 84772"/>
                    <a:gd name="connsiteX55" fmla="*/ 200025 w 229552"/>
                    <a:gd name="connsiteY55" fmla="*/ 18098 h 84772"/>
                    <a:gd name="connsiteX56" fmla="*/ 200977 w 229552"/>
                    <a:gd name="connsiteY56" fmla="*/ 17145 h 84772"/>
                    <a:gd name="connsiteX57" fmla="*/ 202882 w 229552"/>
                    <a:gd name="connsiteY57" fmla="*/ 19050 h 84772"/>
                    <a:gd name="connsiteX58" fmla="*/ 204788 w 229552"/>
                    <a:gd name="connsiteY58" fmla="*/ 20003 h 84772"/>
                    <a:gd name="connsiteX59" fmla="*/ 205740 w 229552"/>
                    <a:gd name="connsiteY59" fmla="*/ 20003 h 84772"/>
                    <a:gd name="connsiteX60" fmla="*/ 207645 w 229552"/>
                    <a:gd name="connsiteY60" fmla="*/ 20955 h 84772"/>
                    <a:gd name="connsiteX61" fmla="*/ 208597 w 229552"/>
                    <a:gd name="connsiteY61" fmla="*/ 20955 h 84772"/>
                    <a:gd name="connsiteX62" fmla="*/ 211455 w 229552"/>
                    <a:gd name="connsiteY62" fmla="*/ 20003 h 84772"/>
                    <a:gd name="connsiteX63" fmla="*/ 213360 w 229552"/>
                    <a:gd name="connsiteY63" fmla="*/ 20003 h 84772"/>
                    <a:gd name="connsiteX64" fmla="*/ 214313 w 229552"/>
                    <a:gd name="connsiteY64" fmla="*/ 20955 h 84772"/>
                    <a:gd name="connsiteX65" fmla="*/ 216217 w 229552"/>
                    <a:gd name="connsiteY65" fmla="*/ 20955 h 84772"/>
                    <a:gd name="connsiteX66" fmla="*/ 217170 w 229552"/>
                    <a:gd name="connsiteY66" fmla="*/ 20955 h 84772"/>
                    <a:gd name="connsiteX67" fmla="*/ 218122 w 229552"/>
                    <a:gd name="connsiteY67" fmla="*/ 20955 h 84772"/>
                    <a:gd name="connsiteX68" fmla="*/ 218122 w 229552"/>
                    <a:gd name="connsiteY68" fmla="*/ 20003 h 84772"/>
                    <a:gd name="connsiteX69" fmla="*/ 180022 w 229552"/>
                    <a:gd name="connsiteY69" fmla="*/ 30480 h 84772"/>
                    <a:gd name="connsiteX70" fmla="*/ 180022 w 229552"/>
                    <a:gd name="connsiteY70" fmla="*/ 32385 h 84772"/>
                    <a:gd name="connsiteX71" fmla="*/ 177165 w 229552"/>
                    <a:gd name="connsiteY71" fmla="*/ 33338 h 84772"/>
                    <a:gd name="connsiteX72" fmla="*/ 174307 w 229552"/>
                    <a:gd name="connsiteY72" fmla="*/ 36195 h 84772"/>
                    <a:gd name="connsiteX73" fmla="*/ 174307 w 229552"/>
                    <a:gd name="connsiteY73" fmla="*/ 38100 h 84772"/>
                    <a:gd name="connsiteX74" fmla="*/ 173355 w 229552"/>
                    <a:gd name="connsiteY74" fmla="*/ 40958 h 84772"/>
                    <a:gd name="connsiteX75" fmla="*/ 173355 w 229552"/>
                    <a:gd name="connsiteY75" fmla="*/ 43815 h 84772"/>
                    <a:gd name="connsiteX76" fmla="*/ 173355 w 229552"/>
                    <a:gd name="connsiteY76" fmla="*/ 46673 h 84772"/>
                    <a:gd name="connsiteX77" fmla="*/ 173355 w 229552"/>
                    <a:gd name="connsiteY77" fmla="*/ 49530 h 84772"/>
                    <a:gd name="connsiteX78" fmla="*/ 173355 w 229552"/>
                    <a:gd name="connsiteY78" fmla="*/ 50483 h 84772"/>
                    <a:gd name="connsiteX79" fmla="*/ 172402 w 229552"/>
                    <a:gd name="connsiteY79" fmla="*/ 50483 h 84772"/>
                    <a:gd name="connsiteX80" fmla="*/ 171450 w 229552"/>
                    <a:gd name="connsiteY80" fmla="*/ 51435 h 84772"/>
                    <a:gd name="connsiteX81" fmla="*/ 171450 w 229552"/>
                    <a:gd name="connsiteY81" fmla="*/ 54293 h 84772"/>
                    <a:gd name="connsiteX82" fmla="*/ 170497 w 229552"/>
                    <a:gd name="connsiteY82" fmla="*/ 55245 h 84772"/>
                    <a:gd name="connsiteX83" fmla="*/ 168592 w 229552"/>
                    <a:gd name="connsiteY83" fmla="*/ 55245 h 84772"/>
                    <a:gd name="connsiteX84" fmla="*/ 164782 w 229552"/>
                    <a:gd name="connsiteY84" fmla="*/ 55245 h 84772"/>
                    <a:gd name="connsiteX85" fmla="*/ 162877 w 229552"/>
                    <a:gd name="connsiteY85" fmla="*/ 56198 h 84772"/>
                    <a:gd name="connsiteX86" fmla="*/ 161925 w 229552"/>
                    <a:gd name="connsiteY86" fmla="*/ 57150 h 84772"/>
                    <a:gd name="connsiteX87" fmla="*/ 160972 w 229552"/>
                    <a:gd name="connsiteY87" fmla="*/ 59055 h 84772"/>
                    <a:gd name="connsiteX88" fmla="*/ 160020 w 229552"/>
                    <a:gd name="connsiteY88" fmla="*/ 60008 h 84772"/>
                    <a:gd name="connsiteX89" fmla="*/ 158115 w 229552"/>
                    <a:gd name="connsiteY89" fmla="*/ 60960 h 84772"/>
                    <a:gd name="connsiteX90" fmla="*/ 154305 w 229552"/>
                    <a:gd name="connsiteY90" fmla="*/ 61913 h 84772"/>
                    <a:gd name="connsiteX91" fmla="*/ 150495 w 229552"/>
                    <a:gd name="connsiteY91" fmla="*/ 63818 h 84772"/>
                    <a:gd name="connsiteX92" fmla="*/ 147638 w 229552"/>
                    <a:gd name="connsiteY92" fmla="*/ 64770 h 84772"/>
                    <a:gd name="connsiteX93" fmla="*/ 145732 w 229552"/>
                    <a:gd name="connsiteY93" fmla="*/ 61913 h 84772"/>
                    <a:gd name="connsiteX94" fmla="*/ 146685 w 229552"/>
                    <a:gd name="connsiteY94" fmla="*/ 66675 h 84772"/>
                    <a:gd name="connsiteX95" fmla="*/ 142875 w 229552"/>
                    <a:gd name="connsiteY95" fmla="*/ 68580 h 84772"/>
                    <a:gd name="connsiteX96" fmla="*/ 134302 w 229552"/>
                    <a:gd name="connsiteY96" fmla="*/ 70485 h 84772"/>
                    <a:gd name="connsiteX97" fmla="*/ 132397 w 229552"/>
                    <a:gd name="connsiteY97" fmla="*/ 71438 h 84772"/>
                    <a:gd name="connsiteX98" fmla="*/ 131445 w 229552"/>
                    <a:gd name="connsiteY98" fmla="*/ 72390 h 84772"/>
                    <a:gd name="connsiteX99" fmla="*/ 129540 w 229552"/>
                    <a:gd name="connsiteY99" fmla="*/ 73343 h 84772"/>
                    <a:gd name="connsiteX100" fmla="*/ 127635 w 229552"/>
                    <a:gd name="connsiteY100" fmla="*/ 73343 h 84772"/>
                    <a:gd name="connsiteX101" fmla="*/ 119063 w 229552"/>
                    <a:gd name="connsiteY101" fmla="*/ 72390 h 84772"/>
                    <a:gd name="connsiteX102" fmla="*/ 109538 w 229552"/>
                    <a:gd name="connsiteY102" fmla="*/ 73343 h 84772"/>
                    <a:gd name="connsiteX103" fmla="*/ 108585 w 229552"/>
                    <a:gd name="connsiteY103" fmla="*/ 74295 h 84772"/>
                    <a:gd name="connsiteX104" fmla="*/ 106680 w 229552"/>
                    <a:gd name="connsiteY104" fmla="*/ 75248 h 84772"/>
                    <a:gd name="connsiteX105" fmla="*/ 100965 w 229552"/>
                    <a:gd name="connsiteY105" fmla="*/ 80010 h 84772"/>
                    <a:gd name="connsiteX106" fmla="*/ 100013 w 229552"/>
                    <a:gd name="connsiteY106" fmla="*/ 82868 h 84772"/>
                    <a:gd name="connsiteX107" fmla="*/ 97155 w 229552"/>
                    <a:gd name="connsiteY107" fmla="*/ 82868 h 84772"/>
                    <a:gd name="connsiteX108" fmla="*/ 94297 w 229552"/>
                    <a:gd name="connsiteY108" fmla="*/ 83820 h 84772"/>
                    <a:gd name="connsiteX109" fmla="*/ 94297 w 229552"/>
                    <a:gd name="connsiteY109" fmla="*/ 84773 h 84772"/>
                    <a:gd name="connsiteX110" fmla="*/ 93345 w 229552"/>
                    <a:gd name="connsiteY110" fmla="*/ 83820 h 84772"/>
                    <a:gd name="connsiteX111" fmla="*/ 92392 w 229552"/>
                    <a:gd name="connsiteY111" fmla="*/ 81915 h 84772"/>
                    <a:gd name="connsiteX112" fmla="*/ 93345 w 229552"/>
                    <a:gd name="connsiteY112" fmla="*/ 80010 h 84772"/>
                    <a:gd name="connsiteX113" fmla="*/ 94297 w 229552"/>
                    <a:gd name="connsiteY113" fmla="*/ 80963 h 84772"/>
                    <a:gd name="connsiteX114" fmla="*/ 97155 w 229552"/>
                    <a:gd name="connsiteY114" fmla="*/ 80963 h 84772"/>
                    <a:gd name="connsiteX115" fmla="*/ 96202 w 229552"/>
                    <a:gd name="connsiteY115" fmla="*/ 77153 h 84772"/>
                    <a:gd name="connsiteX116" fmla="*/ 92392 w 229552"/>
                    <a:gd name="connsiteY116" fmla="*/ 76200 h 84772"/>
                    <a:gd name="connsiteX117" fmla="*/ 90488 w 229552"/>
                    <a:gd name="connsiteY117" fmla="*/ 78105 h 84772"/>
                    <a:gd name="connsiteX118" fmla="*/ 89535 w 229552"/>
                    <a:gd name="connsiteY118" fmla="*/ 79058 h 84772"/>
                    <a:gd name="connsiteX119" fmla="*/ 87630 w 229552"/>
                    <a:gd name="connsiteY119" fmla="*/ 78105 h 84772"/>
                    <a:gd name="connsiteX120" fmla="*/ 87630 w 229552"/>
                    <a:gd name="connsiteY120" fmla="*/ 79058 h 84772"/>
                    <a:gd name="connsiteX121" fmla="*/ 83820 w 229552"/>
                    <a:gd name="connsiteY121" fmla="*/ 78105 h 84772"/>
                    <a:gd name="connsiteX122" fmla="*/ 80963 w 229552"/>
                    <a:gd name="connsiteY122" fmla="*/ 76200 h 84772"/>
                    <a:gd name="connsiteX123" fmla="*/ 80010 w 229552"/>
                    <a:gd name="connsiteY123" fmla="*/ 75248 h 84772"/>
                    <a:gd name="connsiteX124" fmla="*/ 80010 w 229552"/>
                    <a:gd name="connsiteY124" fmla="*/ 73343 h 84772"/>
                    <a:gd name="connsiteX125" fmla="*/ 79057 w 229552"/>
                    <a:gd name="connsiteY125" fmla="*/ 73343 h 84772"/>
                    <a:gd name="connsiteX126" fmla="*/ 78105 w 229552"/>
                    <a:gd name="connsiteY126" fmla="*/ 73343 h 84772"/>
                    <a:gd name="connsiteX127" fmla="*/ 77152 w 229552"/>
                    <a:gd name="connsiteY127" fmla="*/ 73343 h 84772"/>
                    <a:gd name="connsiteX128" fmla="*/ 76200 w 229552"/>
                    <a:gd name="connsiteY128" fmla="*/ 73343 h 84772"/>
                    <a:gd name="connsiteX129" fmla="*/ 75247 w 229552"/>
                    <a:gd name="connsiteY129" fmla="*/ 74295 h 84772"/>
                    <a:gd name="connsiteX130" fmla="*/ 75247 w 229552"/>
                    <a:gd name="connsiteY130" fmla="*/ 75248 h 84772"/>
                    <a:gd name="connsiteX131" fmla="*/ 73342 w 229552"/>
                    <a:gd name="connsiteY131" fmla="*/ 75248 h 84772"/>
                    <a:gd name="connsiteX132" fmla="*/ 72390 w 229552"/>
                    <a:gd name="connsiteY132" fmla="*/ 77153 h 84772"/>
                    <a:gd name="connsiteX133" fmla="*/ 70485 w 229552"/>
                    <a:gd name="connsiteY133" fmla="*/ 77153 h 84772"/>
                    <a:gd name="connsiteX134" fmla="*/ 68580 w 229552"/>
                    <a:gd name="connsiteY134" fmla="*/ 77153 h 84772"/>
                    <a:gd name="connsiteX135" fmla="*/ 67627 w 229552"/>
                    <a:gd name="connsiteY135" fmla="*/ 78105 h 84772"/>
                    <a:gd name="connsiteX136" fmla="*/ 68580 w 229552"/>
                    <a:gd name="connsiteY136" fmla="*/ 80010 h 84772"/>
                    <a:gd name="connsiteX137" fmla="*/ 66675 w 229552"/>
                    <a:gd name="connsiteY137" fmla="*/ 80963 h 84772"/>
                    <a:gd name="connsiteX138" fmla="*/ 61913 w 229552"/>
                    <a:gd name="connsiteY138" fmla="*/ 80963 h 84772"/>
                    <a:gd name="connsiteX139" fmla="*/ 56197 w 229552"/>
                    <a:gd name="connsiteY139" fmla="*/ 80010 h 84772"/>
                    <a:gd name="connsiteX140" fmla="*/ 51435 w 229552"/>
                    <a:gd name="connsiteY140" fmla="*/ 78105 h 84772"/>
                    <a:gd name="connsiteX141" fmla="*/ 44767 w 229552"/>
                    <a:gd name="connsiteY141" fmla="*/ 74295 h 84772"/>
                    <a:gd name="connsiteX142" fmla="*/ 41910 w 229552"/>
                    <a:gd name="connsiteY142" fmla="*/ 73343 h 84772"/>
                    <a:gd name="connsiteX143" fmla="*/ 39052 w 229552"/>
                    <a:gd name="connsiteY143" fmla="*/ 72390 h 84772"/>
                    <a:gd name="connsiteX144" fmla="*/ 34290 w 229552"/>
                    <a:gd name="connsiteY144" fmla="*/ 72390 h 84772"/>
                    <a:gd name="connsiteX145" fmla="*/ 31432 w 229552"/>
                    <a:gd name="connsiteY145" fmla="*/ 71438 h 84772"/>
                    <a:gd name="connsiteX146" fmla="*/ 29527 w 229552"/>
                    <a:gd name="connsiteY146" fmla="*/ 69533 h 84772"/>
                    <a:gd name="connsiteX147" fmla="*/ 23813 w 229552"/>
                    <a:gd name="connsiteY147" fmla="*/ 65723 h 84772"/>
                    <a:gd name="connsiteX148" fmla="*/ 22860 w 229552"/>
                    <a:gd name="connsiteY148" fmla="*/ 64770 h 84772"/>
                    <a:gd name="connsiteX149" fmla="*/ 21907 w 229552"/>
                    <a:gd name="connsiteY149" fmla="*/ 60960 h 84772"/>
                    <a:gd name="connsiteX150" fmla="*/ 21907 w 229552"/>
                    <a:gd name="connsiteY150" fmla="*/ 60008 h 84772"/>
                    <a:gd name="connsiteX151" fmla="*/ 20955 w 229552"/>
                    <a:gd name="connsiteY151" fmla="*/ 59055 h 84772"/>
                    <a:gd name="connsiteX152" fmla="*/ 17145 w 229552"/>
                    <a:gd name="connsiteY152" fmla="*/ 50483 h 84772"/>
                    <a:gd name="connsiteX153" fmla="*/ 16192 w 229552"/>
                    <a:gd name="connsiteY153" fmla="*/ 49530 h 84772"/>
                    <a:gd name="connsiteX154" fmla="*/ 13335 w 229552"/>
                    <a:gd name="connsiteY154" fmla="*/ 47625 h 84772"/>
                    <a:gd name="connsiteX155" fmla="*/ 11430 w 229552"/>
                    <a:gd name="connsiteY155" fmla="*/ 46673 h 84772"/>
                    <a:gd name="connsiteX156" fmla="*/ 10477 w 229552"/>
                    <a:gd name="connsiteY156" fmla="*/ 45720 h 84772"/>
                    <a:gd name="connsiteX157" fmla="*/ 9525 w 229552"/>
                    <a:gd name="connsiteY157" fmla="*/ 43815 h 84772"/>
                    <a:gd name="connsiteX158" fmla="*/ 9525 w 229552"/>
                    <a:gd name="connsiteY158" fmla="*/ 41910 h 84772"/>
                    <a:gd name="connsiteX159" fmla="*/ 10477 w 229552"/>
                    <a:gd name="connsiteY159" fmla="*/ 40005 h 84772"/>
                    <a:gd name="connsiteX160" fmla="*/ 7620 w 229552"/>
                    <a:gd name="connsiteY160" fmla="*/ 36195 h 84772"/>
                    <a:gd name="connsiteX161" fmla="*/ 6667 w 229552"/>
                    <a:gd name="connsiteY161" fmla="*/ 34290 h 84772"/>
                    <a:gd name="connsiteX162" fmla="*/ 6667 w 229552"/>
                    <a:gd name="connsiteY162" fmla="*/ 30480 h 84772"/>
                    <a:gd name="connsiteX163" fmla="*/ 5715 w 229552"/>
                    <a:gd name="connsiteY163" fmla="*/ 28575 h 84772"/>
                    <a:gd name="connsiteX164" fmla="*/ 2857 w 229552"/>
                    <a:gd name="connsiteY164" fmla="*/ 23813 h 84772"/>
                    <a:gd name="connsiteX165" fmla="*/ 952 w 229552"/>
                    <a:gd name="connsiteY165" fmla="*/ 20955 h 84772"/>
                    <a:gd name="connsiteX166" fmla="*/ 0 w 229552"/>
                    <a:gd name="connsiteY166" fmla="*/ 17145 h 84772"/>
                    <a:gd name="connsiteX167" fmla="*/ 952 w 229552"/>
                    <a:gd name="connsiteY167" fmla="*/ 14288 h 84772"/>
                    <a:gd name="connsiteX168" fmla="*/ 1905 w 229552"/>
                    <a:gd name="connsiteY168" fmla="*/ 14288 h 84772"/>
                    <a:gd name="connsiteX169" fmla="*/ 4763 w 229552"/>
                    <a:gd name="connsiteY169" fmla="*/ 15240 h 84772"/>
                    <a:gd name="connsiteX170" fmla="*/ 8572 w 229552"/>
                    <a:gd name="connsiteY170" fmla="*/ 20003 h 84772"/>
                    <a:gd name="connsiteX171" fmla="*/ 11430 w 229552"/>
                    <a:gd name="connsiteY171" fmla="*/ 20955 h 84772"/>
                    <a:gd name="connsiteX172" fmla="*/ 13335 w 229552"/>
                    <a:gd name="connsiteY172" fmla="*/ 21908 h 84772"/>
                    <a:gd name="connsiteX173" fmla="*/ 19050 w 229552"/>
                    <a:gd name="connsiteY173" fmla="*/ 21908 h 84772"/>
                    <a:gd name="connsiteX174" fmla="*/ 22860 w 229552"/>
                    <a:gd name="connsiteY174" fmla="*/ 20003 h 84772"/>
                    <a:gd name="connsiteX175" fmla="*/ 25717 w 229552"/>
                    <a:gd name="connsiteY175" fmla="*/ 16193 h 84772"/>
                    <a:gd name="connsiteX176" fmla="*/ 28575 w 229552"/>
                    <a:gd name="connsiteY176" fmla="*/ 12383 h 84772"/>
                    <a:gd name="connsiteX177" fmla="*/ 29527 w 229552"/>
                    <a:gd name="connsiteY177" fmla="*/ 7620 h 84772"/>
                    <a:gd name="connsiteX178" fmla="*/ 30480 w 229552"/>
                    <a:gd name="connsiteY178" fmla="*/ 4763 h 84772"/>
                    <a:gd name="connsiteX179" fmla="*/ 32385 w 229552"/>
                    <a:gd name="connsiteY179" fmla="*/ 3810 h 84772"/>
                    <a:gd name="connsiteX180" fmla="*/ 33338 w 229552"/>
                    <a:gd name="connsiteY180" fmla="*/ 2858 h 84772"/>
                    <a:gd name="connsiteX181" fmla="*/ 33338 w 229552"/>
                    <a:gd name="connsiteY181" fmla="*/ 1905 h 84772"/>
                    <a:gd name="connsiteX182" fmla="*/ 34290 w 229552"/>
                    <a:gd name="connsiteY182" fmla="*/ 1905 h 84772"/>
                    <a:gd name="connsiteX183" fmla="*/ 35242 w 229552"/>
                    <a:gd name="connsiteY183" fmla="*/ 2858 h 84772"/>
                    <a:gd name="connsiteX184" fmla="*/ 36195 w 229552"/>
                    <a:gd name="connsiteY184" fmla="*/ 2858 h 84772"/>
                    <a:gd name="connsiteX185" fmla="*/ 38100 w 229552"/>
                    <a:gd name="connsiteY185" fmla="*/ 2858 h 84772"/>
                    <a:gd name="connsiteX186" fmla="*/ 39052 w 229552"/>
                    <a:gd name="connsiteY186" fmla="*/ 3810 h 84772"/>
                    <a:gd name="connsiteX187" fmla="*/ 40957 w 229552"/>
                    <a:gd name="connsiteY187" fmla="*/ 5715 h 84772"/>
                    <a:gd name="connsiteX188" fmla="*/ 42863 w 229552"/>
                    <a:gd name="connsiteY188" fmla="*/ 5715 h 84772"/>
                    <a:gd name="connsiteX189" fmla="*/ 43815 w 229552"/>
                    <a:gd name="connsiteY189" fmla="*/ 5715 h 84772"/>
                    <a:gd name="connsiteX190" fmla="*/ 45720 w 229552"/>
                    <a:gd name="connsiteY190" fmla="*/ 3810 h 84772"/>
                    <a:gd name="connsiteX191" fmla="*/ 46672 w 229552"/>
                    <a:gd name="connsiteY191" fmla="*/ 1905 h 84772"/>
                    <a:gd name="connsiteX192" fmla="*/ 46672 w 229552"/>
                    <a:gd name="connsiteY192" fmla="*/ 0 h 84772"/>
                    <a:gd name="connsiteX193" fmla="*/ 50482 w 229552"/>
                    <a:gd name="connsiteY193" fmla="*/ 953 h 84772"/>
                    <a:gd name="connsiteX194" fmla="*/ 52388 w 229552"/>
                    <a:gd name="connsiteY194" fmla="*/ 4763 h 84772"/>
                    <a:gd name="connsiteX195" fmla="*/ 53340 w 229552"/>
                    <a:gd name="connsiteY195" fmla="*/ 6668 h 84772"/>
                    <a:gd name="connsiteX196" fmla="*/ 54292 w 229552"/>
                    <a:gd name="connsiteY196" fmla="*/ 8573 h 84772"/>
                    <a:gd name="connsiteX197" fmla="*/ 56197 w 229552"/>
                    <a:gd name="connsiteY197" fmla="*/ 9525 h 84772"/>
                    <a:gd name="connsiteX198" fmla="*/ 60007 w 229552"/>
                    <a:gd name="connsiteY198" fmla="*/ 10478 h 84772"/>
                    <a:gd name="connsiteX199" fmla="*/ 62865 w 229552"/>
                    <a:gd name="connsiteY199" fmla="*/ 11430 h 84772"/>
                    <a:gd name="connsiteX200" fmla="*/ 64770 w 229552"/>
                    <a:gd name="connsiteY200" fmla="*/ 13335 h 84772"/>
                    <a:gd name="connsiteX201" fmla="*/ 66675 w 229552"/>
                    <a:gd name="connsiteY201" fmla="*/ 14288 h 84772"/>
                    <a:gd name="connsiteX202" fmla="*/ 67627 w 229552"/>
                    <a:gd name="connsiteY202" fmla="*/ 16193 h 84772"/>
                    <a:gd name="connsiteX203" fmla="*/ 67627 w 229552"/>
                    <a:gd name="connsiteY203" fmla="*/ 18098 h 84772"/>
                    <a:gd name="connsiteX204" fmla="*/ 68580 w 229552"/>
                    <a:gd name="connsiteY204" fmla="*/ 19050 h 84772"/>
                    <a:gd name="connsiteX205" fmla="*/ 69532 w 229552"/>
                    <a:gd name="connsiteY205" fmla="*/ 20003 h 84772"/>
                    <a:gd name="connsiteX206" fmla="*/ 70485 w 229552"/>
                    <a:gd name="connsiteY206" fmla="*/ 20003 h 84772"/>
                    <a:gd name="connsiteX207" fmla="*/ 74295 w 229552"/>
                    <a:gd name="connsiteY207" fmla="*/ 19050 h 84772"/>
                    <a:gd name="connsiteX208" fmla="*/ 75247 w 229552"/>
                    <a:gd name="connsiteY208" fmla="*/ 17145 h 84772"/>
                    <a:gd name="connsiteX209" fmla="*/ 76200 w 229552"/>
                    <a:gd name="connsiteY209" fmla="*/ 15240 h 84772"/>
                    <a:gd name="connsiteX210" fmla="*/ 77152 w 229552"/>
                    <a:gd name="connsiteY210" fmla="*/ 14288 h 84772"/>
                    <a:gd name="connsiteX211" fmla="*/ 78105 w 229552"/>
                    <a:gd name="connsiteY211" fmla="*/ 15240 h 84772"/>
                    <a:gd name="connsiteX212" fmla="*/ 79057 w 229552"/>
                    <a:gd name="connsiteY212" fmla="*/ 16193 h 84772"/>
                    <a:gd name="connsiteX213" fmla="*/ 80963 w 229552"/>
                    <a:gd name="connsiteY213" fmla="*/ 17145 h 84772"/>
                    <a:gd name="connsiteX214" fmla="*/ 82867 w 229552"/>
                    <a:gd name="connsiteY214" fmla="*/ 17145 h 84772"/>
                    <a:gd name="connsiteX215" fmla="*/ 84772 w 229552"/>
                    <a:gd name="connsiteY215" fmla="*/ 16193 h 84772"/>
                    <a:gd name="connsiteX216" fmla="*/ 86677 w 229552"/>
                    <a:gd name="connsiteY216" fmla="*/ 14288 h 84772"/>
                    <a:gd name="connsiteX217" fmla="*/ 88582 w 229552"/>
                    <a:gd name="connsiteY217" fmla="*/ 12383 h 84772"/>
                    <a:gd name="connsiteX218" fmla="*/ 90488 w 229552"/>
                    <a:gd name="connsiteY218" fmla="*/ 11430 h 84772"/>
                    <a:gd name="connsiteX219" fmla="*/ 93345 w 229552"/>
                    <a:gd name="connsiteY219" fmla="*/ 9525 h 84772"/>
                    <a:gd name="connsiteX220" fmla="*/ 94297 w 229552"/>
                    <a:gd name="connsiteY220" fmla="*/ 7620 h 84772"/>
                    <a:gd name="connsiteX221" fmla="*/ 96202 w 229552"/>
                    <a:gd name="connsiteY221" fmla="*/ 7620 h 84772"/>
                    <a:gd name="connsiteX222" fmla="*/ 99060 w 229552"/>
                    <a:gd name="connsiteY222" fmla="*/ 8573 h 84772"/>
                    <a:gd name="connsiteX223" fmla="*/ 101917 w 229552"/>
                    <a:gd name="connsiteY223" fmla="*/ 8573 h 84772"/>
                    <a:gd name="connsiteX224" fmla="*/ 105727 w 229552"/>
                    <a:gd name="connsiteY224" fmla="*/ 8573 h 84772"/>
                    <a:gd name="connsiteX225" fmla="*/ 106680 w 229552"/>
                    <a:gd name="connsiteY225" fmla="*/ 7620 h 84772"/>
                    <a:gd name="connsiteX226" fmla="*/ 107632 w 229552"/>
                    <a:gd name="connsiteY226" fmla="*/ 7620 h 84772"/>
                    <a:gd name="connsiteX227" fmla="*/ 108585 w 229552"/>
                    <a:gd name="connsiteY227" fmla="*/ 5715 h 84772"/>
                    <a:gd name="connsiteX228" fmla="*/ 111442 w 229552"/>
                    <a:gd name="connsiteY228" fmla="*/ 3810 h 84772"/>
                    <a:gd name="connsiteX229" fmla="*/ 113347 w 229552"/>
                    <a:gd name="connsiteY229" fmla="*/ 3810 h 84772"/>
                    <a:gd name="connsiteX230" fmla="*/ 115252 w 229552"/>
                    <a:gd name="connsiteY230" fmla="*/ 4763 h 84772"/>
                    <a:gd name="connsiteX231" fmla="*/ 116205 w 229552"/>
                    <a:gd name="connsiteY231" fmla="*/ 5715 h 84772"/>
                    <a:gd name="connsiteX232" fmla="*/ 118110 w 229552"/>
                    <a:gd name="connsiteY232" fmla="*/ 5715 h 84772"/>
                    <a:gd name="connsiteX233" fmla="*/ 119063 w 229552"/>
                    <a:gd name="connsiteY233" fmla="*/ 5715 h 84772"/>
                    <a:gd name="connsiteX234" fmla="*/ 120967 w 229552"/>
                    <a:gd name="connsiteY234" fmla="*/ 7620 h 84772"/>
                    <a:gd name="connsiteX235" fmla="*/ 122872 w 229552"/>
                    <a:gd name="connsiteY235" fmla="*/ 9525 h 84772"/>
                    <a:gd name="connsiteX236" fmla="*/ 124777 w 229552"/>
                    <a:gd name="connsiteY236" fmla="*/ 10478 h 84772"/>
                    <a:gd name="connsiteX237" fmla="*/ 127635 w 229552"/>
                    <a:gd name="connsiteY237" fmla="*/ 11430 h 84772"/>
                    <a:gd name="connsiteX238" fmla="*/ 128588 w 229552"/>
                    <a:gd name="connsiteY238" fmla="*/ 11430 h 84772"/>
                    <a:gd name="connsiteX239" fmla="*/ 129540 w 229552"/>
                    <a:gd name="connsiteY239" fmla="*/ 10478 h 84772"/>
                    <a:gd name="connsiteX240" fmla="*/ 129540 w 229552"/>
                    <a:gd name="connsiteY240" fmla="*/ 9525 h 84772"/>
                    <a:gd name="connsiteX241" fmla="*/ 130492 w 229552"/>
                    <a:gd name="connsiteY241" fmla="*/ 7620 h 84772"/>
                    <a:gd name="connsiteX242" fmla="*/ 133350 w 229552"/>
                    <a:gd name="connsiteY242" fmla="*/ 4763 h 84772"/>
                    <a:gd name="connsiteX243" fmla="*/ 134302 w 229552"/>
                    <a:gd name="connsiteY243" fmla="*/ 4763 h 84772"/>
                    <a:gd name="connsiteX244" fmla="*/ 136207 w 229552"/>
                    <a:gd name="connsiteY244" fmla="*/ 4763 h 84772"/>
                    <a:gd name="connsiteX245" fmla="*/ 139065 w 229552"/>
                    <a:gd name="connsiteY245" fmla="*/ 4763 h 84772"/>
                    <a:gd name="connsiteX246" fmla="*/ 140970 w 229552"/>
                    <a:gd name="connsiteY246" fmla="*/ 4763 h 84772"/>
                    <a:gd name="connsiteX247" fmla="*/ 141922 w 229552"/>
                    <a:gd name="connsiteY247" fmla="*/ 4763 h 84772"/>
                    <a:gd name="connsiteX248" fmla="*/ 141922 w 229552"/>
                    <a:gd name="connsiteY248" fmla="*/ 6668 h 84772"/>
                    <a:gd name="connsiteX249" fmla="*/ 142875 w 229552"/>
                    <a:gd name="connsiteY249" fmla="*/ 8573 h 84772"/>
                    <a:gd name="connsiteX250" fmla="*/ 143827 w 229552"/>
                    <a:gd name="connsiteY250" fmla="*/ 9525 h 84772"/>
                    <a:gd name="connsiteX251" fmla="*/ 145732 w 229552"/>
                    <a:gd name="connsiteY251" fmla="*/ 11430 h 84772"/>
                    <a:gd name="connsiteX252" fmla="*/ 147638 w 229552"/>
                    <a:gd name="connsiteY252" fmla="*/ 13335 h 84772"/>
                    <a:gd name="connsiteX253" fmla="*/ 147638 w 229552"/>
                    <a:gd name="connsiteY253" fmla="*/ 14288 h 84772"/>
                    <a:gd name="connsiteX254" fmla="*/ 148590 w 229552"/>
                    <a:gd name="connsiteY254" fmla="*/ 17145 h 84772"/>
                    <a:gd name="connsiteX255" fmla="*/ 148590 w 229552"/>
                    <a:gd name="connsiteY255" fmla="*/ 19050 h 84772"/>
                    <a:gd name="connsiteX256" fmla="*/ 148590 w 229552"/>
                    <a:gd name="connsiteY256" fmla="*/ 21908 h 84772"/>
                    <a:gd name="connsiteX257" fmla="*/ 148590 w 229552"/>
                    <a:gd name="connsiteY257" fmla="*/ 25718 h 84772"/>
                    <a:gd name="connsiteX258" fmla="*/ 147638 w 229552"/>
                    <a:gd name="connsiteY258" fmla="*/ 28575 h 84772"/>
                    <a:gd name="connsiteX259" fmla="*/ 148590 w 229552"/>
                    <a:gd name="connsiteY259" fmla="*/ 30480 h 84772"/>
                    <a:gd name="connsiteX260" fmla="*/ 149542 w 229552"/>
                    <a:gd name="connsiteY260" fmla="*/ 31433 h 84772"/>
                    <a:gd name="connsiteX261" fmla="*/ 151447 w 229552"/>
                    <a:gd name="connsiteY261" fmla="*/ 31433 h 84772"/>
                    <a:gd name="connsiteX262" fmla="*/ 153352 w 229552"/>
                    <a:gd name="connsiteY262" fmla="*/ 31433 h 84772"/>
                    <a:gd name="connsiteX263" fmla="*/ 153352 w 229552"/>
                    <a:gd name="connsiteY263" fmla="*/ 28575 h 84772"/>
                    <a:gd name="connsiteX264" fmla="*/ 153352 w 229552"/>
                    <a:gd name="connsiteY264" fmla="*/ 24765 h 84772"/>
                    <a:gd name="connsiteX265" fmla="*/ 154305 w 229552"/>
                    <a:gd name="connsiteY265" fmla="*/ 23813 h 84772"/>
                    <a:gd name="connsiteX266" fmla="*/ 155257 w 229552"/>
                    <a:gd name="connsiteY266" fmla="*/ 22860 h 84772"/>
                    <a:gd name="connsiteX267" fmla="*/ 156210 w 229552"/>
                    <a:gd name="connsiteY267" fmla="*/ 21908 h 84772"/>
                    <a:gd name="connsiteX268" fmla="*/ 157163 w 229552"/>
                    <a:gd name="connsiteY268" fmla="*/ 22860 h 84772"/>
                    <a:gd name="connsiteX269" fmla="*/ 158115 w 229552"/>
                    <a:gd name="connsiteY269" fmla="*/ 26670 h 84772"/>
                    <a:gd name="connsiteX270" fmla="*/ 159067 w 229552"/>
                    <a:gd name="connsiteY270" fmla="*/ 28575 h 84772"/>
                    <a:gd name="connsiteX271" fmla="*/ 160020 w 229552"/>
                    <a:gd name="connsiteY271" fmla="*/ 29528 h 84772"/>
                    <a:gd name="connsiteX272" fmla="*/ 162877 w 229552"/>
                    <a:gd name="connsiteY272" fmla="*/ 28575 h 84772"/>
                    <a:gd name="connsiteX273" fmla="*/ 162877 w 229552"/>
                    <a:gd name="connsiteY273" fmla="*/ 26670 h 84772"/>
                    <a:gd name="connsiteX274" fmla="*/ 163830 w 229552"/>
                    <a:gd name="connsiteY274" fmla="*/ 25718 h 84772"/>
                    <a:gd name="connsiteX275" fmla="*/ 165735 w 229552"/>
                    <a:gd name="connsiteY275" fmla="*/ 25718 h 84772"/>
                    <a:gd name="connsiteX276" fmla="*/ 166688 w 229552"/>
                    <a:gd name="connsiteY276" fmla="*/ 26670 h 84772"/>
                    <a:gd name="connsiteX277" fmla="*/ 168592 w 229552"/>
                    <a:gd name="connsiteY277" fmla="*/ 26670 h 84772"/>
                    <a:gd name="connsiteX278" fmla="*/ 169545 w 229552"/>
                    <a:gd name="connsiteY278" fmla="*/ 25718 h 84772"/>
                    <a:gd name="connsiteX279" fmla="*/ 170497 w 229552"/>
                    <a:gd name="connsiteY279" fmla="*/ 26670 h 84772"/>
                    <a:gd name="connsiteX280" fmla="*/ 171450 w 229552"/>
                    <a:gd name="connsiteY280" fmla="*/ 26670 h 84772"/>
                    <a:gd name="connsiteX281" fmla="*/ 174307 w 229552"/>
                    <a:gd name="connsiteY281" fmla="*/ 28575 h 84772"/>
                    <a:gd name="connsiteX282" fmla="*/ 176213 w 229552"/>
                    <a:gd name="connsiteY282" fmla="*/ 28575 h 84772"/>
                    <a:gd name="connsiteX283" fmla="*/ 177165 w 229552"/>
                    <a:gd name="connsiteY283" fmla="*/ 28575 h 84772"/>
                    <a:gd name="connsiteX284" fmla="*/ 180022 w 229552"/>
                    <a:gd name="connsiteY284" fmla="*/ 30480 h 8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229552" h="84772">
                      <a:moveTo>
                        <a:pt x="188595" y="30480"/>
                      </a:moveTo>
                      <a:lnTo>
                        <a:pt x="187642" y="30480"/>
                      </a:lnTo>
                      <a:lnTo>
                        <a:pt x="186690" y="30480"/>
                      </a:lnTo>
                      <a:lnTo>
                        <a:pt x="187642" y="29528"/>
                      </a:lnTo>
                      <a:lnTo>
                        <a:pt x="188595" y="30480"/>
                      </a:lnTo>
                      <a:close/>
                      <a:moveTo>
                        <a:pt x="188595" y="30480"/>
                      </a:moveTo>
                      <a:lnTo>
                        <a:pt x="189547" y="30480"/>
                      </a:lnTo>
                      <a:lnTo>
                        <a:pt x="190500" y="30480"/>
                      </a:lnTo>
                      <a:lnTo>
                        <a:pt x="191452" y="31433"/>
                      </a:lnTo>
                      <a:lnTo>
                        <a:pt x="190500" y="31433"/>
                      </a:lnTo>
                      <a:lnTo>
                        <a:pt x="189547" y="31433"/>
                      </a:lnTo>
                      <a:lnTo>
                        <a:pt x="188595" y="31433"/>
                      </a:lnTo>
                      <a:lnTo>
                        <a:pt x="188595" y="30480"/>
                      </a:lnTo>
                      <a:close/>
                      <a:moveTo>
                        <a:pt x="184785" y="27623"/>
                      </a:moveTo>
                      <a:lnTo>
                        <a:pt x="183832" y="27623"/>
                      </a:lnTo>
                      <a:lnTo>
                        <a:pt x="183832" y="26670"/>
                      </a:lnTo>
                      <a:lnTo>
                        <a:pt x="184785" y="26670"/>
                      </a:lnTo>
                      <a:lnTo>
                        <a:pt x="184785" y="25718"/>
                      </a:lnTo>
                      <a:lnTo>
                        <a:pt x="185738" y="26670"/>
                      </a:lnTo>
                      <a:lnTo>
                        <a:pt x="185738" y="27623"/>
                      </a:lnTo>
                      <a:lnTo>
                        <a:pt x="184785" y="27623"/>
                      </a:lnTo>
                      <a:close/>
                      <a:moveTo>
                        <a:pt x="218122" y="20003"/>
                      </a:moveTo>
                      <a:lnTo>
                        <a:pt x="220027" y="20955"/>
                      </a:lnTo>
                      <a:lnTo>
                        <a:pt x="222885" y="23813"/>
                      </a:lnTo>
                      <a:lnTo>
                        <a:pt x="224790" y="27623"/>
                      </a:lnTo>
                      <a:lnTo>
                        <a:pt x="225742" y="30480"/>
                      </a:lnTo>
                      <a:lnTo>
                        <a:pt x="227647" y="32385"/>
                      </a:lnTo>
                      <a:lnTo>
                        <a:pt x="229552" y="33338"/>
                      </a:lnTo>
                      <a:lnTo>
                        <a:pt x="227647" y="33338"/>
                      </a:lnTo>
                      <a:lnTo>
                        <a:pt x="224790" y="33338"/>
                      </a:lnTo>
                      <a:lnTo>
                        <a:pt x="221932" y="32385"/>
                      </a:lnTo>
                      <a:lnTo>
                        <a:pt x="220027" y="30480"/>
                      </a:lnTo>
                      <a:lnTo>
                        <a:pt x="218122" y="30480"/>
                      </a:lnTo>
                      <a:lnTo>
                        <a:pt x="211455" y="31433"/>
                      </a:lnTo>
                      <a:lnTo>
                        <a:pt x="205740" y="32385"/>
                      </a:lnTo>
                      <a:lnTo>
                        <a:pt x="204788" y="33338"/>
                      </a:lnTo>
                      <a:lnTo>
                        <a:pt x="203835" y="34290"/>
                      </a:lnTo>
                      <a:lnTo>
                        <a:pt x="200977" y="34290"/>
                      </a:lnTo>
                      <a:lnTo>
                        <a:pt x="198120" y="34290"/>
                      </a:lnTo>
                      <a:lnTo>
                        <a:pt x="197167" y="33338"/>
                      </a:lnTo>
                      <a:lnTo>
                        <a:pt x="199072" y="32385"/>
                      </a:lnTo>
                      <a:lnTo>
                        <a:pt x="200025" y="32385"/>
                      </a:lnTo>
                      <a:lnTo>
                        <a:pt x="199072" y="29528"/>
                      </a:lnTo>
                      <a:lnTo>
                        <a:pt x="197167" y="29528"/>
                      </a:lnTo>
                      <a:lnTo>
                        <a:pt x="195263" y="28575"/>
                      </a:lnTo>
                      <a:lnTo>
                        <a:pt x="195263" y="24765"/>
                      </a:lnTo>
                      <a:lnTo>
                        <a:pt x="194310" y="23813"/>
                      </a:lnTo>
                      <a:lnTo>
                        <a:pt x="191452" y="22860"/>
                      </a:lnTo>
                      <a:lnTo>
                        <a:pt x="191452" y="20955"/>
                      </a:lnTo>
                      <a:lnTo>
                        <a:pt x="192405" y="20003"/>
                      </a:lnTo>
                      <a:lnTo>
                        <a:pt x="194310" y="19050"/>
                      </a:lnTo>
                      <a:lnTo>
                        <a:pt x="195263" y="20003"/>
                      </a:lnTo>
                      <a:lnTo>
                        <a:pt x="196215" y="20955"/>
                      </a:lnTo>
                      <a:lnTo>
                        <a:pt x="198120" y="20003"/>
                      </a:lnTo>
                      <a:lnTo>
                        <a:pt x="199072" y="19050"/>
                      </a:lnTo>
                      <a:lnTo>
                        <a:pt x="200025" y="18098"/>
                      </a:lnTo>
                      <a:lnTo>
                        <a:pt x="200977" y="17145"/>
                      </a:lnTo>
                      <a:lnTo>
                        <a:pt x="202882" y="19050"/>
                      </a:lnTo>
                      <a:lnTo>
                        <a:pt x="204788" y="20003"/>
                      </a:lnTo>
                      <a:lnTo>
                        <a:pt x="205740" y="20003"/>
                      </a:lnTo>
                      <a:lnTo>
                        <a:pt x="207645" y="20955"/>
                      </a:lnTo>
                      <a:lnTo>
                        <a:pt x="208597" y="20955"/>
                      </a:lnTo>
                      <a:lnTo>
                        <a:pt x="211455" y="20003"/>
                      </a:lnTo>
                      <a:lnTo>
                        <a:pt x="213360" y="20003"/>
                      </a:lnTo>
                      <a:lnTo>
                        <a:pt x="214313" y="20955"/>
                      </a:lnTo>
                      <a:lnTo>
                        <a:pt x="216217" y="20955"/>
                      </a:lnTo>
                      <a:lnTo>
                        <a:pt x="217170" y="20955"/>
                      </a:lnTo>
                      <a:lnTo>
                        <a:pt x="218122" y="20955"/>
                      </a:lnTo>
                      <a:lnTo>
                        <a:pt x="218122" y="20003"/>
                      </a:lnTo>
                      <a:close/>
                      <a:moveTo>
                        <a:pt x="180022" y="30480"/>
                      </a:moveTo>
                      <a:lnTo>
                        <a:pt x="180022" y="32385"/>
                      </a:lnTo>
                      <a:lnTo>
                        <a:pt x="177165" y="33338"/>
                      </a:lnTo>
                      <a:lnTo>
                        <a:pt x="174307" y="36195"/>
                      </a:lnTo>
                      <a:lnTo>
                        <a:pt x="174307" y="38100"/>
                      </a:lnTo>
                      <a:lnTo>
                        <a:pt x="173355" y="40958"/>
                      </a:lnTo>
                      <a:lnTo>
                        <a:pt x="173355" y="43815"/>
                      </a:lnTo>
                      <a:lnTo>
                        <a:pt x="173355" y="46673"/>
                      </a:lnTo>
                      <a:lnTo>
                        <a:pt x="173355" y="49530"/>
                      </a:lnTo>
                      <a:lnTo>
                        <a:pt x="173355" y="50483"/>
                      </a:lnTo>
                      <a:lnTo>
                        <a:pt x="172402" y="50483"/>
                      </a:lnTo>
                      <a:lnTo>
                        <a:pt x="171450" y="51435"/>
                      </a:lnTo>
                      <a:lnTo>
                        <a:pt x="171450" y="54293"/>
                      </a:lnTo>
                      <a:lnTo>
                        <a:pt x="170497" y="55245"/>
                      </a:lnTo>
                      <a:lnTo>
                        <a:pt x="168592" y="55245"/>
                      </a:lnTo>
                      <a:lnTo>
                        <a:pt x="164782" y="55245"/>
                      </a:lnTo>
                      <a:lnTo>
                        <a:pt x="162877" y="56198"/>
                      </a:lnTo>
                      <a:lnTo>
                        <a:pt x="161925" y="57150"/>
                      </a:lnTo>
                      <a:lnTo>
                        <a:pt x="160972" y="59055"/>
                      </a:lnTo>
                      <a:lnTo>
                        <a:pt x="160020" y="60008"/>
                      </a:lnTo>
                      <a:lnTo>
                        <a:pt x="158115" y="60960"/>
                      </a:lnTo>
                      <a:lnTo>
                        <a:pt x="154305" y="61913"/>
                      </a:lnTo>
                      <a:lnTo>
                        <a:pt x="150495" y="63818"/>
                      </a:lnTo>
                      <a:lnTo>
                        <a:pt x="147638" y="64770"/>
                      </a:lnTo>
                      <a:lnTo>
                        <a:pt x="145732" y="61913"/>
                      </a:lnTo>
                      <a:lnTo>
                        <a:pt x="146685" y="66675"/>
                      </a:lnTo>
                      <a:lnTo>
                        <a:pt x="142875" y="68580"/>
                      </a:lnTo>
                      <a:lnTo>
                        <a:pt x="134302" y="70485"/>
                      </a:lnTo>
                      <a:lnTo>
                        <a:pt x="132397" y="71438"/>
                      </a:lnTo>
                      <a:lnTo>
                        <a:pt x="131445" y="72390"/>
                      </a:lnTo>
                      <a:lnTo>
                        <a:pt x="129540" y="73343"/>
                      </a:lnTo>
                      <a:lnTo>
                        <a:pt x="127635" y="73343"/>
                      </a:lnTo>
                      <a:lnTo>
                        <a:pt x="119063" y="72390"/>
                      </a:lnTo>
                      <a:lnTo>
                        <a:pt x="109538" y="73343"/>
                      </a:lnTo>
                      <a:lnTo>
                        <a:pt x="108585" y="74295"/>
                      </a:lnTo>
                      <a:lnTo>
                        <a:pt x="106680" y="75248"/>
                      </a:lnTo>
                      <a:lnTo>
                        <a:pt x="100965" y="80010"/>
                      </a:lnTo>
                      <a:lnTo>
                        <a:pt x="100013" y="82868"/>
                      </a:lnTo>
                      <a:lnTo>
                        <a:pt x="97155" y="82868"/>
                      </a:lnTo>
                      <a:lnTo>
                        <a:pt x="94297" y="83820"/>
                      </a:lnTo>
                      <a:lnTo>
                        <a:pt x="94297" y="84773"/>
                      </a:lnTo>
                      <a:lnTo>
                        <a:pt x="93345" y="83820"/>
                      </a:lnTo>
                      <a:lnTo>
                        <a:pt x="92392" y="81915"/>
                      </a:lnTo>
                      <a:lnTo>
                        <a:pt x="93345" y="80010"/>
                      </a:lnTo>
                      <a:lnTo>
                        <a:pt x="94297" y="80963"/>
                      </a:lnTo>
                      <a:lnTo>
                        <a:pt x="97155" y="80963"/>
                      </a:lnTo>
                      <a:lnTo>
                        <a:pt x="96202" y="77153"/>
                      </a:lnTo>
                      <a:lnTo>
                        <a:pt x="92392" y="76200"/>
                      </a:lnTo>
                      <a:lnTo>
                        <a:pt x="90488" y="78105"/>
                      </a:lnTo>
                      <a:lnTo>
                        <a:pt x="89535" y="79058"/>
                      </a:lnTo>
                      <a:lnTo>
                        <a:pt x="87630" y="78105"/>
                      </a:lnTo>
                      <a:lnTo>
                        <a:pt x="87630" y="79058"/>
                      </a:lnTo>
                      <a:lnTo>
                        <a:pt x="83820" y="78105"/>
                      </a:lnTo>
                      <a:lnTo>
                        <a:pt x="80963" y="76200"/>
                      </a:lnTo>
                      <a:lnTo>
                        <a:pt x="80010" y="75248"/>
                      </a:lnTo>
                      <a:lnTo>
                        <a:pt x="80010" y="73343"/>
                      </a:lnTo>
                      <a:lnTo>
                        <a:pt x="79057" y="73343"/>
                      </a:lnTo>
                      <a:lnTo>
                        <a:pt x="78105" y="73343"/>
                      </a:lnTo>
                      <a:lnTo>
                        <a:pt x="77152" y="73343"/>
                      </a:lnTo>
                      <a:lnTo>
                        <a:pt x="76200" y="73343"/>
                      </a:lnTo>
                      <a:lnTo>
                        <a:pt x="75247" y="74295"/>
                      </a:lnTo>
                      <a:lnTo>
                        <a:pt x="75247" y="75248"/>
                      </a:lnTo>
                      <a:lnTo>
                        <a:pt x="73342" y="75248"/>
                      </a:lnTo>
                      <a:lnTo>
                        <a:pt x="72390" y="77153"/>
                      </a:lnTo>
                      <a:lnTo>
                        <a:pt x="70485" y="77153"/>
                      </a:lnTo>
                      <a:lnTo>
                        <a:pt x="68580" y="77153"/>
                      </a:lnTo>
                      <a:lnTo>
                        <a:pt x="67627" y="78105"/>
                      </a:lnTo>
                      <a:lnTo>
                        <a:pt x="68580" y="80010"/>
                      </a:lnTo>
                      <a:lnTo>
                        <a:pt x="66675" y="80963"/>
                      </a:lnTo>
                      <a:lnTo>
                        <a:pt x="61913" y="80963"/>
                      </a:lnTo>
                      <a:lnTo>
                        <a:pt x="56197" y="80010"/>
                      </a:lnTo>
                      <a:lnTo>
                        <a:pt x="51435" y="78105"/>
                      </a:lnTo>
                      <a:lnTo>
                        <a:pt x="44767" y="74295"/>
                      </a:lnTo>
                      <a:lnTo>
                        <a:pt x="41910" y="73343"/>
                      </a:lnTo>
                      <a:lnTo>
                        <a:pt x="39052" y="72390"/>
                      </a:lnTo>
                      <a:lnTo>
                        <a:pt x="34290" y="72390"/>
                      </a:lnTo>
                      <a:lnTo>
                        <a:pt x="31432" y="71438"/>
                      </a:lnTo>
                      <a:lnTo>
                        <a:pt x="29527" y="69533"/>
                      </a:lnTo>
                      <a:lnTo>
                        <a:pt x="23813" y="65723"/>
                      </a:lnTo>
                      <a:lnTo>
                        <a:pt x="22860" y="64770"/>
                      </a:lnTo>
                      <a:lnTo>
                        <a:pt x="21907" y="60960"/>
                      </a:lnTo>
                      <a:lnTo>
                        <a:pt x="21907" y="60008"/>
                      </a:lnTo>
                      <a:lnTo>
                        <a:pt x="20955" y="59055"/>
                      </a:lnTo>
                      <a:lnTo>
                        <a:pt x="17145" y="50483"/>
                      </a:lnTo>
                      <a:lnTo>
                        <a:pt x="16192" y="49530"/>
                      </a:lnTo>
                      <a:lnTo>
                        <a:pt x="13335" y="47625"/>
                      </a:lnTo>
                      <a:lnTo>
                        <a:pt x="11430" y="46673"/>
                      </a:lnTo>
                      <a:lnTo>
                        <a:pt x="10477" y="45720"/>
                      </a:lnTo>
                      <a:lnTo>
                        <a:pt x="9525" y="43815"/>
                      </a:lnTo>
                      <a:lnTo>
                        <a:pt x="9525" y="41910"/>
                      </a:lnTo>
                      <a:lnTo>
                        <a:pt x="10477" y="40005"/>
                      </a:lnTo>
                      <a:lnTo>
                        <a:pt x="7620" y="36195"/>
                      </a:lnTo>
                      <a:lnTo>
                        <a:pt x="6667" y="34290"/>
                      </a:lnTo>
                      <a:lnTo>
                        <a:pt x="6667" y="30480"/>
                      </a:lnTo>
                      <a:lnTo>
                        <a:pt x="5715" y="28575"/>
                      </a:lnTo>
                      <a:lnTo>
                        <a:pt x="2857" y="23813"/>
                      </a:lnTo>
                      <a:lnTo>
                        <a:pt x="952" y="20955"/>
                      </a:lnTo>
                      <a:lnTo>
                        <a:pt x="0" y="17145"/>
                      </a:lnTo>
                      <a:lnTo>
                        <a:pt x="952" y="14288"/>
                      </a:lnTo>
                      <a:lnTo>
                        <a:pt x="1905" y="14288"/>
                      </a:lnTo>
                      <a:lnTo>
                        <a:pt x="4763" y="15240"/>
                      </a:lnTo>
                      <a:lnTo>
                        <a:pt x="8572" y="20003"/>
                      </a:lnTo>
                      <a:lnTo>
                        <a:pt x="11430" y="20955"/>
                      </a:lnTo>
                      <a:lnTo>
                        <a:pt x="13335" y="21908"/>
                      </a:lnTo>
                      <a:lnTo>
                        <a:pt x="19050" y="21908"/>
                      </a:lnTo>
                      <a:lnTo>
                        <a:pt x="22860" y="20003"/>
                      </a:lnTo>
                      <a:lnTo>
                        <a:pt x="25717" y="16193"/>
                      </a:lnTo>
                      <a:lnTo>
                        <a:pt x="28575" y="12383"/>
                      </a:lnTo>
                      <a:lnTo>
                        <a:pt x="29527" y="7620"/>
                      </a:lnTo>
                      <a:lnTo>
                        <a:pt x="30480" y="4763"/>
                      </a:lnTo>
                      <a:lnTo>
                        <a:pt x="32385" y="3810"/>
                      </a:lnTo>
                      <a:lnTo>
                        <a:pt x="33338" y="2858"/>
                      </a:lnTo>
                      <a:lnTo>
                        <a:pt x="33338" y="1905"/>
                      </a:lnTo>
                      <a:lnTo>
                        <a:pt x="34290" y="1905"/>
                      </a:lnTo>
                      <a:lnTo>
                        <a:pt x="35242" y="2858"/>
                      </a:lnTo>
                      <a:lnTo>
                        <a:pt x="36195" y="2858"/>
                      </a:lnTo>
                      <a:lnTo>
                        <a:pt x="38100" y="2858"/>
                      </a:lnTo>
                      <a:lnTo>
                        <a:pt x="39052" y="3810"/>
                      </a:lnTo>
                      <a:lnTo>
                        <a:pt x="40957" y="5715"/>
                      </a:lnTo>
                      <a:lnTo>
                        <a:pt x="42863" y="5715"/>
                      </a:lnTo>
                      <a:lnTo>
                        <a:pt x="43815" y="5715"/>
                      </a:lnTo>
                      <a:lnTo>
                        <a:pt x="45720" y="3810"/>
                      </a:lnTo>
                      <a:lnTo>
                        <a:pt x="46672" y="1905"/>
                      </a:lnTo>
                      <a:lnTo>
                        <a:pt x="46672" y="0"/>
                      </a:lnTo>
                      <a:lnTo>
                        <a:pt x="50482" y="953"/>
                      </a:lnTo>
                      <a:lnTo>
                        <a:pt x="52388" y="4763"/>
                      </a:lnTo>
                      <a:lnTo>
                        <a:pt x="53340" y="6668"/>
                      </a:lnTo>
                      <a:lnTo>
                        <a:pt x="54292" y="8573"/>
                      </a:lnTo>
                      <a:lnTo>
                        <a:pt x="56197" y="9525"/>
                      </a:lnTo>
                      <a:lnTo>
                        <a:pt x="60007" y="10478"/>
                      </a:lnTo>
                      <a:lnTo>
                        <a:pt x="62865" y="11430"/>
                      </a:lnTo>
                      <a:lnTo>
                        <a:pt x="64770" y="13335"/>
                      </a:lnTo>
                      <a:lnTo>
                        <a:pt x="66675" y="14288"/>
                      </a:lnTo>
                      <a:lnTo>
                        <a:pt x="67627" y="16193"/>
                      </a:lnTo>
                      <a:lnTo>
                        <a:pt x="67627" y="18098"/>
                      </a:lnTo>
                      <a:lnTo>
                        <a:pt x="68580" y="19050"/>
                      </a:lnTo>
                      <a:lnTo>
                        <a:pt x="69532" y="20003"/>
                      </a:lnTo>
                      <a:lnTo>
                        <a:pt x="70485" y="20003"/>
                      </a:lnTo>
                      <a:lnTo>
                        <a:pt x="74295" y="19050"/>
                      </a:lnTo>
                      <a:lnTo>
                        <a:pt x="75247" y="17145"/>
                      </a:lnTo>
                      <a:lnTo>
                        <a:pt x="76200" y="15240"/>
                      </a:lnTo>
                      <a:lnTo>
                        <a:pt x="77152" y="14288"/>
                      </a:lnTo>
                      <a:lnTo>
                        <a:pt x="78105" y="15240"/>
                      </a:lnTo>
                      <a:lnTo>
                        <a:pt x="79057" y="16193"/>
                      </a:lnTo>
                      <a:lnTo>
                        <a:pt x="80963" y="17145"/>
                      </a:lnTo>
                      <a:lnTo>
                        <a:pt x="82867" y="17145"/>
                      </a:lnTo>
                      <a:lnTo>
                        <a:pt x="84772" y="16193"/>
                      </a:lnTo>
                      <a:lnTo>
                        <a:pt x="86677" y="14288"/>
                      </a:lnTo>
                      <a:lnTo>
                        <a:pt x="88582" y="12383"/>
                      </a:lnTo>
                      <a:lnTo>
                        <a:pt x="90488" y="11430"/>
                      </a:lnTo>
                      <a:lnTo>
                        <a:pt x="93345" y="9525"/>
                      </a:lnTo>
                      <a:lnTo>
                        <a:pt x="94297" y="7620"/>
                      </a:lnTo>
                      <a:lnTo>
                        <a:pt x="96202" y="7620"/>
                      </a:lnTo>
                      <a:lnTo>
                        <a:pt x="99060" y="8573"/>
                      </a:lnTo>
                      <a:lnTo>
                        <a:pt x="101917" y="8573"/>
                      </a:lnTo>
                      <a:lnTo>
                        <a:pt x="105727" y="8573"/>
                      </a:lnTo>
                      <a:lnTo>
                        <a:pt x="106680" y="7620"/>
                      </a:lnTo>
                      <a:lnTo>
                        <a:pt x="107632" y="7620"/>
                      </a:lnTo>
                      <a:lnTo>
                        <a:pt x="108585" y="5715"/>
                      </a:lnTo>
                      <a:lnTo>
                        <a:pt x="111442" y="3810"/>
                      </a:lnTo>
                      <a:lnTo>
                        <a:pt x="113347" y="3810"/>
                      </a:lnTo>
                      <a:lnTo>
                        <a:pt x="115252" y="4763"/>
                      </a:lnTo>
                      <a:lnTo>
                        <a:pt x="116205" y="5715"/>
                      </a:lnTo>
                      <a:lnTo>
                        <a:pt x="118110" y="5715"/>
                      </a:lnTo>
                      <a:lnTo>
                        <a:pt x="119063" y="5715"/>
                      </a:lnTo>
                      <a:lnTo>
                        <a:pt x="120967" y="7620"/>
                      </a:lnTo>
                      <a:lnTo>
                        <a:pt x="122872" y="9525"/>
                      </a:lnTo>
                      <a:lnTo>
                        <a:pt x="124777" y="10478"/>
                      </a:lnTo>
                      <a:lnTo>
                        <a:pt x="127635" y="11430"/>
                      </a:lnTo>
                      <a:lnTo>
                        <a:pt x="128588" y="11430"/>
                      </a:lnTo>
                      <a:lnTo>
                        <a:pt x="129540" y="10478"/>
                      </a:lnTo>
                      <a:lnTo>
                        <a:pt x="129540" y="9525"/>
                      </a:lnTo>
                      <a:lnTo>
                        <a:pt x="130492" y="7620"/>
                      </a:lnTo>
                      <a:lnTo>
                        <a:pt x="133350" y="4763"/>
                      </a:lnTo>
                      <a:lnTo>
                        <a:pt x="134302" y="4763"/>
                      </a:lnTo>
                      <a:lnTo>
                        <a:pt x="136207" y="4763"/>
                      </a:lnTo>
                      <a:lnTo>
                        <a:pt x="139065" y="4763"/>
                      </a:lnTo>
                      <a:lnTo>
                        <a:pt x="140970" y="4763"/>
                      </a:lnTo>
                      <a:lnTo>
                        <a:pt x="141922" y="4763"/>
                      </a:lnTo>
                      <a:lnTo>
                        <a:pt x="141922" y="6668"/>
                      </a:lnTo>
                      <a:lnTo>
                        <a:pt x="142875" y="8573"/>
                      </a:lnTo>
                      <a:lnTo>
                        <a:pt x="143827" y="9525"/>
                      </a:lnTo>
                      <a:lnTo>
                        <a:pt x="145732" y="11430"/>
                      </a:lnTo>
                      <a:lnTo>
                        <a:pt x="147638" y="13335"/>
                      </a:lnTo>
                      <a:lnTo>
                        <a:pt x="147638" y="14288"/>
                      </a:lnTo>
                      <a:lnTo>
                        <a:pt x="148590" y="17145"/>
                      </a:lnTo>
                      <a:lnTo>
                        <a:pt x="148590" y="19050"/>
                      </a:lnTo>
                      <a:lnTo>
                        <a:pt x="148590" y="21908"/>
                      </a:lnTo>
                      <a:lnTo>
                        <a:pt x="148590" y="25718"/>
                      </a:lnTo>
                      <a:lnTo>
                        <a:pt x="147638" y="28575"/>
                      </a:lnTo>
                      <a:lnTo>
                        <a:pt x="148590" y="30480"/>
                      </a:lnTo>
                      <a:lnTo>
                        <a:pt x="149542" y="31433"/>
                      </a:lnTo>
                      <a:lnTo>
                        <a:pt x="151447" y="31433"/>
                      </a:lnTo>
                      <a:lnTo>
                        <a:pt x="153352" y="31433"/>
                      </a:lnTo>
                      <a:lnTo>
                        <a:pt x="153352" y="28575"/>
                      </a:lnTo>
                      <a:lnTo>
                        <a:pt x="153352" y="24765"/>
                      </a:lnTo>
                      <a:lnTo>
                        <a:pt x="154305" y="23813"/>
                      </a:lnTo>
                      <a:lnTo>
                        <a:pt x="155257" y="22860"/>
                      </a:lnTo>
                      <a:lnTo>
                        <a:pt x="156210" y="21908"/>
                      </a:lnTo>
                      <a:lnTo>
                        <a:pt x="157163" y="22860"/>
                      </a:lnTo>
                      <a:lnTo>
                        <a:pt x="158115" y="26670"/>
                      </a:lnTo>
                      <a:lnTo>
                        <a:pt x="159067" y="28575"/>
                      </a:lnTo>
                      <a:lnTo>
                        <a:pt x="160020" y="29528"/>
                      </a:lnTo>
                      <a:lnTo>
                        <a:pt x="162877" y="28575"/>
                      </a:lnTo>
                      <a:lnTo>
                        <a:pt x="162877" y="26670"/>
                      </a:lnTo>
                      <a:lnTo>
                        <a:pt x="163830" y="25718"/>
                      </a:lnTo>
                      <a:lnTo>
                        <a:pt x="165735" y="25718"/>
                      </a:lnTo>
                      <a:lnTo>
                        <a:pt x="166688" y="26670"/>
                      </a:lnTo>
                      <a:lnTo>
                        <a:pt x="168592" y="26670"/>
                      </a:lnTo>
                      <a:lnTo>
                        <a:pt x="169545" y="25718"/>
                      </a:lnTo>
                      <a:lnTo>
                        <a:pt x="170497" y="26670"/>
                      </a:lnTo>
                      <a:lnTo>
                        <a:pt x="171450" y="26670"/>
                      </a:lnTo>
                      <a:lnTo>
                        <a:pt x="174307" y="28575"/>
                      </a:lnTo>
                      <a:lnTo>
                        <a:pt x="176213" y="28575"/>
                      </a:lnTo>
                      <a:lnTo>
                        <a:pt x="177165" y="28575"/>
                      </a:lnTo>
                      <a:lnTo>
                        <a:pt x="180022" y="30480"/>
                      </a:lnTo>
                      <a:close/>
                    </a:path>
                  </a:pathLst>
                </a:custGeom>
                <a:solidFill>
                  <a:srgbClr val="D9D9D9"/>
                </a:solidFill>
                <a:ln w="953" cap="rnd">
                  <a:solidFill>
                    <a:srgbClr val="B5C1B5"/>
                  </a:solidFill>
                  <a:prstDash val="solid"/>
                  <a:round/>
                </a:ln>
              </p:spPr>
              <p:txBody>
                <a:bodyPr rtlCol="0" anchor="ctr"/>
                <a:lstStyle/>
                <a:p>
                  <a:endParaRPr lang="en-US" sz="600"/>
                </a:p>
              </p:txBody>
            </p:sp>
            <p:sp>
              <p:nvSpPr>
                <p:cNvPr id="3135" name="Malta" descr="{&quot;Key&quot;:&quot;malta&quot;,&quot;Name&quot;:&quot;Malta&quot;,&quot;Value&quot;:1.0,&quot;Formula&quot;:&quot;&quot;,&quot;Text&quot;:&quot;&quot;,&quot;OfficeApplication&quot;:1,&quot;HasValue&quot;:true}">
                  <a:extLst>
                    <a:ext uri="{FF2B5EF4-FFF2-40B4-BE49-F238E27FC236}">
                      <a16:creationId xmlns:a16="http://schemas.microsoft.com/office/drawing/2014/main" id="{33967D7C-8A7D-4351-C47C-53D2970DE53C}"/>
                    </a:ext>
                  </a:extLst>
                </p:cNvPr>
                <p:cNvSpPr>
                  <a:spLocks noChangeAspect="1"/>
                </p:cNvSpPr>
                <p:nvPr/>
              </p:nvSpPr>
              <p:spPr bwMode="auto">
                <a:xfrm>
                  <a:off x="7404328" y="6339261"/>
                  <a:ext cx="90000" cy="71471"/>
                </a:xfrm>
                <a:custGeom>
                  <a:avLst/>
                  <a:gdLst>
                    <a:gd name="T0" fmla="*/ 0 w 67"/>
                    <a:gd name="T1" fmla="*/ 0 h 54"/>
                    <a:gd name="T2" fmla="*/ 0 w 67"/>
                    <a:gd name="T3" fmla="*/ 41 h 54"/>
                    <a:gd name="T4" fmla="*/ 27 w 67"/>
                    <a:gd name="T5" fmla="*/ 41 h 54"/>
                    <a:gd name="T6" fmla="*/ 67 w 67"/>
                    <a:gd name="T7" fmla="*/ 54 h 54"/>
                    <a:gd name="T8" fmla="*/ 67 w 67"/>
                    <a:gd name="T9" fmla="*/ 14 h 54"/>
                    <a:gd name="T10" fmla="*/ 40 w 67"/>
                    <a:gd name="T11" fmla="*/ 0 h 54"/>
                    <a:gd name="T12" fmla="*/ 0 w 67"/>
                    <a:gd name="T13" fmla="*/ 0 h 54"/>
                    <a:gd name="T14" fmla="*/ 0 60000 65536"/>
                    <a:gd name="T15" fmla="*/ 0 60000 65536"/>
                    <a:gd name="T16" fmla="*/ 0 60000 65536"/>
                    <a:gd name="T17" fmla="*/ 0 60000 65536"/>
                    <a:gd name="T18" fmla="*/ 0 60000 65536"/>
                    <a:gd name="T19" fmla="*/ 0 60000 65536"/>
                    <a:gd name="T20" fmla="*/ 0 60000 65536"/>
                    <a:gd name="T21" fmla="*/ 0 w 67"/>
                    <a:gd name="T22" fmla="*/ 0 h 54"/>
                    <a:gd name="T23" fmla="*/ 67 w 67"/>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54">
                      <a:moveTo>
                        <a:pt x="0" y="0"/>
                      </a:moveTo>
                      <a:lnTo>
                        <a:pt x="0" y="41"/>
                      </a:lnTo>
                      <a:lnTo>
                        <a:pt x="27" y="41"/>
                      </a:lnTo>
                      <a:lnTo>
                        <a:pt x="67" y="54"/>
                      </a:lnTo>
                      <a:lnTo>
                        <a:pt x="67" y="14"/>
                      </a:lnTo>
                      <a:lnTo>
                        <a:pt x="40" y="0"/>
                      </a:lnTo>
                      <a:lnTo>
                        <a:pt x="0" y="0"/>
                      </a:lnTo>
                    </a:path>
                  </a:pathLst>
                </a:custGeom>
                <a:solidFill>
                  <a:srgbClr val="D9D9D9"/>
                </a:solidFill>
                <a:ln w="6350">
                  <a:solidFill>
                    <a:srgbClr val="B5C1B5"/>
                  </a:solidFill>
                  <a:prstDash val="solid"/>
                  <a:round/>
                  <a:headEnd/>
                  <a:tailEnd/>
                </a:ln>
              </p:spPr>
              <p:txBody>
                <a:bodyPr anchor="ctr"/>
                <a:lstStyle/>
                <a:p>
                  <a:pPr algn="ctr"/>
                  <a:endParaRPr lang="en-US" sz="600"/>
                </a:p>
              </p:txBody>
            </p:sp>
          </p:grpSp>
          <p:grpSp>
            <p:nvGrpSpPr>
              <p:cNvPr id="3046" name="Etiquettes">
                <a:extLst>
                  <a:ext uri="{FF2B5EF4-FFF2-40B4-BE49-F238E27FC236}">
                    <a16:creationId xmlns:a16="http://schemas.microsoft.com/office/drawing/2014/main" id="{4671C8FE-4B3A-283B-B160-BC2956AC8932}"/>
                  </a:ext>
                </a:extLst>
              </p:cNvPr>
              <p:cNvGrpSpPr/>
              <p:nvPr/>
            </p:nvGrpSpPr>
            <p:grpSpPr>
              <a:xfrm>
                <a:off x="5465583" y="3286459"/>
                <a:ext cx="2887902" cy="3193402"/>
                <a:chOff x="5465583" y="3286459"/>
                <a:chExt cx="2887902" cy="3193402"/>
              </a:xfrm>
            </p:grpSpPr>
            <p:sp>
              <p:nvSpPr>
                <p:cNvPr id="3049" name="Etiquette - Lithuania">
                  <a:extLst>
                    <a:ext uri="{FF2B5EF4-FFF2-40B4-BE49-F238E27FC236}">
                      <a16:creationId xmlns:a16="http://schemas.microsoft.com/office/drawing/2014/main" id="{0032BABC-2832-7A3F-03BF-EE4F5197CB21}"/>
                    </a:ext>
                  </a:extLst>
                </p:cNvPr>
                <p:cNvSpPr>
                  <a:spLocks noChangeArrowheads="1"/>
                </p:cNvSpPr>
                <p:nvPr>
                  <p:custDataLst>
                    <p:tags r:id="rId1"/>
                  </p:custDataLst>
                </p:nvPr>
              </p:nvSpPr>
              <p:spPr bwMode="auto">
                <a:xfrm>
                  <a:off x="7550706" y="3286459"/>
                  <a:ext cx="609126"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err="1">
                      <a:solidFill>
                        <a:srgbClr val="000000"/>
                      </a:solidFill>
                      <a:latin typeface="+mn-lt"/>
                    </a:rPr>
                    <a:t>Lithuania</a:t>
                  </a:r>
                  <a:endParaRPr lang="en-US" altLang="fr-FR" sz="800" dirty="0">
                    <a:solidFill>
                      <a:srgbClr val="000000"/>
                    </a:solidFill>
                    <a:latin typeface="+mn-lt"/>
                  </a:endParaRPr>
                </a:p>
              </p:txBody>
            </p:sp>
            <p:sp>
              <p:nvSpPr>
                <p:cNvPr id="3057" name="Etiquette - Croatia">
                  <a:extLst>
                    <a:ext uri="{FF2B5EF4-FFF2-40B4-BE49-F238E27FC236}">
                      <a16:creationId xmlns:a16="http://schemas.microsoft.com/office/drawing/2014/main" id="{DA2093F2-897D-2017-59BB-D058645BEF64}"/>
                    </a:ext>
                  </a:extLst>
                </p:cNvPr>
                <p:cNvSpPr>
                  <a:spLocks noChangeArrowheads="1"/>
                </p:cNvSpPr>
                <p:nvPr>
                  <p:custDataLst>
                    <p:tags r:id="rId2"/>
                  </p:custDataLst>
                </p:nvPr>
              </p:nvSpPr>
              <p:spPr bwMode="auto">
                <a:xfrm>
                  <a:off x="6793262" y="4899189"/>
                  <a:ext cx="473208"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err="1">
                      <a:solidFill>
                        <a:srgbClr val="000000"/>
                      </a:solidFill>
                      <a:latin typeface="+mn-lt"/>
                    </a:rPr>
                    <a:t>Croatia</a:t>
                  </a:r>
                  <a:endParaRPr lang="en-US" altLang="fr-FR" sz="800" dirty="0">
                    <a:solidFill>
                      <a:srgbClr val="000000"/>
                    </a:solidFill>
                    <a:latin typeface="+mn-lt"/>
                  </a:endParaRPr>
                </a:p>
              </p:txBody>
            </p:sp>
            <p:sp>
              <p:nvSpPr>
                <p:cNvPr id="3061" name="Etiquette - Romania">
                  <a:extLst>
                    <a:ext uri="{FF2B5EF4-FFF2-40B4-BE49-F238E27FC236}">
                      <a16:creationId xmlns:a16="http://schemas.microsoft.com/office/drawing/2014/main" id="{E741A476-3FA6-81A4-2817-EE44FC2DDA9F}"/>
                    </a:ext>
                  </a:extLst>
                </p:cNvPr>
                <p:cNvSpPr>
                  <a:spLocks noChangeArrowheads="1"/>
                </p:cNvSpPr>
                <p:nvPr>
                  <p:custDataLst>
                    <p:tags r:id="rId3"/>
                  </p:custDataLst>
                </p:nvPr>
              </p:nvSpPr>
              <p:spPr bwMode="auto">
                <a:xfrm>
                  <a:off x="7772046" y="4658706"/>
                  <a:ext cx="581439"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Romania</a:t>
                  </a:r>
                  <a:endParaRPr lang="en-US" altLang="fr-FR" sz="800" dirty="0">
                    <a:solidFill>
                      <a:srgbClr val="000000"/>
                    </a:solidFill>
                    <a:latin typeface="+mn-lt"/>
                  </a:endParaRPr>
                </a:p>
              </p:txBody>
            </p:sp>
            <p:sp>
              <p:nvSpPr>
                <p:cNvPr id="3067" name="Etiquette - Czech Republic">
                  <a:extLst>
                    <a:ext uri="{FF2B5EF4-FFF2-40B4-BE49-F238E27FC236}">
                      <a16:creationId xmlns:a16="http://schemas.microsoft.com/office/drawing/2014/main" id="{97055E42-B879-F0DD-92DD-57818D67A5D9}"/>
                    </a:ext>
                  </a:extLst>
                </p:cNvPr>
                <p:cNvSpPr>
                  <a:spLocks noChangeArrowheads="1"/>
                </p:cNvSpPr>
                <p:nvPr>
                  <p:custDataLst>
                    <p:tags r:id="rId4"/>
                  </p:custDataLst>
                </p:nvPr>
              </p:nvSpPr>
              <p:spPr bwMode="auto">
                <a:xfrm>
                  <a:off x="6585663" y="4090932"/>
                  <a:ext cx="712325"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Czech Rep.</a:t>
                  </a:r>
                  <a:endParaRPr lang="en-US" altLang="fr-FR" sz="800" dirty="0">
                    <a:solidFill>
                      <a:srgbClr val="000000"/>
                    </a:solidFill>
                    <a:latin typeface="+mn-lt"/>
                  </a:endParaRPr>
                </a:p>
              </p:txBody>
            </p:sp>
            <p:sp>
              <p:nvSpPr>
                <p:cNvPr id="3076" name="Etiquette - Germany">
                  <a:extLst>
                    <a:ext uri="{FF2B5EF4-FFF2-40B4-BE49-F238E27FC236}">
                      <a16:creationId xmlns:a16="http://schemas.microsoft.com/office/drawing/2014/main" id="{31348458-7B28-3A21-60FF-F3164B338258}"/>
                    </a:ext>
                  </a:extLst>
                </p:cNvPr>
                <p:cNvSpPr>
                  <a:spLocks noChangeArrowheads="1"/>
                </p:cNvSpPr>
                <p:nvPr>
                  <p:custDataLst>
                    <p:tags r:id="rId5"/>
                  </p:custDataLst>
                </p:nvPr>
              </p:nvSpPr>
              <p:spPr bwMode="auto">
                <a:xfrm>
                  <a:off x="6009737" y="3816252"/>
                  <a:ext cx="601575"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Germany</a:t>
                  </a:r>
                  <a:endParaRPr lang="en-US" altLang="fr-FR" sz="800" dirty="0">
                    <a:solidFill>
                      <a:srgbClr val="000000"/>
                    </a:solidFill>
                    <a:latin typeface="+mn-lt"/>
                  </a:endParaRPr>
                </a:p>
              </p:txBody>
            </p:sp>
            <p:sp>
              <p:nvSpPr>
                <p:cNvPr id="3078" name="Etiquette - Luxembourg">
                  <a:extLst>
                    <a:ext uri="{FF2B5EF4-FFF2-40B4-BE49-F238E27FC236}">
                      <a16:creationId xmlns:a16="http://schemas.microsoft.com/office/drawing/2014/main" id="{53C088FC-6227-FAB1-2089-C4EAB81187D4}"/>
                    </a:ext>
                  </a:extLst>
                </p:cNvPr>
                <p:cNvSpPr>
                  <a:spLocks noChangeArrowheads="1"/>
                </p:cNvSpPr>
                <p:nvPr>
                  <p:custDataLst>
                    <p:tags r:id="rId6"/>
                  </p:custDataLst>
                </p:nvPr>
              </p:nvSpPr>
              <p:spPr bwMode="auto">
                <a:xfrm>
                  <a:off x="5465583" y="4228783"/>
                  <a:ext cx="820560"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err="1">
                      <a:solidFill>
                        <a:srgbClr val="000000"/>
                      </a:solidFill>
                      <a:latin typeface="+mn-lt"/>
                    </a:rPr>
                    <a:t>Luxembourg</a:t>
                  </a:r>
                  <a:endParaRPr lang="en-US" altLang="fr-FR" sz="800" dirty="0">
                    <a:solidFill>
                      <a:srgbClr val="000000"/>
                    </a:solidFill>
                    <a:latin typeface="+mn-lt"/>
                  </a:endParaRPr>
                </a:p>
              </p:txBody>
            </p:sp>
            <p:sp>
              <p:nvSpPr>
                <p:cNvPr id="3084" name="Etiquette - Greece">
                  <a:extLst>
                    <a:ext uri="{FF2B5EF4-FFF2-40B4-BE49-F238E27FC236}">
                      <a16:creationId xmlns:a16="http://schemas.microsoft.com/office/drawing/2014/main" id="{CED47C91-FA43-3AB6-18B0-6A19D9355223}"/>
                    </a:ext>
                  </a:extLst>
                </p:cNvPr>
                <p:cNvSpPr>
                  <a:spLocks noChangeArrowheads="1"/>
                </p:cNvSpPr>
                <p:nvPr>
                  <p:custDataLst>
                    <p:tags r:id="rId7"/>
                  </p:custDataLst>
                </p:nvPr>
              </p:nvSpPr>
              <p:spPr bwMode="auto">
                <a:xfrm>
                  <a:off x="7571957" y="5621798"/>
                  <a:ext cx="465655" cy="1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pl-PL" altLang="fr-FR" sz="800" dirty="0">
                      <a:solidFill>
                        <a:srgbClr val="000000"/>
                      </a:solidFill>
                      <a:latin typeface="+mn-lt"/>
                    </a:rPr>
                    <a:t>Greece</a:t>
                  </a:r>
                  <a:endParaRPr lang="en-US" altLang="fr-FR" sz="800" dirty="0">
                    <a:solidFill>
                      <a:srgbClr val="000000"/>
                    </a:solidFill>
                    <a:latin typeface="+mn-lt"/>
                  </a:endParaRPr>
                </a:p>
              </p:txBody>
            </p:sp>
            <p:sp>
              <p:nvSpPr>
                <p:cNvPr id="3090" name="Etiquette - DARK - Malta">
                  <a:extLst>
                    <a:ext uri="{FF2B5EF4-FFF2-40B4-BE49-F238E27FC236}">
                      <a16:creationId xmlns:a16="http://schemas.microsoft.com/office/drawing/2014/main" id="{FA4F36FB-B240-8956-1A3F-06308D80121E}"/>
                    </a:ext>
                  </a:extLst>
                </p:cNvPr>
                <p:cNvSpPr>
                  <a:spLocks noChangeArrowheads="1"/>
                </p:cNvSpPr>
                <p:nvPr>
                  <p:custDataLst>
                    <p:tags r:id="rId8"/>
                  </p:custDataLst>
                </p:nvPr>
              </p:nvSpPr>
              <p:spPr bwMode="auto">
                <a:xfrm>
                  <a:off x="7488981" y="6334879"/>
                  <a:ext cx="286943" cy="144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600">
                      <a:solidFill>
                        <a:srgbClr val="000000"/>
                      </a:solidFill>
                      <a:latin typeface="+mn-lt"/>
                    </a:rPr>
                    <a:t>Malta</a:t>
                  </a:r>
                </a:p>
              </p:txBody>
            </p:sp>
          </p:grpSp>
        </p:grpSp>
        <p:sp>
          <p:nvSpPr>
            <p:cNvPr id="3159" name="POWER_USER_DATA_MAP_TITLE">
              <a:extLst>
                <a:ext uri="{FF2B5EF4-FFF2-40B4-BE49-F238E27FC236}">
                  <a16:creationId xmlns:a16="http://schemas.microsoft.com/office/drawing/2014/main" id="{B5E0F647-5BCD-E1C1-5988-D6B5AEE1021B}"/>
                </a:ext>
              </a:extLst>
            </p:cNvPr>
            <p:cNvSpPr/>
            <p:nvPr/>
          </p:nvSpPr>
          <p:spPr>
            <a:xfrm>
              <a:off x="1963063" y="207101"/>
              <a:ext cx="9090906" cy="635000"/>
            </a:xfrm>
            <a:prstGeom prst="rect">
              <a:avLst/>
            </a:prstGeom>
            <a:noFill/>
            <a:ln w="12700" cap="flat">
              <a:noFill/>
              <a:miter lim="400000"/>
            </a:ln>
            <a:effectLs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a:solidFill>
                    <a:prstClr val="black"/>
                  </a:solidFill>
                  <a:miter lim="400000"/>
                </a14:hiddenLine>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600">
                <a:sym typeface="Helvetica Neue Medium"/>
              </a:endParaRPr>
            </a:p>
          </p:txBody>
        </p:sp>
        <p:sp>
          <p:nvSpPr>
            <p:cNvPr id="3160" name="POWER_USER_DATA_MAP_STORAGE">
              <a:extLst>
                <a:ext uri="{FF2B5EF4-FFF2-40B4-BE49-F238E27FC236}">
                  <a16:creationId xmlns:a16="http://schemas.microsoft.com/office/drawing/2014/main" id="{246F4DB8-344E-CBEB-65E1-C086953BC4DC}"/>
                </a:ext>
              </a:extLst>
            </p:cNvPr>
            <p:cNvSpPr/>
            <p:nvPr/>
          </p:nvSpPr>
          <p:spPr>
            <a:xfrm>
              <a:off x="1963063" y="842102"/>
              <a:ext cx="0" cy="0"/>
            </a:xfrm>
            <a:prstGeom prst="rect">
              <a:avLst/>
            </a:prstGeom>
            <a:solidFill>
              <a:schemeClr val="accent1"/>
            </a:solidFill>
            <a:ln w="12700" cap="flat">
              <a:solidFill>
                <a:prstClr val="black"/>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endParaRPr lang="pl-PL" sz="600">
                <a:solidFill>
                  <a:srgbClr val="FFFFFF"/>
                </a:solidFill>
                <a:sym typeface="Helvetica Neue Medium"/>
              </a:endParaRPr>
            </a:p>
          </p:txBody>
        </p:sp>
      </p:grpSp>
      <p:sp>
        <p:nvSpPr>
          <p:cNvPr id="2" name="Prostokąt 1">
            <a:extLst>
              <a:ext uri="{FF2B5EF4-FFF2-40B4-BE49-F238E27FC236}">
                <a16:creationId xmlns:a16="http://schemas.microsoft.com/office/drawing/2014/main" id="{9D1F6D45-C320-4C4A-AABF-6E6D00770F50}"/>
              </a:ext>
            </a:extLst>
          </p:cNvPr>
          <p:cNvSpPr/>
          <p:nvPr/>
        </p:nvSpPr>
        <p:spPr>
          <a:xfrm>
            <a:off x="795133" y="5502783"/>
            <a:ext cx="10500257" cy="246221"/>
          </a:xfrm>
          <a:prstGeom prst="rect">
            <a:avLst/>
          </a:prstGeom>
          <a:solidFill>
            <a:srgbClr val="0C749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endParaRPr lang="pl-PL" sz="1600">
              <a:solidFill>
                <a:srgbClr val="FFFFFF"/>
              </a:solidFill>
              <a:sym typeface="Helvetica Neue Medium"/>
            </a:endParaRPr>
          </a:p>
        </p:txBody>
      </p:sp>
      <p:sp>
        <p:nvSpPr>
          <p:cNvPr id="2248" name="Slide Number"/>
          <p:cNvSpPr txBox="1">
            <a:spLocks noGrp="1"/>
          </p:cNvSpPr>
          <p:nvPr>
            <p:ph type="sldNum" sz="quarter" idx="2"/>
          </p:nvPr>
        </p:nvSpPr>
        <p:spPr>
          <a:xfrm>
            <a:off x="11166345" y="6537325"/>
            <a:ext cx="203083" cy="18466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3</a:t>
            </a:fld>
            <a:endParaRPr/>
          </a:p>
        </p:txBody>
      </p:sp>
      <p:sp>
        <p:nvSpPr>
          <p:cNvPr id="217" name="short intro.">
            <a:extLst>
              <a:ext uri="{FF2B5EF4-FFF2-40B4-BE49-F238E27FC236}">
                <a16:creationId xmlns:a16="http://schemas.microsoft.com/office/drawing/2014/main" id="{E90629D2-9367-F14D-BF23-6F35EF7597F9}"/>
              </a:ext>
            </a:extLst>
          </p:cNvPr>
          <p:cNvSpPr txBox="1"/>
          <p:nvPr/>
        </p:nvSpPr>
        <p:spPr>
          <a:xfrm>
            <a:off x="792000" y="720000"/>
            <a:ext cx="10679861"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en-GB" sz="2700" b="1" dirty="0">
                <a:latin typeface="Novel Pro SemiBold" pitchFamily="2" charset="0"/>
              </a:rPr>
              <a:t>Fund investments to date </a:t>
            </a:r>
          </a:p>
        </p:txBody>
      </p:sp>
      <p:cxnSp>
        <p:nvCxnSpPr>
          <p:cNvPr id="218" name="Straight Connector 23">
            <a:extLst>
              <a:ext uri="{FF2B5EF4-FFF2-40B4-BE49-F238E27FC236}">
                <a16:creationId xmlns:a16="http://schemas.microsoft.com/office/drawing/2014/main" id="{92D139E0-54E9-0143-9834-5953E9DFBA8B}"/>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219" name="Commerce…">
            <a:extLst>
              <a:ext uri="{FF2B5EF4-FFF2-40B4-BE49-F238E27FC236}">
                <a16:creationId xmlns:a16="http://schemas.microsoft.com/office/drawing/2014/main" id="{1198FD5F-7DC4-E849-BE3B-58233DE3ADE3}"/>
              </a:ext>
            </a:extLst>
          </p:cNvPr>
          <p:cNvSpPr txBox="1"/>
          <p:nvPr/>
        </p:nvSpPr>
        <p:spPr>
          <a:xfrm>
            <a:off x="846390" y="1847793"/>
            <a:ext cx="4366732" cy="3278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Germany – </a:t>
            </a:r>
            <a:r>
              <a:rPr lang="pl-PL" sz="1600" dirty="0">
                <a:solidFill>
                  <a:schemeClr val="tx2"/>
                </a:solidFill>
                <a:latin typeface="Novel Pro Light" pitchFamily="2" charset="0"/>
                <a:ea typeface="Roboto"/>
                <a:cs typeface="Roboto"/>
                <a:sym typeface="Roboto"/>
              </a:rPr>
              <a:t>6</a:t>
            </a:r>
            <a:r>
              <a:rPr lang="en-GB" sz="1600" dirty="0">
                <a:solidFill>
                  <a:schemeClr val="tx2"/>
                </a:solidFill>
                <a:latin typeface="Novel Pro Light" pitchFamily="2" charset="0"/>
                <a:ea typeface="Roboto"/>
                <a:cs typeface="Roboto"/>
                <a:sym typeface="Roboto"/>
              </a:rPr>
              <a:t> projects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USA – </a:t>
            </a:r>
            <a:r>
              <a:rPr lang="pl-PL" sz="1600" dirty="0">
                <a:solidFill>
                  <a:schemeClr val="tx2"/>
                </a:solidFill>
                <a:latin typeface="Novel Pro Light" pitchFamily="2" charset="0"/>
                <a:ea typeface="Roboto"/>
                <a:cs typeface="Roboto"/>
                <a:sym typeface="Roboto"/>
              </a:rPr>
              <a:t>6</a:t>
            </a:r>
            <a:r>
              <a:rPr lang="en-GB" sz="1600" dirty="0">
                <a:solidFill>
                  <a:schemeClr val="tx2"/>
                </a:solidFill>
                <a:latin typeface="Novel Pro Light" pitchFamily="2" charset="0"/>
                <a:ea typeface="Roboto"/>
                <a:cs typeface="Roboto"/>
                <a:sym typeface="Roboto"/>
              </a:rPr>
              <a:t> projects</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Croatia – 2 projects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Romania – 2 projects</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Czech Republic</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Greece</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Lithuania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r>
              <a:rPr lang="en-GB" sz="1600" dirty="0">
                <a:solidFill>
                  <a:schemeClr val="tx2"/>
                </a:solidFill>
                <a:latin typeface="Novel Pro Light" pitchFamily="2" charset="0"/>
                <a:ea typeface="Roboto"/>
                <a:cs typeface="Roboto"/>
                <a:sym typeface="Roboto"/>
              </a:rPr>
              <a:t>Luxembourg </a:t>
            </a:r>
          </a:p>
          <a:p>
            <a:pPr marL="171442" indent="-171442">
              <a:lnSpc>
                <a:spcPct val="150000"/>
              </a:lnSpc>
              <a:buFont typeface="Arial" panose="020B0604020202020204" pitchFamily="34" charset="0"/>
              <a:buChar char="•"/>
              <a:defRPr sz="2500">
                <a:solidFill>
                  <a:srgbClr val="F7F9FF"/>
                </a:solidFill>
                <a:latin typeface="Roboto"/>
                <a:ea typeface="Roboto"/>
                <a:cs typeface="Roboto"/>
                <a:sym typeface="Roboto"/>
              </a:defRPr>
            </a:pPr>
            <a:endParaRPr lang="en-GB" sz="1600" dirty="0">
              <a:solidFill>
                <a:schemeClr val="tx2"/>
              </a:solidFill>
              <a:latin typeface="Novel Pro Light" pitchFamily="2" charset="0"/>
              <a:ea typeface="Roboto"/>
              <a:cs typeface="Roboto"/>
              <a:sym typeface="Roboto"/>
            </a:endParaRPr>
          </a:p>
        </p:txBody>
      </p:sp>
      <p:sp>
        <p:nvSpPr>
          <p:cNvPr id="221" name="Marketing…">
            <a:extLst>
              <a:ext uri="{FF2B5EF4-FFF2-40B4-BE49-F238E27FC236}">
                <a16:creationId xmlns:a16="http://schemas.microsoft.com/office/drawing/2014/main" id="{174EF0B7-70A8-8A42-9124-AB1B21FA6193}"/>
              </a:ext>
            </a:extLst>
          </p:cNvPr>
          <p:cNvSpPr txBox="1"/>
          <p:nvPr/>
        </p:nvSpPr>
        <p:spPr>
          <a:xfrm>
            <a:off x="983737" y="5334638"/>
            <a:ext cx="2114204" cy="5375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err="1">
                <a:solidFill>
                  <a:srgbClr val="FFFFFF"/>
                </a:solidFill>
                <a:latin typeface="+mj-lt"/>
                <a:ea typeface="Roboto"/>
                <a:cs typeface="Roboto"/>
              </a:rPr>
              <a:t>Number</a:t>
            </a:r>
            <a:r>
              <a:rPr lang="pl-PL" sz="1400" dirty="0">
                <a:solidFill>
                  <a:srgbClr val="FFFFFF"/>
                </a:solidFill>
                <a:latin typeface="+mj-lt"/>
                <a:ea typeface="Roboto"/>
                <a:cs typeface="Roboto"/>
              </a:rPr>
              <a:t> of investment </a:t>
            </a:r>
            <a:r>
              <a:rPr lang="pl-PL" sz="1400" dirty="0" err="1">
                <a:solidFill>
                  <a:srgbClr val="FFFFFF"/>
                </a:solidFill>
                <a:latin typeface="+mj-lt"/>
                <a:ea typeface="Roboto"/>
                <a:cs typeface="Roboto"/>
              </a:rPr>
              <a:t>projects</a:t>
            </a:r>
            <a:r>
              <a:rPr lang="pl-PL" sz="1400" dirty="0">
                <a:solidFill>
                  <a:srgbClr val="FFFFFF"/>
                </a:solidFill>
                <a:latin typeface="+mj-lt"/>
                <a:ea typeface="Roboto"/>
                <a:cs typeface="Roboto"/>
              </a:rPr>
              <a:t>: 19</a:t>
            </a:r>
          </a:p>
        </p:txBody>
      </p:sp>
      <p:sp>
        <p:nvSpPr>
          <p:cNvPr id="229" name="Line">
            <a:extLst>
              <a:ext uri="{FF2B5EF4-FFF2-40B4-BE49-F238E27FC236}">
                <a16:creationId xmlns:a16="http://schemas.microsoft.com/office/drawing/2014/main" id="{FB71C541-F2B7-7B46-A249-D1714D9B2665}"/>
              </a:ext>
            </a:extLst>
          </p:cNvPr>
          <p:cNvSpPr/>
          <p:nvPr/>
        </p:nvSpPr>
        <p:spPr>
          <a:xfrm>
            <a:off x="3249878" y="5212381"/>
            <a:ext cx="0" cy="972000"/>
          </a:xfrm>
          <a:prstGeom prst="line">
            <a:avLst/>
          </a:prstGeom>
          <a:ln w="12700">
            <a:solidFill>
              <a:srgbClr val="FFFFFF"/>
            </a:solidFill>
            <a:custDash>
              <a:ds d="200000" sp="200000"/>
            </a:custDash>
            <a:miter lim="400000"/>
          </a:ln>
        </p:spPr>
        <p:txBody>
          <a:bodyPr lIns="25400" tIns="25400" rIns="25400" bIns="25400" anchor="ctr"/>
          <a:lstStyle/>
          <a:p>
            <a:pPr>
              <a:defRPr sz="3200" b="0">
                <a:latin typeface="Helvetica Light"/>
                <a:ea typeface="Helvetica Light"/>
                <a:cs typeface="Helvetica Light"/>
                <a:sym typeface="Helvetica Light"/>
              </a:defRPr>
            </a:pPr>
            <a:endParaRPr sz="1600">
              <a:solidFill>
                <a:srgbClr val="FFFFFF"/>
              </a:solidFill>
            </a:endParaRPr>
          </a:p>
        </p:txBody>
      </p:sp>
      <p:sp>
        <p:nvSpPr>
          <p:cNvPr id="239" name="Marketing…">
            <a:extLst>
              <a:ext uri="{FF2B5EF4-FFF2-40B4-BE49-F238E27FC236}">
                <a16:creationId xmlns:a16="http://schemas.microsoft.com/office/drawing/2014/main" id="{07E415D0-1B6B-7C45-ABD7-BCCDC93A975D}"/>
              </a:ext>
            </a:extLst>
          </p:cNvPr>
          <p:cNvSpPr txBox="1"/>
          <p:nvPr/>
        </p:nvSpPr>
        <p:spPr>
          <a:xfrm>
            <a:off x="6155924" y="5229724"/>
            <a:ext cx="2175555" cy="7755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a:solidFill>
                  <a:srgbClr val="FFFFFF"/>
                </a:solidFill>
                <a:latin typeface="+mj-lt"/>
                <a:ea typeface="Roboto"/>
                <a:cs typeface="Roboto"/>
              </a:rPr>
              <a:t>Total </a:t>
            </a:r>
            <a:r>
              <a:rPr lang="pl-PL" sz="1400" dirty="0" err="1">
                <a:solidFill>
                  <a:srgbClr val="FFFFFF"/>
                </a:solidFill>
                <a:latin typeface="+mj-lt"/>
                <a:ea typeface="Roboto"/>
                <a:cs typeface="Roboto"/>
              </a:rPr>
              <a:t>investments</a:t>
            </a:r>
            <a:r>
              <a:rPr lang="pl-PL" sz="1400" dirty="0">
                <a:solidFill>
                  <a:srgbClr val="FFFFFF"/>
                </a:solidFill>
                <a:latin typeface="+mj-lt"/>
                <a:ea typeface="Roboto"/>
                <a:cs typeface="Roboto"/>
              </a:rPr>
              <a:t> </a:t>
            </a:r>
            <a:br>
              <a:rPr lang="pl-PL" sz="1400" dirty="0">
                <a:solidFill>
                  <a:srgbClr val="FFFFFF"/>
                </a:solidFill>
                <a:latin typeface="+mj-lt"/>
                <a:ea typeface="Roboto"/>
                <a:cs typeface="Roboto"/>
              </a:rPr>
            </a:br>
            <a:r>
              <a:rPr lang="pl-PL" sz="1400" dirty="0">
                <a:solidFill>
                  <a:srgbClr val="FFFFFF"/>
                </a:solidFill>
                <a:latin typeface="+mj-lt"/>
                <a:ea typeface="Roboto"/>
                <a:cs typeface="Roboto"/>
              </a:rPr>
              <a:t>from </a:t>
            </a:r>
            <a:r>
              <a:rPr lang="pl-PL" sz="1400" dirty="0" err="1">
                <a:solidFill>
                  <a:srgbClr val="FFFFFF"/>
                </a:solidFill>
                <a:latin typeface="+mj-lt"/>
                <a:ea typeface="Roboto"/>
                <a:cs typeface="Roboto"/>
              </a:rPr>
              <a:t>all</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parties</a:t>
            </a:r>
            <a:r>
              <a:rPr lang="pl-PL" sz="1400" dirty="0">
                <a:solidFill>
                  <a:srgbClr val="FFFFFF"/>
                </a:solidFill>
                <a:latin typeface="+mj-lt"/>
                <a:ea typeface="Roboto"/>
                <a:cs typeface="Roboto"/>
              </a:rPr>
              <a:t>: </a:t>
            </a:r>
          </a:p>
          <a:p>
            <a:pPr>
              <a:defRPr sz="2500">
                <a:solidFill>
                  <a:srgbClr val="53585F"/>
                </a:solidFill>
                <a:latin typeface="Roboto"/>
                <a:ea typeface="Roboto"/>
                <a:cs typeface="Roboto"/>
                <a:sym typeface="Roboto"/>
              </a:defRPr>
            </a:pPr>
            <a:r>
              <a:rPr lang="pl-PL" sz="1400" dirty="0">
                <a:solidFill>
                  <a:srgbClr val="FFFFFF"/>
                </a:solidFill>
                <a:latin typeface="+mj-lt"/>
              </a:rPr>
              <a:t>€310+</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million</a:t>
            </a:r>
            <a:endParaRPr lang="pl-PL" sz="1400" dirty="0">
              <a:solidFill>
                <a:srgbClr val="FFFFFF"/>
              </a:solidFill>
              <a:latin typeface="+mj-lt"/>
              <a:ea typeface="Roboto"/>
              <a:cs typeface="Roboto"/>
            </a:endParaRPr>
          </a:p>
        </p:txBody>
      </p:sp>
      <p:sp>
        <p:nvSpPr>
          <p:cNvPr id="241" name="Line">
            <a:extLst>
              <a:ext uri="{FF2B5EF4-FFF2-40B4-BE49-F238E27FC236}">
                <a16:creationId xmlns:a16="http://schemas.microsoft.com/office/drawing/2014/main" id="{9589F4D2-F52D-8944-A5C2-27B23A41A176}"/>
              </a:ext>
            </a:extLst>
          </p:cNvPr>
          <p:cNvSpPr/>
          <p:nvPr/>
        </p:nvSpPr>
        <p:spPr>
          <a:xfrm>
            <a:off x="8762469" y="5212381"/>
            <a:ext cx="0" cy="972000"/>
          </a:xfrm>
          <a:prstGeom prst="line">
            <a:avLst/>
          </a:prstGeom>
          <a:ln w="12700">
            <a:solidFill>
              <a:srgbClr val="FFFFFF"/>
            </a:solidFill>
            <a:custDash>
              <a:ds d="200000" sp="200000"/>
            </a:custDash>
            <a:miter lim="400000"/>
          </a:ln>
        </p:spPr>
        <p:txBody>
          <a:bodyPr lIns="25400" tIns="25400" rIns="25400" bIns="25400" anchor="ctr"/>
          <a:lstStyle/>
          <a:p>
            <a:pPr>
              <a:defRPr sz="3200" b="0">
                <a:latin typeface="Helvetica Light"/>
                <a:ea typeface="Helvetica Light"/>
                <a:cs typeface="Helvetica Light"/>
                <a:sym typeface="Helvetica Light"/>
              </a:defRPr>
            </a:pPr>
            <a:endParaRPr sz="1600">
              <a:solidFill>
                <a:srgbClr val="FFFFFF"/>
              </a:solidFill>
            </a:endParaRPr>
          </a:p>
        </p:txBody>
      </p:sp>
      <p:sp>
        <p:nvSpPr>
          <p:cNvPr id="243" name="Marketing…">
            <a:extLst>
              <a:ext uri="{FF2B5EF4-FFF2-40B4-BE49-F238E27FC236}">
                <a16:creationId xmlns:a16="http://schemas.microsoft.com/office/drawing/2014/main" id="{FED9E2BC-6B5E-F543-BC21-20386C6C80E5}"/>
              </a:ext>
            </a:extLst>
          </p:cNvPr>
          <p:cNvSpPr txBox="1"/>
          <p:nvPr/>
        </p:nvSpPr>
        <p:spPr>
          <a:xfrm>
            <a:off x="9202645" y="5331371"/>
            <a:ext cx="1566000" cy="5375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err="1">
                <a:solidFill>
                  <a:srgbClr val="FFFFFF"/>
                </a:solidFill>
                <a:latin typeface="+mj-lt"/>
                <a:ea typeface="Roboto"/>
                <a:cs typeface="Roboto"/>
              </a:rPr>
              <a:t>Projects</a:t>
            </a:r>
            <a:r>
              <a:rPr lang="pl-PL" sz="1400" dirty="0">
                <a:solidFill>
                  <a:srgbClr val="FFFFFF"/>
                </a:solidFill>
                <a:latin typeface="+mj-lt"/>
                <a:ea typeface="Roboto"/>
                <a:cs typeface="Roboto"/>
              </a:rPr>
              <a:t> in 8 </a:t>
            </a:r>
            <a:r>
              <a:rPr lang="pl-PL" sz="1400" dirty="0" err="1">
                <a:solidFill>
                  <a:srgbClr val="FFFFFF"/>
                </a:solidFill>
                <a:latin typeface="+mj-lt"/>
                <a:ea typeface="Roboto"/>
                <a:cs typeface="Roboto"/>
              </a:rPr>
              <a:t>countries</a:t>
            </a:r>
            <a:r>
              <a:rPr lang="pl-PL" sz="1400" dirty="0">
                <a:solidFill>
                  <a:srgbClr val="FFFFFF"/>
                </a:solidFill>
                <a:latin typeface="+mj-lt"/>
                <a:ea typeface="Roboto"/>
                <a:cs typeface="Roboto"/>
              </a:rPr>
              <a:t> </a:t>
            </a:r>
          </a:p>
        </p:txBody>
      </p:sp>
      <p:sp>
        <p:nvSpPr>
          <p:cNvPr id="237" name="Line">
            <a:extLst>
              <a:ext uri="{FF2B5EF4-FFF2-40B4-BE49-F238E27FC236}">
                <a16:creationId xmlns:a16="http://schemas.microsoft.com/office/drawing/2014/main" id="{39E2F355-088A-B74D-96F1-276281C4360C}"/>
              </a:ext>
            </a:extLst>
          </p:cNvPr>
          <p:cNvSpPr/>
          <p:nvPr/>
        </p:nvSpPr>
        <p:spPr>
          <a:xfrm>
            <a:off x="5829168" y="5212381"/>
            <a:ext cx="0" cy="972000"/>
          </a:xfrm>
          <a:prstGeom prst="line">
            <a:avLst/>
          </a:prstGeom>
          <a:ln w="12700">
            <a:solidFill>
              <a:srgbClr val="FFFFFF"/>
            </a:solidFill>
            <a:custDash>
              <a:ds d="200000" sp="200000"/>
            </a:custDash>
            <a:miter lim="400000"/>
          </a:ln>
        </p:spPr>
        <p:txBody>
          <a:bodyPr lIns="25400" tIns="25400" rIns="25400" bIns="25400" anchor="ctr"/>
          <a:lstStyle/>
          <a:p>
            <a:pPr>
              <a:defRPr sz="3200" b="0">
                <a:latin typeface="Helvetica Light"/>
                <a:ea typeface="Helvetica Light"/>
                <a:cs typeface="Helvetica Light"/>
                <a:sym typeface="Helvetica Light"/>
              </a:defRPr>
            </a:pPr>
            <a:endParaRPr sz="1600">
              <a:solidFill>
                <a:srgbClr val="FFFFFF"/>
              </a:solidFill>
            </a:endParaRPr>
          </a:p>
        </p:txBody>
      </p:sp>
      <p:sp>
        <p:nvSpPr>
          <p:cNvPr id="192" name="Marketing…">
            <a:extLst>
              <a:ext uri="{FF2B5EF4-FFF2-40B4-BE49-F238E27FC236}">
                <a16:creationId xmlns:a16="http://schemas.microsoft.com/office/drawing/2014/main" id="{6A9EC5DD-97F7-97CF-44F0-712A1F1B716E}"/>
              </a:ext>
            </a:extLst>
          </p:cNvPr>
          <p:cNvSpPr txBox="1"/>
          <p:nvPr/>
        </p:nvSpPr>
        <p:spPr>
          <a:xfrm>
            <a:off x="3482737" y="5341734"/>
            <a:ext cx="2132428" cy="4955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nSpc>
                <a:spcPct val="130000"/>
              </a:lnSpc>
              <a:defRPr sz="2500">
                <a:solidFill>
                  <a:srgbClr val="53585F"/>
                </a:solidFill>
                <a:latin typeface="Roboto"/>
                <a:ea typeface="Roboto"/>
                <a:cs typeface="Roboto"/>
                <a:sym typeface="Roboto"/>
              </a:defRPr>
            </a:pPr>
            <a:r>
              <a:rPr lang="pl-PL" sz="1400" dirty="0" err="1">
                <a:solidFill>
                  <a:srgbClr val="FFFFFF"/>
                </a:solidFill>
                <a:latin typeface="+mj-lt"/>
                <a:ea typeface="Roboto"/>
                <a:cs typeface="Roboto"/>
              </a:rPr>
              <a:t>Fund’s</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total</a:t>
            </a:r>
            <a:r>
              <a:rPr lang="pl-PL" sz="1400" dirty="0">
                <a:solidFill>
                  <a:srgbClr val="FFFFFF"/>
                </a:solidFill>
                <a:latin typeface="+mj-lt"/>
                <a:ea typeface="Roboto"/>
                <a:cs typeface="Roboto"/>
              </a:rPr>
              <a:t> investment:</a:t>
            </a:r>
          </a:p>
          <a:p>
            <a:pPr>
              <a:defRPr sz="2500">
                <a:solidFill>
                  <a:srgbClr val="53585F"/>
                </a:solidFill>
                <a:latin typeface="Roboto"/>
                <a:ea typeface="Roboto"/>
                <a:cs typeface="Roboto"/>
                <a:sym typeface="Roboto"/>
              </a:defRPr>
            </a:pPr>
            <a:r>
              <a:rPr lang="pl-PL" sz="1400" dirty="0">
                <a:solidFill>
                  <a:srgbClr val="FFFFFF"/>
                </a:solidFill>
                <a:latin typeface="+mj-lt"/>
              </a:rPr>
              <a:t>€110+</a:t>
            </a:r>
            <a:r>
              <a:rPr lang="pl-PL" sz="1400" dirty="0">
                <a:solidFill>
                  <a:srgbClr val="FFFFFF"/>
                </a:solidFill>
                <a:latin typeface="+mj-lt"/>
                <a:ea typeface="Roboto"/>
                <a:cs typeface="Roboto"/>
              </a:rPr>
              <a:t> </a:t>
            </a:r>
            <a:r>
              <a:rPr lang="pl-PL" sz="1400" dirty="0" err="1">
                <a:solidFill>
                  <a:srgbClr val="FFFFFF"/>
                </a:solidFill>
                <a:latin typeface="+mj-lt"/>
                <a:ea typeface="Roboto"/>
                <a:cs typeface="Roboto"/>
              </a:rPr>
              <a:t>million</a:t>
            </a:r>
            <a:endParaRPr lang="pl-PL" sz="1400" dirty="0">
              <a:solidFill>
                <a:srgbClr val="FFFFFF"/>
              </a:solidFill>
              <a:latin typeface="+mj-lt"/>
              <a:ea typeface="Roboto"/>
              <a:cs typeface="Roboto"/>
            </a:endParaRPr>
          </a:p>
        </p:txBody>
      </p:sp>
    </p:spTree>
    <p:extLst>
      <p:ext uri="{BB962C8B-B14F-4D97-AF65-F5344CB8AC3E}">
        <p14:creationId xmlns:p14="http://schemas.microsoft.com/office/powerpoint/2010/main" val="138696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30">
            <a:extLst>
              <a:ext uri="{FF2B5EF4-FFF2-40B4-BE49-F238E27FC236}">
                <a16:creationId xmlns:a16="http://schemas.microsoft.com/office/drawing/2014/main" id="{688E9DDF-4EFB-346D-F3A8-1583457B494A}"/>
              </a:ext>
            </a:extLst>
          </p:cNvPr>
          <p:cNvSpPr>
            <a:spLocks/>
          </p:cNvSpPr>
          <p:nvPr/>
        </p:nvSpPr>
        <p:spPr>
          <a:xfrm>
            <a:off x="4331020" y="3253526"/>
            <a:ext cx="1362470" cy="1465022"/>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Construction (</a:t>
            </a:r>
            <a:r>
              <a:rPr lang="pl-PL" sz="700" dirty="0" err="1">
                <a:solidFill>
                  <a:schemeClr val="tx1">
                    <a:lumMod val="50000"/>
                  </a:schemeClr>
                </a:solidFill>
                <a:sym typeface="Helvetica Neue Medium"/>
              </a:rPr>
              <a:t>prefabrication</a:t>
            </a:r>
            <a:r>
              <a:rPr lang="pl-PL" sz="700" dirty="0">
                <a:solidFill>
                  <a:schemeClr val="tx1">
                    <a:lumMod val="50000"/>
                  </a:schemeClr>
                </a:solidFill>
                <a:sym typeface="Helvetica Neue Medium"/>
              </a:rPr>
              <a:t>)</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9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0</a:t>
            </a:r>
          </a:p>
          <a:p>
            <a:endParaRPr lang="en-GB" sz="700" dirty="0">
              <a:solidFill>
                <a:schemeClr val="tx1">
                  <a:lumMod val="50000"/>
                </a:schemeClr>
              </a:solidFill>
              <a:sym typeface="Helvetica Neue Medium"/>
            </a:endParaRPr>
          </a:p>
        </p:txBody>
      </p:sp>
      <p:pic>
        <p:nvPicPr>
          <p:cNvPr id="3" name="Picture 2">
            <a:extLst>
              <a:ext uri="{FF2B5EF4-FFF2-40B4-BE49-F238E27FC236}">
                <a16:creationId xmlns:a16="http://schemas.microsoft.com/office/drawing/2014/main" id="{E641CE94-0DDD-A5E2-AF45-A13B297222E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26763" y="3529711"/>
            <a:ext cx="796472" cy="12946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39">
            <a:extLst>
              <a:ext uri="{FF2B5EF4-FFF2-40B4-BE49-F238E27FC236}">
                <a16:creationId xmlns:a16="http://schemas.microsoft.com/office/drawing/2014/main" id="{8749799C-2B3A-5307-1B68-E0F644CD83FD}"/>
              </a:ext>
            </a:extLst>
          </p:cNvPr>
          <p:cNvSpPr>
            <a:spLocks/>
          </p:cNvSpPr>
          <p:nvPr/>
        </p:nvSpPr>
        <p:spPr>
          <a:xfrm>
            <a:off x="6089799" y="3253527"/>
            <a:ext cx="1362470" cy="1465022"/>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USA</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8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9</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7" name="Rectangle 246">
            <a:extLst>
              <a:ext uri="{FF2B5EF4-FFF2-40B4-BE49-F238E27FC236}">
                <a16:creationId xmlns:a16="http://schemas.microsoft.com/office/drawing/2014/main" id="{AE2BE283-F0BC-449D-4928-23D681E8336C}"/>
              </a:ext>
            </a:extLst>
          </p:cNvPr>
          <p:cNvSpPr>
            <a:spLocks/>
          </p:cNvSpPr>
          <p:nvPr/>
        </p:nvSpPr>
        <p:spPr>
          <a:xfrm>
            <a:off x="792000" y="4853726"/>
            <a:ext cx="1359105" cy="14521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err="1">
                <a:solidFill>
                  <a:schemeClr val="tx1">
                    <a:lumMod val="50000"/>
                  </a:schemeClr>
                </a:solidFill>
                <a:sym typeface="Helvetica Neue Medium"/>
              </a:rPr>
              <a:t>Hotels</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tourism</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Greece</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9.0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19</a:t>
            </a:r>
          </a:p>
          <a:p>
            <a:endParaRPr lang="en-GB" sz="700" dirty="0">
              <a:solidFill>
                <a:schemeClr val="tx1">
                  <a:lumMod val="50000"/>
                </a:schemeClr>
              </a:solidFill>
              <a:sym typeface="Helvetica Neue Medium"/>
            </a:endParaRPr>
          </a:p>
        </p:txBody>
      </p:sp>
      <p:sp>
        <p:nvSpPr>
          <p:cNvPr id="9" name="Rectangle 251">
            <a:extLst>
              <a:ext uri="{FF2B5EF4-FFF2-40B4-BE49-F238E27FC236}">
                <a16:creationId xmlns:a16="http://schemas.microsoft.com/office/drawing/2014/main" id="{14F298DF-181C-AAF8-68DA-24C6C775BD1B}"/>
              </a:ext>
            </a:extLst>
          </p:cNvPr>
          <p:cNvSpPr>
            <a:spLocks/>
          </p:cNvSpPr>
          <p:nvPr/>
        </p:nvSpPr>
        <p:spPr>
          <a:xfrm>
            <a:off x="2582682" y="4862342"/>
            <a:ext cx="1362470" cy="1435577"/>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3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9</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11" name="Rectangle 256">
            <a:extLst>
              <a:ext uri="{FF2B5EF4-FFF2-40B4-BE49-F238E27FC236}">
                <a16:creationId xmlns:a16="http://schemas.microsoft.com/office/drawing/2014/main" id="{B4086935-D329-9979-A92D-1043BFD08CCC}"/>
              </a:ext>
            </a:extLst>
          </p:cNvPr>
          <p:cNvSpPr>
            <a:spLocks/>
          </p:cNvSpPr>
          <p:nvPr/>
        </p:nvSpPr>
        <p:spPr>
          <a:xfrm>
            <a:off x="4331259" y="4853726"/>
            <a:ext cx="1362231" cy="1437537"/>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IT</a:t>
            </a:r>
          </a:p>
          <a:p>
            <a:r>
              <a:rPr lang="pl-PL" sz="700" dirty="0">
                <a:solidFill>
                  <a:schemeClr val="tx1">
                    <a:lumMod val="50000"/>
                  </a:schemeClr>
                </a:solidFill>
                <a:sym typeface="Helvetica Neue Medium"/>
              </a:rPr>
              <a:t>Romania</a:t>
            </a:r>
          </a:p>
          <a:p>
            <a:endParaRPr lang="pl-PL" sz="700">
              <a:solidFill>
                <a:schemeClr val="tx1">
                  <a:lumMod val="50000"/>
                </a:schemeClr>
              </a:solidFill>
              <a:sym typeface="Helvetica Neue Medium"/>
            </a:endParaRPr>
          </a:p>
          <a:p>
            <a:r>
              <a:rPr lang="pl-PL" sz="700">
                <a:solidFill>
                  <a:schemeClr val="tx1">
                    <a:lumMod val="50000"/>
                  </a:schemeClr>
                </a:solidFill>
                <a:sym typeface="Helvetica Neue Medium"/>
              </a:rPr>
              <a:t>€</a:t>
            </a:r>
            <a:r>
              <a:rPr lang="pl-PL" sz="700" dirty="0">
                <a:solidFill>
                  <a:schemeClr val="tx1">
                    <a:lumMod val="50000"/>
                  </a:schemeClr>
                </a:solidFill>
                <a:sym typeface="Helvetica Neue Medium"/>
              </a:rPr>
              <a:t>2.1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8 </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2</a:t>
            </a:r>
          </a:p>
          <a:p>
            <a:endParaRPr lang="en-GB" sz="700" dirty="0">
              <a:solidFill>
                <a:schemeClr val="tx1">
                  <a:lumMod val="50000"/>
                </a:schemeClr>
              </a:solidFill>
              <a:sym typeface="Helvetica Neue Medium"/>
            </a:endParaRPr>
          </a:p>
        </p:txBody>
      </p:sp>
      <p:sp>
        <p:nvSpPr>
          <p:cNvPr id="13" name="Rectangle 259">
            <a:extLst>
              <a:ext uri="{FF2B5EF4-FFF2-40B4-BE49-F238E27FC236}">
                <a16:creationId xmlns:a16="http://schemas.microsoft.com/office/drawing/2014/main" id="{EE11769D-EE33-613C-B59F-AA9C407B1116}"/>
              </a:ext>
            </a:extLst>
          </p:cNvPr>
          <p:cNvSpPr>
            <a:spLocks/>
          </p:cNvSpPr>
          <p:nvPr/>
        </p:nvSpPr>
        <p:spPr>
          <a:xfrm>
            <a:off x="6098171" y="4853727"/>
            <a:ext cx="1354099" cy="14521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pl-PL" sz="700" dirty="0" err="1">
                <a:solidFill>
                  <a:schemeClr val="tx1">
                    <a:lumMod val="50000"/>
                  </a:schemeClr>
                </a:solidFill>
                <a:sym typeface="Helvetica Neue Medium"/>
              </a:rPr>
              <a:t>Lithuan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5.3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17</a:t>
            </a:r>
          </a:p>
          <a:p>
            <a:endParaRPr lang="en-GB" sz="700" dirty="0">
              <a:solidFill>
                <a:schemeClr val="tx1">
                  <a:lumMod val="50000"/>
                </a:schemeClr>
              </a:solidFill>
              <a:sym typeface="Helvetica Neue Medium"/>
            </a:endParaRPr>
          </a:p>
        </p:txBody>
      </p:sp>
      <p:sp>
        <p:nvSpPr>
          <p:cNvPr id="15" name="Rectangle 262">
            <a:extLst>
              <a:ext uri="{FF2B5EF4-FFF2-40B4-BE49-F238E27FC236}">
                <a16:creationId xmlns:a16="http://schemas.microsoft.com/office/drawing/2014/main" id="{7B9F959D-8CAE-61AE-0CBB-27E42C684396}"/>
              </a:ext>
            </a:extLst>
          </p:cNvPr>
          <p:cNvSpPr>
            <a:spLocks/>
          </p:cNvSpPr>
          <p:nvPr/>
        </p:nvSpPr>
        <p:spPr>
          <a:xfrm>
            <a:off x="788635" y="3246448"/>
            <a:ext cx="1362470" cy="1472100"/>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US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1</a:t>
            </a:r>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3</a:t>
            </a:r>
            <a:r>
              <a:rPr lang="pl-PL" sz="700" dirty="0">
                <a:solidFill>
                  <a:schemeClr val="tx1">
                    <a:lumMod val="50000"/>
                  </a:schemeClr>
                </a:solidFill>
                <a:sym typeface="Helvetica Neue Medium"/>
              </a:rPr>
              <a:t> m</a:t>
            </a:r>
            <a:r>
              <a:rPr lang="en-US" sz="700" dirty="0">
                <a:solidFill>
                  <a:schemeClr val="tx1">
                    <a:lumMod val="50000"/>
                  </a:schemeClr>
                </a:solidFill>
                <a:sym typeface="Helvetica Neue Medium"/>
              </a:rPr>
              <a:t>*</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a:t>
            </a:r>
            <a:r>
              <a:rPr lang="en-US" sz="700" dirty="0">
                <a:solidFill>
                  <a:schemeClr val="tx1">
                    <a:lumMod val="50000"/>
                  </a:schemeClr>
                </a:solidFill>
                <a:sym typeface="Helvetica Neue Medium"/>
              </a:rPr>
              <a:t>2021</a:t>
            </a:r>
            <a:endParaRPr lang="pl-PL" sz="700" dirty="0">
              <a:solidFill>
                <a:schemeClr val="tx1">
                  <a:lumMod val="50000"/>
                </a:schemeClr>
              </a:solidFill>
              <a:sym typeface="Helvetica Neue Medium"/>
            </a:endParaRP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16" name="Rectangle 262">
            <a:extLst>
              <a:ext uri="{FF2B5EF4-FFF2-40B4-BE49-F238E27FC236}">
                <a16:creationId xmlns:a16="http://schemas.microsoft.com/office/drawing/2014/main" id="{6B98DA9E-EBF9-DA88-D03B-B9CFC6E402A4}"/>
              </a:ext>
            </a:extLst>
          </p:cNvPr>
          <p:cNvSpPr>
            <a:spLocks/>
          </p:cNvSpPr>
          <p:nvPr/>
        </p:nvSpPr>
        <p:spPr>
          <a:xfrm>
            <a:off x="9615187" y="1643124"/>
            <a:ext cx="1362470" cy="1452151"/>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cycling, </a:t>
            </a:r>
            <a:r>
              <a:rPr lang="pl-PL" sz="700" dirty="0" err="1">
                <a:solidFill>
                  <a:schemeClr val="tx1">
                    <a:lumMod val="50000"/>
                  </a:schemeClr>
                </a:solidFill>
                <a:sym typeface="Helvetica Neue Medium"/>
              </a:rPr>
              <a:t>urban</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ining</a:t>
            </a:r>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US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6</a:t>
            </a:r>
            <a:r>
              <a:rPr lang="pl-PL" sz="700" dirty="0">
                <a:solidFill>
                  <a:schemeClr val="tx1">
                    <a:lumMod val="50000"/>
                  </a:schemeClr>
                </a:solidFill>
                <a:sym typeface="Helvetica Neue Medium"/>
              </a:rPr>
              <a:t>.</a:t>
            </a:r>
            <a:r>
              <a:rPr lang="en-US" sz="700" dirty="0">
                <a:solidFill>
                  <a:schemeClr val="tx1">
                    <a:lumMod val="50000"/>
                  </a:schemeClr>
                </a:solidFill>
                <a:sym typeface="Helvetica Neue Medium"/>
              </a:rPr>
              <a:t>0</a:t>
            </a:r>
            <a:r>
              <a:rPr lang="pl-PL" sz="700" dirty="0">
                <a:solidFill>
                  <a:schemeClr val="tx1">
                    <a:lumMod val="50000"/>
                  </a:schemeClr>
                </a:solidFill>
                <a:sym typeface="Helvetica Neue Medium"/>
              </a:rPr>
              <a:t> m</a:t>
            </a:r>
            <a:r>
              <a:rPr lang="en-US" sz="700" dirty="0">
                <a:solidFill>
                  <a:schemeClr val="tx1">
                    <a:lumMod val="50000"/>
                  </a:schemeClr>
                </a:solidFill>
                <a:sym typeface="Helvetica Neue Medium"/>
              </a:rPr>
              <a:t>*</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a:t>
            </a:r>
            <a:r>
              <a:rPr lang="en-US" sz="700" dirty="0">
                <a:solidFill>
                  <a:schemeClr val="tx1">
                    <a:lumMod val="50000"/>
                  </a:schemeClr>
                </a:solidFill>
                <a:sym typeface="Helvetica Neue Medium"/>
              </a:rPr>
              <a:t>2021</a:t>
            </a:r>
            <a:endParaRPr lang="pl-PL" sz="700" dirty="0">
              <a:solidFill>
                <a:schemeClr val="tx1">
                  <a:lumMod val="50000"/>
                </a:schemeClr>
              </a:solidFill>
              <a:sym typeface="Helvetica Neue Medium"/>
            </a:endParaRP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20" name="Rectangle 28">
            <a:extLst>
              <a:ext uri="{FF2B5EF4-FFF2-40B4-BE49-F238E27FC236}">
                <a16:creationId xmlns:a16="http://schemas.microsoft.com/office/drawing/2014/main" id="{5F3A1C30-9D8F-0107-AE45-458844A8A28B}"/>
              </a:ext>
            </a:extLst>
          </p:cNvPr>
          <p:cNvSpPr>
            <a:spLocks/>
          </p:cNvSpPr>
          <p:nvPr/>
        </p:nvSpPr>
        <p:spPr>
          <a:xfrm>
            <a:off x="9615187" y="3253527"/>
            <a:ext cx="1373624" cy="1452151"/>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IT</a:t>
            </a:r>
          </a:p>
          <a:p>
            <a:r>
              <a:rPr lang="pl-PL" sz="700" dirty="0" err="1">
                <a:solidFill>
                  <a:schemeClr val="tx1">
                    <a:lumMod val="50000"/>
                  </a:schemeClr>
                </a:solidFill>
                <a:sym typeface="Helvetica Neue Medium"/>
              </a:rPr>
              <a:t>Croat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0.9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9 </a:t>
            </a:r>
          </a:p>
          <a:p>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2</a:t>
            </a:r>
          </a:p>
          <a:p>
            <a:endParaRPr lang="en-GB" sz="700" dirty="0">
              <a:solidFill>
                <a:schemeClr val="tx1">
                  <a:lumMod val="50000"/>
                </a:schemeClr>
              </a:solidFill>
              <a:sym typeface="Helvetica Neue Medium"/>
            </a:endParaRPr>
          </a:p>
        </p:txBody>
      </p:sp>
      <p:sp>
        <p:nvSpPr>
          <p:cNvPr id="22" name="Rectangle 262">
            <a:extLst>
              <a:ext uri="{FF2B5EF4-FFF2-40B4-BE49-F238E27FC236}">
                <a16:creationId xmlns:a16="http://schemas.microsoft.com/office/drawing/2014/main" id="{E7382605-0023-C5D1-71B8-9579F675B4F2}"/>
              </a:ext>
            </a:extLst>
          </p:cNvPr>
          <p:cNvSpPr>
            <a:spLocks/>
          </p:cNvSpPr>
          <p:nvPr/>
        </p:nvSpPr>
        <p:spPr>
          <a:xfrm>
            <a:off x="4337657" y="1669980"/>
            <a:ext cx="1362470" cy="143736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IT</a:t>
            </a:r>
          </a:p>
          <a:p>
            <a:r>
              <a:rPr lang="pl-PL" sz="700" dirty="0">
                <a:solidFill>
                  <a:schemeClr val="tx1">
                    <a:lumMod val="50000"/>
                  </a:schemeClr>
                </a:solidFill>
                <a:sym typeface="Helvetica Neue Medium"/>
              </a:rPr>
              <a:t>USA</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Equity + </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202</a:t>
            </a:r>
            <a:r>
              <a:rPr lang="pl-PL" sz="700" dirty="0">
                <a:solidFill>
                  <a:schemeClr val="tx1">
                    <a:lumMod val="50000"/>
                  </a:schemeClr>
                </a:solidFill>
                <a:sym typeface="Helvetica Neue Medium"/>
              </a:rPr>
              <a:t>2</a:t>
            </a:r>
          </a:p>
          <a:p>
            <a:endParaRPr lang="en-GB" sz="700" dirty="0">
              <a:solidFill>
                <a:schemeClr val="tx1">
                  <a:lumMod val="50000"/>
                </a:schemeClr>
              </a:solidFill>
              <a:sym typeface="Helvetica Neue Medium"/>
            </a:endParaRPr>
          </a:p>
        </p:txBody>
      </p:sp>
      <p:sp>
        <p:nvSpPr>
          <p:cNvPr id="23" name="Rectangle 233">
            <a:extLst>
              <a:ext uri="{FF2B5EF4-FFF2-40B4-BE49-F238E27FC236}">
                <a16:creationId xmlns:a16="http://schemas.microsoft.com/office/drawing/2014/main" id="{8187EE70-B899-4495-66B0-1079F8BE4104}"/>
              </a:ext>
            </a:extLst>
          </p:cNvPr>
          <p:cNvSpPr>
            <a:spLocks/>
          </p:cNvSpPr>
          <p:nvPr/>
        </p:nvSpPr>
        <p:spPr>
          <a:xfrm>
            <a:off x="7848578" y="3253527"/>
            <a:ext cx="1373624" cy="14521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err="1">
                <a:solidFill>
                  <a:schemeClr val="tx1">
                    <a:lumMod val="50000"/>
                  </a:schemeClr>
                </a:solidFill>
                <a:sym typeface="Helvetica Neue Medium"/>
              </a:rPr>
              <a:t>Agricultural</a:t>
            </a:r>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machinery</a:t>
            </a:r>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USA</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1.8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19</a:t>
            </a:r>
          </a:p>
          <a:p>
            <a:endParaRPr lang="en-GB" sz="700" dirty="0">
              <a:solidFill>
                <a:schemeClr val="tx1">
                  <a:lumMod val="50000"/>
                </a:schemeClr>
              </a:solidFill>
              <a:sym typeface="Helvetica Neue Medium"/>
            </a:endParaRPr>
          </a:p>
        </p:txBody>
      </p:sp>
      <p:pic>
        <p:nvPicPr>
          <p:cNvPr id="25" name="Obraz 3">
            <a:extLst>
              <a:ext uri="{FF2B5EF4-FFF2-40B4-BE49-F238E27FC236}">
                <a16:creationId xmlns:a16="http://schemas.microsoft.com/office/drawing/2014/main" id="{A9AF4331-5D14-A655-9CAB-E4E89A98CB5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008618" y="3458782"/>
            <a:ext cx="1053542" cy="290369"/>
          </a:xfrm>
          <a:prstGeom prst="rect">
            <a:avLst/>
          </a:prstGeom>
        </p:spPr>
      </p:pic>
      <p:sp>
        <p:nvSpPr>
          <p:cNvPr id="26" name="Rectangle 262">
            <a:extLst>
              <a:ext uri="{FF2B5EF4-FFF2-40B4-BE49-F238E27FC236}">
                <a16:creationId xmlns:a16="http://schemas.microsoft.com/office/drawing/2014/main" id="{FCEB9F6D-6A89-AFB6-C098-3DACB140BD19}"/>
              </a:ext>
            </a:extLst>
          </p:cNvPr>
          <p:cNvSpPr>
            <a:spLocks/>
          </p:cNvSpPr>
          <p:nvPr/>
        </p:nvSpPr>
        <p:spPr>
          <a:xfrm>
            <a:off x="7846509" y="4862343"/>
            <a:ext cx="1362470" cy="1443535"/>
          </a:xfrm>
          <a:prstGeom prst="rect">
            <a:avLst/>
          </a:prstGeom>
          <a:solidFill>
            <a:schemeClr val="bg1">
              <a:lumMod val="90000"/>
            </a:schemeClr>
          </a:solidFill>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Logistics</a:t>
            </a:r>
          </a:p>
          <a:p>
            <a:r>
              <a:rPr lang="pl-PL" sz="700" dirty="0" err="1">
                <a:solidFill>
                  <a:schemeClr val="tx1">
                    <a:lumMod val="50000"/>
                  </a:schemeClr>
                </a:solidFill>
                <a:sym typeface="Helvetica Neue Medium"/>
              </a:rPr>
              <a:t>Croat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7.8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Investment: 2016</a:t>
            </a:r>
          </a:p>
          <a:p>
            <a:r>
              <a:rPr lang="pl-PL" sz="700" dirty="0">
                <a:solidFill>
                  <a:schemeClr val="tx1">
                    <a:lumMod val="50000"/>
                  </a:schemeClr>
                </a:solidFill>
                <a:sym typeface="Helvetica Neue Medium"/>
              </a:rPr>
              <a:t> </a:t>
            </a:r>
            <a:r>
              <a:rPr lang="pl-PL" sz="700" dirty="0" err="1">
                <a:solidFill>
                  <a:schemeClr val="tx1">
                    <a:lumMod val="50000"/>
                  </a:schemeClr>
                </a:solidFill>
                <a:sym typeface="Helvetica Neue Medium"/>
              </a:rPr>
              <a:t>Exit</a:t>
            </a:r>
            <a:r>
              <a:rPr lang="pl-PL" sz="7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pic>
        <p:nvPicPr>
          <p:cNvPr id="27" name="Grafika 8">
            <a:extLst>
              <a:ext uri="{FF2B5EF4-FFF2-40B4-BE49-F238E27FC236}">
                <a16:creationId xmlns:a16="http://schemas.microsoft.com/office/drawing/2014/main" id="{8A106BCE-7102-1B57-8DED-D38D242F14F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19402" y="5165525"/>
            <a:ext cx="816684" cy="98702"/>
          </a:xfrm>
          <a:prstGeom prst="rect">
            <a:avLst/>
          </a:prstGeom>
        </p:spPr>
      </p:pic>
      <p:sp>
        <p:nvSpPr>
          <p:cNvPr id="33" name="Rectangle 2">
            <a:extLst>
              <a:ext uri="{FF2B5EF4-FFF2-40B4-BE49-F238E27FC236}">
                <a16:creationId xmlns:a16="http://schemas.microsoft.com/office/drawing/2014/main" id="{2533A31F-017D-7E4F-E382-328FF8B2AA3C}"/>
              </a:ext>
            </a:extLst>
          </p:cNvPr>
          <p:cNvSpPr>
            <a:spLocks/>
          </p:cNvSpPr>
          <p:nvPr/>
        </p:nvSpPr>
        <p:spPr>
          <a:xfrm>
            <a:off x="2582682" y="3253526"/>
            <a:ext cx="1362470" cy="1465022"/>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sidential developer</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7.0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1</a:t>
            </a:r>
          </a:p>
          <a:p>
            <a:endParaRPr lang="en-GB" sz="700" dirty="0">
              <a:solidFill>
                <a:schemeClr val="tx1">
                  <a:lumMod val="50000"/>
                </a:schemeClr>
              </a:solidFill>
              <a:sym typeface="Helvetica Neue Medium"/>
            </a:endParaRPr>
          </a:p>
        </p:txBody>
      </p:sp>
      <p:sp>
        <p:nvSpPr>
          <p:cNvPr id="44" name="Rectangle 262">
            <a:extLst>
              <a:ext uri="{FF2B5EF4-FFF2-40B4-BE49-F238E27FC236}">
                <a16:creationId xmlns:a16="http://schemas.microsoft.com/office/drawing/2014/main" id="{29CAF9A3-378C-CE87-C701-B671D7E56652}"/>
              </a:ext>
            </a:extLst>
          </p:cNvPr>
          <p:cNvSpPr>
            <a:spLocks/>
          </p:cNvSpPr>
          <p:nvPr/>
        </p:nvSpPr>
        <p:spPr>
          <a:xfrm>
            <a:off x="6089799" y="1662206"/>
            <a:ext cx="1362470" cy="1435577"/>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a:solidFill>
                  <a:schemeClr val="tx1">
                    <a:lumMod val="50000"/>
                  </a:schemeClr>
                </a:solidFill>
                <a:sym typeface="Helvetica Neue Medium"/>
              </a:rPr>
              <a:t>Residential developer</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3.0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2</a:t>
            </a:r>
          </a:p>
          <a:p>
            <a:endParaRPr lang="en-GB" sz="700" dirty="0">
              <a:solidFill>
                <a:schemeClr val="tx1">
                  <a:lumMod val="50000"/>
                </a:schemeClr>
              </a:solidFill>
              <a:sym typeface="Helvetica Neue Medium"/>
            </a:endParaRPr>
          </a:p>
        </p:txBody>
      </p:sp>
      <p:sp>
        <p:nvSpPr>
          <p:cNvPr id="50" name="Rectangle 262">
            <a:extLst>
              <a:ext uri="{FF2B5EF4-FFF2-40B4-BE49-F238E27FC236}">
                <a16:creationId xmlns:a16="http://schemas.microsoft.com/office/drawing/2014/main" id="{4BA4FCFE-8B48-FB9A-25EC-00023C50D005}"/>
              </a:ext>
            </a:extLst>
          </p:cNvPr>
          <p:cNvSpPr>
            <a:spLocks/>
          </p:cNvSpPr>
          <p:nvPr/>
        </p:nvSpPr>
        <p:spPr>
          <a:xfrm>
            <a:off x="7859732" y="1643124"/>
            <a:ext cx="1362470" cy="1464217"/>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r>
              <a:rPr lang="pl-PL" sz="700" dirty="0" err="1">
                <a:solidFill>
                  <a:schemeClr val="tx1">
                    <a:lumMod val="50000"/>
                  </a:schemeClr>
                </a:solidFill>
                <a:sym typeface="Helvetica Neue Medium"/>
              </a:rPr>
              <a:t>Intermodal</a:t>
            </a:r>
            <a:r>
              <a:rPr lang="pl-PL" sz="700" dirty="0">
                <a:solidFill>
                  <a:schemeClr val="tx1">
                    <a:lumMod val="50000"/>
                  </a:schemeClr>
                </a:solidFill>
                <a:sym typeface="Helvetica Neue Medium"/>
              </a:rPr>
              <a:t> transport</a:t>
            </a:r>
          </a:p>
          <a:p>
            <a:r>
              <a:rPr lang="pl-PL" sz="700" dirty="0">
                <a:solidFill>
                  <a:schemeClr val="tx1">
                    <a:lumMod val="50000"/>
                  </a:schemeClr>
                </a:solidFill>
                <a:sym typeface="Helvetica Neue Medium"/>
              </a:rPr>
              <a:t>Germany</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10.0 m</a:t>
            </a:r>
          </a:p>
          <a:p>
            <a:r>
              <a:rPr lang="pl-PL" sz="700" dirty="0">
                <a:solidFill>
                  <a:schemeClr val="tx1">
                    <a:lumMod val="50000"/>
                  </a:schemeClr>
                </a:solidFill>
                <a:sym typeface="Helvetica Neue Medium"/>
              </a:rPr>
              <a:t>Equity</a:t>
            </a:r>
          </a:p>
          <a:p>
            <a:endParaRPr lang="pl-PL" sz="700" dirty="0">
              <a:solidFill>
                <a:schemeClr val="tx1">
                  <a:lumMod val="50000"/>
                </a:schemeClr>
              </a:solidFill>
              <a:sym typeface="Helvetica Neue Medium"/>
            </a:endParaRPr>
          </a:p>
          <a:p>
            <a:r>
              <a:rPr lang="en-US" sz="700" dirty="0">
                <a:solidFill>
                  <a:schemeClr val="tx1">
                    <a:lumMod val="50000"/>
                  </a:schemeClr>
                </a:solidFill>
                <a:sym typeface="Helvetica Neue Medium"/>
              </a:rPr>
              <a:t>2021</a:t>
            </a:r>
            <a:endParaRPr lang="pl-PL" sz="700" dirty="0">
              <a:solidFill>
                <a:schemeClr val="tx1">
                  <a:lumMod val="50000"/>
                </a:schemeClr>
              </a:solidFill>
              <a:sym typeface="Helvetica Neue Medium"/>
            </a:endParaRPr>
          </a:p>
          <a:p>
            <a:endParaRPr lang="en-GB" sz="700" dirty="0">
              <a:solidFill>
                <a:schemeClr val="tx1">
                  <a:lumMod val="50000"/>
                </a:schemeClr>
              </a:solidFill>
              <a:sym typeface="Helvetica Neue Medium"/>
            </a:endParaRPr>
          </a:p>
        </p:txBody>
      </p:sp>
      <p:pic>
        <p:nvPicPr>
          <p:cNvPr id="51" name="Picture 2">
            <a:extLst>
              <a:ext uri="{FF2B5EF4-FFF2-40B4-BE49-F238E27FC236}">
                <a16:creationId xmlns:a16="http://schemas.microsoft.com/office/drawing/2014/main" id="{8AC7495E-B42F-581B-5E4E-4247C358A30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35198" y="1843789"/>
            <a:ext cx="937352" cy="26120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D279C064-3507-A1AF-E2D1-A5D7A9BE2A7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592173" y="1970638"/>
            <a:ext cx="865653" cy="13949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262">
            <a:extLst>
              <a:ext uri="{FF2B5EF4-FFF2-40B4-BE49-F238E27FC236}">
                <a16:creationId xmlns:a16="http://schemas.microsoft.com/office/drawing/2014/main" id="{76BD2FCF-93C2-CC6E-C5BB-E92997A01091}"/>
              </a:ext>
            </a:extLst>
          </p:cNvPr>
          <p:cNvSpPr>
            <a:spLocks/>
          </p:cNvSpPr>
          <p:nvPr/>
        </p:nvSpPr>
        <p:spPr>
          <a:xfrm>
            <a:off x="2582682" y="1669980"/>
            <a:ext cx="1362470" cy="1435577"/>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a:solidFill>
                  <a:schemeClr val="tx1">
                    <a:lumMod val="50000"/>
                  </a:schemeClr>
                </a:solidFill>
                <a:sym typeface="Helvetica Neue Medium"/>
              </a:rPr>
              <a:t>Romania</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6.5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2</a:t>
            </a:r>
          </a:p>
          <a:p>
            <a:endParaRPr lang="en-GB" sz="700" dirty="0">
              <a:solidFill>
                <a:schemeClr val="tx1">
                  <a:lumMod val="50000"/>
                </a:schemeClr>
              </a:solidFill>
              <a:sym typeface="Helvetica Neue Medium"/>
            </a:endParaRPr>
          </a:p>
        </p:txBody>
      </p:sp>
      <p:sp>
        <p:nvSpPr>
          <p:cNvPr id="5" name="Rectangle 262">
            <a:extLst>
              <a:ext uri="{FF2B5EF4-FFF2-40B4-BE49-F238E27FC236}">
                <a16:creationId xmlns:a16="http://schemas.microsoft.com/office/drawing/2014/main" id="{CB241D96-1A67-8865-2F59-953058FB6CCE}"/>
              </a:ext>
            </a:extLst>
          </p:cNvPr>
          <p:cNvSpPr>
            <a:spLocks/>
          </p:cNvSpPr>
          <p:nvPr/>
        </p:nvSpPr>
        <p:spPr>
          <a:xfrm>
            <a:off x="788635" y="1662206"/>
            <a:ext cx="1362470" cy="1443351"/>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Czech Republic</a:t>
            </a: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4.3 m</a:t>
            </a:r>
          </a:p>
          <a:p>
            <a:r>
              <a:rPr lang="pl-PL" sz="700" dirty="0" err="1">
                <a:solidFill>
                  <a:schemeClr val="tx1">
                    <a:lumMod val="50000"/>
                  </a:schemeClr>
                </a:solidFill>
                <a:sym typeface="Helvetica Neue Medium"/>
              </a:rPr>
              <a:t>Loan</a:t>
            </a:r>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r>
              <a:rPr lang="pl-PL" sz="700" dirty="0">
                <a:solidFill>
                  <a:schemeClr val="tx1">
                    <a:lumMod val="50000"/>
                  </a:schemeClr>
                </a:solidFill>
                <a:sym typeface="Helvetica Neue Medium"/>
              </a:rPr>
              <a:t>2022</a:t>
            </a:r>
          </a:p>
          <a:p>
            <a:endParaRPr lang="en-GB" sz="700" dirty="0">
              <a:solidFill>
                <a:schemeClr val="tx1">
                  <a:lumMod val="50000"/>
                </a:schemeClr>
              </a:solidFill>
              <a:sym typeface="Helvetica Neue Medium"/>
            </a:endParaRPr>
          </a:p>
        </p:txBody>
      </p:sp>
      <p:pic>
        <p:nvPicPr>
          <p:cNvPr id="24" name="Google Shape;6218;p58">
            <a:extLst>
              <a:ext uri="{FF2B5EF4-FFF2-40B4-BE49-F238E27FC236}">
                <a16:creationId xmlns:a16="http://schemas.microsoft.com/office/drawing/2014/main" id="{454E12EE-5877-AF7C-A110-2E0DC9495F4F}"/>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6557023" y="1838717"/>
            <a:ext cx="461571" cy="271414"/>
          </a:xfrm>
          <a:prstGeom prst="rect">
            <a:avLst/>
          </a:prstGeom>
          <a:noFill/>
          <a:ln>
            <a:noFill/>
          </a:ln>
        </p:spPr>
      </p:pic>
      <p:pic>
        <p:nvPicPr>
          <p:cNvPr id="28" name="Obraz 8">
            <a:extLst>
              <a:ext uri="{FF2B5EF4-FFF2-40B4-BE49-F238E27FC236}">
                <a16:creationId xmlns:a16="http://schemas.microsoft.com/office/drawing/2014/main" id="{D33797C5-CC17-0F86-42B2-3AB9295C1F5C}"/>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3542" y="5103493"/>
            <a:ext cx="799381" cy="184603"/>
          </a:xfrm>
          <a:prstGeom prst="rect">
            <a:avLst/>
          </a:prstGeom>
        </p:spPr>
      </p:pic>
      <p:sp>
        <p:nvSpPr>
          <p:cNvPr id="6" name="short intro.">
            <a:extLst>
              <a:ext uri="{FF2B5EF4-FFF2-40B4-BE49-F238E27FC236}">
                <a16:creationId xmlns:a16="http://schemas.microsoft.com/office/drawing/2014/main" id="{5959DB45-0FA8-AC74-975D-A980E0AF56D4}"/>
              </a:ext>
            </a:extLst>
          </p:cNvPr>
          <p:cNvSpPr txBox="1"/>
          <p:nvPr/>
        </p:nvSpPr>
        <p:spPr>
          <a:xfrm>
            <a:off x="792000" y="720000"/>
            <a:ext cx="11250649"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en-US" sz="2700" b="1" dirty="0">
                <a:latin typeface="Novel Pro SemiBold" pitchFamily="2" charset="0"/>
              </a:rPr>
              <a:t>Polish International Development Fund CEF</a:t>
            </a:r>
            <a:r>
              <a:rPr lang="pl-PL" sz="2700" b="1" dirty="0">
                <a:latin typeface="Novel Pro SemiBold" pitchFamily="2" charset="0"/>
              </a:rPr>
              <a:t> – </a:t>
            </a:r>
            <a:r>
              <a:rPr lang="pl-PL" sz="2700" b="1" dirty="0" err="1">
                <a:latin typeface="Novel Pro SemiBold" pitchFamily="2" charset="0"/>
              </a:rPr>
              <a:t>selected</a:t>
            </a:r>
            <a:r>
              <a:rPr lang="pl-PL" sz="2700" b="1" dirty="0">
                <a:latin typeface="Novel Pro SemiBold" pitchFamily="2" charset="0"/>
              </a:rPr>
              <a:t> </a:t>
            </a:r>
            <a:r>
              <a:rPr lang="pl-PL" sz="2700" b="1" dirty="0" err="1">
                <a:latin typeface="Novel Pro SemiBold" pitchFamily="2" charset="0"/>
              </a:rPr>
              <a:t>transactions</a:t>
            </a:r>
            <a:endParaRPr lang="pl-PL" sz="2700" b="1" dirty="0">
              <a:latin typeface="Novel Pro SemiBold" pitchFamily="2" charset="0"/>
            </a:endParaRPr>
          </a:p>
        </p:txBody>
      </p:sp>
      <p:cxnSp>
        <p:nvCxnSpPr>
          <p:cNvPr id="8" name="Straight Connector 23">
            <a:extLst>
              <a:ext uri="{FF2B5EF4-FFF2-40B4-BE49-F238E27FC236}">
                <a16:creationId xmlns:a16="http://schemas.microsoft.com/office/drawing/2014/main" id="{80877FC5-E8BF-7C52-4B6B-3F8E20419227}"/>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36" name="Prostokąt 35">
            <a:extLst>
              <a:ext uri="{FF2B5EF4-FFF2-40B4-BE49-F238E27FC236}">
                <a16:creationId xmlns:a16="http://schemas.microsoft.com/office/drawing/2014/main" id="{395614EC-C12C-67CC-A8BD-7BE06D514780}"/>
              </a:ext>
            </a:extLst>
          </p:cNvPr>
          <p:cNvSpPr/>
          <p:nvPr/>
        </p:nvSpPr>
        <p:spPr>
          <a:xfrm>
            <a:off x="2582681" y="6511258"/>
            <a:ext cx="2492239"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l"/>
            <a:r>
              <a:rPr lang="en-US" sz="800" dirty="0">
                <a:sym typeface="Helvetica Neue Medium"/>
              </a:rPr>
              <a:t>*</a:t>
            </a:r>
            <a:r>
              <a:rPr lang="pl-PL" sz="800" dirty="0">
                <a:sym typeface="Helvetica Neue Medium"/>
              </a:rPr>
              <a:t>in </a:t>
            </a:r>
            <a:r>
              <a:rPr lang="pl-PL" sz="800" dirty="0" err="1">
                <a:sym typeface="Helvetica Neue Medium"/>
              </a:rPr>
              <a:t>cooperation</a:t>
            </a:r>
            <a:r>
              <a:rPr lang="pl-PL" sz="800" dirty="0">
                <a:sym typeface="Helvetica Neue Medium"/>
              </a:rPr>
              <a:t> with PFR Investment Fund CEF</a:t>
            </a:r>
          </a:p>
        </p:txBody>
      </p:sp>
      <p:pic>
        <p:nvPicPr>
          <p:cNvPr id="38" name="Google Shape;6218;p58">
            <a:extLst>
              <a:ext uri="{FF2B5EF4-FFF2-40B4-BE49-F238E27FC236}">
                <a16:creationId xmlns:a16="http://schemas.microsoft.com/office/drawing/2014/main" id="{302F6248-FBC7-6E95-6D6A-52D2ACA8FF31}"/>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3023345" y="3413054"/>
            <a:ext cx="461571" cy="271414"/>
          </a:xfrm>
          <a:prstGeom prst="rect">
            <a:avLst/>
          </a:prstGeom>
          <a:noFill/>
          <a:ln>
            <a:noFill/>
          </a:ln>
        </p:spPr>
      </p:pic>
      <p:sp>
        <p:nvSpPr>
          <p:cNvPr id="40" name="Slide Number">
            <a:extLst>
              <a:ext uri="{FF2B5EF4-FFF2-40B4-BE49-F238E27FC236}">
                <a16:creationId xmlns:a16="http://schemas.microsoft.com/office/drawing/2014/main" id="{7C4EA475-26B2-00E0-AC37-09EFB9B01ECF}"/>
              </a:ext>
            </a:extLst>
          </p:cNvPr>
          <p:cNvSpPr txBox="1">
            <a:spLocks noGrp="1"/>
          </p:cNvSpPr>
          <p:nvPr>
            <p:ph type="sldNum" sz="quarter" idx="2"/>
          </p:nvPr>
        </p:nvSpPr>
        <p:spPr>
          <a:xfrm>
            <a:off x="11244393" y="6532176"/>
            <a:ext cx="125034" cy="369332"/>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44</a:t>
            </a:fld>
            <a:endParaRPr/>
          </a:p>
        </p:txBody>
      </p:sp>
      <p:pic>
        <p:nvPicPr>
          <p:cNvPr id="14" name="Picture 6">
            <a:extLst>
              <a:ext uri="{FF2B5EF4-FFF2-40B4-BE49-F238E27FC236}">
                <a16:creationId xmlns:a16="http://schemas.microsoft.com/office/drawing/2014/main" id="{635202EC-2703-08F6-338E-577903DCDA1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069895" y="1747245"/>
            <a:ext cx="463994" cy="330321"/>
          </a:xfrm>
          <a:prstGeom prst="rect">
            <a:avLst/>
          </a:prstGeom>
        </p:spPr>
      </p:pic>
      <p:pic>
        <p:nvPicPr>
          <p:cNvPr id="21" name="Picture 6">
            <a:extLst>
              <a:ext uri="{FF2B5EF4-FFF2-40B4-BE49-F238E27FC236}">
                <a16:creationId xmlns:a16="http://schemas.microsoft.com/office/drawing/2014/main" id="{52D6DC02-B30A-A862-2241-07A6A108E6B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42505" y="3367334"/>
            <a:ext cx="463994" cy="330321"/>
          </a:xfrm>
          <a:prstGeom prst="rect">
            <a:avLst/>
          </a:prstGeom>
        </p:spPr>
      </p:pic>
      <p:pic>
        <p:nvPicPr>
          <p:cNvPr id="29" name="Picture 6">
            <a:extLst>
              <a:ext uri="{FF2B5EF4-FFF2-40B4-BE49-F238E27FC236}">
                <a16:creationId xmlns:a16="http://schemas.microsoft.com/office/drawing/2014/main" id="{00CF4F3B-5DA4-E378-B70B-0ADED624449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47616" y="5009509"/>
            <a:ext cx="463994" cy="330321"/>
          </a:xfrm>
          <a:prstGeom prst="rect">
            <a:avLst/>
          </a:prstGeom>
        </p:spPr>
      </p:pic>
      <p:pic>
        <p:nvPicPr>
          <p:cNvPr id="30" name="Picture 6">
            <a:extLst>
              <a:ext uri="{FF2B5EF4-FFF2-40B4-BE49-F238E27FC236}">
                <a16:creationId xmlns:a16="http://schemas.microsoft.com/office/drawing/2014/main" id="{E60A82E2-28B4-8F65-944F-BC59801E77A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23031" y="4972932"/>
            <a:ext cx="463994" cy="330321"/>
          </a:xfrm>
          <a:prstGeom prst="rect">
            <a:avLst/>
          </a:prstGeom>
        </p:spPr>
      </p:pic>
      <p:pic>
        <p:nvPicPr>
          <p:cNvPr id="31" name="Picture 6">
            <a:extLst>
              <a:ext uri="{FF2B5EF4-FFF2-40B4-BE49-F238E27FC236}">
                <a16:creationId xmlns:a16="http://schemas.microsoft.com/office/drawing/2014/main" id="{EC6F703D-FFD8-0C09-71BD-8E25CC9A75E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228729" y="3375760"/>
            <a:ext cx="463994" cy="330321"/>
          </a:xfrm>
          <a:prstGeom prst="rect">
            <a:avLst/>
          </a:prstGeom>
        </p:spPr>
      </p:pic>
      <p:pic>
        <p:nvPicPr>
          <p:cNvPr id="10" name="Obraz 9" descr="Obraz zawierający Czcionka, tekst, Grafika, zrzut ekranu&#10;&#10;Opis wygenerowany automatycznie">
            <a:extLst>
              <a:ext uri="{FF2B5EF4-FFF2-40B4-BE49-F238E27FC236}">
                <a16:creationId xmlns:a16="http://schemas.microsoft.com/office/drawing/2014/main" id="{EC14BB7B-C2F5-737C-AC4A-C2E3D279D9B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3078" y="1765533"/>
            <a:ext cx="970968" cy="562880"/>
          </a:xfrm>
          <a:prstGeom prst="rect">
            <a:avLst/>
          </a:prstGeom>
        </p:spPr>
      </p:pic>
      <p:pic>
        <p:nvPicPr>
          <p:cNvPr id="17" name="Obraz 16" descr="Obraz zawierający Czcionka, tekst, Grafika, zrzut ekranu&#10;&#10;Opis wygenerowany automatycznie">
            <a:extLst>
              <a:ext uri="{FF2B5EF4-FFF2-40B4-BE49-F238E27FC236}">
                <a16:creationId xmlns:a16="http://schemas.microsoft.com/office/drawing/2014/main" id="{27D1CAFA-AD0A-7F32-701E-CF1A8CA020C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778433" y="1765533"/>
            <a:ext cx="970968" cy="562880"/>
          </a:xfrm>
          <a:prstGeom prst="rect">
            <a:avLst/>
          </a:prstGeom>
        </p:spPr>
      </p:pic>
      <p:pic>
        <p:nvPicPr>
          <p:cNvPr id="34" name="Obraz 2" descr="Obraz zawierający tekst, zegar, ciemny&#10;&#10;Opis wygenerowany automatycznie">
            <a:extLst>
              <a:ext uri="{FF2B5EF4-FFF2-40B4-BE49-F238E27FC236}">
                <a16:creationId xmlns:a16="http://schemas.microsoft.com/office/drawing/2014/main" id="{9C502511-5D31-2A51-5C11-A0E91EBD466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035239" y="3468543"/>
            <a:ext cx="498650" cy="265688"/>
          </a:xfrm>
          <a:prstGeom prst="rect">
            <a:avLst/>
          </a:prstGeom>
        </p:spPr>
      </p:pic>
      <p:pic>
        <p:nvPicPr>
          <p:cNvPr id="35" name="Obraz 34">
            <a:extLst>
              <a:ext uri="{FF2B5EF4-FFF2-40B4-BE49-F238E27FC236}">
                <a16:creationId xmlns:a16="http://schemas.microsoft.com/office/drawing/2014/main" id="{9A2A49F1-77D6-7B1F-DC45-710D7E20862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960691" y="3350389"/>
            <a:ext cx="672076" cy="100812"/>
          </a:xfrm>
          <a:prstGeom prst="rect">
            <a:avLst/>
          </a:prstGeom>
        </p:spPr>
      </p:pic>
      <p:pic>
        <p:nvPicPr>
          <p:cNvPr id="37" name="Obraz 2" descr="Obraz zawierający tekst, zegar, ciemny&#10;&#10;Opis wygenerowany automatycznie">
            <a:extLst>
              <a:ext uri="{FF2B5EF4-FFF2-40B4-BE49-F238E27FC236}">
                <a16:creationId xmlns:a16="http://schemas.microsoft.com/office/drawing/2014/main" id="{64D94802-94B5-B219-F048-4D6FFD5DB1C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760171" y="5037147"/>
            <a:ext cx="498650" cy="265688"/>
          </a:xfrm>
          <a:prstGeom prst="rect">
            <a:avLst/>
          </a:prstGeom>
        </p:spPr>
      </p:pic>
      <p:pic>
        <p:nvPicPr>
          <p:cNvPr id="39" name="Obraz 38">
            <a:extLst>
              <a:ext uri="{FF2B5EF4-FFF2-40B4-BE49-F238E27FC236}">
                <a16:creationId xmlns:a16="http://schemas.microsoft.com/office/drawing/2014/main" id="{C419EF8E-CE16-00AD-D802-1E134ED7F46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685623" y="4918994"/>
            <a:ext cx="672076" cy="100812"/>
          </a:xfrm>
          <a:prstGeom prst="rect">
            <a:avLst/>
          </a:prstGeom>
        </p:spPr>
      </p:pic>
    </p:spTree>
    <p:extLst>
      <p:ext uri="{BB962C8B-B14F-4D97-AF65-F5344CB8AC3E}">
        <p14:creationId xmlns:p14="http://schemas.microsoft.com/office/powerpoint/2010/main" val="21812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62">
            <a:extLst>
              <a:ext uri="{FF2B5EF4-FFF2-40B4-BE49-F238E27FC236}">
                <a16:creationId xmlns:a16="http://schemas.microsoft.com/office/drawing/2014/main" id="{CB241D96-1A67-8865-2F59-953058FB6CCE}"/>
              </a:ext>
            </a:extLst>
          </p:cNvPr>
          <p:cNvSpPr>
            <a:spLocks/>
          </p:cNvSpPr>
          <p:nvPr/>
        </p:nvSpPr>
        <p:spPr>
          <a:xfrm>
            <a:off x="861040" y="1671349"/>
            <a:ext cx="4012712" cy="1766795"/>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pPr algn="l"/>
            <a:r>
              <a:rPr lang="pl-PL" sz="1000" dirty="0">
                <a:solidFill>
                  <a:schemeClr val="tx1">
                    <a:lumMod val="50000"/>
                  </a:schemeClr>
                </a:solidFill>
                <a:sym typeface="Helvetica Neue Medium"/>
              </a:rPr>
              <a:t>	                 USA</a:t>
            </a: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10.0 m. </a:t>
            </a:r>
          </a:p>
          <a:p>
            <a:pPr algn="l"/>
            <a:r>
              <a:rPr lang="pl-PL" sz="1000" dirty="0">
                <a:solidFill>
                  <a:schemeClr val="tx1">
                    <a:lumMod val="50000"/>
                  </a:schemeClr>
                </a:solidFill>
                <a:sym typeface="Helvetica Neue Medium"/>
              </a:rPr>
              <a:t>                                 </a:t>
            </a:r>
            <a:r>
              <a:rPr lang="pl-PL" sz="1000" dirty="0" err="1">
                <a:solidFill>
                  <a:schemeClr val="tx1">
                    <a:lumMod val="50000"/>
                  </a:schemeClr>
                </a:solidFill>
                <a:sym typeface="Helvetica Neue Medium"/>
              </a:rPr>
              <a:t>Loan</a:t>
            </a:r>
            <a:endParaRPr lang="pl-PL" sz="1000" dirty="0">
              <a:solidFill>
                <a:schemeClr val="tx1">
                  <a:lumMod val="50000"/>
                </a:schemeClr>
              </a:solidFill>
              <a:sym typeface="Helvetica Neue Medium"/>
            </a:endParaRP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sp>
        <p:nvSpPr>
          <p:cNvPr id="6" name="short intro.">
            <a:extLst>
              <a:ext uri="{FF2B5EF4-FFF2-40B4-BE49-F238E27FC236}">
                <a16:creationId xmlns:a16="http://schemas.microsoft.com/office/drawing/2014/main" id="{5959DB45-0FA8-AC74-975D-A980E0AF56D4}"/>
              </a:ext>
            </a:extLst>
          </p:cNvPr>
          <p:cNvSpPr txBox="1"/>
          <p:nvPr/>
        </p:nvSpPr>
        <p:spPr>
          <a:xfrm>
            <a:off x="792000" y="720000"/>
            <a:ext cx="10851361"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en-US" sz="2700" b="1" dirty="0">
                <a:latin typeface="Novel Pro SemiBold" pitchFamily="2" charset="0"/>
              </a:rPr>
              <a:t>Polish International Development Fund </a:t>
            </a:r>
            <a:r>
              <a:rPr lang="pl-PL" sz="2700" b="1" dirty="0">
                <a:latin typeface="Novel Pro SemiBold" pitchFamily="2" charset="0"/>
              </a:rPr>
              <a:t>2 </a:t>
            </a:r>
            <a:r>
              <a:rPr lang="en-US" sz="2700" b="1" dirty="0">
                <a:latin typeface="Novel Pro SemiBold" pitchFamily="2" charset="0"/>
              </a:rPr>
              <a:t>CEF</a:t>
            </a:r>
            <a:r>
              <a:rPr lang="pl-PL" sz="2700" b="1" dirty="0">
                <a:latin typeface="Novel Pro SemiBold" pitchFamily="2" charset="0"/>
              </a:rPr>
              <a:t> </a:t>
            </a:r>
            <a:r>
              <a:rPr lang="pl-PL" sz="2700" b="1" dirty="0" err="1">
                <a:latin typeface="Novel Pro SemiBold" pitchFamily="2" charset="0"/>
              </a:rPr>
              <a:t>transactions</a:t>
            </a:r>
            <a:endParaRPr lang="pl-PL" sz="2700" b="1" dirty="0">
              <a:latin typeface="Novel Pro SemiBold" pitchFamily="2" charset="0"/>
            </a:endParaRPr>
          </a:p>
        </p:txBody>
      </p:sp>
      <p:cxnSp>
        <p:nvCxnSpPr>
          <p:cNvPr id="8" name="Straight Connector 23">
            <a:extLst>
              <a:ext uri="{FF2B5EF4-FFF2-40B4-BE49-F238E27FC236}">
                <a16:creationId xmlns:a16="http://schemas.microsoft.com/office/drawing/2014/main" id="{80877FC5-E8BF-7C52-4B6B-3F8E20419227}"/>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40" name="Slide Number">
            <a:extLst>
              <a:ext uri="{FF2B5EF4-FFF2-40B4-BE49-F238E27FC236}">
                <a16:creationId xmlns:a16="http://schemas.microsoft.com/office/drawing/2014/main" id="{7C4EA475-26B2-00E0-AC37-09EFB9B01ECF}"/>
              </a:ext>
            </a:extLst>
          </p:cNvPr>
          <p:cNvSpPr txBox="1">
            <a:spLocks noGrp="1"/>
          </p:cNvSpPr>
          <p:nvPr>
            <p:ph type="sldNum" sz="quarter" idx="2"/>
          </p:nvPr>
        </p:nvSpPr>
        <p:spPr>
          <a:xfrm>
            <a:off x="11244393" y="6532176"/>
            <a:ext cx="125034" cy="36933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5</a:t>
            </a:fld>
            <a:endParaRPr/>
          </a:p>
        </p:txBody>
      </p:sp>
      <p:pic>
        <p:nvPicPr>
          <p:cNvPr id="9" name="Obraz 8" descr="Obraz zawierający chmura, niebo, na wolnym powietrzu, trawa&#10;&#10;Opis wygenerowany automatycznie">
            <a:extLst>
              <a:ext uri="{FF2B5EF4-FFF2-40B4-BE49-F238E27FC236}">
                <a16:creationId xmlns:a16="http://schemas.microsoft.com/office/drawing/2014/main" id="{663BEBC2-1BF6-5198-D31C-09E137E359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7122" y="3555262"/>
            <a:ext cx="3389014" cy="2257680"/>
          </a:xfrm>
          <a:prstGeom prst="rect">
            <a:avLst/>
          </a:prstGeom>
          <a:effectLst>
            <a:outerShdw blurRad="50800" dist="38100" dir="2700000" algn="tl" rotWithShape="0">
              <a:prstClr val="black">
                <a:alpha val="40000"/>
              </a:prstClr>
            </a:outerShdw>
          </a:effectLst>
        </p:spPr>
      </p:pic>
      <p:pic>
        <p:nvPicPr>
          <p:cNvPr id="11" name="Obraz 10" descr="Obraz zawierający na wolnym powietrzu, tekst, niebo, znak&#10;&#10;Opis wygenerowany automatycznie">
            <a:extLst>
              <a:ext uri="{FF2B5EF4-FFF2-40B4-BE49-F238E27FC236}">
                <a16:creationId xmlns:a16="http://schemas.microsoft.com/office/drawing/2014/main" id="{4A5F7A47-B203-636C-8E66-9171B25A62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1040" y="3555262"/>
            <a:ext cx="1686025" cy="2246535"/>
          </a:xfrm>
          <a:prstGeom prst="rect">
            <a:avLst/>
          </a:prstGeom>
          <a:effectLst>
            <a:outerShdw blurRad="50800" dist="38100" dir="2700000" algn="tl" rotWithShape="0">
              <a:prstClr val="black">
                <a:alpha val="40000"/>
              </a:prstClr>
            </a:outerShdw>
          </a:effectLst>
        </p:spPr>
      </p:pic>
      <p:pic>
        <p:nvPicPr>
          <p:cNvPr id="13" name="Obraz 12" descr="Obraz zawierający fabryka, przemysł, inżynieria, maszyna&#10;&#10;Opis wygenerowany automatycznie">
            <a:extLst>
              <a:ext uri="{FF2B5EF4-FFF2-40B4-BE49-F238E27FC236}">
                <a16:creationId xmlns:a16="http://schemas.microsoft.com/office/drawing/2014/main" id="{0B844257-10C3-3142-E60D-2BFB7F4543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38295" y="3555262"/>
            <a:ext cx="2235456" cy="2246535"/>
          </a:xfrm>
          <a:prstGeom prst="rect">
            <a:avLst/>
          </a:prstGeom>
          <a:effectLst>
            <a:outerShdw blurRad="50800" dist="38100" dir="2700000" algn="tl" rotWithShape="0">
              <a:prstClr val="black">
                <a:alpha val="40000"/>
              </a:prstClr>
            </a:outerShdw>
          </a:effectLst>
        </p:spPr>
      </p:pic>
      <p:sp>
        <p:nvSpPr>
          <p:cNvPr id="14" name="Rectangle 262">
            <a:extLst>
              <a:ext uri="{FF2B5EF4-FFF2-40B4-BE49-F238E27FC236}">
                <a16:creationId xmlns:a16="http://schemas.microsoft.com/office/drawing/2014/main" id="{BE7FC1DA-80D7-0F9A-3A5A-76DCB8712DE9}"/>
              </a:ext>
            </a:extLst>
          </p:cNvPr>
          <p:cNvSpPr>
            <a:spLocks/>
          </p:cNvSpPr>
          <p:nvPr/>
        </p:nvSpPr>
        <p:spPr>
          <a:xfrm>
            <a:off x="6907122" y="1672401"/>
            <a:ext cx="3389010" cy="1766795"/>
          </a:xfrm>
          <a:prstGeom prst="rect">
            <a:avLst/>
          </a:prstGeom>
          <a:ln>
            <a:solidFill>
              <a:srgbClr val="0C749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0" tIns="0" rIns="0" bIns="0" numCol="1" spcCol="38100" rtlCol="0" anchor="b">
            <a:noAutofit/>
          </a:bodyPr>
          <a:lstStyle/>
          <a:p>
            <a:endParaRPr lang="pl-PL" sz="700" dirty="0">
              <a:solidFill>
                <a:schemeClr val="tx1">
                  <a:lumMod val="50000"/>
                </a:schemeClr>
              </a:solidFill>
              <a:sym typeface="Helvetica Neue Medium"/>
            </a:endParaRPr>
          </a:p>
          <a:p>
            <a:endParaRPr lang="pl-PL" sz="7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Germany</a:t>
            </a: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 3.1 m.</a:t>
            </a:r>
          </a:p>
          <a:p>
            <a:pPr algn="l"/>
            <a:r>
              <a:rPr lang="pl-PL" sz="1000" dirty="0">
                <a:solidFill>
                  <a:schemeClr val="tx1">
                    <a:lumMod val="50000"/>
                  </a:schemeClr>
                </a:solidFill>
                <a:sym typeface="Helvetica Neue Medium"/>
              </a:rPr>
              <a:t>	                    </a:t>
            </a:r>
            <a:r>
              <a:rPr lang="pl-PL" sz="1000" dirty="0" err="1">
                <a:solidFill>
                  <a:schemeClr val="tx1">
                    <a:lumMod val="50000"/>
                  </a:schemeClr>
                </a:solidFill>
                <a:sym typeface="Helvetica Neue Medium"/>
              </a:rPr>
              <a:t>Loan</a:t>
            </a:r>
            <a:endParaRPr lang="pl-PL" sz="1000" dirty="0">
              <a:solidFill>
                <a:schemeClr val="tx1">
                  <a:lumMod val="50000"/>
                </a:schemeClr>
              </a:solidFill>
              <a:sym typeface="Helvetica Neue Medium"/>
            </a:endParaRPr>
          </a:p>
          <a:p>
            <a:pPr algn="l"/>
            <a:endParaRPr lang="pl-PL" sz="1000" dirty="0">
              <a:solidFill>
                <a:schemeClr val="tx1">
                  <a:lumMod val="50000"/>
                </a:schemeClr>
              </a:solidFill>
              <a:sym typeface="Helvetica Neue Medium"/>
            </a:endParaRPr>
          </a:p>
          <a:p>
            <a:pPr algn="l"/>
            <a:r>
              <a:rPr lang="pl-PL" sz="1000" dirty="0">
                <a:solidFill>
                  <a:schemeClr val="tx1">
                    <a:lumMod val="50000"/>
                  </a:schemeClr>
                </a:solidFill>
                <a:sym typeface="Helvetica Neue Medium"/>
              </a:rPr>
              <a:t>                                     2023</a:t>
            </a:r>
          </a:p>
          <a:p>
            <a:endParaRPr lang="en-GB" sz="700" dirty="0">
              <a:solidFill>
                <a:schemeClr val="tx1">
                  <a:lumMod val="50000"/>
                </a:schemeClr>
              </a:solidFill>
              <a:sym typeface="Helvetica Neue Medium"/>
            </a:endParaRPr>
          </a:p>
        </p:txBody>
      </p:sp>
      <p:cxnSp>
        <p:nvCxnSpPr>
          <p:cNvPr id="15" name="Łącznik prosty 14">
            <a:extLst>
              <a:ext uri="{FF2B5EF4-FFF2-40B4-BE49-F238E27FC236}">
                <a16:creationId xmlns:a16="http://schemas.microsoft.com/office/drawing/2014/main" id="{2BCBCAB1-69CE-0C63-C199-735470C83F68}"/>
              </a:ext>
            </a:extLst>
          </p:cNvPr>
          <p:cNvCxnSpPr>
            <a:cxnSpLocks/>
          </p:cNvCxnSpPr>
          <p:nvPr/>
        </p:nvCxnSpPr>
        <p:spPr>
          <a:xfrm>
            <a:off x="5934456" y="1662205"/>
            <a:ext cx="0" cy="4537427"/>
          </a:xfrm>
          <a:prstGeom prst="line">
            <a:avLst/>
          </a:prstGeom>
          <a:noFill/>
          <a:ln w="6350" cap="flat">
            <a:solidFill>
              <a:schemeClr val="tx2">
                <a:alpha val="50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Picture 2">
            <a:extLst>
              <a:ext uri="{FF2B5EF4-FFF2-40B4-BE49-F238E27FC236}">
                <a16:creationId xmlns:a16="http://schemas.microsoft.com/office/drawing/2014/main" id="{0A784F9E-5268-8047-0A91-C98A8157678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257219" y="1938470"/>
            <a:ext cx="1472184" cy="229646"/>
          </a:xfrm>
          <a:prstGeom prst="rect">
            <a:avLst/>
          </a:prstGeom>
          <a:noFill/>
          <a:extLst>
            <a:ext uri="{909E8E84-426E-40DD-AFC4-6F175D3DCCD1}">
              <a14:hiddenFill xmlns:a14="http://schemas.microsoft.com/office/drawing/2010/main">
                <a:solidFill>
                  <a:srgbClr val="FFFFFF"/>
                </a:solidFill>
              </a14:hiddenFill>
            </a:ext>
          </a:extLst>
        </p:spPr>
      </p:pic>
      <p:pic>
        <p:nvPicPr>
          <p:cNvPr id="4" name="Obraz 3" descr="Obraz zawierający tekst, Czcionka, logo, zrzut ekranu&#10;&#10;Opis wygenerowany automatycznie">
            <a:extLst>
              <a:ext uri="{FF2B5EF4-FFF2-40B4-BE49-F238E27FC236}">
                <a16:creationId xmlns:a16="http://schemas.microsoft.com/office/drawing/2014/main" id="{084487CE-2175-7836-492E-D2802E3B797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73627" y="1804369"/>
            <a:ext cx="770728" cy="577834"/>
          </a:xfrm>
          <a:prstGeom prst="rect">
            <a:avLst/>
          </a:prstGeom>
        </p:spPr>
      </p:pic>
      <p:sp>
        <p:nvSpPr>
          <p:cNvPr id="21" name="Germany" descr="{&quot;Key&quot;:&quot;germany&quot;,&quot;Name&quot;:&quot;Germany&quot;,&quot;Value&quot;:1.0,&quot;Formula&quot;:&quot;&quot;,&quot;Text&quot;:&quot;&quot;,&quot;OfficeApplication&quot;:1,&quot;HasValue&quot;:true}">
            <a:extLst>
              <a:ext uri="{FF2B5EF4-FFF2-40B4-BE49-F238E27FC236}">
                <a16:creationId xmlns:a16="http://schemas.microsoft.com/office/drawing/2014/main" id="{8EEE38B4-2008-49E7-E61A-ACF3CA892567}"/>
              </a:ext>
            </a:extLst>
          </p:cNvPr>
          <p:cNvSpPr>
            <a:spLocks noEditPoints="1"/>
          </p:cNvSpPr>
          <p:nvPr/>
        </p:nvSpPr>
        <p:spPr bwMode="auto">
          <a:xfrm>
            <a:off x="8922759" y="2036681"/>
            <a:ext cx="928669" cy="1139112"/>
          </a:xfrm>
          <a:custGeom>
            <a:avLst/>
            <a:gdLst>
              <a:gd name="T0" fmla="*/ 408 w 434"/>
              <a:gd name="T1" fmla="*/ 167 h 571"/>
              <a:gd name="T2" fmla="*/ 417 w 434"/>
              <a:gd name="T3" fmla="*/ 204 h 571"/>
              <a:gd name="T4" fmla="*/ 427 w 434"/>
              <a:gd name="T5" fmla="*/ 247 h 571"/>
              <a:gd name="T6" fmla="*/ 382 w 434"/>
              <a:gd name="T7" fmla="*/ 302 h 571"/>
              <a:gd name="T8" fmla="*/ 359 w 434"/>
              <a:gd name="T9" fmla="*/ 314 h 571"/>
              <a:gd name="T10" fmla="*/ 331 w 434"/>
              <a:gd name="T11" fmla="*/ 329 h 571"/>
              <a:gd name="T12" fmla="*/ 316 w 434"/>
              <a:gd name="T13" fmla="*/ 365 h 571"/>
              <a:gd name="T14" fmla="*/ 346 w 434"/>
              <a:gd name="T15" fmla="*/ 414 h 571"/>
              <a:gd name="T16" fmla="*/ 369 w 434"/>
              <a:gd name="T17" fmla="*/ 468 h 571"/>
              <a:gd name="T18" fmla="*/ 345 w 434"/>
              <a:gd name="T19" fmla="*/ 532 h 571"/>
              <a:gd name="T20" fmla="*/ 325 w 434"/>
              <a:gd name="T21" fmla="*/ 539 h 571"/>
              <a:gd name="T22" fmla="*/ 309 w 434"/>
              <a:gd name="T23" fmla="*/ 541 h 571"/>
              <a:gd name="T24" fmla="*/ 270 w 434"/>
              <a:gd name="T25" fmla="*/ 554 h 571"/>
              <a:gd name="T26" fmla="*/ 245 w 434"/>
              <a:gd name="T27" fmla="*/ 549 h 571"/>
              <a:gd name="T28" fmla="*/ 208 w 434"/>
              <a:gd name="T29" fmla="*/ 567 h 571"/>
              <a:gd name="T30" fmla="*/ 203 w 434"/>
              <a:gd name="T31" fmla="*/ 553 h 571"/>
              <a:gd name="T32" fmla="*/ 179 w 434"/>
              <a:gd name="T33" fmla="*/ 549 h 571"/>
              <a:gd name="T34" fmla="*/ 139 w 434"/>
              <a:gd name="T35" fmla="*/ 537 h 571"/>
              <a:gd name="T36" fmla="*/ 129 w 434"/>
              <a:gd name="T37" fmla="*/ 538 h 571"/>
              <a:gd name="T38" fmla="*/ 79 w 434"/>
              <a:gd name="T39" fmla="*/ 544 h 571"/>
              <a:gd name="T40" fmla="*/ 78 w 434"/>
              <a:gd name="T41" fmla="*/ 509 h 571"/>
              <a:gd name="T42" fmla="*/ 113 w 434"/>
              <a:gd name="T43" fmla="*/ 441 h 571"/>
              <a:gd name="T44" fmla="*/ 55 w 434"/>
              <a:gd name="T45" fmla="*/ 423 h 571"/>
              <a:gd name="T46" fmla="*/ 32 w 434"/>
              <a:gd name="T47" fmla="*/ 375 h 571"/>
              <a:gd name="T48" fmla="*/ 23 w 434"/>
              <a:gd name="T49" fmla="*/ 315 h 571"/>
              <a:gd name="T50" fmla="*/ 6 w 434"/>
              <a:gd name="T51" fmla="*/ 282 h 571"/>
              <a:gd name="T52" fmla="*/ 23 w 434"/>
              <a:gd name="T53" fmla="*/ 259 h 571"/>
              <a:gd name="T54" fmla="*/ 23 w 434"/>
              <a:gd name="T55" fmla="*/ 223 h 571"/>
              <a:gd name="T56" fmla="*/ 48 w 434"/>
              <a:gd name="T57" fmla="*/ 208 h 571"/>
              <a:gd name="T58" fmla="*/ 51 w 434"/>
              <a:gd name="T59" fmla="*/ 166 h 571"/>
              <a:gd name="T60" fmla="*/ 77 w 434"/>
              <a:gd name="T61" fmla="*/ 122 h 571"/>
              <a:gd name="T62" fmla="*/ 68 w 434"/>
              <a:gd name="T63" fmla="*/ 115 h 571"/>
              <a:gd name="T64" fmla="*/ 113 w 434"/>
              <a:gd name="T65" fmla="*/ 89 h 571"/>
              <a:gd name="T66" fmla="*/ 150 w 434"/>
              <a:gd name="T67" fmla="*/ 80 h 571"/>
              <a:gd name="T68" fmla="*/ 180 w 434"/>
              <a:gd name="T69" fmla="*/ 96 h 571"/>
              <a:gd name="T70" fmla="*/ 139 w 434"/>
              <a:gd name="T71" fmla="*/ 42 h 571"/>
              <a:gd name="T72" fmla="*/ 142 w 434"/>
              <a:gd name="T73" fmla="*/ 13 h 571"/>
              <a:gd name="T74" fmla="*/ 175 w 434"/>
              <a:gd name="T75" fmla="*/ 8 h 571"/>
              <a:gd name="T76" fmla="*/ 197 w 434"/>
              <a:gd name="T77" fmla="*/ 11 h 571"/>
              <a:gd name="T78" fmla="*/ 200 w 434"/>
              <a:gd name="T79" fmla="*/ 18 h 571"/>
              <a:gd name="T80" fmla="*/ 205 w 434"/>
              <a:gd name="T81" fmla="*/ 44 h 571"/>
              <a:gd name="T82" fmla="*/ 238 w 434"/>
              <a:gd name="T83" fmla="*/ 71 h 571"/>
              <a:gd name="T84" fmla="*/ 291 w 434"/>
              <a:gd name="T85" fmla="*/ 58 h 571"/>
              <a:gd name="T86" fmla="*/ 324 w 434"/>
              <a:gd name="T87" fmla="*/ 34 h 571"/>
              <a:gd name="T88" fmla="*/ 352 w 434"/>
              <a:gd name="T89" fmla="*/ 58 h 571"/>
              <a:gd name="T90" fmla="*/ 378 w 434"/>
              <a:gd name="T91" fmla="*/ 82 h 571"/>
              <a:gd name="T92" fmla="*/ 350 w 434"/>
              <a:gd name="T93" fmla="*/ 28 h 571"/>
              <a:gd name="T94" fmla="*/ 357 w 434"/>
              <a:gd name="T95" fmla="*/ 21 h 571"/>
              <a:gd name="T96" fmla="*/ 334 w 434"/>
              <a:gd name="T97" fmla="*/ 4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4" h="571">
                <a:moveTo>
                  <a:pt x="386" y="84"/>
                </a:moveTo>
                <a:cubicBezTo>
                  <a:pt x="387" y="93"/>
                  <a:pt x="396" y="110"/>
                  <a:pt x="397" y="116"/>
                </a:cubicBezTo>
                <a:cubicBezTo>
                  <a:pt x="399" y="129"/>
                  <a:pt x="381" y="138"/>
                  <a:pt x="385" y="149"/>
                </a:cubicBezTo>
                <a:cubicBezTo>
                  <a:pt x="387" y="156"/>
                  <a:pt x="408" y="159"/>
                  <a:pt x="408" y="167"/>
                </a:cubicBezTo>
                <a:cubicBezTo>
                  <a:pt x="408" y="176"/>
                  <a:pt x="402" y="179"/>
                  <a:pt x="407" y="185"/>
                </a:cubicBezTo>
                <a:cubicBezTo>
                  <a:pt x="408" y="188"/>
                  <a:pt x="412" y="189"/>
                  <a:pt x="414" y="192"/>
                </a:cubicBezTo>
                <a:cubicBezTo>
                  <a:pt x="415" y="195"/>
                  <a:pt x="413" y="199"/>
                  <a:pt x="414" y="202"/>
                </a:cubicBezTo>
                <a:cubicBezTo>
                  <a:pt x="414" y="204"/>
                  <a:pt x="416" y="203"/>
                  <a:pt x="417" y="204"/>
                </a:cubicBezTo>
                <a:cubicBezTo>
                  <a:pt x="420" y="208"/>
                  <a:pt x="413" y="218"/>
                  <a:pt x="411" y="221"/>
                </a:cubicBezTo>
                <a:cubicBezTo>
                  <a:pt x="408" y="226"/>
                  <a:pt x="416" y="229"/>
                  <a:pt x="418" y="234"/>
                </a:cubicBezTo>
                <a:cubicBezTo>
                  <a:pt x="419" y="237"/>
                  <a:pt x="415" y="240"/>
                  <a:pt x="417" y="243"/>
                </a:cubicBezTo>
                <a:cubicBezTo>
                  <a:pt x="419" y="246"/>
                  <a:pt x="424" y="245"/>
                  <a:pt x="427" y="247"/>
                </a:cubicBezTo>
                <a:cubicBezTo>
                  <a:pt x="434" y="254"/>
                  <a:pt x="431" y="296"/>
                  <a:pt x="424" y="297"/>
                </a:cubicBezTo>
                <a:cubicBezTo>
                  <a:pt x="417" y="299"/>
                  <a:pt x="405" y="267"/>
                  <a:pt x="399" y="285"/>
                </a:cubicBezTo>
                <a:cubicBezTo>
                  <a:pt x="398" y="288"/>
                  <a:pt x="408" y="290"/>
                  <a:pt x="406" y="292"/>
                </a:cubicBezTo>
                <a:cubicBezTo>
                  <a:pt x="399" y="297"/>
                  <a:pt x="389" y="298"/>
                  <a:pt x="382" y="302"/>
                </a:cubicBezTo>
                <a:cubicBezTo>
                  <a:pt x="381" y="303"/>
                  <a:pt x="382" y="305"/>
                  <a:pt x="381" y="306"/>
                </a:cubicBezTo>
                <a:cubicBezTo>
                  <a:pt x="377" y="308"/>
                  <a:pt x="371" y="305"/>
                  <a:pt x="367" y="308"/>
                </a:cubicBezTo>
                <a:cubicBezTo>
                  <a:pt x="364" y="310"/>
                  <a:pt x="365" y="314"/>
                  <a:pt x="363" y="317"/>
                </a:cubicBezTo>
                <a:cubicBezTo>
                  <a:pt x="361" y="318"/>
                  <a:pt x="360" y="314"/>
                  <a:pt x="359" y="314"/>
                </a:cubicBezTo>
                <a:cubicBezTo>
                  <a:pt x="354" y="316"/>
                  <a:pt x="353" y="322"/>
                  <a:pt x="350" y="325"/>
                </a:cubicBezTo>
                <a:cubicBezTo>
                  <a:pt x="348" y="326"/>
                  <a:pt x="344" y="324"/>
                  <a:pt x="343" y="325"/>
                </a:cubicBezTo>
                <a:cubicBezTo>
                  <a:pt x="341" y="326"/>
                  <a:pt x="343" y="330"/>
                  <a:pt x="341" y="331"/>
                </a:cubicBezTo>
                <a:cubicBezTo>
                  <a:pt x="339" y="334"/>
                  <a:pt x="333" y="329"/>
                  <a:pt x="331" y="329"/>
                </a:cubicBezTo>
                <a:cubicBezTo>
                  <a:pt x="317" y="331"/>
                  <a:pt x="314" y="342"/>
                  <a:pt x="310" y="351"/>
                </a:cubicBezTo>
                <a:cubicBezTo>
                  <a:pt x="309" y="353"/>
                  <a:pt x="309" y="346"/>
                  <a:pt x="307" y="344"/>
                </a:cubicBezTo>
                <a:cubicBezTo>
                  <a:pt x="305" y="342"/>
                  <a:pt x="301" y="341"/>
                  <a:pt x="299" y="340"/>
                </a:cubicBezTo>
                <a:cubicBezTo>
                  <a:pt x="294" y="339"/>
                  <a:pt x="304" y="357"/>
                  <a:pt x="316" y="365"/>
                </a:cubicBezTo>
                <a:cubicBezTo>
                  <a:pt x="317" y="365"/>
                  <a:pt x="321" y="366"/>
                  <a:pt x="321" y="369"/>
                </a:cubicBezTo>
                <a:cubicBezTo>
                  <a:pt x="323" y="377"/>
                  <a:pt x="316" y="374"/>
                  <a:pt x="314" y="381"/>
                </a:cubicBezTo>
                <a:cubicBezTo>
                  <a:pt x="314" y="382"/>
                  <a:pt x="326" y="403"/>
                  <a:pt x="328" y="405"/>
                </a:cubicBezTo>
                <a:cubicBezTo>
                  <a:pt x="338" y="415"/>
                  <a:pt x="340" y="408"/>
                  <a:pt x="346" y="414"/>
                </a:cubicBezTo>
                <a:cubicBezTo>
                  <a:pt x="350" y="418"/>
                  <a:pt x="351" y="424"/>
                  <a:pt x="355" y="428"/>
                </a:cubicBezTo>
                <a:cubicBezTo>
                  <a:pt x="364" y="434"/>
                  <a:pt x="388" y="442"/>
                  <a:pt x="387" y="457"/>
                </a:cubicBezTo>
                <a:cubicBezTo>
                  <a:pt x="387" y="472"/>
                  <a:pt x="384" y="469"/>
                  <a:pt x="372" y="466"/>
                </a:cubicBezTo>
                <a:cubicBezTo>
                  <a:pt x="371" y="466"/>
                  <a:pt x="369" y="467"/>
                  <a:pt x="369" y="468"/>
                </a:cubicBezTo>
                <a:cubicBezTo>
                  <a:pt x="368" y="473"/>
                  <a:pt x="371" y="480"/>
                  <a:pt x="365" y="484"/>
                </a:cubicBezTo>
                <a:cubicBezTo>
                  <a:pt x="360" y="488"/>
                  <a:pt x="337" y="494"/>
                  <a:pt x="336" y="503"/>
                </a:cubicBezTo>
                <a:cubicBezTo>
                  <a:pt x="336" y="503"/>
                  <a:pt x="350" y="522"/>
                  <a:pt x="350" y="522"/>
                </a:cubicBezTo>
                <a:cubicBezTo>
                  <a:pt x="350" y="523"/>
                  <a:pt x="342" y="529"/>
                  <a:pt x="345" y="532"/>
                </a:cubicBezTo>
                <a:cubicBezTo>
                  <a:pt x="351" y="537"/>
                  <a:pt x="357" y="529"/>
                  <a:pt x="352" y="548"/>
                </a:cubicBezTo>
                <a:cubicBezTo>
                  <a:pt x="352" y="549"/>
                  <a:pt x="351" y="550"/>
                  <a:pt x="350" y="550"/>
                </a:cubicBezTo>
                <a:cubicBezTo>
                  <a:pt x="332" y="545"/>
                  <a:pt x="346" y="536"/>
                  <a:pt x="338" y="536"/>
                </a:cubicBezTo>
                <a:cubicBezTo>
                  <a:pt x="333" y="536"/>
                  <a:pt x="329" y="540"/>
                  <a:pt x="325" y="539"/>
                </a:cubicBezTo>
                <a:cubicBezTo>
                  <a:pt x="322" y="539"/>
                  <a:pt x="323" y="535"/>
                  <a:pt x="321" y="534"/>
                </a:cubicBezTo>
                <a:cubicBezTo>
                  <a:pt x="318" y="533"/>
                  <a:pt x="314" y="536"/>
                  <a:pt x="312" y="535"/>
                </a:cubicBezTo>
                <a:cubicBezTo>
                  <a:pt x="311" y="534"/>
                  <a:pt x="313" y="531"/>
                  <a:pt x="312" y="531"/>
                </a:cubicBezTo>
                <a:cubicBezTo>
                  <a:pt x="305" y="531"/>
                  <a:pt x="311" y="540"/>
                  <a:pt x="309" y="541"/>
                </a:cubicBezTo>
                <a:cubicBezTo>
                  <a:pt x="301" y="543"/>
                  <a:pt x="288" y="540"/>
                  <a:pt x="281" y="542"/>
                </a:cubicBezTo>
                <a:cubicBezTo>
                  <a:pt x="279" y="544"/>
                  <a:pt x="280" y="548"/>
                  <a:pt x="278" y="549"/>
                </a:cubicBezTo>
                <a:cubicBezTo>
                  <a:pt x="275" y="550"/>
                  <a:pt x="273" y="548"/>
                  <a:pt x="270" y="549"/>
                </a:cubicBezTo>
                <a:cubicBezTo>
                  <a:pt x="269" y="550"/>
                  <a:pt x="271" y="553"/>
                  <a:pt x="270" y="554"/>
                </a:cubicBezTo>
                <a:cubicBezTo>
                  <a:pt x="269" y="554"/>
                  <a:pt x="250" y="559"/>
                  <a:pt x="248" y="558"/>
                </a:cubicBezTo>
                <a:cubicBezTo>
                  <a:pt x="247" y="557"/>
                  <a:pt x="248" y="554"/>
                  <a:pt x="247" y="553"/>
                </a:cubicBezTo>
                <a:cubicBezTo>
                  <a:pt x="246" y="552"/>
                  <a:pt x="243" y="552"/>
                  <a:pt x="243" y="551"/>
                </a:cubicBezTo>
                <a:cubicBezTo>
                  <a:pt x="242" y="550"/>
                  <a:pt x="245" y="550"/>
                  <a:pt x="245" y="549"/>
                </a:cubicBezTo>
                <a:cubicBezTo>
                  <a:pt x="243" y="542"/>
                  <a:pt x="227" y="551"/>
                  <a:pt x="222" y="546"/>
                </a:cubicBezTo>
                <a:cubicBezTo>
                  <a:pt x="222" y="546"/>
                  <a:pt x="223" y="545"/>
                  <a:pt x="223" y="545"/>
                </a:cubicBezTo>
                <a:cubicBezTo>
                  <a:pt x="220" y="542"/>
                  <a:pt x="223" y="552"/>
                  <a:pt x="222" y="556"/>
                </a:cubicBezTo>
                <a:cubicBezTo>
                  <a:pt x="222" y="558"/>
                  <a:pt x="212" y="571"/>
                  <a:pt x="208" y="567"/>
                </a:cubicBezTo>
                <a:cubicBezTo>
                  <a:pt x="205" y="565"/>
                  <a:pt x="212" y="562"/>
                  <a:pt x="210" y="559"/>
                </a:cubicBezTo>
                <a:cubicBezTo>
                  <a:pt x="209" y="559"/>
                  <a:pt x="208" y="561"/>
                  <a:pt x="206" y="561"/>
                </a:cubicBezTo>
                <a:cubicBezTo>
                  <a:pt x="205" y="561"/>
                  <a:pt x="204" y="561"/>
                  <a:pt x="203" y="559"/>
                </a:cubicBezTo>
                <a:cubicBezTo>
                  <a:pt x="202" y="558"/>
                  <a:pt x="206" y="555"/>
                  <a:pt x="203" y="553"/>
                </a:cubicBezTo>
                <a:cubicBezTo>
                  <a:pt x="201" y="552"/>
                  <a:pt x="200" y="549"/>
                  <a:pt x="197" y="548"/>
                </a:cubicBezTo>
                <a:cubicBezTo>
                  <a:pt x="196" y="546"/>
                  <a:pt x="193" y="549"/>
                  <a:pt x="191" y="549"/>
                </a:cubicBezTo>
                <a:cubicBezTo>
                  <a:pt x="190" y="548"/>
                  <a:pt x="191" y="545"/>
                  <a:pt x="190" y="544"/>
                </a:cubicBezTo>
                <a:cubicBezTo>
                  <a:pt x="187" y="541"/>
                  <a:pt x="188" y="552"/>
                  <a:pt x="179" y="549"/>
                </a:cubicBezTo>
                <a:cubicBezTo>
                  <a:pt x="172" y="546"/>
                  <a:pt x="169" y="540"/>
                  <a:pt x="162" y="539"/>
                </a:cubicBezTo>
                <a:cubicBezTo>
                  <a:pt x="162" y="539"/>
                  <a:pt x="143" y="540"/>
                  <a:pt x="143" y="540"/>
                </a:cubicBezTo>
                <a:cubicBezTo>
                  <a:pt x="141" y="539"/>
                  <a:pt x="141" y="535"/>
                  <a:pt x="139" y="533"/>
                </a:cubicBezTo>
                <a:cubicBezTo>
                  <a:pt x="138" y="532"/>
                  <a:pt x="140" y="536"/>
                  <a:pt x="139" y="537"/>
                </a:cubicBezTo>
                <a:cubicBezTo>
                  <a:pt x="137" y="537"/>
                  <a:pt x="135" y="537"/>
                  <a:pt x="135" y="536"/>
                </a:cubicBezTo>
                <a:cubicBezTo>
                  <a:pt x="134" y="534"/>
                  <a:pt x="137" y="532"/>
                  <a:pt x="136" y="531"/>
                </a:cubicBezTo>
                <a:cubicBezTo>
                  <a:pt x="127" y="522"/>
                  <a:pt x="118" y="537"/>
                  <a:pt x="119" y="538"/>
                </a:cubicBezTo>
                <a:cubicBezTo>
                  <a:pt x="123" y="539"/>
                  <a:pt x="126" y="537"/>
                  <a:pt x="129" y="538"/>
                </a:cubicBezTo>
                <a:cubicBezTo>
                  <a:pt x="132" y="539"/>
                  <a:pt x="126" y="539"/>
                  <a:pt x="124" y="540"/>
                </a:cubicBezTo>
                <a:cubicBezTo>
                  <a:pt x="123" y="541"/>
                  <a:pt x="124" y="544"/>
                  <a:pt x="124" y="544"/>
                </a:cubicBezTo>
                <a:cubicBezTo>
                  <a:pt x="110" y="552"/>
                  <a:pt x="120" y="541"/>
                  <a:pt x="109" y="541"/>
                </a:cubicBezTo>
                <a:cubicBezTo>
                  <a:pt x="107" y="541"/>
                  <a:pt x="81" y="548"/>
                  <a:pt x="79" y="544"/>
                </a:cubicBezTo>
                <a:cubicBezTo>
                  <a:pt x="79" y="543"/>
                  <a:pt x="83" y="542"/>
                  <a:pt x="82" y="542"/>
                </a:cubicBezTo>
                <a:cubicBezTo>
                  <a:pt x="77" y="538"/>
                  <a:pt x="75" y="555"/>
                  <a:pt x="75" y="535"/>
                </a:cubicBezTo>
                <a:cubicBezTo>
                  <a:pt x="74" y="527"/>
                  <a:pt x="80" y="520"/>
                  <a:pt x="80" y="512"/>
                </a:cubicBezTo>
                <a:cubicBezTo>
                  <a:pt x="80" y="511"/>
                  <a:pt x="78" y="511"/>
                  <a:pt x="78" y="509"/>
                </a:cubicBezTo>
                <a:cubicBezTo>
                  <a:pt x="77" y="506"/>
                  <a:pt x="79" y="503"/>
                  <a:pt x="80" y="501"/>
                </a:cubicBezTo>
                <a:cubicBezTo>
                  <a:pt x="88" y="488"/>
                  <a:pt x="88" y="488"/>
                  <a:pt x="88" y="488"/>
                </a:cubicBezTo>
                <a:cubicBezTo>
                  <a:pt x="88" y="484"/>
                  <a:pt x="89" y="472"/>
                  <a:pt x="90" y="468"/>
                </a:cubicBezTo>
                <a:cubicBezTo>
                  <a:pt x="95" y="459"/>
                  <a:pt x="106" y="452"/>
                  <a:pt x="113" y="441"/>
                </a:cubicBezTo>
                <a:cubicBezTo>
                  <a:pt x="115" y="437"/>
                  <a:pt x="81" y="433"/>
                  <a:pt x="79" y="432"/>
                </a:cubicBezTo>
                <a:cubicBezTo>
                  <a:pt x="77" y="430"/>
                  <a:pt x="78" y="426"/>
                  <a:pt x="76" y="425"/>
                </a:cubicBezTo>
                <a:cubicBezTo>
                  <a:pt x="73" y="423"/>
                  <a:pt x="55" y="430"/>
                  <a:pt x="54" y="428"/>
                </a:cubicBezTo>
                <a:cubicBezTo>
                  <a:pt x="54" y="426"/>
                  <a:pt x="56" y="424"/>
                  <a:pt x="55" y="423"/>
                </a:cubicBezTo>
                <a:cubicBezTo>
                  <a:pt x="38" y="408"/>
                  <a:pt x="49" y="431"/>
                  <a:pt x="42" y="424"/>
                </a:cubicBezTo>
                <a:cubicBezTo>
                  <a:pt x="37" y="418"/>
                  <a:pt x="34" y="405"/>
                  <a:pt x="29" y="402"/>
                </a:cubicBezTo>
                <a:cubicBezTo>
                  <a:pt x="28" y="400"/>
                  <a:pt x="24" y="402"/>
                  <a:pt x="23" y="400"/>
                </a:cubicBezTo>
                <a:cubicBezTo>
                  <a:pt x="17" y="389"/>
                  <a:pt x="40" y="385"/>
                  <a:pt x="32" y="375"/>
                </a:cubicBezTo>
                <a:cubicBezTo>
                  <a:pt x="30" y="373"/>
                  <a:pt x="17" y="372"/>
                  <a:pt x="14" y="360"/>
                </a:cubicBezTo>
                <a:cubicBezTo>
                  <a:pt x="9" y="339"/>
                  <a:pt x="35" y="340"/>
                  <a:pt x="27" y="327"/>
                </a:cubicBezTo>
                <a:cubicBezTo>
                  <a:pt x="25" y="325"/>
                  <a:pt x="20" y="325"/>
                  <a:pt x="19" y="322"/>
                </a:cubicBezTo>
                <a:cubicBezTo>
                  <a:pt x="19" y="320"/>
                  <a:pt x="23" y="317"/>
                  <a:pt x="23" y="315"/>
                </a:cubicBezTo>
                <a:cubicBezTo>
                  <a:pt x="23" y="313"/>
                  <a:pt x="19" y="316"/>
                  <a:pt x="18" y="314"/>
                </a:cubicBezTo>
                <a:cubicBezTo>
                  <a:pt x="17" y="314"/>
                  <a:pt x="10" y="302"/>
                  <a:pt x="10" y="300"/>
                </a:cubicBezTo>
                <a:cubicBezTo>
                  <a:pt x="11" y="298"/>
                  <a:pt x="15" y="298"/>
                  <a:pt x="15" y="296"/>
                </a:cubicBezTo>
                <a:cubicBezTo>
                  <a:pt x="17" y="286"/>
                  <a:pt x="0" y="283"/>
                  <a:pt x="6" y="282"/>
                </a:cubicBezTo>
                <a:cubicBezTo>
                  <a:pt x="7" y="281"/>
                  <a:pt x="8" y="283"/>
                  <a:pt x="10" y="283"/>
                </a:cubicBezTo>
                <a:cubicBezTo>
                  <a:pt x="20" y="274"/>
                  <a:pt x="20" y="274"/>
                  <a:pt x="20" y="274"/>
                </a:cubicBezTo>
                <a:cubicBezTo>
                  <a:pt x="21" y="271"/>
                  <a:pt x="13" y="274"/>
                  <a:pt x="16" y="270"/>
                </a:cubicBezTo>
                <a:cubicBezTo>
                  <a:pt x="17" y="266"/>
                  <a:pt x="21" y="263"/>
                  <a:pt x="23" y="259"/>
                </a:cubicBezTo>
                <a:cubicBezTo>
                  <a:pt x="28" y="247"/>
                  <a:pt x="16" y="238"/>
                  <a:pt x="12" y="231"/>
                </a:cubicBezTo>
                <a:cubicBezTo>
                  <a:pt x="12" y="230"/>
                  <a:pt x="13" y="228"/>
                  <a:pt x="13" y="227"/>
                </a:cubicBezTo>
                <a:cubicBezTo>
                  <a:pt x="13" y="226"/>
                  <a:pt x="12" y="224"/>
                  <a:pt x="13" y="224"/>
                </a:cubicBezTo>
                <a:cubicBezTo>
                  <a:pt x="16" y="222"/>
                  <a:pt x="20" y="224"/>
                  <a:pt x="23" y="223"/>
                </a:cubicBezTo>
                <a:cubicBezTo>
                  <a:pt x="24" y="222"/>
                  <a:pt x="22" y="219"/>
                  <a:pt x="23" y="219"/>
                </a:cubicBezTo>
                <a:cubicBezTo>
                  <a:pt x="27" y="221"/>
                  <a:pt x="29" y="224"/>
                  <a:pt x="33" y="224"/>
                </a:cubicBezTo>
                <a:cubicBezTo>
                  <a:pt x="37" y="225"/>
                  <a:pt x="52" y="220"/>
                  <a:pt x="54" y="216"/>
                </a:cubicBezTo>
                <a:cubicBezTo>
                  <a:pt x="55" y="212"/>
                  <a:pt x="43" y="211"/>
                  <a:pt x="48" y="208"/>
                </a:cubicBezTo>
                <a:cubicBezTo>
                  <a:pt x="57" y="202"/>
                  <a:pt x="68" y="200"/>
                  <a:pt x="66" y="185"/>
                </a:cubicBezTo>
                <a:cubicBezTo>
                  <a:pt x="65" y="178"/>
                  <a:pt x="44" y="181"/>
                  <a:pt x="49" y="172"/>
                </a:cubicBezTo>
                <a:cubicBezTo>
                  <a:pt x="50" y="171"/>
                  <a:pt x="53" y="172"/>
                  <a:pt x="53" y="171"/>
                </a:cubicBezTo>
                <a:cubicBezTo>
                  <a:pt x="53" y="170"/>
                  <a:pt x="50" y="168"/>
                  <a:pt x="51" y="166"/>
                </a:cubicBezTo>
                <a:cubicBezTo>
                  <a:pt x="51" y="165"/>
                  <a:pt x="53" y="165"/>
                  <a:pt x="54" y="165"/>
                </a:cubicBezTo>
                <a:cubicBezTo>
                  <a:pt x="58" y="165"/>
                  <a:pt x="61" y="167"/>
                  <a:pt x="65" y="167"/>
                </a:cubicBezTo>
                <a:cubicBezTo>
                  <a:pt x="70" y="167"/>
                  <a:pt x="66" y="158"/>
                  <a:pt x="67" y="153"/>
                </a:cubicBezTo>
                <a:cubicBezTo>
                  <a:pt x="68" y="149"/>
                  <a:pt x="78" y="131"/>
                  <a:pt x="77" y="122"/>
                </a:cubicBezTo>
                <a:cubicBezTo>
                  <a:pt x="79" y="121"/>
                  <a:pt x="80" y="120"/>
                  <a:pt x="82" y="118"/>
                </a:cubicBezTo>
                <a:cubicBezTo>
                  <a:pt x="84" y="115"/>
                  <a:pt x="79" y="116"/>
                  <a:pt x="74" y="116"/>
                </a:cubicBezTo>
                <a:cubicBezTo>
                  <a:pt x="73" y="115"/>
                  <a:pt x="71" y="116"/>
                  <a:pt x="70" y="116"/>
                </a:cubicBezTo>
                <a:cubicBezTo>
                  <a:pt x="69" y="116"/>
                  <a:pt x="68" y="115"/>
                  <a:pt x="68" y="115"/>
                </a:cubicBezTo>
                <a:cubicBezTo>
                  <a:pt x="63" y="109"/>
                  <a:pt x="76" y="92"/>
                  <a:pt x="80" y="89"/>
                </a:cubicBezTo>
                <a:cubicBezTo>
                  <a:pt x="83" y="88"/>
                  <a:pt x="86" y="91"/>
                  <a:pt x="89" y="91"/>
                </a:cubicBezTo>
                <a:cubicBezTo>
                  <a:pt x="132" y="89"/>
                  <a:pt x="45" y="86"/>
                  <a:pt x="110" y="88"/>
                </a:cubicBezTo>
                <a:cubicBezTo>
                  <a:pt x="110" y="88"/>
                  <a:pt x="112" y="88"/>
                  <a:pt x="113" y="89"/>
                </a:cubicBezTo>
                <a:cubicBezTo>
                  <a:pt x="116" y="95"/>
                  <a:pt x="118" y="121"/>
                  <a:pt x="132" y="115"/>
                </a:cubicBezTo>
                <a:cubicBezTo>
                  <a:pt x="137" y="114"/>
                  <a:pt x="128" y="75"/>
                  <a:pt x="141" y="75"/>
                </a:cubicBezTo>
                <a:cubicBezTo>
                  <a:pt x="142" y="75"/>
                  <a:pt x="142" y="78"/>
                  <a:pt x="144" y="79"/>
                </a:cubicBezTo>
                <a:cubicBezTo>
                  <a:pt x="145" y="80"/>
                  <a:pt x="148" y="80"/>
                  <a:pt x="150" y="80"/>
                </a:cubicBezTo>
                <a:cubicBezTo>
                  <a:pt x="156" y="81"/>
                  <a:pt x="162" y="75"/>
                  <a:pt x="167" y="77"/>
                </a:cubicBezTo>
                <a:cubicBezTo>
                  <a:pt x="171" y="79"/>
                  <a:pt x="171" y="85"/>
                  <a:pt x="174" y="88"/>
                </a:cubicBezTo>
                <a:cubicBezTo>
                  <a:pt x="176" y="93"/>
                  <a:pt x="192" y="122"/>
                  <a:pt x="192" y="102"/>
                </a:cubicBezTo>
                <a:cubicBezTo>
                  <a:pt x="192" y="98"/>
                  <a:pt x="183" y="99"/>
                  <a:pt x="180" y="96"/>
                </a:cubicBezTo>
                <a:cubicBezTo>
                  <a:pt x="174" y="91"/>
                  <a:pt x="175" y="78"/>
                  <a:pt x="165" y="76"/>
                </a:cubicBezTo>
                <a:cubicBezTo>
                  <a:pt x="163" y="76"/>
                  <a:pt x="150" y="79"/>
                  <a:pt x="151" y="71"/>
                </a:cubicBezTo>
                <a:cubicBezTo>
                  <a:pt x="152" y="66"/>
                  <a:pt x="159" y="50"/>
                  <a:pt x="154" y="44"/>
                </a:cubicBezTo>
                <a:cubicBezTo>
                  <a:pt x="153" y="42"/>
                  <a:pt x="140" y="49"/>
                  <a:pt x="139" y="42"/>
                </a:cubicBezTo>
                <a:cubicBezTo>
                  <a:pt x="138" y="41"/>
                  <a:pt x="142" y="42"/>
                  <a:pt x="142" y="41"/>
                </a:cubicBezTo>
                <a:cubicBezTo>
                  <a:pt x="144" y="40"/>
                  <a:pt x="139" y="38"/>
                  <a:pt x="140" y="38"/>
                </a:cubicBezTo>
                <a:cubicBezTo>
                  <a:pt x="145" y="36"/>
                  <a:pt x="155" y="42"/>
                  <a:pt x="157" y="30"/>
                </a:cubicBezTo>
                <a:cubicBezTo>
                  <a:pt x="157" y="29"/>
                  <a:pt x="144" y="15"/>
                  <a:pt x="142" y="13"/>
                </a:cubicBezTo>
                <a:cubicBezTo>
                  <a:pt x="141" y="9"/>
                  <a:pt x="140" y="4"/>
                  <a:pt x="140" y="0"/>
                </a:cubicBezTo>
                <a:cubicBezTo>
                  <a:pt x="144" y="1"/>
                  <a:pt x="151" y="0"/>
                  <a:pt x="153" y="0"/>
                </a:cubicBezTo>
                <a:cubicBezTo>
                  <a:pt x="160" y="2"/>
                  <a:pt x="167" y="6"/>
                  <a:pt x="175" y="7"/>
                </a:cubicBezTo>
                <a:cubicBezTo>
                  <a:pt x="174" y="8"/>
                  <a:pt x="174" y="9"/>
                  <a:pt x="175" y="8"/>
                </a:cubicBezTo>
                <a:cubicBezTo>
                  <a:pt x="178" y="7"/>
                  <a:pt x="179" y="4"/>
                  <a:pt x="181" y="3"/>
                </a:cubicBezTo>
                <a:cubicBezTo>
                  <a:pt x="182" y="3"/>
                  <a:pt x="180" y="6"/>
                  <a:pt x="181" y="7"/>
                </a:cubicBezTo>
                <a:cubicBezTo>
                  <a:pt x="183" y="8"/>
                  <a:pt x="185" y="8"/>
                  <a:pt x="187" y="8"/>
                </a:cubicBezTo>
                <a:cubicBezTo>
                  <a:pt x="191" y="9"/>
                  <a:pt x="195" y="9"/>
                  <a:pt x="197" y="11"/>
                </a:cubicBezTo>
                <a:cubicBezTo>
                  <a:pt x="199" y="12"/>
                  <a:pt x="200" y="14"/>
                  <a:pt x="200" y="16"/>
                </a:cubicBezTo>
                <a:cubicBezTo>
                  <a:pt x="200" y="16"/>
                  <a:pt x="199" y="16"/>
                  <a:pt x="199" y="16"/>
                </a:cubicBezTo>
                <a:cubicBezTo>
                  <a:pt x="197" y="16"/>
                  <a:pt x="195" y="17"/>
                  <a:pt x="196" y="18"/>
                </a:cubicBezTo>
                <a:cubicBezTo>
                  <a:pt x="197" y="19"/>
                  <a:pt x="200" y="17"/>
                  <a:pt x="200" y="18"/>
                </a:cubicBezTo>
                <a:cubicBezTo>
                  <a:pt x="202" y="21"/>
                  <a:pt x="201" y="24"/>
                  <a:pt x="200" y="27"/>
                </a:cubicBezTo>
                <a:cubicBezTo>
                  <a:pt x="199" y="30"/>
                  <a:pt x="191" y="32"/>
                  <a:pt x="193" y="34"/>
                </a:cubicBezTo>
                <a:cubicBezTo>
                  <a:pt x="196" y="38"/>
                  <a:pt x="207" y="28"/>
                  <a:pt x="208" y="33"/>
                </a:cubicBezTo>
                <a:cubicBezTo>
                  <a:pt x="208" y="37"/>
                  <a:pt x="202" y="43"/>
                  <a:pt x="205" y="44"/>
                </a:cubicBezTo>
                <a:cubicBezTo>
                  <a:pt x="209" y="46"/>
                  <a:pt x="209" y="36"/>
                  <a:pt x="213" y="36"/>
                </a:cubicBezTo>
                <a:cubicBezTo>
                  <a:pt x="217" y="35"/>
                  <a:pt x="230" y="46"/>
                  <a:pt x="232" y="45"/>
                </a:cubicBezTo>
                <a:cubicBezTo>
                  <a:pt x="233" y="45"/>
                  <a:pt x="244" y="32"/>
                  <a:pt x="248" y="39"/>
                </a:cubicBezTo>
                <a:cubicBezTo>
                  <a:pt x="256" y="54"/>
                  <a:pt x="217" y="69"/>
                  <a:pt x="238" y="71"/>
                </a:cubicBezTo>
                <a:cubicBezTo>
                  <a:pt x="243" y="72"/>
                  <a:pt x="246" y="66"/>
                  <a:pt x="251" y="66"/>
                </a:cubicBezTo>
                <a:cubicBezTo>
                  <a:pt x="256" y="67"/>
                  <a:pt x="250" y="83"/>
                  <a:pt x="262" y="75"/>
                </a:cubicBezTo>
                <a:cubicBezTo>
                  <a:pt x="265" y="73"/>
                  <a:pt x="267" y="59"/>
                  <a:pt x="272" y="56"/>
                </a:cubicBezTo>
                <a:cubicBezTo>
                  <a:pt x="279" y="52"/>
                  <a:pt x="287" y="50"/>
                  <a:pt x="291" y="58"/>
                </a:cubicBezTo>
                <a:cubicBezTo>
                  <a:pt x="290" y="56"/>
                  <a:pt x="290" y="54"/>
                  <a:pt x="290" y="53"/>
                </a:cubicBezTo>
                <a:cubicBezTo>
                  <a:pt x="294" y="49"/>
                  <a:pt x="298" y="47"/>
                  <a:pt x="301" y="44"/>
                </a:cubicBezTo>
                <a:cubicBezTo>
                  <a:pt x="304" y="40"/>
                  <a:pt x="305" y="34"/>
                  <a:pt x="308" y="30"/>
                </a:cubicBezTo>
                <a:cubicBezTo>
                  <a:pt x="309" y="29"/>
                  <a:pt x="317" y="32"/>
                  <a:pt x="324" y="34"/>
                </a:cubicBezTo>
                <a:cubicBezTo>
                  <a:pt x="326" y="33"/>
                  <a:pt x="329" y="33"/>
                  <a:pt x="330" y="33"/>
                </a:cubicBezTo>
                <a:cubicBezTo>
                  <a:pt x="334" y="33"/>
                  <a:pt x="332" y="41"/>
                  <a:pt x="334" y="44"/>
                </a:cubicBezTo>
                <a:cubicBezTo>
                  <a:pt x="336" y="46"/>
                  <a:pt x="340" y="45"/>
                  <a:pt x="342" y="47"/>
                </a:cubicBezTo>
                <a:cubicBezTo>
                  <a:pt x="345" y="50"/>
                  <a:pt x="347" y="58"/>
                  <a:pt x="352" y="58"/>
                </a:cubicBezTo>
                <a:cubicBezTo>
                  <a:pt x="356" y="58"/>
                  <a:pt x="360" y="55"/>
                  <a:pt x="365" y="56"/>
                </a:cubicBezTo>
                <a:cubicBezTo>
                  <a:pt x="367" y="56"/>
                  <a:pt x="363" y="59"/>
                  <a:pt x="363" y="61"/>
                </a:cubicBezTo>
                <a:cubicBezTo>
                  <a:pt x="363" y="66"/>
                  <a:pt x="365" y="70"/>
                  <a:pt x="367" y="75"/>
                </a:cubicBezTo>
                <a:cubicBezTo>
                  <a:pt x="368" y="79"/>
                  <a:pt x="374" y="81"/>
                  <a:pt x="378" y="82"/>
                </a:cubicBezTo>
                <a:cubicBezTo>
                  <a:pt x="382" y="84"/>
                  <a:pt x="384" y="84"/>
                  <a:pt x="386" y="84"/>
                </a:cubicBezTo>
                <a:close/>
                <a:moveTo>
                  <a:pt x="334" y="40"/>
                </a:moveTo>
                <a:cubicBezTo>
                  <a:pt x="335" y="35"/>
                  <a:pt x="333" y="29"/>
                  <a:pt x="335" y="24"/>
                </a:cubicBezTo>
                <a:cubicBezTo>
                  <a:pt x="337" y="19"/>
                  <a:pt x="354" y="33"/>
                  <a:pt x="350" y="28"/>
                </a:cubicBezTo>
                <a:cubicBezTo>
                  <a:pt x="348" y="25"/>
                  <a:pt x="341" y="26"/>
                  <a:pt x="339" y="23"/>
                </a:cubicBezTo>
                <a:cubicBezTo>
                  <a:pt x="338" y="19"/>
                  <a:pt x="343" y="16"/>
                  <a:pt x="346" y="13"/>
                </a:cubicBezTo>
                <a:cubicBezTo>
                  <a:pt x="348" y="12"/>
                  <a:pt x="344" y="20"/>
                  <a:pt x="346" y="21"/>
                </a:cubicBezTo>
                <a:cubicBezTo>
                  <a:pt x="350" y="22"/>
                  <a:pt x="354" y="20"/>
                  <a:pt x="357" y="21"/>
                </a:cubicBezTo>
                <a:cubicBezTo>
                  <a:pt x="361" y="23"/>
                  <a:pt x="353" y="27"/>
                  <a:pt x="354" y="30"/>
                </a:cubicBezTo>
                <a:cubicBezTo>
                  <a:pt x="355" y="34"/>
                  <a:pt x="360" y="35"/>
                  <a:pt x="362" y="39"/>
                </a:cubicBezTo>
                <a:cubicBezTo>
                  <a:pt x="363" y="40"/>
                  <a:pt x="356" y="46"/>
                  <a:pt x="347" y="48"/>
                </a:cubicBezTo>
                <a:cubicBezTo>
                  <a:pt x="342" y="50"/>
                  <a:pt x="338" y="43"/>
                  <a:pt x="334" y="40"/>
                </a:cubicBezTo>
                <a:close/>
              </a:path>
            </a:pathLst>
          </a:custGeom>
          <a:solidFill>
            <a:schemeClr val="bg2"/>
          </a:solidFill>
          <a:ln w="6350">
            <a:solidFill>
              <a:schemeClr val="bg1"/>
            </a:solidFill>
            <a:round/>
            <a:headEnd/>
            <a:tailEnd/>
          </a:ln>
        </p:spPr>
        <p:txBody>
          <a:bodyPr vert="horz" wrap="square" lIns="45720" tIns="22860" rIns="45720" bIns="22860" numCol="1" anchor="ctr" anchorCtr="0" compatLnSpc="1">
            <a:prstTxWarp prst="textNoShape">
              <a:avLst/>
            </a:prstTxWarp>
          </a:bodyPr>
          <a:lstStyle/>
          <a:p>
            <a:pPr algn="ctr"/>
            <a:endParaRPr lang="en-US" sz="300" dirty="0"/>
          </a:p>
        </p:txBody>
      </p:sp>
      <p:pic>
        <p:nvPicPr>
          <p:cNvPr id="26" name="Obraz 25">
            <a:extLst>
              <a:ext uri="{FF2B5EF4-FFF2-40B4-BE49-F238E27FC236}">
                <a16:creationId xmlns:a16="http://schemas.microsoft.com/office/drawing/2014/main" id="{B41E28EA-DC29-9878-9E32-5175AEEFA3AE}"/>
              </a:ext>
            </a:extLst>
          </p:cNvPr>
          <p:cNvPicPr>
            <a:picLocks noChangeAspect="1"/>
          </p:cNvPicPr>
          <p:nvPr/>
        </p:nvPicPr>
        <p:blipFill>
          <a:blip r:embed="rId8"/>
          <a:stretch>
            <a:fillRect/>
          </a:stretch>
        </p:blipFill>
        <p:spPr>
          <a:xfrm>
            <a:off x="2804907" y="2093286"/>
            <a:ext cx="2057894" cy="1134623"/>
          </a:xfrm>
          <a:prstGeom prst="rect">
            <a:avLst/>
          </a:prstGeom>
        </p:spPr>
      </p:pic>
    </p:spTree>
    <p:extLst>
      <p:ext uri="{BB962C8B-B14F-4D97-AF65-F5344CB8AC3E}">
        <p14:creationId xmlns:p14="http://schemas.microsoft.com/office/powerpoint/2010/main" val="299447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Quickly leverage other's distributed internal or &quot;organic&quot; sources rather than…">
            <a:extLst>
              <a:ext uri="{FF2B5EF4-FFF2-40B4-BE49-F238E27FC236}">
                <a16:creationId xmlns:a16="http://schemas.microsoft.com/office/drawing/2014/main" id="{BC6B4431-6E87-AE42-86D2-1FFD4ABCCB4A}"/>
              </a:ext>
            </a:extLst>
          </p:cNvPr>
          <p:cNvSpPr txBox="1"/>
          <p:nvPr/>
        </p:nvSpPr>
        <p:spPr>
          <a:xfrm>
            <a:off x="792000" y="3920613"/>
            <a:ext cx="4316643" cy="10428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30000"/>
              </a:lnSpc>
              <a:defRPr sz="1800" b="0">
                <a:solidFill>
                  <a:srgbClr val="F7F9FF"/>
                </a:solidFill>
                <a:latin typeface="Roboto Light"/>
                <a:ea typeface="Roboto Light"/>
                <a:cs typeface="Roboto Light"/>
                <a:sym typeface="Roboto Light"/>
              </a:defRPr>
            </a:pPr>
            <a:r>
              <a:rPr lang="en-GB" dirty="0">
                <a:solidFill>
                  <a:schemeClr val="tx2"/>
                </a:solidFill>
                <a:latin typeface="Novel Pro" pitchFamily="2" charset="0"/>
                <a:ea typeface="Roboto Light"/>
                <a:cs typeface="Roboto Light"/>
                <a:sym typeface="Roboto Light"/>
              </a:rPr>
              <a:t>Social responsibility policy of the Polish International Development Fund</a:t>
            </a:r>
          </a:p>
          <a:p>
            <a:pPr lvl="0" algn="l">
              <a:lnSpc>
                <a:spcPct val="130000"/>
              </a:lnSpc>
              <a:defRPr sz="1800" b="0">
                <a:solidFill>
                  <a:srgbClr val="F7F9FF"/>
                </a:solidFill>
                <a:latin typeface="Roboto Light"/>
                <a:ea typeface="Roboto Light"/>
                <a:cs typeface="Roboto Light"/>
                <a:sym typeface="Roboto Light"/>
              </a:defRPr>
            </a:pPr>
            <a:endParaRPr lang="en-GB" dirty="0">
              <a:solidFill>
                <a:schemeClr val="tx2"/>
              </a:solidFill>
              <a:latin typeface="Novel Pro" pitchFamily="2" charset="0"/>
              <a:ea typeface="Roboto Light"/>
              <a:cs typeface="Roboto Light"/>
              <a:sym typeface="Roboto Light"/>
            </a:endParaRPr>
          </a:p>
        </p:txBody>
      </p:sp>
      <p:sp>
        <p:nvSpPr>
          <p:cNvPr id="12" name="A creative man is motivated by the desire to…">
            <a:extLst>
              <a:ext uri="{FF2B5EF4-FFF2-40B4-BE49-F238E27FC236}">
                <a16:creationId xmlns:a16="http://schemas.microsoft.com/office/drawing/2014/main" id="{FAF4C89C-D590-9443-9C13-48C037789F53}"/>
              </a:ext>
            </a:extLst>
          </p:cNvPr>
          <p:cNvSpPr txBox="1"/>
          <p:nvPr/>
        </p:nvSpPr>
        <p:spPr>
          <a:xfrm>
            <a:off x="792000" y="2249508"/>
            <a:ext cx="3912460" cy="9591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3500" b="0">
                <a:solidFill>
                  <a:srgbClr val="F7F9FF"/>
                </a:solidFill>
                <a:latin typeface="Roboto"/>
                <a:ea typeface="Roboto"/>
                <a:cs typeface="Roboto"/>
                <a:sym typeface="Roboto"/>
              </a:defRPr>
            </a:pPr>
            <a:r>
              <a:rPr lang="en-GB" sz="2700">
                <a:solidFill>
                  <a:schemeClr val="tx2"/>
                </a:solidFill>
                <a:latin typeface="Novel Pro SemiBold" pitchFamily="2" charset="0"/>
                <a:ea typeface="Roboto"/>
                <a:cs typeface="Roboto"/>
                <a:sym typeface="Roboto"/>
              </a:rPr>
              <a:t>Investing </a:t>
            </a:r>
            <a:br>
              <a:rPr lang="en-GB" sz="2700">
                <a:solidFill>
                  <a:schemeClr val="tx2"/>
                </a:solidFill>
                <a:latin typeface="Novel Pro SemiBold" pitchFamily="2" charset="0"/>
                <a:ea typeface="Roboto"/>
                <a:cs typeface="Roboto"/>
                <a:sym typeface="Roboto"/>
              </a:rPr>
            </a:br>
            <a:r>
              <a:rPr lang="en-GB" sz="2700">
                <a:solidFill>
                  <a:schemeClr val="tx2"/>
                </a:solidFill>
                <a:latin typeface="Novel Pro SemiBold" pitchFamily="2" charset="0"/>
                <a:ea typeface="Roboto"/>
                <a:cs typeface="Roboto"/>
                <a:sym typeface="Roboto"/>
              </a:rPr>
              <a:t>responsibly</a:t>
            </a:r>
          </a:p>
        </p:txBody>
      </p:sp>
      <p:cxnSp>
        <p:nvCxnSpPr>
          <p:cNvPr id="13" name="Straight Connector 17">
            <a:extLst>
              <a:ext uri="{FF2B5EF4-FFF2-40B4-BE49-F238E27FC236}">
                <a16:creationId xmlns:a16="http://schemas.microsoft.com/office/drawing/2014/main" id="{110A57FB-8D7F-1E46-9D9D-35D03BBE2C8A}"/>
              </a:ext>
            </a:extLst>
          </p:cNvPr>
          <p:cNvCxnSpPr/>
          <p:nvPr/>
        </p:nvCxnSpPr>
        <p:spPr>
          <a:xfrm>
            <a:off x="808608" y="3610313"/>
            <a:ext cx="286064" cy="0"/>
          </a:xfrm>
          <a:prstGeom prst="line">
            <a:avLst/>
          </a:prstGeom>
          <a:noFill/>
          <a:ln w="12700" cap="flat">
            <a:solidFill>
              <a:schemeClr val="tx2"/>
            </a:solidFill>
            <a:prstDash val="solid"/>
            <a:miter lim="400000"/>
          </a:ln>
          <a:effectLst/>
          <a:sp3d/>
        </p:spPr>
        <p:style>
          <a:lnRef idx="0">
            <a:scrgbClr r="0" g="0" b="0"/>
          </a:lnRef>
          <a:fillRef idx="0">
            <a:scrgbClr r="0" g="0" b="0"/>
          </a:fillRef>
          <a:effectRef idx="0">
            <a:scrgbClr r="0" g="0" b="0"/>
          </a:effectRef>
          <a:fontRef idx="none"/>
        </p:style>
      </p:cxnSp>
      <p:sp>
        <p:nvSpPr>
          <p:cNvPr id="17" name="85%…">
            <a:extLst>
              <a:ext uri="{FF2B5EF4-FFF2-40B4-BE49-F238E27FC236}">
                <a16:creationId xmlns:a16="http://schemas.microsoft.com/office/drawing/2014/main" id="{75A0C36F-B0D1-1345-9E47-A37550A392E0}"/>
              </a:ext>
            </a:extLst>
          </p:cNvPr>
          <p:cNvSpPr txBox="1"/>
          <p:nvPr/>
        </p:nvSpPr>
        <p:spPr>
          <a:xfrm>
            <a:off x="6654800" y="1523817"/>
            <a:ext cx="5048129" cy="64447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The </a:t>
            </a:r>
            <a:r>
              <a:rPr lang="pl-PL" sz="1200" dirty="0">
                <a:solidFill>
                  <a:schemeClr val="tx2"/>
                </a:solidFill>
                <a:latin typeface="Novel Pro XLight" pitchFamily="2" charset="0"/>
                <a:ea typeface="Roboto Light"/>
                <a:cs typeface="Roboto Light"/>
                <a:sym typeface="Roboto Light"/>
              </a:rPr>
              <a:t>f</a:t>
            </a:r>
            <a:r>
              <a:rPr lang="en-US" sz="1200" dirty="0">
                <a:solidFill>
                  <a:schemeClr val="tx2"/>
                </a:solidFill>
                <a:latin typeface="Novel Pro XLight" pitchFamily="2" charset="0"/>
                <a:ea typeface="Roboto Light"/>
                <a:cs typeface="Roboto Light"/>
                <a:sym typeface="Roboto Light"/>
              </a:rPr>
              <a:t>und</a:t>
            </a:r>
            <a:r>
              <a:rPr lang="pl-PL" sz="1200" dirty="0">
                <a:solidFill>
                  <a:schemeClr val="tx2"/>
                </a:solidFill>
                <a:latin typeface="Novel Pro XLight" pitchFamily="2" charset="0"/>
                <a:ea typeface="Roboto Light"/>
                <a:cs typeface="Roboto Light"/>
                <a:sym typeface="Roboto Light"/>
              </a:rPr>
              <a:t>’</a:t>
            </a:r>
            <a:r>
              <a:rPr lang="en-US" sz="1200" dirty="0">
                <a:solidFill>
                  <a:schemeClr val="tx2"/>
                </a:solidFill>
                <a:latin typeface="Novel Pro XLight" pitchFamily="2" charset="0"/>
                <a:ea typeface="Roboto Light"/>
                <a:cs typeface="Roboto Light"/>
                <a:sym typeface="Roboto Light"/>
              </a:rPr>
              <a:t>s social responsibility policy is based on the principles of sustainable development as defined by the United Nations (UN Global Compact - The 10 Principles)</a:t>
            </a:r>
            <a:endParaRPr lang="pl-PL" sz="1200" dirty="0">
              <a:solidFill>
                <a:schemeClr val="tx2"/>
              </a:solidFill>
              <a:latin typeface="Novel Pro XLight" pitchFamily="2" charset="0"/>
              <a:ea typeface="Roboto Light"/>
              <a:cs typeface="Roboto Light"/>
              <a:sym typeface="Roboto Light"/>
            </a:endParaRPr>
          </a:p>
        </p:txBody>
      </p:sp>
      <p:sp>
        <p:nvSpPr>
          <p:cNvPr id="28" name="Circle">
            <a:extLst>
              <a:ext uri="{FF2B5EF4-FFF2-40B4-BE49-F238E27FC236}">
                <a16:creationId xmlns:a16="http://schemas.microsoft.com/office/drawing/2014/main" id="{C29CF1C4-DF84-2745-AB88-D31D0E1B48C5}"/>
              </a:ext>
            </a:extLst>
          </p:cNvPr>
          <p:cNvSpPr/>
          <p:nvPr/>
        </p:nvSpPr>
        <p:spPr>
          <a:xfrm>
            <a:off x="5754959" y="1562001"/>
            <a:ext cx="571501" cy="571501"/>
          </a:xfrm>
          <a:prstGeom prst="ellipse">
            <a:avLst/>
          </a:prstGeom>
          <a:solidFill>
            <a:schemeClr val="accent1"/>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3" name="Grafika 32">
            <a:extLst>
              <a:ext uri="{FF2B5EF4-FFF2-40B4-BE49-F238E27FC236}">
                <a16:creationId xmlns:a16="http://schemas.microsoft.com/office/drawing/2014/main" id="{4D6D6F40-6A35-644E-9653-1BCE6568ED4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01267" y="1612004"/>
            <a:ext cx="473090" cy="473090"/>
          </a:xfrm>
          <a:prstGeom prst="rect">
            <a:avLst/>
          </a:prstGeom>
        </p:spPr>
      </p:pic>
      <p:sp>
        <p:nvSpPr>
          <p:cNvPr id="18" name="85%…">
            <a:extLst>
              <a:ext uri="{FF2B5EF4-FFF2-40B4-BE49-F238E27FC236}">
                <a16:creationId xmlns:a16="http://schemas.microsoft.com/office/drawing/2014/main" id="{80D8A3B4-4769-9842-A640-5CAC610EE166}"/>
              </a:ext>
            </a:extLst>
          </p:cNvPr>
          <p:cNvSpPr txBox="1"/>
          <p:nvPr/>
        </p:nvSpPr>
        <p:spPr>
          <a:xfrm>
            <a:off x="6654800" y="2628000"/>
            <a:ext cx="5134148" cy="10876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Areas of particular concern to the </a:t>
            </a:r>
            <a:r>
              <a:rPr lang="pl-PL" sz="1200" dirty="0">
                <a:solidFill>
                  <a:schemeClr val="tx2"/>
                </a:solidFill>
                <a:latin typeface="Novel Pro XLight" pitchFamily="2" charset="0"/>
                <a:ea typeface="Roboto Light"/>
                <a:cs typeface="Roboto Light"/>
                <a:sym typeface="Roboto Light"/>
              </a:rPr>
              <a:t>f</a:t>
            </a:r>
            <a:r>
              <a:rPr lang="en-US" sz="1200" dirty="0">
                <a:solidFill>
                  <a:schemeClr val="tx2"/>
                </a:solidFill>
                <a:latin typeface="Novel Pro XLight" pitchFamily="2" charset="0"/>
                <a:ea typeface="Roboto Light"/>
                <a:cs typeface="Roboto Light"/>
                <a:sym typeface="Roboto Light"/>
              </a:rPr>
              <a:t>und are</a:t>
            </a:r>
            <a:r>
              <a:rPr lang="pl-PL" sz="1200" dirty="0">
                <a:solidFill>
                  <a:schemeClr val="tx2"/>
                </a:solidFill>
                <a:latin typeface="Novel Pro XLight" pitchFamily="2" charset="0"/>
                <a:ea typeface="Roboto Light"/>
                <a:cs typeface="Roboto Light"/>
                <a:sym typeface="Roboto Light"/>
              </a:rPr>
              <a:t>:</a:t>
            </a: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respect for human rights</a:t>
            </a:r>
            <a:endParaRPr lang="pl-PL" sz="1200" dirty="0">
              <a:solidFill>
                <a:schemeClr val="tx2"/>
              </a:solidFill>
              <a:latin typeface="Novel Pro XLight" pitchFamily="2" charset="0"/>
              <a:ea typeface="Roboto Light"/>
              <a:cs typeface="Roboto Light"/>
              <a:sym typeface="Roboto Light"/>
            </a:endParaRP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respect for employee rights</a:t>
            </a:r>
            <a:endParaRPr lang="pl-PL" sz="1200" dirty="0">
              <a:solidFill>
                <a:schemeClr val="tx2"/>
              </a:solidFill>
              <a:latin typeface="Novel Pro XLight" pitchFamily="2" charset="0"/>
              <a:ea typeface="Roboto Light"/>
              <a:cs typeface="Roboto Light"/>
              <a:sym typeface="Roboto Light"/>
            </a:endParaRP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countering corruption</a:t>
            </a:r>
            <a:endParaRPr lang="pl-PL" sz="1200" dirty="0">
              <a:solidFill>
                <a:schemeClr val="tx2"/>
              </a:solidFill>
              <a:latin typeface="Novel Pro XLight" pitchFamily="2" charset="0"/>
              <a:ea typeface="Roboto Light"/>
              <a:cs typeface="Roboto Light"/>
              <a:sym typeface="Roboto Light"/>
            </a:endParaRPr>
          </a:p>
          <a:p>
            <a:pPr marL="171450" indent="-171450">
              <a:lnSpc>
                <a:spcPct val="120000"/>
              </a:lnSpc>
              <a:buFont typeface="Arial" panose="020B0604020202020204" pitchFamily="34" charset="0"/>
              <a:buChar char="•"/>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countering climate change</a:t>
            </a:r>
            <a:endParaRPr lang="pl-PL" sz="1200" dirty="0">
              <a:solidFill>
                <a:schemeClr val="tx2"/>
              </a:solidFill>
              <a:latin typeface="Novel Pro XLight" pitchFamily="2" charset="0"/>
              <a:ea typeface="Roboto Light"/>
              <a:cs typeface="Roboto Light"/>
              <a:sym typeface="Roboto Light"/>
            </a:endParaRPr>
          </a:p>
        </p:txBody>
      </p:sp>
      <p:sp>
        <p:nvSpPr>
          <p:cNvPr id="30" name="Circle">
            <a:extLst>
              <a:ext uri="{FF2B5EF4-FFF2-40B4-BE49-F238E27FC236}">
                <a16:creationId xmlns:a16="http://schemas.microsoft.com/office/drawing/2014/main" id="{14101579-7551-D449-A4B7-5E9A5C7EA3CF}"/>
              </a:ext>
            </a:extLst>
          </p:cNvPr>
          <p:cNvSpPr/>
          <p:nvPr/>
        </p:nvSpPr>
        <p:spPr>
          <a:xfrm>
            <a:off x="5754959" y="2887784"/>
            <a:ext cx="571501" cy="571501"/>
          </a:xfrm>
          <a:prstGeom prst="ellipse">
            <a:avLst/>
          </a:prstGeom>
          <a:solidFill>
            <a:schemeClr val="accent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pic>
        <p:nvPicPr>
          <p:cNvPr id="34" name="Grafika 33">
            <a:extLst>
              <a:ext uri="{FF2B5EF4-FFF2-40B4-BE49-F238E27FC236}">
                <a16:creationId xmlns:a16="http://schemas.microsoft.com/office/drawing/2014/main" id="{A6F1BB95-2992-524F-9776-18EACA297A7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43233" y="2967432"/>
            <a:ext cx="360000" cy="360000"/>
          </a:xfrm>
          <a:prstGeom prst="rect">
            <a:avLst/>
          </a:prstGeom>
        </p:spPr>
      </p:pic>
      <p:sp>
        <p:nvSpPr>
          <p:cNvPr id="31" name="Circle">
            <a:extLst>
              <a:ext uri="{FF2B5EF4-FFF2-40B4-BE49-F238E27FC236}">
                <a16:creationId xmlns:a16="http://schemas.microsoft.com/office/drawing/2014/main" id="{742B5876-5694-4245-8B33-04673698D6D0}"/>
              </a:ext>
            </a:extLst>
          </p:cNvPr>
          <p:cNvSpPr/>
          <p:nvPr/>
        </p:nvSpPr>
        <p:spPr>
          <a:xfrm>
            <a:off x="5754959" y="4574524"/>
            <a:ext cx="571501" cy="571501"/>
          </a:xfrm>
          <a:prstGeom prst="ellipse">
            <a:avLst/>
          </a:prstGeom>
          <a:solidFill>
            <a:srgbClr val="0C7492"/>
          </a:solidFill>
          <a:ln w="12700" cap="flat">
            <a:noFill/>
            <a:miter lim="400000"/>
          </a:ln>
          <a:effectLst/>
        </p:spPr>
        <p:txBody>
          <a:bodyPr wrap="square" lIns="25400" tIns="25400" rIns="25400" bIns="25400" numCol="1" anchor="ctr">
            <a:noAutofit/>
          </a:bodyPr>
          <a:lstStyle/>
          <a:p>
            <a:pPr algn="ctr" defTabSz="457200" hangingPunct="0">
              <a:defRPr/>
            </a:pPr>
            <a:endParaRPr sz="1750" kern="0">
              <a:solidFill>
                <a:srgbClr val="2F3139"/>
              </a:solidFill>
              <a:latin typeface="Helvetica"/>
              <a:ea typeface="Helvetica Neue"/>
              <a:cs typeface="Helvetica Neue"/>
              <a:sym typeface="Helvetica Neue"/>
            </a:endParaRPr>
          </a:p>
        </p:txBody>
      </p:sp>
      <p:sp>
        <p:nvSpPr>
          <p:cNvPr id="25" name="85%…">
            <a:extLst>
              <a:ext uri="{FF2B5EF4-FFF2-40B4-BE49-F238E27FC236}">
                <a16:creationId xmlns:a16="http://schemas.microsoft.com/office/drawing/2014/main" id="{692EA116-4BC0-7846-86D6-683EEDDADBA3}"/>
              </a:ext>
            </a:extLst>
          </p:cNvPr>
          <p:cNvSpPr txBox="1"/>
          <p:nvPr/>
        </p:nvSpPr>
        <p:spPr>
          <a:xfrm>
            <a:off x="6614718" y="4266171"/>
            <a:ext cx="5088210" cy="8660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lvl="0" algn="l">
              <a:lnSpc>
                <a:spcPct val="120000"/>
              </a:lnSpc>
              <a:defRPr sz="1800" b="0">
                <a:solidFill>
                  <a:srgbClr val="F7F9FF"/>
                </a:solidFill>
                <a:latin typeface="Roboto Light"/>
                <a:ea typeface="Roboto Light"/>
                <a:cs typeface="Roboto Light"/>
                <a:sym typeface="Roboto Light"/>
              </a:defRPr>
            </a:pPr>
            <a:r>
              <a:rPr lang="en-US" sz="1200" dirty="0">
                <a:solidFill>
                  <a:schemeClr val="tx2"/>
                </a:solidFill>
                <a:latin typeface="Novel Pro XLight" pitchFamily="2" charset="0"/>
                <a:ea typeface="Roboto Light"/>
                <a:cs typeface="Roboto Light"/>
                <a:sym typeface="Roboto Light"/>
              </a:rPr>
              <a:t>When embarking on an investment project, the fund </a:t>
            </a:r>
            <a:r>
              <a:rPr lang="pl-PL" sz="1200" dirty="0" err="1">
                <a:solidFill>
                  <a:schemeClr val="tx2"/>
                </a:solidFill>
                <a:latin typeface="Novel Pro XLight" pitchFamily="2" charset="0"/>
                <a:ea typeface="Roboto Light"/>
                <a:cs typeface="Roboto Light"/>
                <a:sym typeface="Roboto Light"/>
              </a:rPr>
              <a:t>cooperates</a:t>
            </a:r>
            <a:r>
              <a:rPr lang="en-US" sz="1200" dirty="0">
                <a:solidFill>
                  <a:schemeClr val="tx2"/>
                </a:solidFill>
                <a:latin typeface="Novel Pro XLight" pitchFamily="2" charset="0"/>
                <a:ea typeface="Roboto Light"/>
                <a:cs typeface="Roboto Light"/>
                <a:sym typeface="Roboto Light"/>
              </a:rPr>
              <a:t> with a Polish partner to identify and characterize socially sensitive areas, as well as identify key stakeholder groups. A corporate social responsibility strategy is developed and implemented for each project company</a:t>
            </a:r>
            <a:endParaRPr lang="pl-PL" sz="1200" dirty="0">
              <a:solidFill>
                <a:schemeClr val="tx2"/>
              </a:solidFill>
              <a:latin typeface="Novel Pro XLight" pitchFamily="2" charset="0"/>
              <a:ea typeface="Roboto Light"/>
              <a:cs typeface="Roboto Light"/>
              <a:sym typeface="Roboto Light"/>
            </a:endParaRPr>
          </a:p>
        </p:txBody>
      </p:sp>
      <p:pic>
        <p:nvPicPr>
          <p:cNvPr id="36" name="Grafika 35">
            <a:extLst>
              <a:ext uri="{FF2B5EF4-FFF2-40B4-BE49-F238E27FC236}">
                <a16:creationId xmlns:a16="http://schemas.microsoft.com/office/drawing/2014/main" id="{08A5F510-19D8-634C-8F6A-3F77E50FCE7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838799" y="4656445"/>
            <a:ext cx="414000" cy="414000"/>
          </a:xfrm>
          <a:prstGeom prst="rect">
            <a:avLst/>
          </a:prstGeom>
        </p:spPr>
      </p:pic>
      <p:cxnSp>
        <p:nvCxnSpPr>
          <p:cNvPr id="27" name="Straight Connector 23">
            <a:extLst>
              <a:ext uri="{FF2B5EF4-FFF2-40B4-BE49-F238E27FC236}">
                <a16:creationId xmlns:a16="http://schemas.microsoft.com/office/drawing/2014/main" id="{19EFBB20-AB3D-D44B-94B7-3C1514CBBC9F}"/>
              </a:ext>
            </a:extLst>
          </p:cNvPr>
          <p:cNvCxnSpPr>
            <a:cxnSpLocks/>
          </p:cNvCxnSpPr>
          <p:nvPr/>
        </p:nvCxnSpPr>
        <p:spPr>
          <a:xfrm flipH="1">
            <a:off x="5801267" y="2407850"/>
            <a:ext cx="5901661" cy="0"/>
          </a:xfrm>
          <a:prstGeom prst="line">
            <a:avLst/>
          </a:prstGeom>
          <a:noFill/>
          <a:ln w="3175" cap="flat">
            <a:solidFill>
              <a:schemeClr val="tx2">
                <a:alpha val="3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3">
            <a:extLst>
              <a:ext uri="{FF2B5EF4-FFF2-40B4-BE49-F238E27FC236}">
                <a16:creationId xmlns:a16="http://schemas.microsoft.com/office/drawing/2014/main" id="{D79501F4-871C-BB49-8BB9-2651E517E3BA}"/>
              </a:ext>
            </a:extLst>
          </p:cNvPr>
          <p:cNvCxnSpPr>
            <a:cxnSpLocks/>
          </p:cNvCxnSpPr>
          <p:nvPr/>
        </p:nvCxnSpPr>
        <p:spPr>
          <a:xfrm flipH="1">
            <a:off x="5801267" y="3992810"/>
            <a:ext cx="5901661" cy="0"/>
          </a:xfrm>
          <a:prstGeom prst="line">
            <a:avLst/>
          </a:prstGeom>
          <a:noFill/>
          <a:ln w="3175" cap="flat">
            <a:solidFill>
              <a:schemeClr val="tx2">
                <a:alpha val="30000"/>
              </a:schemeClr>
            </a:solidFill>
            <a:prstDash val="solid"/>
            <a:miter lim="400000"/>
          </a:ln>
          <a:effectLst/>
          <a:sp3d/>
        </p:spPr>
        <p:style>
          <a:lnRef idx="0">
            <a:scrgbClr r="0" g="0" b="0"/>
          </a:lnRef>
          <a:fillRef idx="0">
            <a:scrgbClr r="0" g="0" b="0"/>
          </a:fillRef>
          <a:effectRef idx="0">
            <a:scrgbClr r="0" g="0" b="0"/>
          </a:effectRef>
          <a:fontRef idx="none"/>
        </p:style>
      </p:cxnSp>
      <p:sp>
        <p:nvSpPr>
          <p:cNvPr id="2" name="Slide Number">
            <a:extLst>
              <a:ext uri="{FF2B5EF4-FFF2-40B4-BE49-F238E27FC236}">
                <a16:creationId xmlns:a16="http://schemas.microsoft.com/office/drawing/2014/main" id="{E8F9358F-CC8B-5F8A-A345-D9EB8671AF94}"/>
              </a:ext>
            </a:extLst>
          </p:cNvPr>
          <p:cNvSpPr txBox="1">
            <a:spLocks noGrp="1"/>
          </p:cNvSpPr>
          <p:nvPr>
            <p:ph type="sldNum" sz="quarter" idx="2"/>
          </p:nvPr>
        </p:nvSpPr>
        <p:spPr>
          <a:xfrm>
            <a:off x="11244393" y="6532176"/>
            <a:ext cx="125034" cy="369332"/>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t>46</a:t>
            </a:fld>
            <a:endParaRPr/>
          </a:p>
        </p:txBody>
      </p:sp>
    </p:spTree>
    <p:extLst>
      <p:ext uri="{BB962C8B-B14F-4D97-AF65-F5344CB8AC3E}">
        <p14:creationId xmlns:p14="http://schemas.microsoft.com/office/powerpoint/2010/main" val="119464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Google Shape;2116;p22">
            <a:extLst>
              <a:ext uri="{FF2B5EF4-FFF2-40B4-BE49-F238E27FC236}">
                <a16:creationId xmlns:a16="http://schemas.microsoft.com/office/drawing/2014/main" id="{B629C58F-3CB6-5CCA-4D24-215C28B3A601}"/>
              </a:ext>
            </a:extLst>
          </p:cNvPr>
          <p:cNvSpPr txBox="1"/>
          <p:nvPr/>
        </p:nvSpPr>
        <p:spPr>
          <a:xfrm>
            <a:off x="1873427" y="3710396"/>
            <a:ext cx="1871150" cy="338554"/>
          </a:xfrm>
          <a:prstGeom prst="rect">
            <a:avLst/>
          </a:prstGeom>
          <a:noFill/>
          <a:ln>
            <a:noFill/>
          </a:ln>
        </p:spPr>
        <p:txBody>
          <a:bodyPr spcFirstLastPara="1" wrap="square" lIns="0" tIns="0" rIns="0" bIns="0" anchor="t" anchorCtr="0">
            <a:spAutoFit/>
          </a:bodyPr>
          <a:lstStyle/>
          <a:p>
            <a:pPr defTabSz="342883">
              <a:buClr>
                <a:srgbClr val="E0301E"/>
              </a:buClr>
              <a:buSzPts val="1000"/>
            </a:pPr>
            <a:r>
              <a:rPr lang="pl-PL" sz="1200" dirty="0">
                <a:solidFill>
                  <a:srgbClr val="C00000"/>
                </a:solidFill>
                <a:latin typeface="+mj-lt"/>
                <a:ea typeface="Arial"/>
                <a:cs typeface="Arial"/>
                <a:sym typeface="Arial"/>
              </a:rPr>
              <a:t>Wojciech Jabłoński</a:t>
            </a:r>
          </a:p>
          <a:p>
            <a:pPr defTabSz="342883">
              <a:buClr>
                <a:srgbClr val="454545"/>
              </a:buClr>
              <a:buSzPts val="1000"/>
            </a:pPr>
            <a:r>
              <a:rPr lang="pl-PL" sz="1000" dirty="0">
                <a:solidFill>
                  <a:srgbClr val="C00000"/>
                </a:solidFill>
                <a:latin typeface="+mj-lt"/>
                <a:ea typeface="Arial"/>
                <a:cs typeface="Arial"/>
                <a:sym typeface="Arial"/>
              </a:rPr>
              <a:t>Investment Manager</a:t>
            </a:r>
          </a:p>
        </p:txBody>
      </p:sp>
      <p:sp>
        <p:nvSpPr>
          <p:cNvPr id="58" name="Google Shape;2116;p22">
            <a:extLst>
              <a:ext uri="{FF2B5EF4-FFF2-40B4-BE49-F238E27FC236}">
                <a16:creationId xmlns:a16="http://schemas.microsoft.com/office/drawing/2014/main" id="{56379D34-6E18-1B1F-0B2F-D72D16F229FF}"/>
              </a:ext>
            </a:extLst>
          </p:cNvPr>
          <p:cNvSpPr txBox="1"/>
          <p:nvPr/>
        </p:nvSpPr>
        <p:spPr>
          <a:xfrm>
            <a:off x="1873427" y="4165573"/>
            <a:ext cx="1971289" cy="1600438"/>
          </a:xfrm>
          <a:prstGeom prst="rect">
            <a:avLst/>
          </a:prstGeom>
          <a:noFill/>
          <a:ln>
            <a:noFill/>
          </a:ln>
        </p:spPr>
        <p:txBody>
          <a:bodyPr spcFirstLastPara="1" wrap="square" lIns="0" tIns="0" rIns="0" bIns="0" anchor="t" anchorCtr="0">
            <a:spAutoFit/>
          </a:bodyPr>
          <a:lstStyle/>
          <a:p>
            <a:pPr defTabSz="342883">
              <a:lnSpc>
                <a:spcPct val="130000"/>
              </a:lnSpc>
            </a:pPr>
            <a:r>
              <a:rPr lang="en-US" sz="800" dirty="0">
                <a:solidFill>
                  <a:schemeClr val="tx2"/>
                </a:solidFill>
                <a:latin typeface="Novel Pro Light" panose="020B0604020202020204" charset="-18"/>
              </a:rPr>
              <a:t>In the fund since 2019</a:t>
            </a:r>
            <a:r>
              <a:rPr lang="pl-PL" sz="800" dirty="0">
                <a:solidFill>
                  <a:schemeClr val="tx2"/>
                </a:solidFill>
                <a:latin typeface="Novel Pro Light" panose="020B0604020202020204" charset="-18"/>
              </a:rPr>
              <a:t>. </a:t>
            </a:r>
            <a:r>
              <a:rPr lang="en-US" sz="800" dirty="0">
                <a:solidFill>
                  <a:schemeClr val="tx2"/>
                </a:solidFill>
                <a:latin typeface="Novel Pro Light" panose="020B0604020202020204" charset="-18"/>
              </a:rPr>
              <a:t>He is responsible for the entire investment process - from sourcing deals, negotiating, preparing transaction documentation </a:t>
            </a:r>
            <a:r>
              <a:rPr lang="pl-PL" sz="800" dirty="0">
                <a:solidFill>
                  <a:schemeClr val="tx2"/>
                </a:solidFill>
                <a:latin typeface="Novel Pro Light" panose="020B0604020202020204" charset="-18"/>
              </a:rPr>
              <a:t>to</a:t>
            </a:r>
            <a:r>
              <a:rPr lang="en-US" sz="800" dirty="0">
                <a:solidFill>
                  <a:schemeClr val="tx2"/>
                </a:solidFill>
                <a:latin typeface="Novel Pro Light" panose="020B0604020202020204" charset="-18"/>
              </a:rPr>
              <a:t> overseeing projects.. </a:t>
            </a:r>
            <a:r>
              <a:rPr lang="pl-PL" sz="800" dirty="0" err="1">
                <a:solidFill>
                  <a:schemeClr val="tx2"/>
                </a:solidFill>
                <a:latin typeface="Novel Pro Light" panose="020B0604020202020204" charset="-18"/>
              </a:rPr>
              <a:t>Seasoned</a:t>
            </a:r>
            <a:r>
              <a:rPr lang="en-US" sz="800" dirty="0">
                <a:solidFill>
                  <a:schemeClr val="tx2"/>
                </a:solidFill>
                <a:latin typeface="Novel Pro Light" panose="020B0604020202020204" charset="-18"/>
              </a:rPr>
              <a:t> manager</a:t>
            </a:r>
            <a:r>
              <a:rPr lang="pl-PL" sz="800" dirty="0">
                <a:solidFill>
                  <a:schemeClr val="tx2"/>
                </a:solidFill>
                <a:latin typeface="Novel Pro Light" panose="020B0604020202020204" charset="-18"/>
              </a:rPr>
              <a:t> with </a:t>
            </a:r>
            <a:r>
              <a:rPr lang="en-US" sz="800" dirty="0">
                <a:solidFill>
                  <a:schemeClr val="tx2"/>
                </a:solidFill>
                <a:latin typeface="Novel Pro Light" panose="020B0604020202020204" charset="-18"/>
              </a:rPr>
              <a:t>1</a:t>
            </a:r>
            <a:r>
              <a:rPr lang="pl-PL" sz="800" dirty="0">
                <a:solidFill>
                  <a:schemeClr val="tx2"/>
                </a:solidFill>
                <a:latin typeface="Novel Pro Light" panose="020B0604020202020204" charset="-18"/>
              </a:rPr>
              <a:t>3</a:t>
            </a:r>
            <a:r>
              <a:rPr lang="en-US" sz="800" dirty="0">
                <a:solidFill>
                  <a:schemeClr val="tx2"/>
                </a:solidFill>
                <a:latin typeface="Novel Pro Light" panose="020B0604020202020204" charset="-18"/>
              </a:rPr>
              <a:t> years</a:t>
            </a:r>
            <a:r>
              <a:rPr lang="pl-PL" sz="800" dirty="0">
                <a:solidFill>
                  <a:schemeClr val="tx2"/>
                </a:solidFill>
                <a:latin typeface="Novel Pro Light" panose="020B0604020202020204" charset="-18"/>
              </a:rPr>
              <a:t> </a:t>
            </a:r>
            <a:r>
              <a:rPr lang="pl-PL" sz="800" dirty="0" err="1">
                <a:solidFill>
                  <a:schemeClr val="tx2"/>
                </a:solidFill>
                <a:latin typeface="Novel Pro Light" panose="020B0604020202020204" charset="-18"/>
              </a:rPr>
              <a:t>experience</a:t>
            </a:r>
            <a:r>
              <a:rPr lang="pl-PL" sz="800" dirty="0">
                <a:solidFill>
                  <a:schemeClr val="tx2"/>
                </a:solidFill>
                <a:latin typeface="Novel Pro Light" panose="020B0604020202020204" charset="-18"/>
              </a:rPr>
              <a:t> in the </a:t>
            </a:r>
            <a:r>
              <a:rPr lang="pl-PL" sz="800" dirty="0" err="1">
                <a:solidFill>
                  <a:schemeClr val="tx2"/>
                </a:solidFill>
                <a:latin typeface="Novel Pro Light" panose="020B0604020202020204" charset="-18"/>
              </a:rPr>
              <a:t>financial</a:t>
            </a:r>
            <a:r>
              <a:rPr lang="pl-PL" sz="800" dirty="0">
                <a:solidFill>
                  <a:schemeClr val="tx2"/>
                </a:solidFill>
                <a:latin typeface="Novel Pro Light" panose="020B0604020202020204" charset="-18"/>
              </a:rPr>
              <a:t> market and e</a:t>
            </a:r>
            <a:r>
              <a:rPr lang="en-US" sz="800" dirty="0" err="1">
                <a:solidFill>
                  <a:schemeClr val="tx2"/>
                </a:solidFill>
                <a:latin typeface="Novel Pro Light" panose="020B0604020202020204" charset="-18"/>
              </a:rPr>
              <a:t>xpertise</a:t>
            </a:r>
            <a:r>
              <a:rPr lang="en-US" sz="800" dirty="0">
                <a:solidFill>
                  <a:schemeClr val="tx2"/>
                </a:solidFill>
                <a:latin typeface="Novel Pro Light" panose="020B0604020202020204" charset="-18"/>
              </a:rPr>
              <a:t> in managing investment funds. Cooperated in the creation and management of dozens of investment funds.</a:t>
            </a:r>
            <a:endParaRPr lang="pl-PL" sz="800" dirty="0">
              <a:solidFill>
                <a:schemeClr val="tx2"/>
              </a:solidFill>
              <a:latin typeface="Novel Pro Light" panose="020B0604020202020204" charset="-18"/>
            </a:endParaRPr>
          </a:p>
        </p:txBody>
      </p:sp>
      <p:grpSp>
        <p:nvGrpSpPr>
          <p:cNvPr id="60" name="Group 3">
            <a:extLst>
              <a:ext uri="{FF2B5EF4-FFF2-40B4-BE49-F238E27FC236}">
                <a16:creationId xmlns:a16="http://schemas.microsoft.com/office/drawing/2014/main" id="{A9823E40-DE37-F7FA-FC26-2B58B4D807B4}"/>
              </a:ext>
            </a:extLst>
          </p:cNvPr>
          <p:cNvGrpSpPr/>
          <p:nvPr/>
        </p:nvGrpSpPr>
        <p:grpSpPr>
          <a:xfrm>
            <a:off x="5334653" y="3721422"/>
            <a:ext cx="2276766" cy="2053969"/>
            <a:chOff x="2320013" y="10055480"/>
            <a:chExt cx="3735019" cy="4107936"/>
          </a:xfrm>
        </p:grpSpPr>
        <p:sp>
          <p:nvSpPr>
            <p:cNvPr id="61" name="pole tekstowe 34">
              <a:extLst>
                <a:ext uri="{FF2B5EF4-FFF2-40B4-BE49-F238E27FC236}">
                  <a16:creationId xmlns:a16="http://schemas.microsoft.com/office/drawing/2014/main" id="{44AD1A70-587E-1AA9-2B26-E0B7ADE4925E}"/>
                </a:ext>
              </a:extLst>
            </p:cNvPr>
            <p:cNvSpPr txBox="1"/>
            <p:nvPr/>
          </p:nvSpPr>
          <p:spPr>
            <a:xfrm>
              <a:off x="2320013" y="10565510"/>
              <a:ext cx="3735019" cy="35979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t">
              <a:spAutoFit/>
            </a:bodyPr>
            <a:lstStyle/>
            <a:p>
              <a:pPr algn="l">
                <a:lnSpc>
                  <a:spcPct val="130000"/>
                </a:lnSpc>
              </a:pPr>
              <a:endParaRPr lang="pl-PL" sz="800" dirty="0">
                <a:solidFill>
                  <a:schemeClr val="tx2"/>
                </a:solidFill>
                <a:latin typeface="Novel Pro Light" panose="020B0604020202020204" charset="-18"/>
              </a:endParaRPr>
            </a:p>
            <a:p>
              <a:pPr algn="l">
                <a:lnSpc>
                  <a:spcPct val="130000"/>
                </a:lnSpc>
              </a:pPr>
              <a:r>
                <a:rPr lang="en-US" sz="800" dirty="0">
                  <a:solidFill>
                    <a:schemeClr val="tx2"/>
                  </a:solidFill>
                  <a:latin typeface="Novel Pro Light" panose="020B0604020202020204" charset="-18"/>
                </a:rPr>
                <a:t>In the fund since 2018.  She has more than 15 years of experience in transaction advisory gained</a:t>
              </a:r>
              <a:r>
                <a:rPr lang="pl-PL" sz="800" dirty="0">
                  <a:solidFill>
                    <a:schemeClr val="tx2"/>
                  </a:solidFill>
                  <a:latin typeface="Novel Pro Light" panose="020B0604020202020204" charset="-18"/>
                </a:rPr>
                <a:t> </a:t>
              </a:r>
              <a:r>
                <a:rPr lang="en-US" sz="800" dirty="0">
                  <a:solidFill>
                    <a:schemeClr val="tx2"/>
                  </a:solidFill>
                  <a:latin typeface="Novel Pro Light" panose="020B0604020202020204" charset="-18"/>
                </a:rPr>
                <a:t>at KPMG in Poland and abroad. She has worked on all aspects of the structured investment process, including due diligence and preparation of transaction documentation. She has advised recognized companies and investors on corporate matters and in investment processes. Member of </a:t>
              </a:r>
              <a:r>
                <a:rPr lang="pl-PL" sz="800" dirty="0">
                  <a:solidFill>
                    <a:schemeClr val="tx2"/>
                  </a:solidFill>
                  <a:latin typeface="Novel Pro Light" panose="020B0604020202020204" charset="-18"/>
                </a:rPr>
                <a:t> the </a:t>
              </a:r>
              <a:r>
                <a:rPr lang="pl-PL" sz="800" dirty="0" err="1">
                  <a:solidFill>
                    <a:schemeClr val="tx2"/>
                  </a:solidFill>
                  <a:latin typeface="Novel Pro Light" panose="020B0604020202020204" charset="-18"/>
                </a:rPr>
                <a:t>Warsaw</a:t>
              </a:r>
              <a:r>
                <a:rPr lang="pl-PL" sz="800" dirty="0">
                  <a:solidFill>
                    <a:schemeClr val="tx2"/>
                  </a:solidFill>
                  <a:latin typeface="Novel Pro Light" panose="020B0604020202020204" charset="-18"/>
                </a:rPr>
                <a:t> </a:t>
              </a:r>
              <a:r>
                <a:rPr lang="pl-PL" sz="800" dirty="0" err="1">
                  <a:solidFill>
                    <a:schemeClr val="tx2"/>
                  </a:solidFill>
                  <a:latin typeface="Novel Pro Light" panose="020B0604020202020204" charset="-18"/>
                </a:rPr>
                <a:t>Regional</a:t>
              </a:r>
              <a:r>
                <a:rPr lang="pl-PL" sz="800" dirty="0">
                  <a:solidFill>
                    <a:schemeClr val="tx2"/>
                  </a:solidFill>
                  <a:latin typeface="Novel Pro Light" panose="020B0604020202020204" charset="-18"/>
                </a:rPr>
                <a:t> Bar </a:t>
              </a:r>
              <a:r>
                <a:rPr lang="pl-PL" sz="800" dirty="0" err="1">
                  <a:solidFill>
                    <a:schemeClr val="tx2"/>
                  </a:solidFill>
                  <a:latin typeface="Novel Pro Light" panose="020B0604020202020204" charset="-18"/>
                </a:rPr>
                <a:t>Association</a:t>
              </a:r>
              <a:r>
                <a:rPr lang="pl-PL" sz="800" dirty="0">
                  <a:solidFill>
                    <a:schemeClr val="tx2"/>
                  </a:solidFill>
                  <a:latin typeface="Novel Pro Light" panose="020B0604020202020204" charset="-18"/>
                </a:rPr>
                <a:t>.</a:t>
              </a:r>
              <a:endParaRPr lang="pl-PL" sz="500" dirty="0">
                <a:solidFill>
                  <a:schemeClr val="tx2"/>
                </a:solidFill>
                <a:latin typeface="+mj-lt"/>
              </a:endParaRPr>
            </a:p>
          </p:txBody>
        </p:sp>
        <p:sp>
          <p:nvSpPr>
            <p:cNvPr id="63" name="Google Shape;2116;p22">
              <a:extLst>
                <a:ext uri="{FF2B5EF4-FFF2-40B4-BE49-F238E27FC236}">
                  <a16:creationId xmlns:a16="http://schemas.microsoft.com/office/drawing/2014/main" id="{ADC8D1A3-7378-262D-72CB-951C4AFBBB02}"/>
                </a:ext>
              </a:extLst>
            </p:cNvPr>
            <p:cNvSpPr txBox="1"/>
            <p:nvPr/>
          </p:nvSpPr>
          <p:spPr>
            <a:xfrm>
              <a:off x="2320015" y="10055480"/>
              <a:ext cx="2969042" cy="677108"/>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Katarzyna Kutrzepa</a:t>
              </a:r>
            </a:p>
            <a:p>
              <a:pPr defTabSz="342883">
                <a:buClr>
                  <a:srgbClr val="454545"/>
                </a:buClr>
                <a:buSzPts val="1000"/>
                <a:defRPr/>
              </a:pPr>
              <a:r>
                <a:rPr lang="pl-PL" sz="1000" dirty="0" err="1">
                  <a:solidFill>
                    <a:srgbClr val="C00000"/>
                  </a:solidFill>
                  <a:latin typeface="+mj-lt"/>
                  <a:ea typeface="Arial"/>
                  <a:cs typeface="Arial"/>
                  <a:sym typeface="Arial"/>
                </a:rPr>
                <a:t>Legal</a:t>
              </a:r>
              <a:r>
                <a:rPr lang="pl-PL" sz="1000" dirty="0">
                  <a:solidFill>
                    <a:srgbClr val="C00000"/>
                  </a:solidFill>
                  <a:latin typeface="+mj-lt"/>
                  <a:ea typeface="Arial"/>
                  <a:cs typeface="Arial"/>
                  <a:sym typeface="Arial"/>
                </a:rPr>
                <a:t> Advisor</a:t>
              </a:r>
              <a:endParaRPr lang="pl-PL" sz="1000" dirty="0">
                <a:solidFill>
                  <a:srgbClr val="C00000"/>
                </a:solidFill>
                <a:latin typeface="+mj-lt"/>
              </a:endParaRPr>
            </a:p>
          </p:txBody>
        </p:sp>
      </p:grpSp>
      <p:grpSp>
        <p:nvGrpSpPr>
          <p:cNvPr id="1024" name="Group 1">
            <a:extLst>
              <a:ext uri="{FF2B5EF4-FFF2-40B4-BE49-F238E27FC236}">
                <a16:creationId xmlns:a16="http://schemas.microsoft.com/office/drawing/2014/main" id="{042835F6-4AE8-6332-8F70-96FA7FE34BBD}"/>
              </a:ext>
            </a:extLst>
          </p:cNvPr>
          <p:cNvGrpSpPr/>
          <p:nvPr/>
        </p:nvGrpSpPr>
        <p:grpSpPr>
          <a:xfrm>
            <a:off x="9062983" y="3711536"/>
            <a:ext cx="2537969" cy="1734760"/>
            <a:chOff x="8058830" y="9884029"/>
            <a:chExt cx="2969042" cy="3469520"/>
          </a:xfrm>
        </p:grpSpPr>
        <p:sp>
          <p:nvSpPr>
            <p:cNvPr id="1025" name="Google Shape;2116;p22">
              <a:extLst>
                <a:ext uri="{FF2B5EF4-FFF2-40B4-BE49-F238E27FC236}">
                  <a16:creationId xmlns:a16="http://schemas.microsoft.com/office/drawing/2014/main" id="{EF835205-E6ED-916E-1336-C48FB21C5615}"/>
                </a:ext>
              </a:extLst>
            </p:cNvPr>
            <p:cNvSpPr txBox="1"/>
            <p:nvPr/>
          </p:nvSpPr>
          <p:spPr>
            <a:xfrm>
              <a:off x="8058830" y="9884029"/>
              <a:ext cx="2969042" cy="677108"/>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Joanna Glinicka</a:t>
              </a:r>
            </a:p>
            <a:p>
              <a:pPr defTabSz="342883">
                <a:buClr>
                  <a:srgbClr val="454545"/>
                </a:buClr>
                <a:buSzPts val="1000"/>
                <a:defRPr/>
              </a:pPr>
              <a:r>
                <a:rPr lang="pl-PL" sz="1000" dirty="0">
                  <a:solidFill>
                    <a:srgbClr val="C00000"/>
                  </a:solidFill>
                  <a:latin typeface="+mj-lt"/>
                  <a:ea typeface="Arial"/>
                  <a:cs typeface="Arial"/>
                  <a:sym typeface="Arial"/>
                </a:rPr>
                <a:t>Senior </a:t>
              </a:r>
              <a:r>
                <a:rPr lang="pl-PL" sz="1000" dirty="0" err="1">
                  <a:solidFill>
                    <a:srgbClr val="C00000"/>
                  </a:solidFill>
                  <a:latin typeface="+mj-lt"/>
                  <a:ea typeface="Arial"/>
                  <a:cs typeface="Arial"/>
                  <a:sym typeface="Arial"/>
                </a:rPr>
                <a:t>Specialist</a:t>
              </a:r>
              <a:endParaRPr lang="pl-PL" sz="1000" dirty="0">
                <a:solidFill>
                  <a:srgbClr val="C00000"/>
                </a:solidFill>
                <a:latin typeface="+mj-lt"/>
                <a:ea typeface="Arial"/>
                <a:cs typeface="Arial"/>
                <a:sym typeface="Arial"/>
              </a:endParaRPr>
            </a:p>
          </p:txBody>
        </p:sp>
        <p:sp>
          <p:nvSpPr>
            <p:cNvPr id="1027" name="pole tekstowe 44">
              <a:extLst>
                <a:ext uri="{FF2B5EF4-FFF2-40B4-BE49-F238E27FC236}">
                  <a16:creationId xmlns:a16="http://schemas.microsoft.com/office/drawing/2014/main" id="{E363001D-12A7-D1C9-4D80-4FD9FB98652D}"/>
                </a:ext>
              </a:extLst>
            </p:cNvPr>
            <p:cNvSpPr txBox="1"/>
            <p:nvPr/>
          </p:nvSpPr>
          <p:spPr>
            <a:xfrm>
              <a:off x="8058831" y="10715903"/>
              <a:ext cx="2969041" cy="26376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t">
              <a:spAutoFit/>
            </a:bodyPr>
            <a:lstStyle/>
            <a:p>
              <a:pPr algn="l">
                <a:lnSpc>
                  <a:spcPct val="130000"/>
                </a:lnSpc>
              </a:pPr>
              <a:r>
                <a:rPr lang="en-US" sz="800" dirty="0">
                  <a:solidFill>
                    <a:schemeClr val="tx2"/>
                  </a:solidFill>
                  <a:latin typeface="Novel Pro Light" panose="020B0604020202020204" charset="-18"/>
                </a:rPr>
                <a:t>At the fund since 2020. At PFR TFI since 2016, where she has be</a:t>
              </a:r>
              <a:r>
                <a:rPr lang="pl-PL" sz="800" dirty="0">
                  <a:solidFill>
                    <a:schemeClr val="tx2"/>
                  </a:solidFill>
                  <a:latin typeface="Novel Pro Light" panose="020B0604020202020204" charset="-18"/>
                </a:rPr>
                <a:t>e</a:t>
              </a:r>
              <a:r>
                <a:rPr lang="en-US" sz="800" dirty="0">
                  <a:solidFill>
                    <a:schemeClr val="tx2"/>
                  </a:solidFill>
                  <a:latin typeface="Novel Pro Light" panose="020B0604020202020204" charset="-18"/>
                </a:rPr>
                <a:t>n responsible for administrative and </a:t>
              </a:r>
              <a:r>
                <a:rPr lang="en-US" sz="800" dirty="0" err="1">
                  <a:solidFill>
                    <a:schemeClr val="tx2"/>
                  </a:solidFill>
                  <a:latin typeface="Novel Pro Light" panose="020B0604020202020204" charset="-18"/>
                </a:rPr>
                <a:t>backoffice</a:t>
              </a:r>
              <a:r>
                <a:rPr lang="en-US" sz="800" dirty="0">
                  <a:solidFill>
                    <a:schemeClr val="tx2"/>
                  </a:solidFill>
                  <a:latin typeface="Novel Pro Light" panose="020B0604020202020204" charset="-18"/>
                </a:rPr>
                <a:t> processes. She has more than 20 years of experience in transactional documentation, cooperation with management bodies, coordination of transactional</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and administrative processes. Previously, she has worked in financial institutions, including Millennium Leasing.</a:t>
              </a:r>
              <a:endParaRPr lang="pl-PL" sz="800" dirty="0">
                <a:solidFill>
                  <a:schemeClr val="tx2"/>
                </a:solidFill>
                <a:latin typeface="Novel Pro Light" panose="020B0604020202020204" charset="-18"/>
              </a:endParaRPr>
            </a:p>
          </p:txBody>
        </p:sp>
      </p:grpSp>
      <p:grpSp>
        <p:nvGrpSpPr>
          <p:cNvPr id="1029" name="Group 29">
            <a:extLst>
              <a:ext uri="{FF2B5EF4-FFF2-40B4-BE49-F238E27FC236}">
                <a16:creationId xmlns:a16="http://schemas.microsoft.com/office/drawing/2014/main" id="{D7D1D749-571A-5AFB-F079-9FCF11FF9238}"/>
              </a:ext>
            </a:extLst>
          </p:cNvPr>
          <p:cNvGrpSpPr/>
          <p:nvPr/>
        </p:nvGrpSpPr>
        <p:grpSpPr>
          <a:xfrm>
            <a:off x="9088490" y="1589513"/>
            <a:ext cx="3064676" cy="1410877"/>
            <a:chOff x="8957615" y="4878559"/>
            <a:chExt cx="6129352" cy="1400292"/>
          </a:xfrm>
        </p:grpSpPr>
        <p:sp>
          <p:nvSpPr>
            <p:cNvPr id="1030" name="Google Shape;2116;p22">
              <a:extLst>
                <a:ext uri="{FF2B5EF4-FFF2-40B4-BE49-F238E27FC236}">
                  <a16:creationId xmlns:a16="http://schemas.microsoft.com/office/drawing/2014/main" id="{209CE2A8-7148-61ED-4430-7A6301C5816B}"/>
                </a:ext>
              </a:extLst>
            </p:cNvPr>
            <p:cNvSpPr txBox="1"/>
            <p:nvPr/>
          </p:nvSpPr>
          <p:spPr>
            <a:xfrm>
              <a:off x="8957615" y="4878559"/>
              <a:ext cx="6129352" cy="336014"/>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Marcin Ciesielski, ACMA, CGMA, CIIA</a:t>
              </a:r>
              <a:endParaRPr lang="pl-PL" sz="1200" dirty="0">
                <a:latin typeface="+mj-lt"/>
              </a:endParaRPr>
            </a:p>
            <a:p>
              <a:pPr defTabSz="342883">
                <a:buClr>
                  <a:srgbClr val="454545"/>
                </a:buClr>
                <a:buSzPts val="1000"/>
                <a:defRPr/>
              </a:pPr>
              <a:r>
                <a:rPr lang="pl-PL" sz="1000" dirty="0">
                  <a:solidFill>
                    <a:srgbClr val="C00000"/>
                  </a:solidFill>
                  <a:latin typeface="Novel Pro" pitchFamily="2" charset="0"/>
                  <a:cs typeface="Arial"/>
                  <a:sym typeface="Arial"/>
                </a:rPr>
                <a:t>Fund Manager, Investment Manager</a:t>
              </a:r>
              <a:endParaRPr lang="pl-PL" sz="1000" dirty="0">
                <a:solidFill>
                  <a:srgbClr val="C00000"/>
                </a:solidFill>
                <a:latin typeface="Novel Pro" pitchFamily="2" charset="0"/>
                <a:cs typeface="Arial"/>
              </a:endParaRPr>
            </a:p>
          </p:txBody>
        </p:sp>
        <p:sp>
          <p:nvSpPr>
            <p:cNvPr id="1032" name="Google Shape;2116;p22">
              <a:extLst>
                <a:ext uri="{FF2B5EF4-FFF2-40B4-BE49-F238E27FC236}">
                  <a16:creationId xmlns:a16="http://schemas.microsoft.com/office/drawing/2014/main" id="{B5EFABA2-3C3C-0785-6C55-408CA3091D92}"/>
                </a:ext>
              </a:extLst>
            </p:cNvPr>
            <p:cNvSpPr txBox="1"/>
            <p:nvPr/>
          </p:nvSpPr>
          <p:spPr>
            <a:xfrm>
              <a:off x="8957615" y="5325793"/>
              <a:ext cx="4745900" cy="953058"/>
            </a:xfrm>
            <a:prstGeom prst="rect">
              <a:avLst/>
            </a:prstGeom>
            <a:noFill/>
            <a:ln>
              <a:noFill/>
            </a:ln>
          </p:spPr>
          <p:txBody>
            <a:bodyPr spcFirstLastPara="1" wrap="square" lIns="0" tIns="0" rIns="0" bIns="0" anchor="t" anchorCtr="0">
              <a:spAutoFit/>
            </a:bodyPr>
            <a:lstStyle/>
            <a:p>
              <a:pPr defTabSz="342883">
                <a:lnSpc>
                  <a:spcPct val="130000"/>
                </a:lnSpc>
              </a:pPr>
              <a:r>
                <a:rPr lang="en-US" sz="800" dirty="0">
                  <a:solidFill>
                    <a:schemeClr val="tx2"/>
                  </a:solidFill>
                  <a:latin typeface="Novel Pro Light" panose="020B0604020202020204" charset="-18"/>
                </a:rPr>
                <a:t>At PFR TFI since 2020. Working in capital market since 2018. He has been responsible for overseeing portfolios of closed-end investment funds, including private equity/venture capital and managing the funds' own investments in public companies. Licensed investment advisor and CIMA member.</a:t>
              </a:r>
              <a:endParaRPr lang="pl-PL" sz="800" dirty="0">
                <a:solidFill>
                  <a:schemeClr val="tx2"/>
                </a:solidFill>
                <a:latin typeface="Novel Pro Light" panose="020B0604020202020204" charset="-18"/>
              </a:endParaRPr>
            </a:p>
          </p:txBody>
        </p:sp>
      </p:grpSp>
      <p:sp>
        <p:nvSpPr>
          <p:cNvPr id="1037" name="Google Shape;2116;p22">
            <a:extLst>
              <a:ext uri="{FF2B5EF4-FFF2-40B4-BE49-F238E27FC236}">
                <a16:creationId xmlns:a16="http://schemas.microsoft.com/office/drawing/2014/main" id="{B66A24A6-D5A1-C4B1-2275-BA929C07C650}"/>
              </a:ext>
            </a:extLst>
          </p:cNvPr>
          <p:cNvSpPr txBox="1"/>
          <p:nvPr/>
        </p:nvSpPr>
        <p:spPr>
          <a:xfrm>
            <a:off x="1877331" y="1593626"/>
            <a:ext cx="2193151" cy="338554"/>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Novel Pro" pitchFamily="2" charset="0"/>
                <a:ea typeface="Arial"/>
                <a:cs typeface="Arial"/>
                <a:sym typeface="Arial"/>
              </a:rPr>
              <a:t>Marcin Prusak</a:t>
            </a:r>
            <a:endParaRPr sz="1200" dirty="0">
              <a:solidFill>
                <a:srgbClr val="C00000"/>
              </a:solidFill>
              <a:latin typeface="Novel Pro" pitchFamily="2" charset="0"/>
            </a:endParaRPr>
          </a:p>
          <a:p>
            <a:pPr defTabSz="342883">
              <a:buClr>
                <a:srgbClr val="454545"/>
              </a:buClr>
              <a:buSzPts val="1000"/>
              <a:defRPr/>
            </a:pPr>
            <a:r>
              <a:rPr lang="pl-PL" sz="1000" dirty="0" err="1">
                <a:solidFill>
                  <a:srgbClr val="C00000"/>
                </a:solidFill>
                <a:latin typeface="Novel Pro" pitchFamily="2" charset="0"/>
                <a:ea typeface="Arial"/>
                <a:cs typeface="Arial"/>
                <a:sym typeface="Arial"/>
              </a:rPr>
              <a:t>Head</a:t>
            </a:r>
            <a:r>
              <a:rPr lang="pl-PL" sz="1000" dirty="0">
                <a:solidFill>
                  <a:srgbClr val="C00000"/>
                </a:solidFill>
                <a:latin typeface="Novel Pro" pitchFamily="2" charset="0"/>
                <a:ea typeface="Arial"/>
                <a:cs typeface="Arial"/>
                <a:sym typeface="Arial"/>
              </a:rPr>
              <a:t> of the Investment </a:t>
            </a:r>
            <a:r>
              <a:rPr lang="pl-PL" sz="1000" dirty="0" err="1">
                <a:solidFill>
                  <a:srgbClr val="C00000"/>
                </a:solidFill>
                <a:latin typeface="Novel Pro" pitchFamily="2" charset="0"/>
                <a:ea typeface="Arial"/>
                <a:cs typeface="Arial"/>
                <a:sym typeface="Arial"/>
              </a:rPr>
              <a:t>Department</a:t>
            </a:r>
            <a:endParaRPr lang="pl-PL" sz="1000" dirty="0">
              <a:solidFill>
                <a:srgbClr val="C00000"/>
              </a:solidFill>
              <a:latin typeface="Novel Pro" pitchFamily="2" charset="0"/>
              <a:ea typeface="Arial"/>
              <a:cs typeface="Arial"/>
              <a:sym typeface="Arial"/>
            </a:endParaRPr>
          </a:p>
        </p:txBody>
      </p:sp>
      <p:sp>
        <p:nvSpPr>
          <p:cNvPr id="1038" name="Google Shape;2116;p22">
            <a:extLst>
              <a:ext uri="{FF2B5EF4-FFF2-40B4-BE49-F238E27FC236}">
                <a16:creationId xmlns:a16="http://schemas.microsoft.com/office/drawing/2014/main" id="{2E0D0650-4C0B-0FCA-7708-2408DB1F64EE}"/>
              </a:ext>
            </a:extLst>
          </p:cNvPr>
          <p:cNvSpPr txBox="1"/>
          <p:nvPr/>
        </p:nvSpPr>
        <p:spPr>
          <a:xfrm>
            <a:off x="1879309" y="2038150"/>
            <a:ext cx="2049437" cy="886397"/>
          </a:xfrm>
          <a:prstGeom prst="rect">
            <a:avLst/>
          </a:prstGeom>
          <a:noFill/>
          <a:ln>
            <a:noFill/>
          </a:ln>
        </p:spPr>
        <p:txBody>
          <a:bodyPr spcFirstLastPara="1" wrap="square" lIns="0" tIns="0" rIns="0" bIns="0" anchor="t" anchorCtr="0">
            <a:spAutoFit/>
          </a:bodyPr>
          <a:lstStyle/>
          <a:p>
            <a:pPr defTabSz="342883">
              <a:lnSpc>
                <a:spcPct val="120000"/>
              </a:lnSpc>
              <a:defRPr/>
            </a:pPr>
            <a:r>
              <a:rPr lang="en-US" sz="800" dirty="0">
                <a:solidFill>
                  <a:schemeClr val="tx2"/>
                </a:solidFill>
                <a:latin typeface="Novel Pro Light" panose="020B0604020202020204" charset="-18"/>
              </a:rPr>
              <a:t>At PFR TFI since 2023.  Oversees fund management and the work of the investment department. Manager with more than 20 years of experience in the financial market in structured finance, project finance, M&amp;A transactions</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and corporate banking.</a:t>
            </a:r>
            <a:endParaRPr lang="pl-PL" sz="800" dirty="0">
              <a:solidFill>
                <a:schemeClr val="tx2"/>
              </a:solidFill>
              <a:latin typeface="Novel Pro Light" panose="020B0604020202020204" charset="-18"/>
            </a:endParaRPr>
          </a:p>
        </p:txBody>
      </p:sp>
      <p:grpSp>
        <p:nvGrpSpPr>
          <p:cNvPr id="4" name="Group 2">
            <a:extLst>
              <a:ext uri="{FF2B5EF4-FFF2-40B4-BE49-F238E27FC236}">
                <a16:creationId xmlns:a16="http://schemas.microsoft.com/office/drawing/2014/main" id="{270BD722-044E-39FF-DD0B-6291C0BFEC1A}"/>
              </a:ext>
            </a:extLst>
          </p:cNvPr>
          <p:cNvGrpSpPr/>
          <p:nvPr/>
        </p:nvGrpSpPr>
        <p:grpSpPr>
          <a:xfrm>
            <a:off x="5351069" y="1589512"/>
            <a:ext cx="2420026" cy="1663993"/>
            <a:chOff x="7287658" y="9901366"/>
            <a:chExt cx="3492000" cy="3327984"/>
          </a:xfrm>
        </p:grpSpPr>
        <p:sp>
          <p:nvSpPr>
            <p:cNvPr id="5" name="Google Shape;2116;p22">
              <a:extLst>
                <a:ext uri="{FF2B5EF4-FFF2-40B4-BE49-F238E27FC236}">
                  <a16:creationId xmlns:a16="http://schemas.microsoft.com/office/drawing/2014/main" id="{8E649036-648E-F7D1-8E8E-CF40ED0A7073}"/>
                </a:ext>
              </a:extLst>
            </p:cNvPr>
            <p:cNvSpPr txBox="1"/>
            <p:nvPr/>
          </p:nvSpPr>
          <p:spPr>
            <a:xfrm>
              <a:off x="7303555" y="10804071"/>
              <a:ext cx="3378272" cy="2425279"/>
            </a:xfrm>
            <a:prstGeom prst="rect">
              <a:avLst/>
            </a:prstGeom>
            <a:noFill/>
            <a:ln>
              <a:noFill/>
            </a:ln>
          </p:spPr>
          <p:txBody>
            <a:bodyPr spcFirstLastPara="1" wrap="square" lIns="0" tIns="0" rIns="0" bIns="0" anchor="t" anchorCtr="0">
              <a:spAutoFit/>
            </a:bodyPr>
            <a:lstStyle/>
            <a:p>
              <a:pPr defTabSz="342883">
                <a:lnSpc>
                  <a:spcPct val="130000"/>
                </a:lnSpc>
              </a:pPr>
              <a:r>
                <a:rPr lang="en-US" sz="800" dirty="0">
                  <a:solidFill>
                    <a:schemeClr val="tx2"/>
                  </a:solidFill>
                  <a:latin typeface="Novel Pro Light" panose="020B0604020202020204" charset="-18"/>
                </a:rPr>
                <a:t>In the fund since 2023. He has 20</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years of experience in capital markets. He started his career at DWS Investment GmbH in Frankfurt.  Long-time fund manager at DWS Polska</a:t>
              </a:r>
              <a:r>
                <a:rPr lang="pl-PL" sz="800" dirty="0">
                  <a:solidFill>
                    <a:schemeClr val="tx2"/>
                  </a:solidFill>
                  <a:latin typeface="Novel Pro Light" panose="020B0604020202020204" charset="-18"/>
                </a:rPr>
                <a:t> TFI</a:t>
              </a:r>
              <a:r>
                <a:rPr lang="en-US" sz="800" dirty="0">
                  <a:solidFill>
                    <a:schemeClr val="tx2"/>
                  </a:solidFill>
                  <a:latin typeface="Novel Pro Light" panose="020B0604020202020204" charset="-18"/>
                </a:rPr>
                <a:t> and Quercus</a:t>
              </a:r>
              <a:r>
                <a:rPr lang="pl-PL" sz="800" dirty="0">
                  <a:solidFill>
                    <a:schemeClr val="tx2"/>
                  </a:solidFill>
                  <a:latin typeface="Novel Pro Light" panose="020B0604020202020204" charset="-18"/>
                </a:rPr>
                <a:t> TFI</a:t>
              </a:r>
              <a:r>
                <a:rPr lang="en-US" sz="800" dirty="0">
                  <a:solidFill>
                    <a:schemeClr val="tx2"/>
                  </a:solidFill>
                  <a:latin typeface="Novel Pro Light" panose="020B0604020202020204" charset="-18"/>
                </a:rPr>
                <a:t>. </a:t>
              </a:r>
              <a:r>
                <a:rPr lang="pl-PL" sz="800" dirty="0">
                  <a:solidFill>
                    <a:schemeClr val="tx2"/>
                  </a:solidFill>
                  <a:latin typeface="Novel Pro Light" panose="020B0604020202020204" charset="-18"/>
                </a:rPr>
                <a:t> He h</a:t>
              </a:r>
              <a:r>
                <a:rPr lang="en-US" sz="800" dirty="0">
                  <a:solidFill>
                    <a:schemeClr val="tx2"/>
                  </a:solidFill>
                  <a:latin typeface="Novel Pro Light" panose="020B0604020202020204" charset="-18"/>
                </a:rPr>
                <a:t>as extensive knowledge </a:t>
              </a:r>
              <a:r>
                <a:rPr lang="pl-PL" sz="800" dirty="0">
                  <a:solidFill>
                    <a:schemeClr val="tx2"/>
                  </a:solidFill>
                  <a:latin typeface="Novel Pro Light" panose="020B0604020202020204" charset="-18"/>
                </a:rPr>
                <a:t>of </a:t>
              </a:r>
              <a:r>
                <a:rPr lang="en-US" sz="800" dirty="0">
                  <a:solidFill>
                    <a:schemeClr val="tx2"/>
                  </a:solidFill>
                  <a:latin typeface="Novel Pro Light" panose="020B0604020202020204" charset="-18"/>
                </a:rPr>
                <a:t>equity and bond markets, the </a:t>
              </a:r>
              <a:r>
                <a:rPr lang="pl-PL" sz="800" dirty="0" err="1">
                  <a:solidFill>
                    <a:schemeClr val="tx2"/>
                  </a:solidFill>
                  <a:latin typeface="Novel Pro Light" panose="020B0604020202020204" charset="-18"/>
                </a:rPr>
                <a:t>characteristics</a:t>
              </a:r>
              <a:r>
                <a:rPr lang="en-US" sz="800" dirty="0">
                  <a:solidFill>
                    <a:schemeClr val="tx2"/>
                  </a:solidFill>
                  <a:latin typeface="Novel Pro Light" panose="020B0604020202020204" charset="-18"/>
                </a:rPr>
                <a:t> of foreign investments</a:t>
              </a:r>
              <a:r>
                <a:rPr lang="pl-PL" sz="800" dirty="0">
                  <a:solidFill>
                    <a:schemeClr val="tx2"/>
                  </a:solidFill>
                  <a:latin typeface="Novel Pro Light" panose="020B0604020202020204" charset="-18"/>
                </a:rPr>
                <a:t>,</a:t>
              </a:r>
              <a:r>
                <a:rPr lang="en-US" sz="800" dirty="0">
                  <a:solidFill>
                    <a:schemeClr val="tx2"/>
                  </a:solidFill>
                  <a:latin typeface="Novel Pro Light" panose="020B0604020202020204" charset="-18"/>
                </a:rPr>
                <a:t> and corporate finance.</a:t>
              </a:r>
              <a:endParaRPr lang="pl-PL" sz="800" dirty="0">
                <a:solidFill>
                  <a:schemeClr val="tx2"/>
                </a:solidFill>
                <a:latin typeface="Novel Pro Light" panose="020B0604020202020204" charset="-18"/>
              </a:endParaRPr>
            </a:p>
            <a:p>
              <a:pPr defTabSz="342883">
                <a:lnSpc>
                  <a:spcPct val="120000"/>
                </a:lnSpc>
              </a:pPr>
              <a:endParaRPr lang="pl-PL" sz="500" dirty="0">
                <a:solidFill>
                  <a:schemeClr val="tx2"/>
                </a:solidFill>
                <a:latin typeface="+mj-lt"/>
              </a:endParaRPr>
            </a:p>
          </p:txBody>
        </p:sp>
        <p:sp>
          <p:nvSpPr>
            <p:cNvPr id="6" name="Google Shape;2116;p22">
              <a:extLst>
                <a:ext uri="{FF2B5EF4-FFF2-40B4-BE49-F238E27FC236}">
                  <a16:creationId xmlns:a16="http://schemas.microsoft.com/office/drawing/2014/main" id="{A618B35B-DBB4-AAAC-B253-2EBE1481F4F0}"/>
                </a:ext>
              </a:extLst>
            </p:cNvPr>
            <p:cNvSpPr txBox="1"/>
            <p:nvPr/>
          </p:nvSpPr>
          <p:spPr>
            <a:xfrm>
              <a:off x="7287658" y="9901366"/>
              <a:ext cx="3492000" cy="677108"/>
            </a:xfrm>
            <a:prstGeom prst="rect">
              <a:avLst/>
            </a:prstGeom>
            <a:noFill/>
            <a:ln>
              <a:noFill/>
            </a:ln>
          </p:spPr>
          <p:txBody>
            <a:bodyPr spcFirstLastPara="1" wrap="square" lIns="0" tIns="0" rIns="0" bIns="0" anchor="t" anchorCtr="0">
              <a:spAutoFit/>
            </a:bodyPr>
            <a:lstStyle/>
            <a:p>
              <a:pPr defTabSz="342883">
                <a:buClr>
                  <a:srgbClr val="E0301E"/>
                </a:buClr>
                <a:buSzPts val="1000"/>
                <a:defRPr/>
              </a:pPr>
              <a:r>
                <a:rPr lang="pl-PL" sz="1200" dirty="0">
                  <a:solidFill>
                    <a:srgbClr val="C00000"/>
                  </a:solidFill>
                  <a:latin typeface="+mj-lt"/>
                  <a:ea typeface="Arial"/>
                  <a:cs typeface="Arial"/>
                  <a:sym typeface="Arial"/>
                </a:rPr>
                <a:t>Marek Buczak</a:t>
              </a:r>
              <a:br>
                <a:rPr lang="pl-PL" sz="1200" dirty="0">
                  <a:solidFill>
                    <a:srgbClr val="C00000"/>
                  </a:solidFill>
                  <a:latin typeface="+mj-lt"/>
                  <a:ea typeface="Arial"/>
                  <a:cs typeface="Arial"/>
                  <a:sym typeface="Arial"/>
                </a:rPr>
              </a:br>
              <a:r>
                <a:rPr lang="pl-PL" sz="1000" dirty="0">
                  <a:solidFill>
                    <a:srgbClr val="C00000"/>
                  </a:solidFill>
                  <a:latin typeface="Novel Pro" pitchFamily="2" charset="0"/>
                  <a:cs typeface="Arial"/>
                  <a:sym typeface="Arial"/>
                </a:rPr>
                <a:t>Fund Manager, Investment Manager</a:t>
              </a:r>
            </a:p>
          </p:txBody>
        </p:sp>
      </p:grpSp>
      <p:sp>
        <p:nvSpPr>
          <p:cNvPr id="3" name="short intro.">
            <a:extLst>
              <a:ext uri="{FF2B5EF4-FFF2-40B4-BE49-F238E27FC236}">
                <a16:creationId xmlns:a16="http://schemas.microsoft.com/office/drawing/2014/main" id="{00E29FA2-E913-0105-8365-7DE218372665}"/>
              </a:ext>
            </a:extLst>
          </p:cNvPr>
          <p:cNvSpPr txBox="1"/>
          <p:nvPr/>
        </p:nvSpPr>
        <p:spPr>
          <a:xfrm>
            <a:off x="792000" y="720000"/>
            <a:ext cx="10851361"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lgn="l">
              <a:lnSpc>
                <a:spcPct val="150000"/>
              </a:lnSpc>
              <a:defRPr sz="10000" b="0">
                <a:solidFill>
                  <a:srgbClr val="53585F"/>
                </a:solidFill>
                <a:latin typeface="Roboto Black"/>
                <a:ea typeface="Roboto Black"/>
                <a:cs typeface="Roboto Black"/>
                <a:sym typeface="Roboto Black"/>
              </a:defRPr>
            </a:lvl1pPr>
          </a:lstStyle>
          <a:p>
            <a:pPr lvl="0">
              <a:lnSpc>
                <a:spcPct val="100000"/>
              </a:lnSpc>
            </a:pPr>
            <a:r>
              <a:rPr lang="pl-PL" sz="2700" b="1" dirty="0">
                <a:latin typeface="Novel Pro SemiBold" pitchFamily="2" charset="0"/>
              </a:rPr>
              <a:t>Team </a:t>
            </a:r>
          </a:p>
        </p:txBody>
      </p:sp>
      <p:cxnSp>
        <p:nvCxnSpPr>
          <p:cNvPr id="13" name="Straight Connector 23">
            <a:extLst>
              <a:ext uri="{FF2B5EF4-FFF2-40B4-BE49-F238E27FC236}">
                <a16:creationId xmlns:a16="http://schemas.microsoft.com/office/drawing/2014/main" id="{E861D855-2C05-4E94-0A19-20234B744AB5}"/>
              </a:ext>
            </a:extLst>
          </p:cNvPr>
          <p:cNvCxnSpPr>
            <a:cxnSpLocks/>
          </p:cNvCxnSpPr>
          <p:nvPr/>
        </p:nvCxnSpPr>
        <p:spPr>
          <a:xfrm>
            <a:off x="792000" y="1373714"/>
            <a:ext cx="383474" cy="0"/>
          </a:xfrm>
          <a:prstGeom prst="line">
            <a:avLst/>
          </a:prstGeom>
          <a:noFill/>
          <a:ln w="12700" cap="flat">
            <a:solidFill>
              <a:srgbClr val="54595D"/>
            </a:solidFill>
            <a:prstDash val="solid"/>
            <a:miter lim="400000"/>
          </a:ln>
          <a:effectLst/>
          <a:sp3d/>
        </p:spPr>
        <p:style>
          <a:lnRef idx="0">
            <a:scrgbClr r="0" g="0" b="0"/>
          </a:lnRef>
          <a:fillRef idx="0">
            <a:scrgbClr r="0" g="0" b="0"/>
          </a:fillRef>
          <a:effectRef idx="0">
            <a:scrgbClr r="0" g="0" b="0"/>
          </a:effectRef>
          <a:fontRef idx="none"/>
        </p:style>
      </p:cxnSp>
      <p:sp>
        <p:nvSpPr>
          <p:cNvPr id="17" name="Slide Number">
            <a:extLst>
              <a:ext uri="{FF2B5EF4-FFF2-40B4-BE49-F238E27FC236}">
                <a16:creationId xmlns:a16="http://schemas.microsoft.com/office/drawing/2014/main" id="{73422E9A-D2FC-AF73-8483-EDE27E4C9892}"/>
              </a:ext>
            </a:extLst>
          </p:cNvPr>
          <p:cNvSpPr txBox="1">
            <a:spLocks noGrp="1"/>
          </p:cNvSpPr>
          <p:nvPr>
            <p:ph type="sldNum" sz="quarter" idx="2"/>
          </p:nvPr>
        </p:nvSpPr>
        <p:spPr>
          <a:xfrm>
            <a:off x="11244393" y="6408351"/>
            <a:ext cx="125034" cy="36933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7</a:t>
            </a:fld>
            <a:endParaRPr/>
          </a:p>
        </p:txBody>
      </p:sp>
      <p:sp>
        <p:nvSpPr>
          <p:cNvPr id="15" name="Oval 13">
            <a:extLst>
              <a:ext uri="{FF2B5EF4-FFF2-40B4-BE49-F238E27FC236}">
                <a16:creationId xmlns:a16="http://schemas.microsoft.com/office/drawing/2014/main" id="{B63781FE-5B0F-0428-BD92-5DAB647976E6}"/>
              </a:ext>
            </a:extLst>
          </p:cNvPr>
          <p:cNvSpPr>
            <a:spLocks noChangeAspect="1"/>
          </p:cNvSpPr>
          <p:nvPr/>
        </p:nvSpPr>
        <p:spPr>
          <a:xfrm>
            <a:off x="792000" y="1576063"/>
            <a:ext cx="951869" cy="951869"/>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18" name="Oval 13">
            <a:extLst>
              <a:ext uri="{FF2B5EF4-FFF2-40B4-BE49-F238E27FC236}">
                <a16:creationId xmlns:a16="http://schemas.microsoft.com/office/drawing/2014/main" id="{A456BA2B-4CB6-12C7-B7F7-B2F41668D3E3}"/>
              </a:ext>
            </a:extLst>
          </p:cNvPr>
          <p:cNvSpPr>
            <a:spLocks noChangeAspect="1"/>
          </p:cNvSpPr>
          <p:nvPr/>
        </p:nvSpPr>
        <p:spPr>
          <a:xfrm>
            <a:off x="4239615" y="1589512"/>
            <a:ext cx="951869" cy="95186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20" name="Oval 13">
            <a:extLst>
              <a:ext uri="{FF2B5EF4-FFF2-40B4-BE49-F238E27FC236}">
                <a16:creationId xmlns:a16="http://schemas.microsoft.com/office/drawing/2014/main" id="{56488A12-C461-57B3-45D8-75E508F6736F}"/>
              </a:ext>
            </a:extLst>
          </p:cNvPr>
          <p:cNvSpPr>
            <a:spLocks noChangeAspect="1"/>
          </p:cNvSpPr>
          <p:nvPr/>
        </p:nvSpPr>
        <p:spPr>
          <a:xfrm>
            <a:off x="8000135" y="1576062"/>
            <a:ext cx="951869" cy="951869"/>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dirty="0">
              <a:solidFill>
                <a:sysClr val="windowText" lastClr="000000"/>
              </a:solidFill>
            </a:endParaRPr>
          </a:p>
        </p:txBody>
      </p:sp>
      <p:sp>
        <p:nvSpPr>
          <p:cNvPr id="21" name="Oval 13">
            <a:extLst>
              <a:ext uri="{FF2B5EF4-FFF2-40B4-BE49-F238E27FC236}">
                <a16:creationId xmlns:a16="http://schemas.microsoft.com/office/drawing/2014/main" id="{DF3099AC-2867-F92A-3F9F-1D84DE95DD32}"/>
              </a:ext>
            </a:extLst>
          </p:cNvPr>
          <p:cNvSpPr>
            <a:spLocks noChangeAspect="1"/>
          </p:cNvSpPr>
          <p:nvPr/>
        </p:nvSpPr>
        <p:spPr>
          <a:xfrm>
            <a:off x="795367" y="3751656"/>
            <a:ext cx="951869" cy="951869"/>
          </a:xfrm>
          <a:prstGeom prst="ellipse">
            <a:avLst/>
          </a:prstGeom>
          <a:blipFill dpi="0" rotWithShape="1">
            <a:blip r:embed="rId6"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23" name="Oval 13">
            <a:extLst>
              <a:ext uri="{FF2B5EF4-FFF2-40B4-BE49-F238E27FC236}">
                <a16:creationId xmlns:a16="http://schemas.microsoft.com/office/drawing/2014/main" id="{9DF3265A-3CA3-579A-ABB1-9FC24C89789A}"/>
              </a:ext>
            </a:extLst>
          </p:cNvPr>
          <p:cNvSpPr>
            <a:spLocks noChangeAspect="1"/>
          </p:cNvSpPr>
          <p:nvPr/>
        </p:nvSpPr>
        <p:spPr>
          <a:xfrm>
            <a:off x="4244273" y="3751655"/>
            <a:ext cx="951869" cy="951869"/>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w="12700">
            <a:solidFill>
              <a:srgbClr val="498F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
        <p:nvSpPr>
          <p:cNvPr id="24" name="Oval 13">
            <a:extLst>
              <a:ext uri="{FF2B5EF4-FFF2-40B4-BE49-F238E27FC236}">
                <a16:creationId xmlns:a16="http://schemas.microsoft.com/office/drawing/2014/main" id="{5E26A457-02D8-B5D3-018F-9981EA9BD68E}"/>
              </a:ext>
            </a:extLst>
          </p:cNvPr>
          <p:cNvSpPr>
            <a:spLocks noChangeAspect="1"/>
          </p:cNvSpPr>
          <p:nvPr/>
        </p:nvSpPr>
        <p:spPr>
          <a:xfrm>
            <a:off x="8010977" y="3751655"/>
            <a:ext cx="951869" cy="951869"/>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w="12700">
            <a:solidFill>
              <a:srgbClr val="6FA9C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pl-PL">
              <a:solidFill>
                <a:sysClr val="windowText" lastClr="000000"/>
              </a:solidFill>
            </a:endParaRPr>
          </a:p>
        </p:txBody>
      </p:sp>
    </p:spTree>
    <p:extLst>
      <p:ext uri="{BB962C8B-B14F-4D97-AF65-F5344CB8AC3E}">
        <p14:creationId xmlns:p14="http://schemas.microsoft.com/office/powerpoint/2010/main" val="11730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ymbol zastępczy obrazu 3">
            <a:extLst>
              <a:ext uri="{FF2B5EF4-FFF2-40B4-BE49-F238E27FC236}">
                <a16:creationId xmlns:a16="http://schemas.microsoft.com/office/drawing/2014/main" id="{227B473E-BDB8-424B-BC72-8809270B11FA}"/>
              </a:ext>
            </a:extLst>
          </p:cNvPr>
          <p:cNvPicPr>
            <a:picLocks noGrp="1" noChangeAspect="1"/>
          </p:cNvPicPr>
          <p:nvPr>
            <p:ph type="pic" sz="quarter" idx="10"/>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p:pic>
      <p:sp>
        <p:nvSpPr>
          <p:cNvPr id="2" name="Opacity">
            <a:extLst>
              <a:ext uri="{FF2B5EF4-FFF2-40B4-BE49-F238E27FC236}">
                <a16:creationId xmlns:a16="http://schemas.microsoft.com/office/drawing/2014/main" id="{D68CE8D6-FF98-38DC-B8E2-34AF26338D07}"/>
              </a:ext>
            </a:extLst>
          </p:cNvPr>
          <p:cNvSpPr/>
          <p:nvPr/>
        </p:nvSpPr>
        <p:spPr>
          <a:xfrm>
            <a:off x="317500" y="319659"/>
            <a:ext cx="11557000" cy="6219825"/>
          </a:xfrm>
          <a:prstGeom prst="rect">
            <a:avLst/>
          </a:prstGeom>
          <a:gradFill>
            <a:gsLst>
              <a:gs pos="0">
                <a:srgbClr val="0C7492"/>
              </a:gs>
              <a:gs pos="100000">
                <a:srgbClr val="0C7492">
                  <a:alpha val="41000"/>
                </a:srgbClr>
              </a:gs>
            </a:gsLst>
            <a:lin ang="3600000" scaled="0"/>
          </a:gradFill>
          <a:ln w="12700">
            <a:miter lim="400000"/>
          </a:ln>
        </p:spPr>
        <p:txBody>
          <a:bodyPr lIns="25400" tIns="25400" rIns="25400" bIns="25400" anchor="ctr"/>
          <a:lstStyle/>
          <a:p>
            <a:pPr>
              <a:defRPr sz="3200" b="0">
                <a:solidFill>
                  <a:srgbClr val="FFFFFF"/>
                </a:solidFill>
                <a:latin typeface="Helvetica Light"/>
                <a:ea typeface="Helvetica Light"/>
                <a:cs typeface="Helvetica Light"/>
                <a:sym typeface="Helvetica Light"/>
              </a:defRPr>
            </a:pPr>
            <a:endParaRPr sz="1600">
              <a:latin typeface="+mj-lt"/>
            </a:endParaRPr>
          </a:p>
        </p:txBody>
      </p:sp>
      <p:sp>
        <p:nvSpPr>
          <p:cNvPr id="3069" name="Thank You…"/>
          <p:cNvSpPr txBox="1"/>
          <p:nvPr/>
        </p:nvSpPr>
        <p:spPr>
          <a:xfrm>
            <a:off x="5212752" y="3530434"/>
            <a:ext cx="1667123" cy="5975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25400" tIns="25400" rIns="25400" bIns="25400" anchor="b">
            <a:spAutoFit/>
          </a:bodyPr>
          <a:lstStyle/>
          <a:p>
            <a:pPr>
              <a:lnSpc>
                <a:spcPct val="150000"/>
              </a:lnSpc>
              <a:defRPr sz="6000" b="0">
                <a:solidFill>
                  <a:srgbClr val="FFFFFF"/>
                </a:solidFill>
                <a:latin typeface="Roboto Black"/>
                <a:ea typeface="Roboto Black"/>
                <a:cs typeface="Roboto Black"/>
                <a:sym typeface="Roboto Black"/>
              </a:defRPr>
            </a:pPr>
            <a:r>
              <a:rPr lang="pl-PL" sz="2700" dirty="0" err="1">
                <a:latin typeface="Novel Pro" pitchFamily="2" charset="0"/>
              </a:rPr>
              <a:t>Thank</a:t>
            </a:r>
            <a:r>
              <a:rPr lang="pl-PL" sz="2700" dirty="0">
                <a:latin typeface="Novel Pro" pitchFamily="2" charset="0"/>
              </a:rPr>
              <a:t> </a:t>
            </a:r>
            <a:r>
              <a:rPr lang="pl-PL" sz="2700" dirty="0" err="1">
                <a:latin typeface="Novel Pro" pitchFamily="2" charset="0"/>
              </a:rPr>
              <a:t>you</a:t>
            </a:r>
            <a:endParaRPr lang="pl-PL" sz="1400" b="1" dirty="0">
              <a:latin typeface="Novel Pro" pitchFamily="2" charset="0"/>
            </a:endParaRPr>
          </a:p>
        </p:txBody>
      </p:sp>
      <p:cxnSp>
        <p:nvCxnSpPr>
          <p:cNvPr id="6" name="Straight Connector 5">
            <a:extLst>
              <a:ext uri="{FF2B5EF4-FFF2-40B4-BE49-F238E27FC236}">
                <a16:creationId xmlns:a16="http://schemas.microsoft.com/office/drawing/2014/main" id="{F2338794-9656-4A44-8A6D-2406A5B0978E}"/>
              </a:ext>
            </a:extLst>
          </p:cNvPr>
          <p:cNvCxnSpPr/>
          <p:nvPr/>
        </p:nvCxnSpPr>
        <p:spPr>
          <a:xfrm>
            <a:off x="5952968" y="4648383"/>
            <a:ext cx="286064" cy="0"/>
          </a:xfrm>
          <a:prstGeom prst="line">
            <a:avLst/>
          </a:prstGeom>
          <a:noFill/>
          <a:ln w="25400" cap="flat">
            <a:solidFill>
              <a:schemeClr val="bg2"/>
            </a:solidFill>
            <a:prstDash val="solid"/>
            <a:miter lim="400000"/>
          </a:ln>
          <a:effectLst/>
          <a:sp3d/>
        </p:spPr>
        <p:style>
          <a:lnRef idx="0">
            <a:scrgbClr r="0" g="0" b="0"/>
          </a:lnRef>
          <a:fillRef idx="0">
            <a:scrgbClr r="0" g="0" b="0"/>
          </a:fillRef>
          <a:effectRef idx="0">
            <a:scrgbClr r="0" g="0" b="0"/>
          </a:effectRef>
          <a:fontRef idx="none"/>
        </p:style>
      </p:cxnSp>
      <p:pic>
        <p:nvPicPr>
          <p:cNvPr id="9" name="Grafika 8">
            <a:extLst>
              <a:ext uri="{FF2B5EF4-FFF2-40B4-BE49-F238E27FC236}">
                <a16:creationId xmlns:a16="http://schemas.microsoft.com/office/drawing/2014/main" id="{1B0B7615-B1FB-8749-A4FC-97130DCC974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85311" y="1825513"/>
            <a:ext cx="3135315" cy="1083957"/>
          </a:xfrm>
          <a:prstGeom prst="rect">
            <a:avLst/>
          </a:prstGeom>
        </p:spPr>
      </p:pic>
    </p:spTree>
    <p:extLst>
      <p:ext uri="{BB962C8B-B14F-4D97-AF65-F5344CB8AC3E}">
        <p14:creationId xmlns:p14="http://schemas.microsoft.com/office/powerpoint/2010/main" val="377839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B5B55-DED1-6F65-3EFA-A0496C9FC50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3BECF706-F15C-C277-C09B-2B66FD18B9E5}"/>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58B55AC4-9090-2CA7-B008-EC128119E852}"/>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CDC1761E-27D2-E4A8-4CC8-68B3E8E231D5}"/>
              </a:ext>
            </a:extLst>
          </p:cNvPr>
          <p:cNvSpPr/>
          <p:nvPr/>
        </p:nvSpPr>
        <p:spPr>
          <a:xfrm>
            <a:off x="0" y="-2"/>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descr="A white text on a black background&#10;&#10;Description automatically generated">
            <a:extLst>
              <a:ext uri="{FF2B5EF4-FFF2-40B4-BE49-F238E27FC236}">
                <a16:creationId xmlns:a16="http://schemas.microsoft.com/office/drawing/2014/main" id="{34B6E347-EF9A-9986-5E62-68E78FBC5B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A4B323A6-0405-61D8-B92E-DB24909D3E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AEB1D1A6-328C-2DD5-BECA-78CCA45416CD}"/>
              </a:ext>
            </a:extLst>
          </p:cNvPr>
          <p:cNvSpPr txBox="1"/>
          <p:nvPr/>
        </p:nvSpPr>
        <p:spPr>
          <a:xfrm>
            <a:off x="740149" y="2184226"/>
            <a:ext cx="10960238" cy="144655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vestment insurance for foreign direct investments</a:t>
            </a:r>
            <a:endParaRPr kumimoji="0" lang="pl-PL" sz="4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E01236F8-D20B-F937-2261-E5BC4FEFEA61}"/>
              </a:ext>
            </a:extLst>
          </p:cNvPr>
          <p:cNvSpPr txBox="1"/>
          <p:nvPr/>
        </p:nvSpPr>
        <p:spPr>
          <a:xfrm>
            <a:off x="740149" y="4043560"/>
            <a:ext cx="10251440" cy="3016210"/>
          </a:xfrm>
          <a:prstGeom prst="rect">
            <a:avLst/>
          </a:prstGeom>
          <a:noFill/>
        </p:spPr>
        <p:txBody>
          <a:bodyPr wrap="square" lIns="0" numCol="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welina Mazur</a:t>
            </a:r>
            <a:br>
              <a:rPr kumimoji="0" lang="en-US"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pl-PL" sz="3200" b="0"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ransaction</a:t>
            </a: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Manager</a:t>
            </a:r>
            <a:br>
              <a:rPr kumimoji="0" lang="en-US"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Bank Gospodarstw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rajowego</a:t>
            </a:r>
            <a:endPar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br>
              <a:rPr lang="en-US" sz="3000" dirty="0">
                <a:solidFill>
                  <a:prstClr val="white"/>
                </a:solidFill>
                <a:latin typeface="Open sans" panose="020B0606030504020204" pitchFamily="34" charset="0"/>
                <a:ea typeface="Open sans" panose="020B0606030504020204" pitchFamily="34" charset="0"/>
                <a:cs typeface="Open sans" panose="020B0606030504020204" pitchFamily="34" charset="0"/>
              </a:rPr>
            </a:br>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Adam </a:t>
            </a:r>
            <a:r>
              <a:rPr lang="en-US" sz="320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Grzybowski</a:t>
            </a:r>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 </a:t>
            </a:r>
          </a:p>
          <a:p>
            <a:pPr rtl="0"/>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Head of the Political Risk and Investment Insurance</a:t>
            </a:r>
          </a:p>
          <a:p>
            <a:pPr rtl="0"/>
            <a:r>
              <a:rPr lang="en-US" sz="3200" dirty="0">
                <a:solidFill>
                  <a:prstClr val="white"/>
                </a:solidFill>
                <a:latin typeface="Open sans" panose="020B0606030504020204" pitchFamily="34" charset="0"/>
                <a:ea typeface="Open sans" panose="020B0606030504020204" pitchFamily="34" charset="0"/>
                <a:cs typeface="Open sans" panose="020B0606030504020204" pitchFamily="34" charset="0"/>
              </a:rPr>
              <a:t>KUK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59932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5</a:t>
            </a:fld>
            <a:endParaRPr lang="en-GB" noProof="0" dirty="0"/>
          </a:p>
        </p:txBody>
      </p:sp>
      <p:sp>
        <p:nvSpPr>
          <p:cNvPr id="4" name="Text Placeholder 3">
            <a:extLst>
              <a:ext uri="{FF2B5EF4-FFF2-40B4-BE49-F238E27FC236}">
                <a16:creationId xmlns:a16="http://schemas.microsoft.com/office/drawing/2014/main" id="{5E2C1C66-FCAB-F8F6-757F-8F4B6D5CD98D}"/>
              </a:ext>
            </a:extLst>
          </p:cNvPr>
          <p:cNvSpPr>
            <a:spLocks noGrp="1"/>
          </p:cNvSpPr>
          <p:nvPr>
            <p:ph type="body" sz="quarter" idx="11"/>
          </p:nvPr>
        </p:nvSpPr>
        <p:spPr>
          <a:xfrm>
            <a:off x="906022" y="2658358"/>
            <a:ext cx="10691977" cy="3625534"/>
          </a:xfrm>
        </p:spPr>
        <p:txBody>
          <a:bodyPr/>
          <a:lstStyle/>
          <a:p>
            <a:pPr marL="266700" marR="0" lvl="0" indent="-26670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kumimoji="0" lang="en-US"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North </a:t>
            </a:r>
            <a:r>
              <a:rPr lang="en-US" sz="1800" b="1" dirty="0">
                <a:solidFill>
                  <a:srgbClr val="6600FF"/>
                </a:solidFill>
                <a:latin typeface="Lato" panose="020F0502020204030203" pitchFamily="34" charset="0"/>
                <a:ea typeface="Lato" panose="020F0502020204030203" pitchFamily="34" charset="0"/>
                <a:cs typeface="Lato" panose="020F0502020204030203" pitchFamily="34" charset="0"/>
              </a:rPr>
              <a:t>America: </a:t>
            </a:r>
            <a:r>
              <a:rPr kumimoji="0" lang="en-US"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the largest M&amp;A investor into the UK by both deal volume and deal value (765 deals; GBP 32.5bn) with most of this coming from US companies who alone were involved in 699 deals, contributing GBP 28.6bn.</a:t>
            </a:r>
          </a:p>
          <a:p>
            <a:pPr marL="285750" marR="0" lvl="0" indent="-28575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lang="en-US" sz="1800" b="1" dirty="0">
                <a:solidFill>
                  <a:srgbClr val="6600FF"/>
                </a:solidFill>
                <a:latin typeface="Lato" panose="020F0502020204030203" pitchFamily="34" charset="0"/>
                <a:ea typeface="Lato" panose="020F0502020204030203" pitchFamily="34" charset="0"/>
                <a:cs typeface="Lato" panose="020F0502020204030203" pitchFamily="34" charset="0"/>
              </a:rPr>
              <a:t>Europe</a:t>
            </a:r>
            <a:r>
              <a:rPr kumimoji="0" lang="en-US"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8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European companies were involved in 607 deals and a reported deal value of GBP 28.7bn, with largest  numbers of investments coming from France (117), Germany (112) and Sweden (72).</a:t>
            </a:r>
          </a:p>
          <a:p>
            <a:pPr marL="285750" marR="0" lvl="0" indent="-28575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lang="en-US" sz="1800" b="1" dirty="0">
                <a:solidFill>
                  <a:srgbClr val="6600FF"/>
                </a:solidFill>
                <a:latin typeface="Lato" panose="020F0502020204030203" pitchFamily="34" charset="0"/>
                <a:ea typeface="Lato" panose="020F0502020204030203" pitchFamily="34" charset="0"/>
                <a:cs typeface="Lato" panose="020F0502020204030203" pitchFamily="34" charset="0"/>
              </a:rPr>
              <a:t>Asia</a:t>
            </a:r>
            <a:r>
              <a:rPr kumimoji="0" lang="en-US"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 M&amp;A deal volumes from Asian investors remained relatively stable in 2023, with deal value increasing by around 33% from GBP 18.2bn to GBP 24bn.</a:t>
            </a:r>
          </a:p>
          <a:p>
            <a:pPr marL="285750" marR="0" lvl="0" indent="-285750" algn="l" defTabSz="914400" rtl="0" eaLnBrk="1" fontAlgn="auto" latinLnBrk="0" hangingPunct="1">
              <a:lnSpc>
                <a:spcPts val="2200"/>
              </a:lnSpc>
              <a:spcBef>
                <a:spcPts val="0"/>
              </a:spcBef>
              <a:spcAft>
                <a:spcPts val="600"/>
              </a:spcAft>
              <a:buClr>
                <a:schemeClr val="tx1"/>
              </a:buClr>
              <a:buSzTx/>
              <a:buFont typeface="Wingdings" panose="05000000000000000000" pitchFamily="2" charset="2"/>
              <a:buChar char="v"/>
              <a:tabLst/>
              <a:defRPr/>
            </a:pP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Middle</a:t>
            </a:r>
            <a:r>
              <a:rPr kumimoji="0" lang="en-GB"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 </a:t>
            </a:r>
            <a:r>
              <a:rPr lang="en-GB" sz="1800" b="1" dirty="0">
                <a:solidFill>
                  <a:srgbClr val="6600FF"/>
                </a:solidFill>
                <a:latin typeface="Lato" panose="020F0502020204030203" pitchFamily="34" charset="0"/>
                <a:ea typeface="Lato" panose="020F0502020204030203" pitchFamily="34" charset="0"/>
                <a:cs typeface="Lato" panose="020F0502020204030203" pitchFamily="34" charset="0"/>
              </a:rPr>
              <a:t>East</a:t>
            </a:r>
            <a:r>
              <a:rPr kumimoji="0" lang="en-GB" sz="1800" b="1" i="0" u="none" strike="noStrike" kern="1200" cap="none" spc="0" normalizeH="0" baseline="0" noProof="0" dirty="0">
                <a:ln>
                  <a:noFill/>
                </a:ln>
                <a:solidFill>
                  <a:srgbClr val="6600FF"/>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GB"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 52 M&amp;A deals by Middle Eastern Companies into the UK with a reported deal value of GBP 11.7bn. The majority of deal value made up of mega deal involving acquisitions of </a:t>
            </a:r>
            <a:r>
              <a:rPr kumimoji="0" lang="en-GB" sz="1800" b="0" i="0" u="none" strike="noStrike" kern="1200" cap="none" spc="0" normalizeH="0" baseline="0" noProof="0" dirty="0" err="1">
                <a:ln>
                  <a:noFill/>
                </a:ln>
                <a:effectLst/>
                <a:uLnTx/>
                <a:uFillTx/>
                <a:latin typeface="Lato" panose="020F0502020204030203" pitchFamily="34" charset="0"/>
                <a:ea typeface="Lato" panose="020F0502020204030203" pitchFamily="34" charset="0"/>
                <a:cs typeface="Lato" panose="020F0502020204030203" pitchFamily="34" charset="0"/>
              </a:rPr>
              <a:t>Dechra</a:t>
            </a:r>
            <a:r>
              <a:rPr kumimoji="0" lang="en-GB" sz="1800" b="0" i="0" u="none" strike="noStrike" kern="1200" cap="none" spc="0" normalizeH="0" baseline="0" noProof="0" dirty="0">
                <a:ln>
                  <a:noFill/>
                </a:ln>
                <a:effectLst/>
                <a:uLnTx/>
                <a:uFillTx/>
                <a:latin typeface="Lato" panose="020F0502020204030203" pitchFamily="34" charset="0"/>
                <a:ea typeface="Lato" panose="020F0502020204030203" pitchFamily="34" charset="0"/>
                <a:cs typeface="Lato" panose="020F0502020204030203" pitchFamily="34" charset="0"/>
              </a:rPr>
              <a:t> Pharmaceuticals valued at GBP 4.9bn as well as the acquisition of a 25% stake of Heathrow Airport Holdings valued at 2.4bn.</a:t>
            </a:r>
          </a:p>
          <a:p>
            <a:pPr marL="0" marR="0" lvl="0" indent="0" algn="l" defTabSz="914400" rtl="0" eaLnBrk="1" fontAlgn="auto" latinLnBrk="0" hangingPunct="1">
              <a:lnSpc>
                <a:spcPts val="2200"/>
              </a:lnSpc>
              <a:spcBef>
                <a:spcPts val="0"/>
              </a:spcBef>
              <a:spcAft>
                <a:spcPts val="600"/>
              </a:spcAft>
              <a:buClrTx/>
              <a:buSzTx/>
              <a:buNone/>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6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ts val="2200"/>
              </a:lnSpc>
              <a:spcBef>
                <a:spcPts val="0"/>
              </a:spcBef>
              <a:spcAft>
                <a:spcPts val="600"/>
              </a:spcAft>
              <a:buClrTx/>
              <a:buSzTx/>
              <a:buNone/>
              <a:tabLst/>
              <a:defRPr/>
            </a:pPr>
            <a:endParaRPr kumimoji="0" lang="en-GB"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896970" y="184125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Geographical Breakdown of inbound investment (2023)</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3534852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D870260F-E68A-AE34-261F-FD397CFD51FA}"/>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rcRect t="3052" b="3052"/>
          <a:stretch/>
        </p:blipFill>
        <p:spPr>
          <a:xfrm>
            <a:off x="1" y="0"/>
            <a:ext cx="12200198" cy="6858000"/>
          </a:xfrm>
          <a:prstGeom prst="rect">
            <a:avLst/>
          </a:prstGeom>
        </p:spPr>
      </p:pic>
      <p:pic>
        <p:nvPicPr>
          <p:cNvPr id="12" name="Obraz 11"/>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val="0"/>
              </a:ext>
            </a:extLst>
          </a:blip>
          <a:srcRect t="22628" r="14525"/>
          <a:stretch/>
        </p:blipFill>
        <p:spPr>
          <a:xfrm>
            <a:off x="9695050" y="118996"/>
            <a:ext cx="2386304" cy="1087325"/>
          </a:xfrm>
          <a:prstGeom prst="rect">
            <a:avLst/>
          </a:prstGeom>
        </p:spPr>
      </p:pic>
      <p:sp>
        <p:nvSpPr>
          <p:cNvPr id="7" name="Prostokąt 6">
            <a:extLst>
              <a:ext uri="{FF2B5EF4-FFF2-40B4-BE49-F238E27FC236}">
                <a16:creationId xmlns:a16="http://schemas.microsoft.com/office/drawing/2014/main" id="{F3EA4451-42F3-F111-4590-1606953930A9}"/>
              </a:ext>
            </a:extLst>
          </p:cNvPr>
          <p:cNvSpPr>
            <a:spLocks noGrp="1" noRot="1" noMove="1" noResize="1" noEditPoints="1" noAdjustHandles="1" noChangeArrowheads="1" noChangeShapeType="1"/>
          </p:cNvSpPr>
          <p:nvPr/>
        </p:nvSpPr>
        <p:spPr>
          <a:xfrm>
            <a:off x="10098587" y="6427766"/>
            <a:ext cx="2183565" cy="311238"/>
          </a:xfrm>
          <a:prstGeom prst="rect">
            <a:avLst/>
          </a:prstGeom>
          <a:noFill/>
          <a:ln w="762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spcAft>
                <a:spcPts val="1200"/>
              </a:spcAft>
            </a:pPr>
            <a:r>
              <a:rPr lang="pl-PL" sz="1600" b="1" dirty="0">
                <a:latin typeface="Calibri" panose="020F0502020204030204" pitchFamily="34" charset="0"/>
                <a:cs typeface="Calibri" panose="020F0502020204030204" pitchFamily="34" charset="0"/>
              </a:rPr>
              <a:t>www.100lat.bgk.pl</a:t>
            </a:r>
          </a:p>
        </p:txBody>
      </p:sp>
      <p:sp>
        <p:nvSpPr>
          <p:cNvPr id="21" name="Prostokąt 20">
            <a:extLst>
              <a:ext uri="{FF2B5EF4-FFF2-40B4-BE49-F238E27FC236}">
                <a16:creationId xmlns:a16="http://schemas.microsoft.com/office/drawing/2014/main" id="{F9AB5142-56DE-1C2B-3698-CD9569E3D83C}"/>
              </a:ext>
            </a:extLst>
          </p:cNvPr>
          <p:cNvSpPr/>
          <p:nvPr/>
        </p:nvSpPr>
        <p:spPr>
          <a:xfrm>
            <a:off x="517585" y="2573867"/>
            <a:ext cx="4991675" cy="2872860"/>
          </a:xfrm>
          <a:prstGeom prst="rect">
            <a:avLst/>
          </a:prstGeom>
          <a:no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lvl="0"/>
            <a:r>
              <a:rPr lang="pl-PL" sz="3200" b="1" dirty="0">
                <a:solidFill>
                  <a:prstClr val="white"/>
                </a:solidFill>
              </a:rPr>
              <a:t>Export and Expansion </a:t>
            </a:r>
            <a:r>
              <a:rPr lang="pl-PL" sz="3200" b="1" dirty="0" err="1">
                <a:solidFill>
                  <a:prstClr val="white"/>
                </a:solidFill>
              </a:rPr>
              <a:t>Financing</a:t>
            </a:r>
            <a:endParaRPr lang="pl-PL" sz="3200" b="1" dirty="0">
              <a:solidFill>
                <a:prstClr val="white"/>
              </a:solidFill>
            </a:endParaRPr>
          </a:p>
          <a:p>
            <a:pPr lvl="0"/>
            <a:endParaRPr lang="pl-PL" b="1" dirty="0">
              <a:solidFill>
                <a:prstClr val="white"/>
              </a:solidFill>
            </a:endParaRPr>
          </a:p>
          <a:p>
            <a:pPr lvl="0"/>
            <a:r>
              <a:rPr lang="pl-PL" sz="2000" b="1" dirty="0">
                <a:solidFill>
                  <a:prstClr val="white"/>
                </a:solidFill>
              </a:rPr>
              <a:t>Bank Gospodarstwa Krajowego</a:t>
            </a:r>
          </a:p>
          <a:p>
            <a:pPr lvl="0"/>
            <a:r>
              <a:rPr lang="pl-PL" sz="2000" b="1" dirty="0" err="1">
                <a:solidFill>
                  <a:prstClr val="white"/>
                </a:solidFill>
              </a:rPr>
              <a:t>Polish</a:t>
            </a:r>
            <a:r>
              <a:rPr lang="pl-PL" sz="2000" b="1" dirty="0">
                <a:solidFill>
                  <a:prstClr val="white"/>
                </a:solidFill>
              </a:rPr>
              <a:t> Development Bank</a:t>
            </a:r>
          </a:p>
          <a:p>
            <a:pPr lvl="0"/>
            <a:r>
              <a:rPr lang="pl-PL" sz="2000" dirty="0" err="1">
                <a:solidFill>
                  <a:prstClr val="white"/>
                </a:solidFill>
              </a:rPr>
              <a:t>Warsaw</a:t>
            </a:r>
            <a:r>
              <a:rPr lang="pl-PL" sz="2000" dirty="0">
                <a:solidFill>
                  <a:prstClr val="white"/>
                </a:solidFill>
              </a:rPr>
              <a:t>, 2024</a:t>
            </a:r>
          </a:p>
        </p:txBody>
      </p:sp>
    </p:spTree>
    <p:extLst>
      <p:ext uri="{BB962C8B-B14F-4D97-AF65-F5344CB8AC3E}">
        <p14:creationId xmlns:p14="http://schemas.microsoft.com/office/powerpoint/2010/main" val="2452018775"/>
      </p:ext>
    </p:extLst>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1</a:t>
            </a:fld>
            <a:endParaRPr lang="en-US"/>
          </a:p>
        </p:txBody>
      </p:sp>
      <p:pic>
        <p:nvPicPr>
          <p:cNvPr id="2" name="Picture 2">
            <a:extLst>
              <a:ext uri="{FF2B5EF4-FFF2-40B4-BE49-F238E27FC236}">
                <a16:creationId xmlns:a16="http://schemas.microsoft.com/office/drawing/2014/main" id="{5A0A23A7-D242-CAAB-616B-36798F5EEAF4}"/>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a:xfrm flipH="1">
            <a:off x="3192780" y="-1058"/>
            <a:ext cx="3252494" cy="6858000"/>
          </a:xfrm>
          <a:prstGeom prst="rect">
            <a:avLst/>
          </a:prstGeom>
          <a:ln>
            <a:noFill/>
          </a:ln>
        </p:spPr>
      </p:pic>
      <p:sp>
        <p:nvSpPr>
          <p:cNvPr id="3" name="Rectangle 6">
            <a:extLst>
              <a:ext uri="{FF2B5EF4-FFF2-40B4-BE49-F238E27FC236}">
                <a16:creationId xmlns:a16="http://schemas.microsoft.com/office/drawing/2014/main" id="{C6715328-B8BA-CB32-5896-E1B9C7A09C47}"/>
              </a:ext>
            </a:extLst>
          </p:cNvPr>
          <p:cNvSpPr/>
          <p:nvPr/>
        </p:nvSpPr>
        <p:spPr>
          <a:xfrm>
            <a:off x="1" y="0"/>
            <a:ext cx="3230879" cy="6858000"/>
          </a:xfrm>
          <a:prstGeom prst="rect">
            <a:avLst/>
          </a:prstGeom>
          <a:gradFill flip="none" rotWithShape="1">
            <a:gsLst>
              <a:gs pos="0">
                <a:srgbClr val="D72B4F"/>
              </a:gs>
              <a:gs pos="100000">
                <a:srgbClr val="CF002B"/>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rostokąt 11">
            <a:extLst>
              <a:ext uri="{FF2B5EF4-FFF2-40B4-BE49-F238E27FC236}">
                <a16:creationId xmlns:a16="http://schemas.microsoft.com/office/drawing/2014/main" id="{A7A47B57-5FB8-08D5-1D44-5A547023F665}"/>
              </a:ext>
            </a:extLst>
          </p:cNvPr>
          <p:cNvSpPr/>
          <p:nvPr/>
        </p:nvSpPr>
        <p:spPr>
          <a:xfrm>
            <a:off x="466067" y="346283"/>
            <a:ext cx="2460013"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defRPr/>
            </a:pPr>
            <a:r>
              <a:rPr lang="pl-PL" sz="2400" b="1" dirty="0" err="1">
                <a:solidFill>
                  <a:schemeClr val="bg1"/>
                </a:solidFill>
                <a:latin typeface="Calibri" panose="020F0502020204030204" pitchFamily="34" charset="0"/>
              </a:rPr>
              <a:t>BGK’s</a:t>
            </a:r>
            <a:r>
              <a:rPr lang="pl-PL" sz="2400" b="1" dirty="0">
                <a:solidFill>
                  <a:schemeClr val="bg1"/>
                </a:solidFill>
                <a:latin typeface="Calibri" panose="020F0502020204030204" pitchFamily="34" charset="0"/>
              </a:rPr>
              <a:t> role</a:t>
            </a:r>
          </a:p>
        </p:txBody>
      </p:sp>
      <p:sp>
        <p:nvSpPr>
          <p:cNvPr id="6" name="Prostokąt 12">
            <a:extLst>
              <a:ext uri="{FF2B5EF4-FFF2-40B4-BE49-F238E27FC236}">
                <a16:creationId xmlns:a16="http://schemas.microsoft.com/office/drawing/2014/main" id="{FC6EBF3A-6B93-3C44-3DD9-684E781C619A}"/>
              </a:ext>
            </a:extLst>
          </p:cNvPr>
          <p:cNvSpPr/>
          <p:nvPr/>
        </p:nvSpPr>
        <p:spPr>
          <a:xfrm>
            <a:off x="438773" y="3083163"/>
            <a:ext cx="2890054" cy="1572657"/>
          </a:xfrm>
          <a:prstGeom prst="rect">
            <a:avLst/>
          </a:prstGeom>
        </p:spPr>
        <p:txBody>
          <a:bodyPr wrap="square" lIns="0" tIns="0" rIns="0" bIns="0" anchor="t" anchorCtr="0">
            <a:noAutofit/>
          </a:bodyPr>
          <a:lstStyle/>
          <a:p>
            <a:pPr marL="12700" marR="803910">
              <a:lnSpc>
                <a:spcPct val="100000"/>
              </a:lnSpc>
              <a:spcBef>
                <a:spcPts val="5"/>
              </a:spcBef>
            </a:pPr>
            <a:r>
              <a:rPr lang="en-GB" sz="1600" dirty="0">
                <a:solidFill>
                  <a:srgbClr val="FFFFFF"/>
                </a:solidFill>
              </a:rPr>
              <a:t>BGK mission: Supporting social and economic development of Poland and the public sector in the fulfilment of its tasks</a:t>
            </a:r>
            <a:r>
              <a:rPr lang="pl-PL" sz="1600" dirty="0">
                <a:solidFill>
                  <a:srgbClr val="FFFFFF"/>
                </a:solidFill>
              </a:rPr>
              <a:t>.</a:t>
            </a:r>
            <a:endParaRPr lang="en-US" sz="1600" dirty="0">
              <a:solidFill>
                <a:srgbClr val="FFFFFF"/>
              </a:solidFill>
            </a:endParaRPr>
          </a:p>
          <a:p>
            <a:pPr lvl="0" defTabSz="914400">
              <a:spcAft>
                <a:spcPts val="1200"/>
              </a:spcAft>
              <a:buClr>
                <a:srgbClr val="CF002B"/>
              </a:buClr>
              <a:defRPr/>
            </a:pPr>
            <a:endParaRPr lang="pl-PL" dirty="0">
              <a:solidFill>
                <a:srgbClr val="FFFFFF"/>
              </a:solidFill>
            </a:endParaRPr>
          </a:p>
        </p:txBody>
      </p:sp>
      <p:sp>
        <p:nvSpPr>
          <p:cNvPr id="7" name="Prostokąt 127">
            <a:extLst>
              <a:ext uri="{FF2B5EF4-FFF2-40B4-BE49-F238E27FC236}">
                <a16:creationId xmlns:a16="http://schemas.microsoft.com/office/drawing/2014/main" id="{90736E07-38EF-3DE9-7380-0DE772DDBBFA}"/>
              </a:ext>
            </a:extLst>
          </p:cNvPr>
          <p:cNvSpPr/>
          <p:nvPr/>
        </p:nvSpPr>
        <p:spPr>
          <a:xfrm>
            <a:off x="6845947" y="1124268"/>
            <a:ext cx="5251393" cy="3223995"/>
          </a:xfrm>
          <a:prstGeom prst="rect">
            <a:avLst/>
          </a:prstGeom>
          <a:noFill/>
          <a:ln w="12700" cap="flat" cmpd="sng" algn="ctr">
            <a:noFill/>
            <a:prstDash val="solid"/>
          </a:ln>
          <a:effectLst/>
        </p:spPr>
        <p:txBody>
          <a:bodyPr rtlCol="0" anchor="t"/>
          <a:lstStyle/>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en-GB" sz="1600" b="0" i="0" u="none" strike="noStrike" kern="1200" cap="none" spc="0" normalizeH="0" baseline="0" dirty="0">
                <a:ln>
                  <a:noFill/>
                </a:ln>
                <a:solidFill>
                  <a:srgbClr val="C1C1C1">
                    <a:lumMod val="50000"/>
                  </a:srgbClr>
                </a:solidFill>
                <a:effectLst/>
                <a:uLnTx/>
                <a:uFillTx/>
                <a:latin typeface="Calibri"/>
                <a:ea typeface="+mn-ea"/>
                <a:cs typeface="+mn-cs"/>
              </a:rPr>
              <a:t>Polish</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 Development </a:t>
            </a:r>
            <a:r>
              <a:rPr lang="pl-PL" sz="1600" dirty="0">
                <a:solidFill>
                  <a:srgbClr val="C1C1C1">
                    <a:lumMod val="50000"/>
                  </a:srgbClr>
                </a:solidFill>
                <a:latin typeface="Calibri"/>
              </a:rPr>
              <a:t>B</a:t>
            </a:r>
            <a:r>
              <a:rPr kumimoji="0" lang="pl-PL" sz="1600" b="0" i="0" u="none" strike="noStrike" kern="1200" cap="none" spc="0" normalizeH="0" baseline="0" noProof="0" dirty="0" err="1">
                <a:ln>
                  <a:noFill/>
                </a:ln>
                <a:solidFill>
                  <a:srgbClr val="C1C1C1">
                    <a:lumMod val="50000"/>
                  </a:srgbClr>
                </a:solidFill>
                <a:effectLst/>
                <a:uLnTx/>
                <a:uFillTx/>
                <a:latin typeface="Calibri"/>
                <a:ea typeface="+mn-ea"/>
                <a:cs typeface="+mn-cs"/>
              </a:rPr>
              <a:t>ank</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a:t>
            </a:r>
            <a:r>
              <a:rPr kumimoji="0" lang="en-GB" sz="1600" b="0" i="0" u="none" strike="noStrike" kern="1200" cap="none" spc="0" normalizeH="0" dirty="0">
                <a:ln>
                  <a:noFill/>
                </a:ln>
                <a:solidFill>
                  <a:srgbClr val="C1C1C1">
                    <a:lumMod val="50000"/>
                  </a:srgbClr>
                </a:solidFill>
                <a:effectLst/>
                <a:uLnTx/>
                <a:uFillTx/>
                <a:latin typeface="Calibri"/>
                <a:ea typeface="+mn-ea"/>
                <a:cs typeface="+mn-cs"/>
              </a:rPr>
              <a:t>established</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in </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1924 </a:t>
            </a:r>
          </a:p>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100% </a:t>
            </a:r>
            <a:r>
              <a:rPr kumimoji="0" lang="en-GB" sz="1600" b="0" i="0" u="none" strike="noStrike" kern="1200" cap="none" spc="0" normalizeH="0" baseline="0" dirty="0">
                <a:ln>
                  <a:noFill/>
                </a:ln>
                <a:solidFill>
                  <a:srgbClr val="C1C1C1">
                    <a:lumMod val="50000"/>
                  </a:srgbClr>
                </a:solidFill>
                <a:effectLst/>
                <a:uLnTx/>
                <a:uFillTx/>
                <a:latin typeface="Calibri"/>
                <a:ea typeface="+mn-ea"/>
                <a:cs typeface="+mn-cs"/>
              </a:rPr>
              <a:t>state-owned</a:t>
            </a:r>
          </a:p>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Fitch rating: A-/</a:t>
            </a:r>
            <a:r>
              <a:rPr kumimoji="0" lang="pl-PL" sz="1600" b="0" i="0" u="none" strike="noStrike" kern="1200" cap="none" spc="0" normalizeH="0" baseline="0" noProof="0" dirty="0" err="1">
                <a:ln>
                  <a:noFill/>
                </a:ln>
                <a:solidFill>
                  <a:srgbClr val="C1C1C1">
                    <a:lumMod val="50000"/>
                  </a:srgbClr>
                </a:solidFill>
                <a:effectLst/>
                <a:uLnTx/>
                <a:uFillTx/>
                <a:latin typeface="Calibri"/>
                <a:ea typeface="+mn-ea"/>
                <a:cs typeface="+mn-cs"/>
              </a:rPr>
              <a:t>stable</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a:t>
            </a:r>
            <a:r>
              <a:rPr kumimoji="0" lang="pl-PL" sz="1600" b="0" i="0" u="none" strike="noStrike" kern="1200" cap="none" spc="0" normalizeH="0" noProof="0" dirty="0" err="1">
                <a:ln>
                  <a:noFill/>
                </a:ln>
                <a:solidFill>
                  <a:srgbClr val="C1C1C1">
                    <a:lumMod val="50000"/>
                  </a:srgbClr>
                </a:solidFill>
                <a:effectLst/>
                <a:uLnTx/>
                <a:uFillTx/>
                <a:latin typeface="Calibri"/>
                <a:ea typeface="+mn-ea"/>
                <a:cs typeface="+mn-cs"/>
              </a:rPr>
              <a:t>equal</a:t>
            </a:r>
            <a:r>
              <a:rPr kumimoji="0" lang="pl-PL" sz="1600" b="0" i="0" u="none" strike="noStrike" kern="1200" cap="none" spc="0" normalizeH="0" noProof="0" dirty="0">
                <a:ln>
                  <a:noFill/>
                </a:ln>
                <a:solidFill>
                  <a:srgbClr val="C1C1C1">
                    <a:lumMod val="50000"/>
                  </a:srgbClr>
                </a:solidFill>
                <a:effectLst/>
                <a:uLnTx/>
                <a:uFillTx/>
                <a:latin typeface="Calibri"/>
                <a:ea typeface="+mn-ea"/>
                <a:cs typeface="+mn-cs"/>
              </a:rPr>
              <a:t> to the Republic of Poland</a:t>
            </a: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 </a:t>
            </a:r>
          </a:p>
          <a:p>
            <a:pPr marL="180975" lvl="1" indent="-180975" defTabSz="914400">
              <a:spcBef>
                <a:spcPts val="400"/>
              </a:spcBef>
              <a:buClr>
                <a:srgbClr val="CF002B"/>
              </a:buClr>
              <a:buSzPct val="120000"/>
              <a:buFont typeface="Wingdings" panose="05000000000000000000" pitchFamily="2" charset="2"/>
              <a:buChar char="§"/>
              <a:defRPr/>
            </a:pPr>
            <a:r>
              <a:rPr lang="en-GB" sz="1600" dirty="0">
                <a:solidFill>
                  <a:srgbClr val="C1C1C1">
                    <a:lumMod val="50000"/>
                  </a:srgbClr>
                </a:solidFill>
                <a:latin typeface="Calibri"/>
              </a:rPr>
              <a:t>Established</a:t>
            </a:r>
            <a:r>
              <a:rPr lang="pl-PL" sz="1600" dirty="0">
                <a:solidFill>
                  <a:srgbClr val="C1C1C1">
                    <a:lumMod val="50000"/>
                  </a:srgbClr>
                </a:solidFill>
                <a:latin typeface="Calibri"/>
              </a:rPr>
              <a:t> </a:t>
            </a:r>
            <a:r>
              <a:rPr lang="pl-PL" sz="1600" dirty="0">
                <a:solidFill>
                  <a:srgbClr val="C1C1C1">
                    <a:lumMod val="50000"/>
                  </a:srgbClr>
                </a:solidFill>
              </a:rPr>
              <a:t>by the BGK </a:t>
            </a:r>
            <a:r>
              <a:rPr lang="pl-PL" sz="1600" dirty="0" err="1">
                <a:solidFill>
                  <a:srgbClr val="C1C1C1">
                    <a:lumMod val="50000"/>
                  </a:srgbClr>
                </a:solidFill>
              </a:rPr>
              <a:t>Act</a:t>
            </a:r>
            <a:r>
              <a:rPr lang="pl-PL" sz="1600" dirty="0">
                <a:solidFill>
                  <a:srgbClr val="C1C1C1">
                    <a:lumMod val="50000"/>
                  </a:srgbClr>
                </a:solidFill>
              </a:rPr>
              <a:t> to </a:t>
            </a:r>
            <a:r>
              <a:rPr lang="pl-PL" sz="1600" dirty="0" err="1">
                <a:solidFill>
                  <a:srgbClr val="C1C1C1">
                    <a:lumMod val="50000"/>
                  </a:srgbClr>
                </a:solidFill>
              </a:rPr>
              <a:t>support</a:t>
            </a:r>
            <a:r>
              <a:rPr lang="pl-PL" sz="1600" dirty="0">
                <a:solidFill>
                  <a:srgbClr val="C1C1C1">
                    <a:lumMod val="50000"/>
                  </a:srgbClr>
                </a:solidFill>
              </a:rPr>
              <a:t> the </a:t>
            </a:r>
            <a:r>
              <a:rPr lang="pl-PL" sz="1600" dirty="0" err="1">
                <a:solidFill>
                  <a:srgbClr val="C1C1C1">
                    <a:lumMod val="50000"/>
                  </a:srgbClr>
                </a:solidFill>
              </a:rPr>
              <a:t>government’s</a:t>
            </a:r>
            <a:r>
              <a:rPr lang="pl-PL" sz="1600" dirty="0">
                <a:solidFill>
                  <a:srgbClr val="C1C1C1">
                    <a:lumMod val="50000"/>
                  </a:srgbClr>
                </a:solidFill>
              </a:rPr>
              <a:t> </a:t>
            </a:r>
            <a:r>
              <a:rPr lang="pl-PL" sz="1600" dirty="0" err="1">
                <a:solidFill>
                  <a:srgbClr val="C1C1C1">
                    <a:lumMod val="50000"/>
                  </a:srgbClr>
                </a:solidFill>
              </a:rPr>
              <a:t>social</a:t>
            </a:r>
            <a:r>
              <a:rPr lang="pl-PL" sz="1600" dirty="0">
                <a:solidFill>
                  <a:srgbClr val="C1C1C1">
                    <a:lumMod val="50000"/>
                  </a:srgbClr>
                </a:solidFill>
              </a:rPr>
              <a:t> and </a:t>
            </a:r>
            <a:r>
              <a:rPr lang="en-GB" sz="1600" dirty="0">
                <a:solidFill>
                  <a:srgbClr val="C1C1C1">
                    <a:lumMod val="50000"/>
                  </a:srgbClr>
                </a:solidFill>
              </a:rPr>
              <a:t>economic</a:t>
            </a:r>
            <a:r>
              <a:rPr lang="pl-PL" sz="1600" dirty="0">
                <a:solidFill>
                  <a:srgbClr val="C1C1C1">
                    <a:lumMod val="50000"/>
                  </a:srgbClr>
                </a:solidFill>
              </a:rPr>
              <a:t> </a:t>
            </a:r>
            <a:r>
              <a:rPr lang="pl-PL" sz="1600" dirty="0" err="1">
                <a:solidFill>
                  <a:srgbClr val="C1C1C1">
                    <a:lumMod val="50000"/>
                  </a:srgbClr>
                </a:solidFill>
              </a:rPr>
              <a:t>programmes</a:t>
            </a:r>
            <a:endPar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endParaRPr>
          </a:p>
          <a:p>
            <a:pPr marL="180975" marR="0" lvl="1" indent="-180975" algn="l" defTabSz="914400" rtl="0" eaLnBrk="1" fontAlgn="auto" latinLnBrk="0" hangingPunct="1">
              <a:lnSpc>
                <a:spcPct val="100000"/>
              </a:lnSpc>
              <a:spcBef>
                <a:spcPts val="400"/>
              </a:spcBef>
              <a:spcAft>
                <a:spcPts val="0"/>
              </a:spcAft>
              <a:buClr>
                <a:srgbClr val="CF002B"/>
              </a:buClr>
              <a:buSzPct val="120000"/>
              <a:buFont typeface="Wingdings" panose="05000000000000000000" pitchFamily="2" charset="2"/>
              <a:buChar char="§"/>
              <a:tabLst/>
              <a:defRPr/>
            </a:pPr>
            <a:r>
              <a:rPr kumimoji="0" lang="pl-PL" sz="1600" b="0" i="0" u="none" strike="noStrike" kern="1200" cap="none" spc="0" normalizeH="0" baseline="0" noProof="0" dirty="0">
                <a:ln>
                  <a:noFill/>
                </a:ln>
                <a:solidFill>
                  <a:srgbClr val="C1C1C1">
                    <a:lumMod val="50000"/>
                  </a:srgbClr>
                </a:solidFill>
                <a:effectLst/>
                <a:uLnTx/>
                <a:uFillTx/>
                <a:latin typeface="Calibri"/>
                <a:ea typeface="+mn-ea"/>
                <a:cs typeface="+mn-cs"/>
              </a:rPr>
              <a:t>16 </a:t>
            </a:r>
            <a:r>
              <a:rPr lang="en-GB" sz="1600" dirty="0">
                <a:solidFill>
                  <a:srgbClr val="C1C1C1">
                    <a:lumMod val="50000"/>
                  </a:srgbClr>
                </a:solidFill>
                <a:latin typeface="Calibri"/>
              </a:rPr>
              <a:t>corporate</a:t>
            </a:r>
            <a:r>
              <a:rPr lang="pl-PL" sz="1600" dirty="0">
                <a:solidFill>
                  <a:srgbClr val="C1C1C1">
                    <a:lumMod val="50000"/>
                  </a:srgbClr>
                </a:solidFill>
                <a:latin typeface="Calibri"/>
              </a:rPr>
              <a:t> </a:t>
            </a:r>
            <a:r>
              <a:rPr lang="pl-PL" sz="1600" dirty="0" err="1">
                <a:solidFill>
                  <a:srgbClr val="C1C1C1">
                    <a:lumMod val="50000"/>
                  </a:srgbClr>
                </a:solidFill>
                <a:latin typeface="Calibri"/>
              </a:rPr>
              <a:t>branches</a:t>
            </a:r>
            <a:r>
              <a:rPr lang="pl-PL" sz="1600" dirty="0">
                <a:solidFill>
                  <a:srgbClr val="C1C1C1">
                    <a:lumMod val="50000"/>
                  </a:srgbClr>
                </a:solidFill>
                <a:latin typeface="Calibri"/>
              </a:rPr>
              <a:t> in Poland and 4 </a:t>
            </a:r>
            <a:r>
              <a:rPr lang="en-GB" sz="1600" dirty="0">
                <a:solidFill>
                  <a:srgbClr val="C1C1C1">
                    <a:lumMod val="50000"/>
                  </a:srgbClr>
                </a:solidFill>
                <a:latin typeface="Calibri"/>
              </a:rPr>
              <a:t>foreign</a:t>
            </a:r>
            <a:r>
              <a:rPr lang="pl-PL" sz="1600" dirty="0">
                <a:solidFill>
                  <a:srgbClr val="C1C1C1">
                    <a:lumMod val="50000"/>
                  </a:srgbClr>
                </a:solidFill>
                <a:latin typeface="Calibri"/>
              </a:rPr>
              <a:t> </a:t>
            </a:r>
            <a:r>
              <a:rPr lang="en-GB" sz="1600" dirty="0">
                <a:solidFill>
                  <a:srgbClr val="C1C1C1">
                    <a:lumMod val="50000"/>
                  </a:srgbClr>
                </a:solidFill>
                <a:latin typeface="Calibri"/>
              </a:rPr>
              <a:t>offices</a:t>
            </a:r>
            <a:r>
              <a:rPr lang="pl-PL" sz="1600" dirty="0">
                <a:solidFill>
                  <a:srgbClr val="C1C1C1">
                    <a:lumMod val="50000"/>
                  </a:srgbClr>
                </a:solidFill>
                <a:latin typeface="Calibri"/>
              </a:rPr>
              <a:t> in B</a:t>
            </a:r>
            <a:r>
              <a:rPr lang="en-GB" sz="1600" dirty="0" err="1">
                <a:solidFill>
                  <a:srgbClr val="C1C1C1">
                    <a:lumMod val="50000"/>
                  </a:srgbClr>
                </a:solidFill>
                <a:latin typeface="Calibri"/>
              </a:rPr>
              <a:t>russels</a:t>
            </a:r>
            <a:r>
              <a:rPr lang="pl-PL" sz="1600" dirty="0">
                <a:solidFill>
                  <a:srgbClr val="C1C1C1">
                    <a:lumMod val="50000"/>
                  </a:srgbClr>
                </a:solidFill>
                <a:latin typeface="Calibri"/>
              </a:rPr>
              <a:t>, London, Frankfurt and Amsterdam</a:t>
            </a:r>
          </a:p>
          <a:p>
            <a:pPr marL="180975" lvl="1" indent="-180975" defTabSz="914400">
              <a:spcBef>
                <a:spcPts val="400"/>
              </a:spcBef>
              <a:buClr>
                <a:srgbClr val="CF002B"/>
              </a:buClr>
              <a:buSzPct val="120000"/>
              <a:buFont typeface="Wingdings" panose="05000000000000000000" pitchFamily="2" charset="2"/>
              <a:buChar char="§"/>
              <a:defRPr/>
            </a:pPr>
            <a:r>
              <a:rPr lang="pl-PL" sz="1600" dirty="0">
                <a:solidFill>
                  <a:srgbClr val="C1C1C1">
                    <a:lumMod val="50000"/>
                  </a:srgbClr>
                </a:solidFill>
              </a:rPr>
              <a:t>Equity</a:t>
            </a:r>
            <a:r>
              <a:rPr lang="en-US" sz="1600" dirty="0">
                <a:solidFill>
                  <a:srgbClr val="C1C1C1">
                    <a:lumMod val="50000"/>
                  </a:srgbClr>
                </a:solidFill>
              </a:rPr>
              <a:t>:</a:t>
            </a:r>
            <a:r>
              <a:rPr lang="pl-PL" sz="1600">
                <a:solidFill>
                  <a:srgbClr val="C1C1C1">
                    <a:lumMod val="50000"/>
                  </a:srgbClr>
                </a:solidFill>
              </a:rPr>
              <a:t> 8,29 </a:t>
            </a:r>
            <a:r>
              <a:rPr lang="pl-PL" sz="1600" dirty="0" err="1">
                <a:solidFill>
                  <a:srgbClr val="C1C1C1">
                    <a:lumMod val="50000"/>
                  </a:srgbClr>
                </a:solidFill>
              </a:rPr>
              <a:t>billion</a:t>
            </a:r>
            <a:r>
              <a:rPr lang="en-US" sz="1600" dirty="0">
                <a:solidFill>
                  <a:srgbClr val="C1C1C1">
                    <a:lumMod val="50000"/>
                  </a:srgbClr>
                </a:solidFill>
              </a:rPr>
              <a:t> </a:t>
            </a:r>
            <a:r>
              <a:rPr lang="pl-PL" sz="1600" dirty="0">
                <a:solidFill>
                  <a:srgbClr val="C1C1C1">
                    <a:lumMod val="50000"/>
                  </a:srgbClr>
                </a:solidFill>
              </a:rPr>
              <a:t>EUR</a:t>
            </a:r>
            <a:r>
              <a:rPr lang="en-US" sz="1600" dirty="0">
                <a:solidFill>
                  <a:srgbClr val="C1C1C1">
                    <a:lumMod val="50000"/>
                  </a:srgbClr>
                </a:solidFill>
              </a:rPr>
              <a:t> (</a:t>
            </a:r>
            <a:r>
              <a:rPr lang="pl-PL" sz="1600" dirty="0">
                <a:solidFill>
                  <a:srgbClr val="C1C1C1">
                    <a:lumMod val="50000"/>
                  </a:srgbClr>
                </a:solidFill>
              </a:rPr>
              <a:t>3Q</a:t>
            </a:r>
            <a:r>
              <a:rPr lang="en-US" sz="1600" dirty="0">
                <a:solidFill>
                  <a:srgbClr val="C1C1C1">
                    <a:lumMod val="50000"/>
                  </a:srgbClr>
                </a:solidFill>
              </a:rPr>
              <a:t>20</a:t>
            </a:r>
            <a:r>
              <a:rPr lang="pl-PL" sz="1600" dirty="0">
                <a:solidFill>
                  <a:srgbClr val="C1C1C1">
                    <a:lumMod val="50000"/>
                  </a:srgbClr>
                </a:solidFill>
              </a:rPr>
              <a:t>23</a:t>
            </a:r>
            <a:r>
              <a:rPr lang="en-US" sz="1600" dirty="0">
                <a:solidFill>
                  <a:srgbClr val="C1C1C1">
                    <a:lumMod val="50000"/>
                  </a:srgbClr>
                </a:solidFill>
              </a:rPr>
              <a:t>)</a:t>
            </a:r>
            <a:endParaRPr lang="pl-PL" sz="1600" dirty="0">
              <a:solidFill>
                <a:srgbClr val="C1C1C1">
                  <a:lumMod val="50000"/>
                </a:srgbClr>
              </a:solidFill>
            </a:endParaRPr>
          </a:p>
          <a:p>
            <a:pPr marL="180975" lvl="1" indent="-180975" defTabSz="914400">
              <a:spcBef>
                <a:spcPts val="400"/>
              </a:spcBef>
              <a:buClr>
                <a:srgbClr val="CF002B"/>
              </a:buClr>
              <a:buSzPct val="120000"/>
              <a:buFont typeface="Wingdings" panose="05000000000000000000" pitchFamily="2" charset="2"/>
              <a:buChar char="§"/>
              <a:defRPr/>
            </a:pPr>
            <a:r>
              <a:rPr lang="pl-PL" sz="1600" dirty="0" err="1">
                <a:solidFill>
                  <a:srgbClr val="C1C1C1">
                    <a:lumMod val="50000"/>
                  </a:srgbClr>
                </a:solidFill>
              </a:rPr>
              <a:t>Assets</a:t>
            </a:r>
            <a:r>
              <a:rPr lang="en-US" sz="1600" dirty="0">
                <a:solidFill>
                  <a:srgbClr val="C1C1C1">
                    <a:lumMod val="50000"/>
                  </a:srgbClr>
                </a:solidFill>
              </a:rPr>
              <a:t>: </a:t>
            </a:r>
            <a:r>
              <a:rPr lang="pl-PL" sz="1600" dirty="0">
                <a:solidFill>
                  <a:srgbClr val="C1C1C1">
                    <a:lumMod val="50000"/>
                  </a:srgbClr>
                </a:solidFill>
              </a:rPr>
              <a:t>52,57 </a:t>
            </a:r>
            <a:r>
              <a:rPr lang="en-GB" sz="1600" dirty="0">
                <a:solidFill>
                  <a:srgbClr val="C1C1C1">
                    <a:lumMod val="50000"/>
                  </a:srgbClr>
                </a:solidFill>
              </a:rPr>
              <a:t>billion</a:t>
            </a:r>
            <a:r>
              <a:rPr lang="en-US" sz="1600" dirty="0">
                <a:solidFill>
                  <a:srgbClr val="C1C1C1">
                    <a:lumMod val="50000"/>
                  </a:srgbClr>
                </a:solidFill>
              </a:rPr>
              <a:t> </a:t>
            </a:r>
            <a:r>
              <a:rPr lang="pl-PL" sz="1600" dirty="0">
                <a:solidFill>
                  <a:srgbClr val="C1C1C1">
                    <a:lumMod val="50000"/>
                  </a:srgbClr>
                </a:solidFill>
              </a:rPr>
              <a:t>EUR</a:t>
            </a:r>
            <a:r>
              <a:rPr lang="en-US" sz="1600" dirty="0">
                <a:solidFill>
                  <a:srgbClr val="C1C1C1">
                    <a:lumMod val="50000"/>
                  </a:srgbClr>
                </a:solidFill>
              </a:rPr>
              <a:t> (</a:t>
            </a:r>
            <a:r>
              <a:rPr lang="pl-PL" sz="1600" dirty="0">
                <a:solidFill>
                  <a:srgbClr val="C1C1C1">
                    <a:lumMod val="50000"/>
                  </a:srgbClr>
                </a:solidFill>
              </a:rPr>
              <a:t>3Q</a:t>
            </a:r>
            <a:r>
              <a:rPr lang="en-US" sz="1600" dirty="0">
                <a:solidFill>
                  <a:srgbClr val="C1C1C1">
                    <a:lumMod val="50000"/>
                  </a:srgbClr>
                </a:solidFill>
              </a:rPr>
              <a:t>20</a:t>
            </a:r>
            <a:r>
              <a:rPr lang="pl-PL" sz="1600" dirty="0">
                <a:solidFill>
                  <a:srgbClr val="C1C1C1">
                    <a:lumMod val="50000"/>
                  </a:srgbClr>
                </a:solidFill>
              </a:rPr>
              <a:t>23</a:t>
            </a:r>
            <a:r>
              <a:rPr lang="en-US" sz="1600" dirty="0">
                <a:solidFill>
                  <a:srgbClr val="C1C1C1">
                    <a:lumMod val="50000"/>
                  </a:srgbClr>
                </a:solidFill>
              </a:rPr>
              <a:t>)</a:t>
            </a:r>
            <a:endParaRPr lang="pl-PL" sz="1600" dirty="0">
              <a:solidFill>
                <a:srgbClr val="C1C1C1">
                  <a:lumMod val="50000"/>
                </a:srgbClr>
              </a:solidFill>
            </a:endParaRPr>
          </a:p>
        </p:txBody>
      </p:sp>
      <p:sp>
        <p:nvSpPr>
          <p:cNvPr id="8" name="Freeform 672">
            <a:extLst>
              <a:ext uri="{FF2B5EF4-FFF2-40B4-BE49-F238E27FC236}">
                <a16:creationId xmlns:a16="http://schemas.microsoft.com/office/drawing/2014/main" id="{0210F001-CAF1-2729-1D72-10BC517CA8AB}"/>
              </a:ext>
            </a:extLst>
          </p:cNvPr>
          <p:cNvSpPr>
            <a:spLocks noEditPoints="1"/>
          </p:cNvSpPr>
          <p:nvPr/>
        </p:nvSpPr>
        <p:spPr bwMode="auto">
          <a:xfrm>
            <a:off x="6732832" y="5139392"/>
            <a:ext cx="506936" cy="506936"/>
          </a:xfrm>
          <a:custGeom>
            <a:avLst/>
            <a:gdLst>
              <a:gd name="T0" fmla="*/ 256 w 417"/>
              <a:gd name="T1" fmla="*/ 411 h 417"/>
              <a:gd name="T2" fmla="*/ 240 w 417"/>
              <a:gd name="T3" fmla="*/ 385 h 417"/>
              <a:gd name="T4" fmla="*/ 163 w 417"/>
              <a:gd name="T5" fmla="*/ 415 h 417"/>
              <a:gd name="T6" fmla="*/ 336 w 417"/>
              <a:gd name="T7" fmla="*/ 352 h 417"/>
              <a:gd name="T8" fmla="*/ 356 w 417"/>
              <a:gd name="T9" fmla="*/ 369 h 417"/>
              <a:gd name="T10" fmla="*/ 330 w 417"/>
              <a:gd name="T11" fmla="*/ 355 h 417"/>
              <a:gd name="T12" fmla="*/ 88 w 417"/>
              <a:gd name="T13" fmla="*/ 360 h 417"/>
              <a:gd name="T14" fmla="*/ 57 w 417"/>
              <a:gd name="T15" fmla="*/ 364 h 417"/>
              <a:gd name="T16" fmla="*/ 356 w 417"/>
              <a:gd name="T17" fmla="*/ 321 h 417"/>
              <a:gd name="T18" fmla="*/ 336 w 417"/>
              <a:gd name="T19" fmla="*/ 336 h 417"/>
              <a:gd name="T20" fmla="*/ 336 w 417"/>
              <a:gd name="T21" fmla="*/ 320 h 417"/>
              <a:gd name="T22" fmla="*/ 278 w 417"/>
              <a:gd name="T23" fmla="*/ 334 h 417"/>
              <a:gd name="T24" fmla="*/ 138 w 417"/>
              <a:gd name="T25" fmla="*/ 326 h 417"/>
              <a:gd name="T26" fmla="*/ 88 w 417"/>
              <a:gd name="T27" fmla="*/ 326 h 417"/>
              <a:gd name="T28" fmla="*/ 59 w 417"/>
              <a:gd name="T29" fmla="*/ 334 h 417"/>
              <a:gd name="T30" fmla="*/ 352 w 417"/>
              <a:gd name="T31" fmla="*/ 289 h 417"/>
              <a:gd name="T32" fmla="*/ 352 w 417"/>
              <a:gd name="T33" fmla="*/ 305 h 417"/>
              <a:gd name="T34" fmla="*/ 334 w 417"/>
              <a:gd name="T35" fmla="*/ 289 h 417"/>
              <a:gd name="T36" fmla="*/ 88 w 417"/>
              <a:gd name="T37" fmla="*/ 299 h 417"/>
              <a:gd name="T38" fmla="*/ 57 w 417"/>
              <a:gd name="T39" fmla="*/ 297 h 417"/>
              <a:gd name="T40" fmla="*/ 278 w 417"/>
              <a:gd name="T41" fmla="*/ 275 h 417"/>
              <a:gd name="T42" fmla="*/ 141 w 417"/>
              <a:gd name="T43" fmla="*/ 288 h 417"/>
              <a:gd name="T44" fmla="*/ 336 w 417"/>
              <a:gd name="T45" fmla="*/ 257 h 417"/>
              <a:gd name="T46" fmla="*/ 356 w 417"/>
              <a:gd name="T47" fmla="*/ 272 h 417"/>
              <a:gd name="T48" fmla="*/ 330 w 417"/>
              <a:gd name="T49" fmla="*/ 259 h 417"/>
              <a:gd name="T50" fmla="*/ 88 w 417"/>
              <a:gd name="T51" fmla="*/ 265 h 417"/>
              <a:gd name="T52" fmla="*/ 57 w 417"/>
              <a:gd name="T53" fmla="*/ 268 h 417"/>
              <a:gd name="T54" fmla="*/ 356 w 417"/>
              <a:gd name="T55" fmla="*/ 225 h 417"/>
              <a:gd name="T56" fmla="*/ 336 w 417"/>
              <a:gd name="T57" fmla="*/ 240 h 417"/>
              <a:gd name="T58" fmla="*/ 336 w 417"/>
              <a:gd name="T59" fmla="*/ 224 h 417"/>
              <a:gd name="T60" fmla="*/ 278 w 417"/>
              <a:gd name="T61" fmla="*/ 238 h 417"/>
              <a:gd name="T62" fmla="*/ 138 w 417"/>
              <a:gd name="T63" fmla="*/ 230 h 417"/>
              <a:gd name="T64" fmla="*/ 88 w 417"/>
              <a:gd name="T65" fmla="*/ 230 h 417"/>
              <a:gd name="T66" fmla="*/ 59 w 417"/>
              <a:gd name="T67" fmla="*/ 238 h 417"/>
              <a:gd name="T68" fmla="*/ 356 w 417"/>
              <a:gd name="T69" fmla="*/ 193 h 417"/>
              <a:gd name="T70" fmla="*/ 336 w 417"/>
              <a:gd name="T71" fmla="*/ 208 h 417"/>
              <a:gd name="T72" fmla="*/ 336 w 417"/>
              <a:gd name="T73" fmla="*/ 193 h 417"/>
              <a:gd name="T74" fmla="*/ 86 w 417"/>
              <a:gd name="T75" fmla="*/ 206 h 417"/>
              <a:gd name="T76" fmla="*/ 57 w 417"/>
              <a:gd name="T77" fmla="*/ 198 h 417"/>
              <a:gd name="T78" fmla="*/ 278 w 417"/>
              <a:gd name="T79" fmla="*/ 179 h 417"/>
              <a:gd name="T80" fmla="*/ 141 w 417"/>
              <a:gd name="T81" fmla="*/ 192 h 417"/>
              <a:gd name="T82" fmla="*/ 313 w 417"/>
              <a:gd name="T83" fmla="*/ 161 h 417"/>
              <a:gd name="T84" fmla="*/ 104 w 417"/>
              <a:gd name="T85" fmla="*/ 161 h 417"/>
              <a:gd name="T86" fmla="*/ 280 w 417"/>
              <a:gd name="T87" fmla="*/ 140 h 417"/>
              <a:gd name="T88" fmla="*/ 136 w 417"/>
              <a:gd name="T89" fmla="*/ 137 h 417"/>
              <a:gd name="T90" fmla="*/ 256 w 417"/>
              <a:gd name="T91" fmla="*/ 65 h 417"/>
              <a:gd name="T92" fmla="*/ 216 w 417"/>
              <a:gd name="T93" fmla="*/ 49 h 417"/>
              <a:gd name="T94" fmla="*/ 229 w 417"/>
              <a:gd name="T95" fmla="*/ 12 h 417"/>
              <a:gd name="T96" fmla="*/ 273 w 417"/>
              <a:gd name="T97" fmla="*/ 81 h 417"/>
              <a:gd name="T98" fmla="*/ 388 w 417"/>
              <a:gd name="T99" fmla="*/ 145 h 417"/>
              <a:gd name="T100" fmla="*/ 415 w 417"/>
              <a:gd name="T101" fmla="*/ 403 h 417"/>
              <a:gd name="T102" fmla="*/ 301 w 417"/>
              <a:gd name="T103" fmla="*/ 416 h 417"/>
              <a:gd name="T104" fmla="*/ 118 w 417"/>
              <a:gd name="T105" fmla="*/ 415 h 417"/>
              <a:gd name="T106" fmla="*/ 1 w 417"/>
              <a:gd name="T107" fmla="*/ 406 h 417"/>
              <a:gd name="T108" fmla="*/ 29 w 417"/>
              <a:gd name="T109" fmla="*/ 145 h 417"/>
              <a:gd name="T110" fmla="*/ 144 w 417"/>
              <a:gd name="T111" fmla="*/ 81 h 417"/>
              <a:gd name="T112" fmla="*/ 188 w 417"/>
              <a:gd name="T113" fmla="*/ 1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7" h="417">
                <a:moveTo>
                  <a:pt x="169" y="369"/>
                </a:moveTo>
                <a:lnTo>
                  <a:pt x="248" y="369"/>
                </a:lnTo>
                <a:lnTo>
                  <a:pt x="252" y="370"/>
                </a:lnTo>
                <a:lnTo>
                  <a:pt x="254" y="371"/>
                </a:lnTo>
                <a:lnTo>
                  <a:pt x="256" y="373"/>
                </a:lnTo>
                <a:lnTo>
                  <a:pt x="256" y="377"/>
                </a:lnTo>
                <a:lnTo>
                  <a:pt x="256" y="409"/>
                </a:lnTo>
                <a:lnTo>
                  <a:pt x="256" y="411"/>
                </a:lnTo>
                <a:lnTo>
                  <a:pt x="254" y="415"/>
                </a:lnTo>
                <a:lnTo>
                  <a:pt x="252" y="416"/>
                </a:lnTo>
                <a:lnTo>
                  <a:pt x="248" y="417"/>
                </a:lnTo>
                <a:lnTo>
                  <a:pt x="245" y="416"/>
                </a:lnTo>
                <a:lnTo>
                  <a:pt x="243" y="415"/>
                </a:lnTo>
                <a:lnTo>
                  <a:pt x="241" y="411"/>
                </a:lnTo>
                <a:lnTo>
                  <a:pt x="240" y="409"/>
                </a:lnTo>
                <a:lnTo>
                  <a:pt x="240" y="385"/>
                </a:lnTo>
                <a:lnTo>
                  <a:pt x="177" y="385"/>
                </a:lnTo>
                <a:lnTo>
                  <a:pt x="177" y="409"/>
                </a:lnTo>
                <a:lnTo>
                  <a:pt x="176" y="411"/>
                </a:lnTo>
                <a:lnTo>
                  <a:pt x="174" y="415"/>
                </a:lnTo>
                <a:lnTo>
                  <a:pt x="172" y="416"/>
                </a:lnTo>
                <a:lnTo>
                  <a:pt x="169" y="417"/>
                </a:lnTo>
                <a:lnTo>
                  <a:pt x="165" y="416"/>
                </a:lnTo>
                <a:lnTo>
                  <a:pt x="163" y="415"/>
                </a:lnTo>
                <a:lnTo>
                  <a:pt x="161" y="411"/>
                </a:lnTo>
                <a:lnTo>
                  <a:pt x="161" y="409"/>
                </a:lnTo>
                <a:lnTo>
                  <a:pt x="161" y="377"/>
                </a:lnTo>
                <a:lnTo>
                  <a:pt x="161" y="373"/>
                </a:lnTo>
                <a:lnTo>
                  <a:pt x="163" y="371"/>
                </a:lnTo>
                <a:lnTo>
                  <a:pt x="165" y="370"/>
                </a:lnTo>
                <a:lnTo>
                  <a:pt x="169" y="369"/>
                </a:lnTo>
                <a:close/>
                <a:moveTo>
                  <a:pt x="336" y="352"/>
                </a:moveTo>
                <a:lnTo>
                  <a:pt x="352" y="352"/>
                </a:lnTo>
                <a:lnTo>
                  <a:pt x="356" y="354"/>
                </a:lnTo>
                <a:lnTo>
                  <a:pt x="358" y="355"/>
                </a:lnTo>
                <a:lnTo>
                  <a:pt x="360" y="357"/>
                </a:lnTo>
                <a:lnTo>
                  <a:pt x="360" y="360"/>
                </a:lnTo>
                <a:lnTo>
                  <a:pt x="360" y="364"/>
                </a:lnTo>
                <a:lnTo>
                  <a:pt x="358" y="366"/>
                </a:lnTo>
                <a:lnTo>
                  <a:pt x="356" y="369"/>
                </a:lnTo>
                <a:lnTo>
                  <a:pt x="352" y="369"/>
                </a:lnTo>
                <a:lnTo>
                  <a:pt x="336" y="369"/>
                </a:lnTo>
                <a:lnTo>
                  <a:pt x="334" y="369"/>
                </a:lnTo>
                <a:lnTo>
                  <a:pt x="330" y="366"/>
                </a:lnTo>
                <a:lnTo>
                  <a:pt x="329" y="364"/>
                </a:lnTo>
                <a:lnTo>
                  <a:pt x="328" y="360"/>
                </a:lnTo>
                <a:lnTo>
                  <a:pt x="329" y="357"/>
                </a:lnTo>
                <a:lnTo>
                  <a:pt x="330" y="355"/>
                </a:lnTo>
                <a:lnTo>
                  <a:pt x="334" y="354"/>
                </a:lnTo>
                <a:lnTo>
                  <a:pt x="336" y="352"/>
                </a:lnTo>
                <a:close/>
                <a:moveTo>
                  <a:pt x="65" y="352"/>
                </a:moveTo>
                <a:lnTo>
                  <a:pt x="81" y="352"/>
                </a:lnTo>
                <a:lnTo>
                  <a:pt x="83" y="354"/>
                </a:lnTo>
                <a:lnTo>
                  <a:pt x="86" y="355"/>
                </a:lnTo>
                <a:lnTo>
                  <a:pt x="88" y="357"/>
                </a:lnTo>
                <a:lnTo>
                  <a:pt x="88" y="360"/>
                </a:lnTo>
                <a:lnTo>
                  <a:pt x="88" y="364"/>
                </a:lnTo>
                <a:lnTo>
                  <a:pt x="86" y="366"/>
                </a:lnTo>
                <a:lnTo>
                  <a:pt x="83" y="369"/>
                </a:lnTo>
                <a:lnTo>
                  <a:pt x="81" y="369"/>
                </a:lnTo>
                <a:lnTo>
                  <a:pt x="65" y="369"/>
                </a:lnTo>
                <a:lnTo>
                  <a:pt x="61" y="369"/>
                </a:lnTo>
                <a:lnTo>
                  <a:pt x="59" y="366"/>
                </a:lnTo>
                <a:lnTo>
                  <a:pt x="57" y="364"/>
                </a:lnTo>
                <a:lnTo>
                  <a:pt x="57" y="360"/>
                </a:lnTo>
                <a:lnTo>
                  <a:pt x="57" y="357"/>
                </a:lnTo>
                <a:lnTo>
                  <a:pt x="59" y="355"/>
                </a:lnTo>
                <a:lnTo>
                  <a:pt x="61" y="354"/>
                </a:lnTo>
                <a:lnTo>
                  <a:pt x="65" y="352"/>
                </a:lnTo>
                <a:close/>
                <a:moveTo>
                  <a:pt x="336" y="320"/>
                </a:moveTo>
                <a:lnTo>
                  <a:pt x="352" y="320"/>
                </a:lnTo>
                <a:lnTo>
                  <a:pt x="356" y="321"/>
                </a:lnTo>
                <a:lnTo>
                  <a:pt x="358" y="324"/>
                </a:lnTo>
                <a:lnTo>
                  <a:pt x="360" y="326"/>
                </a:lnTo>
                <a:lnTo>
                  <a:pt x="360" y="328"/>
                </a:lnTo>
                <a:lnTo>
                  <a:pt x="360" y="332"/>
                </a:lnTo>
                <a:lnTo>
                  <a:pt x="358" y="334"/>
                </a:lnTo>
                <a:lnTo>
                  <a:pt x="356" y="336"/>
                </a:lnTo>
                <a:lnTo>
                  <a:pt x="352" y="336"/>
                </a:lnTo>
                <a:lnTo>
                  <a:pt x="336" y="336"/>
                </a:lnTo>
                <a:lnTo>
                  <a:pt x="334" y="336"/>
                </a:lnTo>
                <a:lnTo>
                  <a:pt x="330" y="334"/>
                </a:lnTo>
                <a:lnTo>
                  <a:pt x="329" y="332"/>
                </a:lnTo>
                <a:lnTo>
                  <a:pt x="328" y="328"/>
                </a:lnTo>
                <a:lnTo>
                  <a:pt x="329" y="326"/>
                </a:lnTo>
                <a:lnTo>
                  <a:pt x="330" y="324"/>
                </a:lnTo>
                <a:lnTo>
                  <a:pt x="334" y="321"/>
                </a:lnTo>
                <a:lnTo>
                  <a:pt x="336" y="320"/>
                </a:lnTo>
                <a:close/>
                <a:moveTo>
                  <a:pt x="144" y="320"/>
                </a:moveTo>
                <a:lnTo>
                  <a:pt x="273" y="320"/>
                </a:lnTo>
                <a:lnTo>
                  <a:pt x="276" y="321"/>
                </a:lnTo>
                <a:lnTo>
                  <a:pt x="278" y="324"/>
                </a:lnTo>
                <a:lnTo>
                  <a:pt x="280" y="326"/>
                </a:lnTo>
                <a:lnTo>
                  <a:pt x="281" y="328"/>
                </a:lnTo>
                <a:lnTo>
                  <a:pt x="280" y="332"/>
                </a:lnTo>
                <a:lnTo>
                  <a:pt x="278" y="334"/>
                </a:lnTo>
                <a:lnTo>
                  <a:pt x="276" y="336"/>
                </a:lnTo>
                <a:lnTo>
                  <a:pt x="273" y="336"/>
                </a:lnTo>
                <a:lnTo>
                  <a:pt x="144" y="336"/>
                </a:lnTo>
                <a:lnTo>
                  <a:pt x="141" y="336"/>
                </a:lnTo>
                <a:lnTo>
                  <a:pt x="139" y="334"/>
                </a:lnTo>
                <a:lnTo>
                  <a:pt x="138" y="332"/>
                </a:lnTo>
                <a:lnTo>
                  <a:pt x="136" y="328"/>
                </a:lnTo>
                <a:lnTo>
                  <a:pt x="138" y="326"/>
                </a:lnTo>
                <a:lnTo>
                  <a:pt x="139" y="324"/>
                </a:lnTo>
                <a:lnTo>
                  <a:pt x="141" y="321"/>
                </a:lnTo>
                <a:lnTo>
                  <a:pt x="144" y="320"/>
                </a:lnTo>
                <a:close/>
                <a:moveTo>
                  <a:pt x="65" y="320"/>
                </a:moveTo>
                <a:lnTo>
                  <a:pt x="81" y="320"/>
                </a:lnTo>
                <a:lnTo>
                  <a:pt x="83" y="321"/>
                </a:lnTo>
                <a:lnTo>
                  <a:pt x="86" y="324"/>
                </a:lnTo>
                <a:lnTo>
                  <a:pt x="88" y="326"/>
                </a:lnTo>
                <a:lnTo>
                  <a:pt x="88" y="328"/>
                </a:lnTo>
                <a:lnTo>
                  <a:pt x="88" y="332"/>
                </a:lnTo>
                <a:lnTo>
                  <a:pt x="86" y="334"/>
                </a:lnTo>
                <a:lnTo>
                  <a:pt x="83" y="336"/>
                </a:lnTo>
                <a:lnTo>
                  <a:pt x="81" y="336"/>
                </a:lnTo>
                <a:lnTo>
                  <a:pt x="65" y="336"/>
                </a:lnTo>
                <a:lnTo>
                  <a:pt x="61" y="336"/>
                </a:lnTo>
                <a:lnTo>
                  <a:pt x="59" y="334"/>
                </a:lnTo>
                <a:lnTo>
                  <a:pt x="57" y="332"/>
                </a:lnTo>
                <a:lnTo>
                  <a:pt x="57" y="328"/>
                </a:lnTo>
                <a:lnTo>
                  <a:pt x="57" y="326"/>
                </a:lnTo>
                <a:lnTo>
                  <a:pt x="59" y="324"/>
                </a:lnTo>
                <a:lnTo>
                  <a:pt x="61" y="321"/>
                </a:lnTo>
                <a:lnTo>
                  <a:pt x="65" y="320"/>
                </a:lnTo>
                <a:close/>
                <a:moveTo>
                  <a:pt x="336" y="289"/>
                </a:moveTo>
                <a:lnTo>
                  <a:pt x="352" y="289"/>
                </a:lnTo>
                <a:lnTo>
                  <a:pt x="356" y="289"/>
                </a:lnTo>
                <a:lnTo>
                  <a:pt x="358" y="291"/>
                </a:lnTo>
                <a:lnTo>
                  <a:pt x="360" y="294"/>
                </a:lnTo>
                <a:lnTo>
                  <a:pt x="360" y="297"/>
                </a:lnTo>
                <a:lnTo>
                  <a:pt x="360" y="299"/>
                </a:lnTo>
                <a:lnTo>
                  <a:pt x="358" y="303"/>
                </a:lnTo>
                <a:lnTo>
                  <a:pt x="356" y="304"/>
                </a:lnTo>
                <a:lnTo>
                  <a:pt x="352" y="305"/>
                </a:lnTo>
                <a:lnTo>
                  <a:pt x="336" y="305"/>
                </a:lnTo>
                <a:lnTo>
                  <a:pt x="334" y="304"/>
                </a:lnTo>
                <a:lnTo>
                  <a:pt x="330" y="303"/>
                </a:lnTo>
                <a:lnTo>
                  <a:pt x="329" y="299"/>
                </a:lnTo>
                <a:lnTo>
                  <a:pt x="328" y="297"/>
                </a:lnTo>
                <a:lnTo>
                  <a:pt x="329" y="294"/>
                </a:lnTo>
                <a:lnTo>
                  <a:pt x="330" y="291"/>
                </a:lnTo>
                <a:lnTo>
                  <a:pt x="334" y="289"/>
                </a:lnTo>
                <a:lnTo>
                  <a:pt x="336" y="289"/>
                </a:lnTo>
                <a:close/>
                <a:moveTo>
                  <a:pt x="65" y="289"/>
                </a:moveTo>
                <a:lnTo>
                  <a:pt x="81" y="289"/>
                </a:lnTo>
                <a:lnTo>
                  <a:pt x="83" y="289"/>
                </a:lnTo>
                <a:lnTo>
                  <a:pt x="86" y="291"/>
                </a:lnTo>
                <a:lnTo>
                  <a:pt x="88" y="294"/>
                </a:lnTo>
                <a:lnTo>
                  <a:pt x="88" y="297"/>
                </a:lnTo>
                <a:lnTo>
                  <a:pt x="88" y="299"/>
                </a:lnTo>
                <a:lnTo>
                  <a:pt x="86" y="303"/>
                </a:lnTo>
                <a:lnTo>
                  <a:pt x="83" y="304"/>
                </a:lnTo>
                <a:lnTo>
                  <a:pt x="81" y="305"/>
                </a:lnTo>
                <a:lnTo>
                  <a:pt x="65" y="305"/>
                </a:lnTo>
                <a:lnTo>
                  <a:pt x="61" y="304"/>
                </a:lnTo>
                <a:lnTo>
                  <a:pt x="59" y="303"/>
                </a:lnTo>
                <a:lnTo>
                  <a:pt x="57" y="299"/>
                </a:lnTo>
                <a:lnTo>
                  <a:pt x="57" y="297"/>
                </a:lnTo>
                <a:lnTo>
                  <a:pt x="57" y="294"/>
                </a:lnTo>
                <a:lnTo>
                  <a:pt x="59" y="291"/>
                </a:lnTo>
                <a:lnTo>
                  <a:pt x="61" y="289"/>
                </a:lnTo>
                <a:lnTo>
                  <a:pt x="65" y="289"/>
                </a:lnTo>
                <a:close/>
                <a:moveTo>
                  <a:pt x="144" y="273"/>
                </a:moveTo>
                <a:lnTo>
                  <a:pt x="273" y="273"/>
                </a:lnTo>
                <a:lnTo>
                  <a:pt x="276" y="273"/>
                </a:lnTo>
                <a:lnTo>
                  <a:pt x="278" y="275"/>
                </a:lnTo>
                <a:lnTo>
                  <a:pt x="280" y="277"/>
                </a:lnTo>
                <a:lnTo>
                  <a:pt x="281" y="281"/>
                </a:lnTo>
                <a:lnTo>
                  <a:pt x="280" y="284"/>
                </a:lnTo>
                <a:lnTo>
                  <a:pt x="278" y="287"/>
                </a:lnTo>
                <a:lnTo>
                  <a:pt x="276" y="288"/>
                </a:lnTo>
                <a:lnTo>
                  <a:pt x="273" y="289"/>
                </a:lnTo>
                <a:lnTo>
                  <a:pt x="144" y="289"/>
                </a:lnTo>
                <a:lnTo>
                  <a:pt x="141" y="288"/>
                </a:lnTo>
                <a:lnTo>
                  <a:pt x="139" y="287"/>
                </a:lnTo>
                <a:lnTo>
                  <a:pt x="138" y="284"/>
                </a:lnTo>
                <a:lnTo>
                  <a:pt x="136" y="281"/>
                </a:lnTo>
                <a:lnTo>
                  <a:pt x="138" y="277"/>
                </a:lnTo>
                <a:lnTo>
                  <a:pt x="139" y="275"/>
                </a:lnTo>
                <a:lnTo>
                  <a:pt x="141" y="273"/>
                </a:lnTo>
                <a:lnTo>
                  <a:pt x="144" y="273"/>
                </a:lnTo>
                <a:close/>
                <a:moveTo>
                  <a:pt x="336" y="257"/>
                </a:moveTo>
                <a:lnTo>
                  <a:pt x="352" y="257"/>
                </a:lnTo>
                <a:lnTo>
                  <a:pt x="356" y="258"/>
                </a:lnTo>
                <a:lnTo>
                  <a:pt x="358" y="259"/>
                </a:lnTo>
                <a:lnTo>
                  <a:pt x="360" y="261"/>
                </a:lnTo>
                <a:lnTo>
                  <a:pt x="360" y="265"/>
                </a:lnTo>
                <a:lnTo>
                  <a:pt x="360" y="268"/>
                </a:lnTo>
                <a:lnTo>
                  <a:pt x="358" y="270"/>
                </a:lnTo>
                <a:lnTo>
                  <a:pt x="356" y="272"/>
                </a:lnTo>
                <a:lnTo>
                  <a:pt x="352" y="273"/>
                </a:lnTo>
                <a:lnTo>
                  <a:pt x="336" y="273"/>
                </a:lnTo>
                <a:lnTo>
                  <a:pt x="334" y="272"/>
                </a:lnTo>
                <a:lnTo>
                  <a:pt x="330" y="270"/>
                </a:lnTo>
                <a:lnTo>
                  <a:pt x="329" y="268"/>
                </a:lnTo>
                <a:lnTo>
                  <a:pt x="328" y="265"/>
                </a:lnTo>
                <a:lnTo>
                  <a:pt x="329" y="261"/>
                </a:lnTo>
                <a:lnTo>
                  <a:pt x="330" y="259"/>
                </a:lnTo>
                <a:lnTo>
                  <a:pt x="334" y="258"/>
                </a:lnTo>
                <a:lnTo>
                  <a:pt x="336" y="257"/>
                </a:lnTo>
                <a:close/>
                <a:moveTo>
                  <a:pt x="65" y="257"/>
                </a:moveTo>
                <a:lnTo>
                  <a:pt x="81" y="257"/>
                </a:lnTo>
                <a:lnTo>
                  <a:pt x="83" y="258"/>
                </a:lnTo>
                <a:lnTo>
                  <a:pt x="86" y="259"/>
                </a:lnTo>
                <a:lnTo>
                  <a:pt x="88" y="261"/>
                </a:lnTo>
                <a:lnTo>
                  <a:pt x="88" y="265"/>
                </a:lnTo>
                <a:lnTo>
                  <a:pt x="88" y="268"/>
                </a:lnTo>
                <a:lnTo>
                  <a:pt x="86" y="270"/>
                </a:lnTo>
                <a:lnTo>
                  <a:pt x="83" y="272"/>
                </a:lnTo>
                <a:lnTo>
                  <a:pt x="81" y="273"/>
                </a:lnTo>
                <a:lnTo>
                  <a:pt x="65" y="273"/>
                </a:lnTo>
                <a:lnTo>
                  <a:pt x="61" y="272"/>
                </a:lnTo>
                <a:lnTo>
                  <a:pt x="59" y="270"/>
                </a:lnTo>
                <a:lnTo>
                  <a:pt x="57" y="268"/>
                </a:lnTo>
                <a:lnTo>
                  <a:pt x="57" y="265"/>
                </a:lnTo>
                <a:lnTo>
                  <a:pt x="57" y="261"/>
                </a:lnTo>
                <a:lnTo>
                  <a:pt x="59" y="259"/>
                </a:lnTo>
                <a:lnTo>
                  <a:pt x="61" y="258"/>
                </a:lnTo>
                <a:lnTo>
                  <a:pt x="65" y="257"/>
                </a:lnTo>
                <a:close/>
                <a:moveTo>
                  <a:pt x="336" y="224"/>
                </a:moveTo>
                <a:lnTo>
                  <a:pt x="352" y="224"/>
                </a:lnTo>
                <a:lnTo>
                  <a:pt x="356" y="225"/>
                </a:lnTo>
                <a:lnTo>
                  <a:pt x="358" y="227"/>
                </a:lnTo>
                <a:lnTo>
                  <a:pt x="360" y="230"/>
                </a:lnTo>
                <a:lnTo>
                  <a:pt x="360" y="232"/>
                </a:lnTo>
                <a:lnTo>
                  <a:pt x="360" y="236"/>
                </a:lnTo>
                <a:lnTo>
                  <a:pt x="358" y="238"/>
                </a:lnTo>
                <a:lnTo>
                  <a:pt x="356" y="240"/>
                </a:lnTo>
                <a:lnTo>
                  <a:pt x="352" y="240"/>
                </a:lnTo>
                <a:lnTo>
                  <a:pt x="336" y="240"/>
                </a:lnTo>
                <a:lnTo>
                  <a:pt x="334" y="240"/>
                </a:lnTo>
                <a:lnTo>
                  <a:pt x="330" y="238"/>
                </a:lnTo>
                <a:lnTo>
                  <a:pt x="329" y="236"/>
                </a:lnTo>
                <a:lnTo>
                  <a:pt x="328" y="232"/>
                </a:lnTo>
                <a:lnTo>
                  <a:pt x="329" y="230"/>
                </a:lnTo>
                <a:lnTo>
                  <a:pt x="330" y="227"/>
                </a:lnTo>
                <a:lnTo>
                  <a:pt x="334" y="225"/>
                </a:lnTo>
                <a:lnTo>
                  <a:pt x="336" y="224"/>
                </a:lnTo>
                <a:close/>
                <a:moveTo>
                  <a:pt x="144" y="224"/>
                </a:moveTo>
                <a:lnTo>
                  <a:pt x="273" y="224"/>
                </a:lnTo>
                <a:lnTo>
                  <a:pt x="276" y="225"/>
                </a:lnTo>
                <a:lnTo>
                  <a:pt x="278" y="227"/>
                </a:lnTo>
                <a:lnTo>
                  <a:pt x="280" y="230"/>
                </a:lnTo>
                <a:lnTo>
                  <a:pt x="281" y="232"/>
                </a:lnTo>
                <a:lnTo>
                  <a:pt x="280" y="236"/>
                </a:lnTo>
                <a:lnTo>
                  <a:pt x="278" y="238"/>
                </a:lnTo>
                <a:lnTo>
                  <a:pt x="276" y="240"/>
                </a:lnTo>
                <a:lnTo>
                  <a:pt x="273" y="240"/>
                </a:lnTo>
                <a:lnTo>
                  <a:pt x="144" y="240"/>
                </a:lnTo>
                <a:lnTo>
                  <a:pt x="141" y="240"/>
                </a:lnTo>
                <a:lnTo>
                  <a:pt x="139" y="238"/>
                </a:lnTo>
                <a:lnTo>
                  <a:pt x="138" y="236"/>
                </a:lnTo>
                <a:lnTo>
                  <a:pt x="136" y="232"/>
                </a:lnTo>
                <a:lnTo>
                  <a:pt x="138" y="230"/>
                </a:lnTo>
                <a:lnTo>
                  <a:pt x="139" y="227"/>
                </a:lnTo>
                <a:lnTo>
                  <a:pt x="141" y="225"/>
                </a:lnTo>
                <a:lnTo>
                  <a:pt x="144" y="224"/>
                </a:lnTo>
                <a:close/>
                <a:moveTo>
                  <a:pt x="65" y="224"/>
                </a:moveTo>
                <a:lnTo>
                  <a:pt x="81" y="224"/>
                </a:lnTo>
                <a:lnTo>
                  <a:pt x="83" y="225"/>
                </a:lnTo>
                <a:lnTo>
                  <a:pt x="86" y="227"/>
                </a:lnTo>
                <a:lnTo>
                  <a:pt x="88" y="230"/>
                </a:lnTo>
                <a:lnTo>
                  <a:pt x="88" y="232"/>
                </a:lnTo>
                <a:lnTo>
                  <a:pt x="88" y="236"/>
                </a:lnTo>
                <a:lnTo>
                  <a:pt x="86" y="238"/>
                </a:lnTo>
                <a:lnTo>
                  <a:pt x="83" y="240"/>
                </a:lnTo>
                <a:lnTo>
                  <a:pt x="81" y="240"/>
                </a:lnTo>
                <a:lnTo>
                  <a:pt x="65" y="240"/>
                </a:lnTo>
                <a:lnTo>
                  <a:pt x="61" y="240"/>
                </a:lnTo>
                <a:lnTo>
                  <a:pt x="59" y="238"/>
                </a:lnTo>
                <a:lnTo>
                  <a:pt x="57" y="236"/>
                </a:lnTo>
                <a:lnTo>
                  <a:pt x="57" y="232"/>
                </a:lnTo>
                <a:lnTo>
                  <a:pt x="57" y="230"/>
                </a:lnTo>
                <a:lnTo>
                  <a:pt x="59" y="227"/>
                </a:lnTo>
                <a:lnTo>
                  <a:pt x="61" y="225"/>
                </a:lnTo>
                <a:lnTo>
                  <a:pt x="65" y="224"/>
                </a:lnTo>
                <a:close/>
                <a:moveTo>
                  <a:pt x="352" y="193"/>
                </a:moveTo>
                <a:lnTo>
                  <a:pt x="356" y="193"/>
                </a:lnTo>
                <a:lnTo>
                  <a:pt x="358" y="195"/>
                </a:lnTo>
                <a:lnTo>
                  <a:pt x="360" y="198"/>
                </a:lnTo>
                <a:lnTo>
                  <a:pt x="360" y="200"/>
                </a:lnTo>
                <a:lnTo>
                  <a:pt x="360" y="204"/>
                </a:lnTo>
                <a:lnTo>
                  <a:pt x="358" y="206"/>
                </a:lnTo>
                <a:lnTo>
                  <a:pt x="356" y="208"/>
                </a:lnTo>
                <a:lnTo>
                  <a:pt x="352" y="208"/>
                </a:lnTo>
                <a:lnTo>
                  <a:pt x="336" y="208"/>
                </a:lnTo>
                <a:lnTo>
                  <a:pt x="334" y="208"/>
                </a:lnTo>
                <a:lnTo>
                  <a:pt x="330" y="206"/>
                </a:lnTo>
                <a:lnTo>
                  <a:pt x="329" y="204"/>
                </a:lnTo>
                <a:lnTo>
                  <a:pt x="328" y="200"/>
                </a:lnTo>
                <a:lnTo>
                  <a:pt x="329" y="198"/>
                </a:lnTo>
                <a:lnTo>
                  <a:pt x="330" y="195"/>
                </a:lnTo>
                <a:lnTo>
                  <a:pt x="334" y="193"/>
                </a:lnTo>
                <a:lnTo>
                  <a:pt x="336" y="193"/>
                </a:lnTo>
                <a:lnTo>
                  <a:pt x="352" y="193"/>
                </a:lnTo>
                <a:close/>
                <a:moveTo>
                  <a:pt x="81" y="193"/>
                </a:moveTo>
                <a:lnTo>
                  <a:pt x="83" y="193"/>
                </a:lnTo>
                <a:lnTo>
                  <a:pt x="86" y="195"/>
                </a:lnTo>
                <a:lnTo>
                  <a:pt x="88" y="198"/>
                </a:lnTo>
                <a:lnTo>
                  <a:pt x="88" y="200"/>
                </a:lnTo>
                <a:lnTo>
                  <a:pt x="88" y="204"/>
                </a:lnTo>
                <a:lnTo>
                  <a:pt x="86" y="206"/>
                </a:lnTo>
                <a:lnTo>
                  <a:pt x="83" y="208"/>
                </a:lnTo>
                <a:lnTo>
                  <a:pt x="81" y="208"/>
                </a:lnTo>
                <a:lnTo>
                  <a:pt x="65" y="208"/>
                </a:lnTo>
                <a:lnTo>
                  <a:pt x="61" y="208"/>
                </a:lnTo>
                <a:lnTo>
                  <a:pt x="59" y="206"/>
                </a:lnTo>
                <a:lnTo>
                  <a:pt x="57" y="204"/>
                </a:lnTo>
                <a:lnTo>
                  <a:pt x="57" y="200"/>
                </a:lnTo>
                <a:lnTo>
                  <a:pt x="57" y="198"/>
                </a:lnTo>
                <a:lnTo>
                  <a:pt x="59" y="195"/>
                </a:lnTo>
                <a:lnTo>
                  <a:pt x="61" y="193"/>
                </a:lnTo>
                <a:lnTo>
                  <a:pt x="65" y="193"/>
                </a:lnTo>
                <a:lnTo>
                  <a:pt x="81" y="193"/>
                </a:lnTo>
                <a:close/>
                <a:moveTo>
                  <a:pt x="144" y="177"/>
                </a:moveTo>
                <a:lnTo>
                  <a:pt x="273" y="177"/>
                </a:lnTo>
                <a:lnTo>
                  <a:pt x="276" y="177"/>
                </a:lnTo>
                <a:lnTo>
                  <a:pt x="278" y="179"/>
                </a:lnTo>
                <a:lnTo>
                  <a:pt x="280" y="182"/>
                </a:lnTo>
                <a:lnTo>
                  <a:pt x="281" y="185"/>
                </a:lnTo>
                <a:lnTo>
                  <a:pt x="280" y="187"/>
                </a:lnTo>
                <a:lnTo>
                  <a:pt x="278" y="191"/>
                </a:lnTo>
                <a:lnTo>
                  <a:pt x="276" y="192"/>
                </a:lnTo>
                <a:lnTo>
                  <a:pt x="273" y="193"/>
                </a:lnTo>
                <a:lnTo>
                  <a:pt x="144" y="193"/>
                </a:lnTo>
                <a:lnTo>
                  <a:pt x="141" y="192"/>
                </a:lnTo>
                <a:lnTo>
                  <a:pt x="139" y="191"/>
                </a:lnTo>
                <a:lnTo>
                  <a:pt x="138" y="187"/>
                </a:lnTo>
                <a:lnTo>
                  <a:pt x="136" y="185"/>
                </a:lnTo>
                <a:lnTo>
                  <a:pt x="138" y="182"/>
                </a:lnTo>
                <a:lnTo>
                  <a:pt x="139" y="179"/>
                </a:lnTo>
                <a:lnTo>
                  <a:pt x="141" y="177"/>
                </a:lnTo>
                <a:lnTo>
                  <a:pt x="144" y="177"/>
                </a:lnTo>
                <a:close/>
                <a:moveTo>
                  <a:pt x="313" y="161"/>
                </a:moveTo>
                <a:lnTo>
                  <a:pt x="313" y="401"/>
                </a:lnTo>
                <a:lnTo>
                  <a:pt x="376" y="401"/>
                </a:lnTo>
                <a:lnTo>
                  <a:pt x="376" y="161"/>
                </a:lnTo>
                <a:lnTo>
                  <a:pt x="313" y="161"/>
                </a:lnTo>
                <a:close/>
                <a:moveTo>
                  <a:pt x="41" y="161"/>
                </a:moveTo>
                <a:lnTo>
                  <a:pt x="41" y="401"/>
                </a:lnTo>
                <a:lnTo>
                  <a:pt x="104" y="401"/>
                </a:lnTo>
                <a:lnTo>
                  <a:pt x="104" y="161"/>
                </a:lnTo>
                <a:lnTo>
                  <a:pt x="41" y="161"/>
                </a:lnTo>
                <a:close/>
                <a:moveTo>
                  <a:pt x="144" y="128"/>
                </a:moveTo>
                <a:lnTo>
                  <a:pt x="273" y="128"/>
                </a:lnTo>
                <a:lnTo>
                  <a:pt x="276" y="130"/>
                </a:lnTo>
                <a:lnTo>
                  <a:pt x="278" y="131"/>
                </a:lnTo>
                <a:lnTo>
                  <a:pt x="280" y="133"/>
                </a:lnTo>
                <a:lnTo>
                  <a:pt x="281" y="137"/>
                </a:lnTo>
                <a:lnTo>
                  <a:pt x="280" y="140"/>
                </a:lnTo>
                <a:lnTo>
                  <a:pt x="278" y="142"/>
                </a:lnTo>
                <a:lnTo>
                  <a:pt x="276" y="143"/>
                </a:lnTo>
                <a:lnTo>
                  <a:pt x="273" y="145"/>
                </a:lnTo>
                <a:lnTo>
                  <a:pt x="144" y="145"/>
                </a:lnTo>
                <a:lnTo>
                  <a:pt x="141" y="143"/>
                </a:lnTo>
                <a:lnTo>
                  <a:pt x="139" y="142"/>
                </a:lnTo>
                <a:lnTo>
                  <a:pt x="138" y="140"/>
                </a:lnTo>
                <a:lnTo>
                  <a:pt x="136" y="137"/>
                </a:lnTo>
                <a:lnTo>
                  <a:pt x="138" y="133"/>
                </a:lnTo>
                <a:lnTo>
                  <a:pt x="139" y="131"/>
                </a:lnTo>
                <a:lnTo>
                  <a:pt x="141" y="130"/>
                </a:lnTo>
                <a:lnTo>
                  <a:pt x="144" y="128"/>
                </a:lnTo>
                <a:close/>
                <a:moveTo>
                  <a:pt x="161" y="65"/>
                </a:moveTo>
                <a:lnTo>
                  <a:pt x="161" y="81"/>
                </a:lnTo>
                <a:lnTo>
                  <a:pt x="256" y="81"/>
                </a:lnTo>
                <a:lnTo>
                  <a:pt x="256" y="65"/>
                </a:lnTo>
                <a:lnTo>
                  <a:pt x="161" y="65"/>
                </a:lnTo>
                <a:close/>
                <a:moveTo>
                  <a:pt x="208" y="17"/>
                </a:moveTo>
                <a:lnTo>
                  <a:pt x="206" y="18"/>
                </a:lnTo>
                <a:lnTo>
                  <a:pt x="203" y="19"/>
                </a:lnTo>
                <a:lnTo>
                  <a:pt x="201" y="21"/>
                </a:lnTo>
                <a:lnTo>
                  <a:pt x="201" y="25"/>
                </a:lnTo>
                <a:lnTo>
                  <a:pt x="201" y="49"/>
                </a:lnTo>
                <a:lnTo>
                  <a:pt x="216" y="49"/>
                </a:lnTo>
                <a:lnTo>
                  <a:pt x="216" y="25"/>
                </a:lnTo>
                <a:lnTo>
                  <a:pt x="216" y="21"/>
                </a:lnTo>
                <a:lnTo>
                  <a:pt x="214" y="19"/>
                </a:lnTo>
                <a:lnTo>
                  <a:pt x="211" y="18"/>
                </a:lnTo>
                <a:lnTo>
                  <a:pt x="208" y="17"/>
                </a:lnTo>
                <a:close/>
                <a:moveTo>
                  <a:pt x="208" y="0"/>
                </a:moveTo>
                <a:lnTo>
                  <a:pt x="221" y="4"/>
                </a:lnTo>
                <a:lnTo>
                  <a:pt x="229" y="12"/>
                </a:lnTo>
                <a:lnTo>
                  <a:pt x="232" y="25"/>
                </a:lnTo>
                <a:lnTo>
                  <a:pt x="232" y="49"/>
                </a:lnTo>
                <a:lnTo>
                  <a:pt x="265" y="49"/>
                </a:lnTo>
                <a:lnTo>
                  <a:pt x="268" y="49"/>
                </a:lnTo>
                <a:lnTo>
                  <a:pt x="270" y="51"/>
                </a:lnTo>
                <a:lnTo>
                  <a:pt x="271" y="53"/>
                </a:lnTo>
                <a:lnTo>
                  <a:pt x="273" y="57"/>
                </a:lnTo>
                <a:lnTo>
                  <a:pt x="273" y="81"/>
                </a:lnTo>
                <a:lnTo>
                  <a:pt x="305" y="81"/>
                </a:lnTo>
                <a:lnTo>
                  <a:pt x="307" y="81"/>
                </a:lnTo>
                <a:lnTo>
                  <a:pt x="311" y="83"/>
                </a:lnTo>
                <a:lnTo>
                  <a:pt x="312" y="86"/>
                </a:lnTo>
                <a:lnTo>
                  <a:pt x="313" y="88"/>
                </a:lnTo>
                <a:lnTo>
                  <a:pt x="313" y="145"/>
                </a:lnTo>
                <a:lnTo>
                  <a:pt x="385" y="145"/>
                </a:lnTo>
                <a:lnTo>
                  <a:pt x="388" y="145"/>
                </a:lnTo>
                <a:lnTo>
                  <a:pt x="390" y="147"/>
                </a:lnTo>
                <a:lnTo>
                  <a:pt x="392" y="149"/>
                </a:lnTo>
                <a:lnTo>
                  <a:pt x="393" y="153"/>
                </a:lnTo>
                <a:lnTo>
                  <a:pt x="393" y="401"/>
                </a:lnTo>
                <a:lnTo>
                  <a:pt x="409" y="401"/>
                </a:lnTo>
                <a:lnTo>
                  <a:pt x="409" y="401"/>
                </a:lnTo>
                <a:lnTo>
                  <a:pt x="411" y="401"/>
                </a:lnTo>
                <a:lnTo>
                  <a:pt x="415" y="403"/>
                </a:lnTo>
                <a:lnTo>
                  <a:pt x="416" y="406"/>
                </a:lnTo>
                <a:lnTo>
                  <a:pt x="417" y="409"/>
                </a:lnTo>
                <a:lnTo>
                  <a:pt x="416" y="411"/>
                </a:lnTo>
                <a:lnTo>
                  <a:pt x="415" y="415"/>
                </a:lnTo>
                <a:lnTo>
                  <a:pt x="411" y="416"/>
                </a:lnTo>
                <a:lnTo>
                  <a:pt x="409" y="417"/>
                </a:lnTo>
                <a:lnTo>
                  <a:pt x="305" y="417"/>
                </a:lnTo>
                <a:lnTo>
                  <a:pt x="301" y="416"/>
                </a:lnTo>
                <a:lnTo>
                  <a:pt x="299" y="415"/>
                </a:lnTo>
                <a:lnTo>
                  <a:pt x="297" y="411"/>
                </a:lnTo>
                <a:lnTo>
                  <a:pt x="297" y="409"/>
                </a:lnTo>
                <a:lnTo>
                  <a:pt x="297" y="96"/>
                </a:lnTo>
                <a:lnTo>
                  <a:pt x="120" y="96"/>
                </a:lnTo>
                <a:lnTo>
                  <a:pt x="120" y="409"/>
                </a:lnTo>
                <a:lnTo>
                  <a:pt x="120" y="411"/>
                </a:lnTo>
                <a:lnTo>
                  <a:pt x="118" y="415"/>
                </a:lnTo>
                <a:lnTo>
                  <a:pt x="116" y="416"/>
                </a:lnTo>
                <a:lnTo>
                  <a:pt x="112" y="417"/>
                </a:lnTo>
                <a:lnTo>
                  <a:pt x="8" y="417"/>
                </a:lnTo>
                <a:lnTo>
                  <a:pt x="5" y="416"/>
                </a:lnTo>
                <a:lnTo>
                  <a:pt x="2" y="415"/>
                </a:lnTo>
                <a:lnTo>
                  <a:pt x="1" y="411"/>
                </a:lnTo>
                <a:lnTo>
                  <a:pt x="0" y="409"/>
                </a:lnTo>
                <a:lnTo>
                  <a:pt x="1" y="406"/>
                </a:lnTo>
                <a:lnTo>
                  <a:pt x="2" y="403"/>
                </a:lnTo>
                <a:lnTo>
                  <a:pt x="5" y="401"/>
                </a:lnTo>
                <a:lnTo>
                  <a:pt x="8" y="401"/>
                </a:lnTo>
                <a:lnTo>
                  <a:pt x="24" y="401"/>
                </a:lnTo>
                <a:lnTo>
                  <a:pt x="24" y="153"/>
                </a:lnTo>
                <a:lnTo>
                  <a:pt x="26" y="149"/>
                </a:lnTo>
                <a:lnTo>
                  <a:pt x="27" y="147"/>
                </a:lnTo>
                <a:lnTo>
                  <a:pt x="29" y="145"/>
                </a:lnTo>
                <a:lnTo>
                  <a:pt x="32" y="145"/>
                </a:lnTo>
                <a:lnTo>
                  <a:pt x="104" y="145"/>
                </a:lnTo>
                <a:lnTo>
                  <a:pt x="104" y="88"/>
                </a:lnTo>
                <a:lnTo>
                  <a:pt x="105" y="86"/>
                </a:lnTo>
                <a:lnTo>
                  <a:pt x="106" y="83"/>
                </a:lnTo>
                <a:lnTo>
                  <a:pt x="110" y="81"/>
                </a:lnTo>
                <a:lnTo>
                  <a:pt x="112" y="81"/>
                </a:lnTo>
                <a:lnTo>
                  <a:pt x="144" y="81"/>
                </a:lnTo>
                <a:lnTo>
                  <a:pt x="144" y="57"/>
                </a:lnTo>
                <a:lnTo>
                  <a:pt x="146" y="53"/>
                </a:lnTo>
                <a:lnTo>
                  <a:pt x="147" y="51"/>
                </a:lnTo>
                <a:lnTo>
                  <a:pt x="149" y="49"/>
                </a:lnTo>
                <a:lnTo>
                  <a:pt x="153" y="49"/>
                </a:lnTo>
                <a:lnTo>
                  <a:pt x="185" y="49"/>
                </a:lnTo>
                <a:lnTo>
                  <a:pt x="185" y="25"/>
                </a:lnTo>
                <a:lnTo>
                  <a:pt x="188" y="12"/>
                </a:lnTo>
                <a:lnTo>
                  <a:pt x="196" y="4"/>
                </a:lnTo>
                <a:lnTo>
                  <a:pt x="20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B71"/>
              </a:solidFill>
              <a:effectLst/>
              <a:uLnTx/>
              <a:uFillTx/>
              <a:latin typeface="Calibri"/>
              <a:ea typeface="+mn-ea"/>
              <a:cs typeface="+mn-cs"/>
            </a:endParaRPr>
          </a:p>
        </p:txBody>
      </p:sp>
      <p:sp>
        <p:nvSpPr>
          <p:cNvPr id="9" name="Prostokąt 8">
            <a:extLst>
              <a:ext uri="{FF2B5EF4-FFF2-40B4-BE49-F238E27FC236}">
                <a16:creationId xmlns:a16="http://schemas.microsoft.com/office/drawing/2014/main" id="{2E2DF8BD-4911-4099-7B6F-99E7927C0280}"/>
              </a:ext>
            </a:extLst>
          </p:cNvPr>
          <p:cNvSpPr/>
          <p:nvPr/>
        </p:nvSpPr>
        <p:spPr>
          <a:xfrm>
            <a:off x="7411296" y="4537835"/>
            <a:ext cx="4780704" cy="2031325"/>
          </a:xfrm>
          <a:prstGeom prst="rect">
            <a:avLst/>
          </a:prstGeom>
        </p:spPr>
        <p:txBody>
          <a:bodyPr wrap="square">
            <a:spAutoFit/>
          </a:bodyPr>
          <a:lstStyle/>
          <a:p>
            <a:pPr marL="298450" marR="183515" lvl="0" indent="-285750" defTabSz="914400">
              <a:spcBef>
                <a:spcPts val="5"/>
              </a:spcBef>
              <a:buFont typeface="Arial" panose="020B0604020202020204" pitchFamily="34" charset="0"/>
              <a:buChar char="•"/>
              <a:defRPr/>
            </a:pPr>
            <a:r>
              <a:rPr lang="en-GB" b="1" dirty="0">
                <a:solidFill>
                  <a:srgbClr val="CF002B"/>
                </a:solidFill>
                <a:latin typeface="Calibri" panose="020F0502020204030204" pitchFamily="34" charset="0"/>
                <a:cs typeface="Calibri" panose="020F0502020204030204" pitchFamily="34" charset="0"/>
              </a:rPr>
              <a:t>A financial partner actively involved in the support of entrepreneurship and efficient use of development program</a:t>
            </a:r>
            <a:r>
              <a:rPr lang="pl-PL" b="1" dirty="0">
                <a:solidFill>
                  <a:srgbClr val="CF002B"/>
                </a:solidFill>
                <a:latin typeface="Calibri" panose="020F0502020204030204" pitchFamily="34" charset="0"/>
                <a:cs typeface="Calibri" panose="020F0502020204030204" pitchFamily="34" charset="0"/>
              </a:rPr>
              <a:t>me</a:t>
            </a:r>
            <a:r>
              <a:rPr lang="en-GB" b="1" dirty="0">
                <a:solidFill>
                  <a:srgbClr val="CF002B"/>
                </a:solidFill>
                <a:latin typeface="Calibri" panose="020F0502020204030204" pitchFamily="34" charset="0"/>
                <a:cs typeface="Calibri" panose="020F0502020204030204" pitchFamily="34" charset="0"/>
              </a:rPr>
              <a:t>s</a:t>
            </a:r>
            <a:r>
              <a:rPr lang="pl-PL" b="1" dirty="0">
                <a:solidFill>
                  <a:srgbClr val="CF002B"/>
                </a:solidFill>
                <a:latin typeface="Calibri" panose="020F0502020204030204" pitchFamily="34" charset="0"/>
                <a:cs typeface="Calibri" panose="020F0502020204030204" pitchFamily="34" charset="0"/>
              </a:rPr>
              <a:t>.</a:t>
            </a:r>
            <a:endParaRPr lang="en-GB" b="1" dirty="0">
              <a:solidFill>
                <a:srgbClr val="CF002B"/>
              </a:solidFill>
              <a:latin typeface="Calibri" panose="020F0502020204030204" pitchFamily="34" charset="0"/>
              <a:cs typeface="Calibri" panose="020F0502020204030204" pitchFamily="34" charset="0"/>
            </a:endParaRPr>
          </a:p>
          <a:p>
            <a:pPr marL="298450" marR="183515" lvl="0" indent="-285750" algn="l"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endParaRPr kumimoji="0" lang="en-GB"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endParaRPr>
          </a:p>
          <a:p>
            <a:pPr marL="298450" marR="183515" lvl="0" indent="-285750" algn="l" defTabSz="914400" rtl="0" eaLnBrk="1" fontAlgn="auto" latinLnBrk="0" hangingPunct="1">
              <a:lnSpc>
                <a:spcPct val="100000"/>
              </a:lnSpc>
              <a:spcBef>
                <a:spcPts val="5"/>
              </a:spcBef>
              <a:spcAft>
                <a:spcPts val="0"/>
              </a:spcAft>
              <a:buClrTx/>
              <a:buSzTx/>
              <a:buFont typeface="Arial" panose="020B0604020202020204" pitchFamily="34" charset="0"/>
              <a:buChar char="•"/>
              <a:tabLst/>
              <a:defRPr/>
            </a:pPr>
            <a:r>
              <a:rPr kumimoji="0" lang="en-AU"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rPr>
              <a:t>Initiator and participant of the cooperation initiatives between business, the</a:t>
            </a:r>
            <a:r>
              <a:rPr kumimoji="0" lang="en-AU" sz="1800" b="1" i="0" u="none" strike="noStrike" kern="1200" cap="none" spc="0" normalizeH="0" dirty="0">
                <a:ln>
                  <a:noFill/>
                </a:ln>
                <a:solidFill>
                  <a:srgbClr val="CF002B"/>
                </a:solidFill>
                <a:effectLst/>
                <a:uLnTx/>
                <a:uFillTx/>
                <a:latin typeface="Calibri" panose="020F0502020204030204" pitchFamily="34" charset="0"/>
                <a:ea typeface="+mn-ea"/>
                <a:cs typeface="Calibri" panose="020F0502020204030204" pitchFamily="34" charset="0"/>
              </a:rPr>
              <a:t> </a:t>
            </a:r>
            <a:r>
              <a:rPr kumimoji="0" lang="en-AU"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rPr>
              <a:t>public sector and financial institutions</a:t>
            </a:r>
            <a:r>
              <a:rPr kumimoji="0" lang="pl-PL"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rPr>
              <a:t>. </a:t>
            </a:r>
            <a:endParaRPr kumimoji="0" lang="en-GB" sz="1800" b="1" i="0" u="none" strike="noStrike" kern="1200" cap="none" spc="0" normalizeH="0" baseline="0" dirty="0">
              <a:ln>
                <a:noFill/>
              </a:ln>
              <a:solidFill>
                <a:srgbClr val="CF002B"/>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64026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2</a:t>
            </a:fld>
            <a:endParaRPr lang="en-US"/>
          </a:p>
        </p:txBody>
      </p:sp>
      <p:grpSp>
        <p:nvGrpSpPr>
          <p:cNvPr id="2" name="Grupa 1">
            <a:extLst>
              <a:ext uri="{FF2B5EF4-FFF2-40B4-BE49-F238E27FC236}">
                <a16:creationId xmlns:a16="http://schemas.microsoft.com/office/drawing/2014/main" id="{8D51C811-FEDD-8FCD-1EE2-F038A0539DCC}"/>
              </a:ext>
            </a:extLst>
          </p:cNvPr>
          <p:cNvGrpSpPr/>
          <p:nvPr/>
        </p:nvGrpSpPr>
        <p:grpSpPr>
          <a:xfrm>
            <a:off x="10893293" y="1986826"/>
            <a:ext cx="319638" cy="293637"/>
            <a:chOff x="9572899" y="5348388"/>
            <a:chExt cx="311168" cy="327546"/>
          </a:xfrm>
          <a:solidFill>
            <a:schemeClr val="bg1"/>
          </a:solidFill>
        </p:grpSpPr>
        <p:sp>
          <p:nvSpPr>
            <p:cNvPr id="3" name="Freeform 8882">
              <a:extLst>
                <a:ext uri="{FF2B5EF4-FFF2-40B4-BE49-F238E27FC236}">
                  <a16:creationId xmlns:a16="http://schemas.microsoft.com/office/drawing/2014/main" id="{2E09D1E2-B845-BA6C-DC8D-A972CD1BF0F3}"/>
                </a:ext>
              </a:extLst>
            </p:cNvPr>
            <p:cNvSpPr>
              <a:spLocks noEditPoints="1"/>
            </p:cNvSpPr>
            <p:nvPr/>
          </p:nvSpPr>
          <p:spPr bwMode="auto">
            <a:xfrm>
              <a:off x="9572899" y="5433550"/>
              <a:ext cx="311168" cy="242384"/>
            </a:xfrm>
            <a:custGeom>
              <a:avLst/>
              <a:gdLst>
                <a:gd name="T0" fmla="*/ 706 w 761"/>
                <a:gd name="T1" fmla="*/ 459 h 592"/>
                <a:gd name="T2" fmla="*/ 573 w 761"/>
                <a:gd name="T3" fmla="*/ 339 h 592"/>
                <a:gd name="T4" fmla="*/ 396 w 761"/>
                <a:gd name="T5" fmla="*/ 291 h 592"/>
                <a:gd name="T6" fmla="*/ 511 w 761"/>
                <a:gd name="T7" fmla="*/ 223 h 592"/>
                <a:gd name="T8" fmla="*/ 520 w 761"/>
                <a:gd name="T9" fmla="*/ 208 h 592"/>
                <a:gd name="T10" fmla="*/ 516 w 761"/>
                <a:gd name="T11" fmla="*/ 3 h 592"/>
                <a:gd name="T12" fmla="*/ 151 w 761"/>
                <a:gd name="T13" fmla="*/ 0 h 592"/>
                <a:gd name="T14" fmla="*/ 129 w 761"/>
                <a:gd name="T15" fmla="*/ 9 h 592"/>
                <a:gd name="T16" fmla="*/ 41 w 761"/>
                <a:gd name="T17" fmla="*/ 120 h 592"/>
                <a:gd name="T18" fmla="*/ 135 w 761"/>
                <a:gd name="T19" fmla="*/ 219 h 592"/>
                <a:gd name="T20" fmla="*/ 365 w 761"/>
                <a:gd name="T21" fmla="*/ 223 h 592"/>
                <a:gd name="T22" fmla="*/ 243 w 761"/>
                <a:gd name="T23" fmla="*/ 315 h 592"/>
                <a:gd name="T24" fmla="*/ 92 w 761"/>
                <a:gd name="T25" fmla="*/ 413 h 592"/>
                <a:gd name="T26" fmla="*/ 0 w 761"/>
                <a:gd name="T27" fmla="*/ 571 h 592"/>
                <a:gd name="T28" fmla="*/ 2 w 761"/>
                <a:gd name="T29" fmla="*/ 586 h 592"/>
                <a:gd name="T30" fmla="*/ 15 w 761"/>
                <a:gd name="T31" fmla="*/ 592 h 592"/>
                <a:gd name="T32" fmla="*/ 28 w 761"/>
                <a:gd name="T33" fmla="*/ 584 h 592"/>
                <a:gd name="T34" fmla="*/ 70 w 761"/>
                <a:gd name="T35" fmla="*/ 494 h 592"/>
                <a:gd name="T36" fmla="*/ 183 w 761"/>
                <a:gd name="T37" fmla="*/ 512 h 592"/>
                <a:gd name="T38" fmla="*/ 171 w 761"/>
                <a:gd name="T39" fmla="*/ 584 h 592"/>
                <a:gd name="T40" fmla="*/ 184 w 761"/>
                <a:gd name="T41" fmla="*/ 592 h 592"/>
                <a:gd name="T42" fmla="*/ 199 w 761"/>
                <a:gd name="T43" fmla="*/ 584 h 592"/>
                <a:gd name="T44" fmla="*/ 234 w 761"/>
                <a:gd name="T45" fmla="*/ 457 h 592"/>
                <a:gd name="T46" fmla="*/ 365 w 761"/>
                <a:gd name="T47" fmla="*/ 582 h 592"/>
                <a:gd name="T48" fmla="*/ 380 w 761"/>
                <a:gd name="T49" fmla="*/ 592 h 592"/>
                <a:gd name="T50" fmla="*/ 395 w 761"/>
                <a:gd name="T51" fmla="*/ 582 h 592"/>
                <a:gd name="T52" fmla="*/ 525 w 761"/>
                <a:gd name="T53" fmla="*/ 457 h 592"/>
                <a:gd name="T54" fmla="*/ 562 w 761"/>
                <a:gd name="T55" fmla="*/ 584 h 592"/>
                <a:gd name="T56" fmla="*/ 575 w 761"/>
                <a:gd name="T57" fmla="*/ 592 h 592"/>
                <a:gd name="T58" fmla="*/ 588 w 761"/>
                <a:gd name="T59" fmla="*/ 584 h 592"/>
                <a:gd name="T60" fmla="*/ 579 w 761"/>
                <a:gd name="T61" fmla="*/ 512 h 592"/>
                <a:gd name="T62" fmla="*/ 691 w 761"/>
                <a:gd name="T63" fmla="*/ 494 h 592"/>
                <a:gd name="T64" fmla="*/ 732 w 761"/>
                <a:gd name="T65" fmla="*/ 584 h 592"/>
                <a:gd name="T66" fmla="*/ 745 w 761"/>
                <a:gd name="T67" fmla="*/ 592 h 592"/>
                <a:gd name="T68" fmla="*/ 758 w 761"/>
                <a:gd name="T69" fmla="*/ 586 h 592"/>
                <a:gd name="T70" fmla="*/ 761 w 761"/>
                <a:gd name="T71" fmla="*/ 571 h 592"/>
                <a:gd name="T72" fmla="*/ 151 w 761"/>
                <a:gd name="T73" fmla="*/ 31 h 592"/>
                <a:gd name="T74" fmla="*/ 151 w 761"/>
                <a:gd name="T75" fmla="*/ 191 h 592"/>
                <a:gd name="T76" fmla="*/ 221 w 761"/>
                <a:gd name="T77" fmla="*/ 359 h 592"/>
                <a:gd name="T78" fmla="*/ 214 w 761"/>
                <a:gd name="T79" fmla="*/ 426 h 592"/>
                <a:gd name="T80" fmla="*/ 275 w 761"/>
                <a:gd name="T81" fmla="*/ 385 h 592"/>
                <a:gd name="T82" fmla="*/ 365 w 761"/>
                <a:gd name="T83" fmla="*/ 322 h 592"/>
                <a:gd name="T84" fmla="*/ 396 w 761"/>
                <a:gd name="T85" fmla="*/ 426 h 592"/>
                <a:gd name="T86" fmla="*/ 457 w 761"/>
                <a:gd name="T87" fmla="*/ 356 h 592"/>
                <a:gd name="T88" fmla="*/ 396 w 761"/>
                <a:gd name="T89" fmla="*/ 426 h 592"/>
                <a:gd name="T90" fmla="*/ 590 w 761"/>
                <a:gd name="T91" fmla="*/ 387 h 592"/>
                <a:gd name="T92" fmla="*/ 518 w 761"/>
                <a:gd name="T93" fmla="*/ 37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1" h="592">
                  <a:moveTo>
                    <a:pt x="761" y="571"/>
                  </a:moveTo>
                  <a:lnTo>
                    <a:pt x="737" y="512"/>
                  </a:lnTo>
                  <a:lnTo>
                    <a:pt x="706" y="459"/>
                  </a:lnTo>
                  <a:lnTo>
                    <a:pt x="667" y="413"/>
                  </a:lnTo>
                  <a:lnTo>
                    <a:pt x="623" y="372"/>
                  </a:lnTo>
                  <a:lnTo>
                    <a:pt x="573" y="339"/>
                  </a:lnTo>
                  <a:lnTo>
                    <a:pt x="518" y="315"/>
                  </a:lnTo>
                  <a:lnTo>
                    <a:pt x="459" y="298"/>
                  </a:lnTo>
                  <a:lnTo>
                    <a:pt x="396" y="291"/>
                  </a:lnTo>
                  <a:lnTo>
                    <a:pt x="396" y="223"/>
                  </a:lnTo>
                  <a:lnTo>
                    <a:pt x="505" y="223"/>
                  </a:lnTo>
                  <a:lnTo>
                    <a:pt x="511" y="223"/>
                  </a:lnTo>
                  <a:lnTo>
                    <a:pt x="516" y="219"/>
                  </a:lnTo>
                  <a:lnTo>
                    <a:pt x="520" y="214"/>
                  </a:lnTo>
                  <a:lnTo>
                    <a:pt x="520" y="208"/>
                  </a:lnTo>
                  <a:lnTo>
                    <a:pt x="520" y="14"/>
                  </a:lnTo>
                  <a:lnTo>
                    <a:pt x="520" y="9"/>
                  </a:lnTo>
                  <a:lnTo>
                    <a:pt x="516" y="3"/>
                  </a:lnTo>
                  <a:lnTo>
                    <a:pt x="511" y="0"/>
                  </a:lnTo>
                  <a:lnTo>
                    <a:pt x="505" y="0"/>
                  </a:lnTo>
                  <a:lnTo>
                    <a:pt x="151" y="0"/>
                  </a:lnTo>
                  <a:lnTo>
                    <a:pt x="142" y="0"/>
                  </a:lnTo>
                  <a:lnTo>
                    <a:pt x="135" y="3"/>
                  </a:lnTo>
                  <a:lnTo>
                    <a:pt x="129" y="9"/>
                  </a:lnTo>
                  <a:lnTo>
                    <a:pt x="48" y="88"/>
                  </a:lnTo>
                  <a:lnTo>
                    <a:pt x="41" y="103"/>
                  </a:lnTo>
                  <a:lnTo>
                    <a:pt x="41" y="120"/>
                  </a:lnTo>
                  <a:lnTo>
                    <a:pt x="48" y="134"/>
                  </a:lnTo>
                  <a:lnTo>
                    <a:pt x="129" y="214"/>
                  </a:lnTo>
                  <a:lnTo>
                    <a:pt x="135" y="219"/>
                  </a:lnTo>
                  <a:lnTo>
                    <a:pt x="142" y="223"/>
                  </a:lnTo>
                  <a:lnTo>
                    <a:pt x="151" y="223"/>
                  </a:lnTo>
                  <a:lnTo>
                    <a:pt x="365" y="223"/>
                  </a:lnTo>
                  <a:lnTo>
                    <a:pt x="365" y="291"/>
                  </a:lnTo>
                  <a:lnTo>
                    <a:pt x="302" y="298"/>
                  </a:lnTo>
                  <a:lnTo>
                    <a:pt x="243" y="315"/>
                  </a:lnTo>
                  <a:lnTo>
                    <a:pt x="188" y="339"/>
                  </a:lnTo>
                  <a:lnTo>
                    <a:pt x="138" y="372"/>
                  </a:lnTo>
                  <a:lnTo>
                    <a:pt x="92" y="413"/>
                  </a:lnTo>
                  <a:lnTo>
                    <a:pt x="53" y="459"/>
                  </a:lnTo>
                  <a:lnTo>
                    <a:pt x="22" y="512"/>
                  </a:lnTo>
                  <a:lnTo>
                    <a:pt x="0" y="571"/>
                  </a:lnTo>
                  <a:lnTo>
                    <a:pt x="0" y="577"/>
                  </a:lnTo>
                  <a:lnTo>
                    <a:pt x="0" y="580"/>
                  </a:lnTo>
                  <a:lnTo>
                    <a:pt x="2" y="586"/>
                  </a:lnTo>
                  <a:lnTo>
                    <a:pt x="6" y="588"/>
                  </a:lnTo>
                  <a:lnTo>
                    <a:pt x="11" y="592"/>
                  </a:lnTo>
                  <a:lnTo>
                    <a:pt x="15" y="592"/>
                  </a:lnTo>
                  <a:lnTo>
                    <a:pt x="20" y="592"/>
                  </a:lnTo>
                  <a:lnTo>
                    <a:pt x="24" y="588"/>
                  </a:lnTo>
                  <a:lnTo>
                    <a:pt x="28" y="584"/>
                  </a:lnTo>
                  <a:lnTo>
                    <a:pt x="31" y="580"/>
                  </a:lnTo>
                  <a:lnTo>
                    <a:pt x="48" y="536"/>
                  </a:lnTo>
                  <a:lnTo>
                    <a:pt x="70" y="494"/>
                  </a:lnTo>
                  <a:lnTo>
                    <a:pt x="96" y="457"/>
                  </a:lnTo>
                  <a:lnTo>
                    <a:pt x="201" y="457"/>
                  </a:lnTo>
                  <a:lnTo>
                    <a:pt x="183" y="512"/>
                  </a:lnTo>
                  <a:lnTo>
                    <a:pt x="170" y="573"/>
                  </a:lnTo>
                  <a:lnTo>
                    <a:pt x="170" y="579"/>
                  </a:lnTo>
                  <a:lnTo>
                    <a:pt x="171" y="584"/>
                  </a:lnTo>
                  <a:lnTo>
                    <a:pt x="177" y="590"/>
                  </a:lnTo>
                  <a:lnTo>
                    <a:pt x="183" y="592"/>
                  </a:lnTo>
                  <a:lnTo>
                    <a:pt x="184" y="592"/>
                  </a:lnTo>
                  <a:lnTo>
                    <a:pt x="190" y="592"/>
                  </a:lnTo>
                  <a:lnTo>
                    <a:pt x="195" y="588"/>
                  </a:lnTo>
                  <a:lnTo>
                    <a:pt x="199" y="584"/>
                  </a:lnTo>
                  <a:lnTo>
                    <a:pt x="201" y="579"/>
                  </a:lnTo>
                  <a:lnTo>
                    <a:pt x="216" y="514"/>
                  </a:lnTo>
                  <a:lnTo>
                    <a:pt x="234" y="457"/>
                  </a:lnTo>
                  <a:lnTo>
                    <a:pt x="365" y="457"/>
                  </a:lnTo>
                  <a:lnTo>
                    <a:pt x="365" y="575"/>
                  </a:lnTo>
                  <a:lnTo>
                    <a:pt x="365" y="582"/>
                  </a:lnTo>
                  <a:lnTo>
                    <a:pt x="369" y="588"/>
                  </a:lnTo>
                  <a:lnTo>
                    <a:pt x="374" y="590"/>
                  </a:lnTo>
                  <a:lnTo>
                    <a:pt x="380" y="592"/>
                  </a:lnTo>
                  <a:lnTo>
                    <a:pt x="387" y="590"/>
                  </a:lnTo>
                  <a:lnTo>
                    <a:pt x="391" y="588"/>
                  </a:lnTo>
                  <a:lnTo>
                    <a:pt x="395" y="582"/>
                  </a:lnTo>
                  <a:lnTo>
                    <a:pt x="396" y="575"/>
                  </a:lnTo>
                  <a:lnTo>
                    <a:pt x="396" y="457"/>
                  </a:lnTo>
                  <a:lnTo>
                    <a:pt x="525" y="457"/>
                  </a:lnTo>
                  <a:lnTo>
                    <a:pt x="546" y="514"/>
                  </a:lnTo>
                  <a:lnTo>
                    <a:pt x="560" y="579"/>
                  </a:lnTo>
                  <a:lnTo>
                    <a:pt x="562" y="584"/>
                  </a:lnTo>
                  <a:lnTo>
                    <a:pt x="566" y="588"/>
                  </a:lnTo>
                  <a:lnTo>
                    <a:pt x="570" y="592"/>
                  </a:lnTo>
                  <a:lnTo>
                    <a:pt x="575" y="592"/>
                  </a:lnTo>
                  <a:lnTo>
                    <a:pt x="579" y="592"/>
                  </a:lnTo>
                  <a:lnTo>
                    <a:pt x="584" y="590"/>
                  </a:lnTo>
                  <a:lnTo>
                    <a:pt x="588" y="584"/>
                  </a:lnTo>
                  <a:lnTo>
                    <a:pt x="592" y="579"/>
                  </a:lnTo>
                  <a:lnTo>
                    <a:pt x="592" y="573"/>
                  </a:lnTo>
                  <a:lnTo>
                    <a:pt x="579" y="512"/>
                  </a:lnTo>
                  <a:lnTo>
                    <a:pt x="560" y="457"/>
                  </a:lnTo>
                  <a:lnTo>
                    <a:pt x="664" y="457"/>
                  </a:lnTo>
                  <a:lnTo>
                    <a:pt x="691" y="494"/>
                  </a:lnTo>
                  <a:lnTo>
                    <a:pt x="713" y="536"/>
                  </a:lnTo>
                  <a:lnTo>
                    <a:pt x="730" y="580"/>
                  </a:lnTo>
                  <a:lnTo>
                    <a:pt x="732" y="584"/>
                  </a:lnTo>
                  <a:lnTo>
                    <a:pt x="736" y="588"/>
                  </a:lnTo>
                  <a:lnTo>
                    <a:pt x="741" y="592"/>
                  </a:lnTo>
                  <a:lnTo>
                    <a:pt x="745" y="592"/>
                  </a:lnTo>
                  <a:lnTo>
                    <a:pt x="750" y="592"/>
                  </a:lnTo>
                  <a:lnTo>
                    <a:pt x="754" y="588"/>
                  </a:lnTo>
                  <a:lnTo>
                    <a:pt x="758" y="586"/>
                  </a:lnTo>
                  <a:lnTo>
                    <a:pt x="761" y="580"/>
                  </a:lnTo>
                  <a:lnTo>
                    <a:pt x="761" y="577"/>
                  </a:lnTo>
                  <a:lnTo>
                    <a:pt x="761" y="571"/>
                  </a:lnTo>
                  <a:close/>
                  <a:moveTo>
                    <a:pt x="151" y="191"/>
                  </a:moveTo>
                  <a:lnTo>
                    <a:pt x="70" y="112"/>
                  </a:lnTo>
                  <a:lnTo>
                    <a:pt x="151" y="31"/>
                  </a:lnTo>
                  <a:lnTo>
                    <a:pt x="489" y="31"/>
                  </a:lnTo>
                  <a:lnTo>
                    <a:pt x="489" y="191"/>
                  </a:lnTo>
                  <a:lnTo>
                    <a:pt x="151" y="191"/>
                  </a:lnTo>
                  <a:close/>
                  <a:moveTo>
                    <a:pt x="125" y="426"/>
                  </a:moveTo>
                  <a:lnTo>
                    <a:pt x="170" y="387"/>
                  </a:lnTo>
                  <a:lnTo>
                    <a:pt x="221" y="359"/>
                  </a:lnTo>
                  <a:lnTo>
                    <a:pt x="275" y="337"/>
                  </a:lnTo>
                  <a:lnTo>
                    <a:pt x="243" y="376"/>
                  </a:lnTo>
                  <a:lnTo>
                    <a:pt x="214" y="426"/>
                  </a:lnTo>
                  <a:lnTo>
                    <a:pt x="125" y="426"/>
                  </a:lnTo>
                  <a:close/>
                  <a:moveTo>
                    <a:pt x="251" y="426"/>
                  </a:moveTo>
                  <a:lnTo>
                    <a:pt x="275" y="385"/>
                  </a:lnTo>
                  <a:lnTo>
                    <a:pt x="302" y="356"/>
                  </a:lnTo>
                  <a:lnTo>
                    <a:pt x="332" y="333"/>
                  </a:lnTo>
                  <a:lnTo>
                    <a:pt x="365" y="322"/>
                  </a:lnTo>
                  <a:lnTo>
                    <a:pt x="365" y="426"/>
                  </a:lnTo>
                  <a:lnTo>
                    <a:pt x="251" y="426"/>
                  </a:lnTo>
                  <a:close/>
                  <a:moveTo>
                    <a:pt x="396" y="426"/>
                  </a:moveTo>
                  <a:lnTo>
                    <a:pt x="396" y="322"/>
                  </a:lnTo>
                  <a:lnTo>
                    <a:pt x="428" y="333"/>
                  </a:lnTo>
                  <a:lnTo>
                    <a:pt x="457" y="356"/>
                  </a:lnTo>
                  <a:lnTo>
                    <a:pt x="485" y="385"/>
                  </a:lnTo>
                  <a:lnTo>
                    <a:pt x="511" y="426"/>
                  </a:lnTo>
                  <a:lnTo>
                    <a:pt x="396" y="426"/>
                  </a:lnTo>
                  <a:close/>
                  <a:moveTo>
                    <a:pt x="485" y="337"/>
                  </a:moveTo>
                  <a:lnTo>
                    <a:pt x="540" y="359"/>
                  </a:lnTo>
                  <a:lnTo>
                    <a:pt x="590" y="387"/>
                  </a:lnTo>
                  <a:lnTo>
                    <a:pt x="634" y="426"/>
                  </a:lnTo>
                  <a:lnTo>
                    <a:pt x="546" y="426"/>
                  </a:lnTo>
                  <a:lnTo>
                    <a:pt x="518" y="376"/>
                  </a:lnTo>
                  <a:lnTo>
                    <a:pt x="485" y="3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reeform 8883">
              <a:extLst>
                <a:ext uri="{FF2B5EF4-FFF2-40B4-BE49-F238E27FC236}">
                  <a16:creationId xmlns:a16="http://schemas.microsoft.com/office/drawing/2014/main" id="{D98C1BE4-3802-5664-FB6D-2D5475B1E1E4}"/>
                </a:ext>
              </a:extLst>
            </p:cNvPr>
            <p:cNvSpPr>
              <a:spLocks/>
            </p:cNvSpPr>
            <p:nvPr/>
          </p:nvSpPr>
          <p:spPr bwMode="auto">
            <a:xfrm>
              <a:off x="9670344" y="5348388"/>
              <a:ext cx="197346" cy="90894"/>
            </a:xfrm>
            <a:custGeom>
              <a:avLst/>
              <a:gdLst>
                <a:gd name="T0" fmla="*/ 16 w 481"/>
                <a:gd name="T1" fmla="*/ 176 h 223"/>
                <a:gd name="T2" fmla="*/ 22 w 481"/>
                <a:gd name="T3" fmla="*/ 176 h 223"/>
                <a:gd name="T4" fmla="*/ 27 w 481"/>
                <a:gd name="T5" fmla="*/ 172 h 223"/>
                <a:gd name="T6" fmla="*/ 31 w 481"/>
                <a:gd name="T7" fmla="*/ 166 h 223"/>
                <a:gd name="T8" fmla="*/ 33 w 481"/>
                <a:gd name="T9" fmla="*/ 161 h 223"/>
                <a:gd name="T10" fmla="*/ 33 w 481"/>
                <a:gd name="T11" fmla="*/ 32 h 223"/>
                <a:gd name="T12" fmla="*/ 370 w 481"/>
                <a:gd name="T13" fmla="*/ 32 h 223"/>
                <a:gd name="T14" fmla="*/ 450 w 481"/>
                <a:gd name="T15" fmla="*/ 113 h 223"/>
                <a:gd name="T16" fmla="*/ 370 w 481"/>
                <a:gd name="T17" fmla="*/ 192 h 223"/>
                <a:gd name="T18" fmla="*/ 328 w 481"/>
                <a:gd name="T19" fmla="*/ 192 h 223"/>
                <a:gd name="T20" fmla="*/ 322 w 481"/>
                <a:gd name="T21" fmla="*/ 194 h 223"/>
                <a:gd name="T22" fmla="*/ 317 w 481"/>
                <a:gd name="T23" fmla="*/ 198 h 223"/>
                <a:gd name="T24" fmla="*/ 313 w 481"/>
                <a:gd name="T25" fmla="*/ 201 h 223"/>
                <a:gd name="T26" fmla="*/ 313 w 481"/>
                <a:gd name="T27" fmla="*/ 209 h 223"/>
                <a:gd name="T28" fmla="*/ 313 w 481"/>
                <a:gd name="T29" fmla="*/ 214 h 223"/>
                <a:gd name="T30" fmla="*/ 317 w 481"/>
                <a:gd name="T31" fmla="*/ 220 h 223"/>
                <a:gd name="T32" fmla="*/ 322 w 481"/>
                <a:gd name="T33" fmla="*/ 223 h 223"/>
                <a:gd name="T34" fmla="*/ 328 w 481"/>
                <a:gd name="T35" fmla="*/ 223 h 223"/>
                <a:gd name="T36" fmla="*/ 370 w 481"/>
                <a:gd name="T37" fmla="*/ 223 h 223"/>
                <a:gd name="T38" fmla="*/ 378 w 481"/>
                <a:gd name="T39" fmla="*/ 223 h 223"/>
                <a:gd name="T40" fmla="*/ 385 w 481"/>
                <a:gd name="T41" fmla="*/ 220 h 223"/>
                <a:gd name="T42" fmla="*/ 392 w 481"/>
                <a:gd name="T43" fmla="*/ 214 h 223"/>
                <a:gd name="T44" fmla="*/ 472 w 481"/>
                <a:gd name="T45" fmla="*/ 135 h 223"/>
                <a:gd name="T46" fmla="*/ 481 w 481"/>
                <a:gd name="T47" fmla="*/ 120 h 223"/>
                <a:gd name="T48" fmla="*/ 481 w 481"/>
                <a:gd name="T49" fmla="*/ 104 h 223"/>
                <a:gd name="T50" fmla="*/ 472 w 481"/>
                <a:gd name="T51" fmla="*/ 89 h 223"/>
                <a:gd name="T52" fmla="*/ 392 w 481"/>
                <a:gd name="T53" fmla="*/ 10 h 223"/>
                <a:gd name="T54" fmla="*/ 385 w 481"/>
                <a:gd name="T55" fmla="*/ 4 h 223"/>
                <a:gd name="T56" fmla="*/ 378 w 481"/>
                <a:gd name="T57" fmla="*/ 0 h 223"/>
                <a:gd name="T58" fmla="*/ 370 w 481"/>
                <a:gd name="T59" fmla="*/ 0 h 223"/>
                <a:gd name="T60" fmla="*/ 16 w 481"/>
                <a:gd name="T61" fmla="*/ 0 h 223"/>
                <a:gd name="T62" fmla="*/ 11 w 481"/>
                <a:gd name="T63" fmla="*/ 2 h 223"/>
                <a:gd name="T64" fmla="*/ 5 w 481"/>
                <a:gd name="T65" fmla="*/ 4 h 223"/>
                <a:gd name="T66" fmla="*/ 2 w 481"/>
                <a:gd name="T67" fmla="*/ 10 h 223"/>
                <a:gd name="T68" fmla="*/ 0 w 481"/>
                <a:gd name="T69" fmla="*/ 17 h 223"/>
                <a:gd name="T70" fmla="*/ 0 w 481"/>
                <a:gd name="T71" fmla="*/ 161 h 223"/>
                <a:gd name="T72" fmla="*/ 2 w 481"/>
                <a:gd name="T73" fmla="*/ 166 h 223"/>
                <a:gd name="T74" fmla="*/ 5 w 481"/>
                <a:gd name="T75" fmla="*/ 172 h 223"/>
                <a:gd name="T76" fmla="*/ 11 w 481"/>
                <a:gd name="T77" fmla="*/ 176 h 223"/>
                <a:gd name="T78" fmla="*/ 16 w 481"/>
                <a:gd name="T79" fmla="*/ 17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1" h="223">
                  <a:moveTo>
                    <a:pt x="16" y="176"/>
                  </a:moveTo>
                  <a:lnTo>
                    <a:pt x="22" y="176"/>
                  </a:lnTo>
                  <a:lnTo>
                    <a:pt x="27" y="172"/>
                  </a:lnTo>
                  <a:lnTo>
                    <a:pt x="31" y="166"/>
                  </a:lnTo>
                  <a:lnTo>
                    <a:pt x="33" y="161"/>
                  </a:lnTo>
                  <a:lnTo>
                    <a:pt x="33" y="32"/>
                  </a:lnTo>
                  <a:lnTo>
                    <a:pt x="370" y="32"/>
                  </a:lnTo>
                  <a:lnTo>
                    <a:pt x="450" y="113"/>
                  </a:lnTo>
                  <a:lnTo>
                    <a:pt x="370" y="192"/>
                  </a:lnTo>
                  <a:lnTo>
                    <a:pt x="328" y="192"/>
                  </a:lnTo>
                  <a:lnTo>
                    <a:pt x="322" y="194"/>
                  </a:lnTo>
                  <a:lnTo>
                    <a:pt x="317" y="198"/>
                  </a:lnTo>
                  <a:lnTo>
                    <a:pt x="313" y="201"/>
                  </a:lnTo>
                  <a:lnTo>
                    <a:pt x="313" y="209"/>
                  </a:lnTo>
                  <a:lnTo>
                    <a:pt x="313" y="214"/>
                  </a:lnTo>
                  <a:lnTo>
                    <a:pt x="317" y="220"/>
                  </a:lnTo>
                  <a:lnTo>
                    <a:pt x="322" y="223"/>
                  </a:lnTo>
                  <a:lnTo>
                    <a:pt x="328" y="223"/>
                  </a:lnTo>
                  <a:lnTo>
                    <a:pt x="370" y="223"/>
                  </a:lnTo>
                  <a:lnTo>
                    <a:pt x="378" y="223"/>
                  </a:lnTo>
                  <a:lnTo>
                    <a:pt x="385" y="220"/>
                  </a:lnTo>
                  <a:lnTo>
                    <a:pt x="392" y="214"/>
                  </a:lnTo>
                  <a:lnTo>
                    <a:pt x="472" y="135"/>
                  </a:lnTo>
                  <a:lnTo>
                    <a:pt x="481" y="120"/>
                  </a:lnTo>
                  <a:lnTo>
                    <a:pt x="481" y="104"/>
                  </a:lnTo>
                  <a:lnTo>
                    <a:pt x="472" y="89"/>
                  </a:lnTo>
                  <a:lnTo>
                    <a:pt x="392" y="10"/>
                  </a:lnTo>
                  <a:lnTo>
                    <a:pt x="385" y="4"/>
                  </a:lnTo>
                  <a:lnTo>
                    <a:pt x="378" y="0"/>
                  </a:lnTo>
                  <a:lnTo>
                    <a:pt x="370" y="0"/>
                  </a:lnTo>
                  <a:lnTo>
                    <a:pt x="16" y="0"/>
                  </a:lnTo>
                  <a:lnTo>
                    <a:pt x="11" y="2"/>
                  </a:lnTo>
                  <a:lnTo>
                    <a:pt x="5" y="4"/>
                  </a:lnTo>
                  <a:lnTo>
                    <a:pt x="2" y="10"/>
                  </a:lnTo>
                  <a:lnTo>
                    <a:pt x="0" y="17"/>
                  </a:lnTo>
                  <a:lnTo>
                    <a:pt x="0" y="161"/>
                  </a:lnTo>
                  <a:lnTo>
                    <a:pt x="2" y="166"/>
                  </a:lnTo>
                  <a:lnTo>
                    <a:pt x="5" y="172"/>
                  </a:lnTo>
                  <a:lnTo>
                    <a:pt x="11" y="176"/>
                  </a:lnTo>
                  <a:lnTo>
                    <a:pt x="16" y="1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ela 5">
            <a:extLst>
              <a:ext uri="{FF2B5EF4-FFF2-40B4-BE49-F238E27FC236}">
                <a16:creationId xmlns:a16="http://schemas.microsoft.com/office/drawing/2014/main" id="{2ADD2BE1-4C36-58CE-026F-9283BAB9F72A}"/>
              </a:ext>
            </a:extLst>
          </p:cNvPr>
          <p:cNvGraphicFramePr>
            <a:graphicFrameLocks noGrp="1"/>
          </p:cNvGraphicFramePr>
          <p:nvPr/>
        </p:nvGraphicFramePr>
        <p:xfrm>
          <a:off x="261166" y="1426919"/>
          <a:ext cx="11752042" cy="4319999"/>
        </p:xfrm>
        <a:graphic>
          <a:graphicData uri="http://schemas.openxmlformats.org/drawingml/2006/table">
            <a:tbl>
              <a:tblPr firstRow="1" bandRow="1">
                <a:tableStyleId>{5C22544A-7EE6-4342-B048-85BDC9FD1C3A}</a:tableStyleId>
              </a:tblPr>
              <a:tblGrid>
                <a:gridCol w="2037806">
                  <a:extLst>
                    <a:ext uri="{9D8B030D-6E8A-4147-A177-3AD203B41FA5}">
                      <a16:colId xmlns:a16="http://schemas.microsoft.com/office/drawing/2014/main" val="4072369182"/>
                    </a:ext>
                  </a:extLst>
                </a:gridCol>
                <a:gridCol w="3230880">
                  <a:extLst>
                    <a:ext uri="{9D8B030D-6E8A-4147-A177-3AD203B41FA5}">
                      <a16:colId xmlns:a16="http://schemas.microsoft.com/office/drawing/2014/main" val="1228416845"/>
                    </a:ext>
                  </a:extLst>
                </a:gridCol>
                <a:gridCol w="3239588">
                  <a:extLst>
                    <a:ext uri="{9D8B030D-6E8A-4147-A177-3AD203B41FA5}">
                      <a16:colId xmlns:a16="http://schemas.microsoft.com/office/drawing/2014/main" val="1800834500"/>
                    </a:ext>
                  </a:extLst>
                </a:gridCol>
                <a:gridCol w="3243768">
                  <a:extLst>
                    <a:ext uri="{9D8B030D-6E8A-4147-A177-3AD203B41FA5}">
                      <a16:colId xmlns:a16="http://schemas.microsoft.com/office/drawing/2014/main" val="2122167192"/>
                    </a:ext>
                  </a:extLst>
                </a:gridCol>
              </a:tblGrid>
              <a:tr h="1102457">
                <a:tc>
                  <a:txBody>
                    <a:bodyPr/>
                    <a:lstStyle/>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endParaRPr kumimoji="0" lang="pl-PL" sz="1600" b="0" i="0" u="none" strike="noStrike" kern="0" cap="none" spc="0" normalizeH="0" baseline="0" noProof="0" dirty="0">
                        <a:ln>
                          <a:noFill/>
                        </a:ln>
                        <a:solidFill>
                          <a:srgbClr val="636B71">
                            <a:lumMod val="75000"/>
                          </a:srgbClr>
                        </a:solidFill>
                        <a:effectLst/>
                        <a:uLnTx/>
                        <a:uFillTx/>
                      </a:endParaRPr>
                    </a:p>
                  </a:txBody>
                  <a:tcPr>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600" b="1" i="0" u="none" strike="noStrike" kern="0" cap="none" spc="0" normalizeH="0" baseline="0" noProof="0" dirty="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a:ln>
                            <a:noFill/>
                          </a:ln>
                          <a:solidFill>
                            <a:srgbClr val="FFFFFF"/>
                          </a:solidFill>
                          <a:effectLst/>
                          <a:uLnTx/>
                          <a:uFillTx/>
                        </a:rPr>
                        <a:t>g</a:t>
                      </a:r>
                      <a:r>
                        <a:rPr kumimoji="0" lang="en-GB" sz="1600" b="1" i="0" u="none" strike="noStrike" kern="0" cap="none" spc="0" normalizeH="0" baseline="0" noProof="0" dirty="0" err="1">
                          <a:ln>
                            <a:noFill/>
                          </a:ln>
                          <a:solidFill>
                            <a:srgbClr val="FFFFFF"/>
                          </a:solidFill>
                          <a:effectLst/>
                          <a:uLnTx/>
                          <a:uFillTx/>
                        </a:rPr>
                        <a:t>overnment</a:t>
                      </a:r>
                      <a:r>
                        <a:rPr kumimoji="0" lang="en-GB" sz="1600" b="1" i="0" u="none" strike="noStrike" kern="0" cap="none" spc="0" normalizeH="0" baseline="0" noProof="0" dirty="0">
                          <a:ln>
                            <a:noFill/>
                          </a:ln>
                          <a:solidFill>
                            <a:srgbClr val="FFFFFF"/>
                          </a:solidFill>
                          <a:effectLst/>
                          <a:uLnTx/>
                          <a:uFillTx/>
                        </a:rPr>
                        <a:t> </a:t>
                      </a:r>
                      <a:r>
                        <a:rPr kumimoji="0" lang="pl-PL" sz="1600" b="1" i="0" u="none" strike="noStrike" kern="0" cap="none" spc="0" normalizeH="0" baseline="0" noProof="0" dirty="0">
                          <a:ln>
                            <a:noFill/>
                          </a:ln>
                          <a:solidFill>
                            <a:srgbClr val="FFFFFF"/>
                          </a:solidFill>
                          <a:effectLst/>
                          <a:uLnTx/>
                          <a:uFillTx/>
                        </a:rPr>
                        <a:t>p</a:t>
                      </a:r>
                      <a:r>
                        <a:rPr kumimoji="0" lang="en-GB" sz="1600" b="1" i="0" u="none" strike="noStrike" kern="0" cap="none" spc="0" normalizeH="0" baseline="0" noProof="0" dirty="0" err="1">
                          <a:ln>
                            <a:noFill/>
                          </a:ln>
                          <a:solidFill>
                            <a:srgbClr val="FFFFFF"/>
                          </a:solidFill>
                          <a:effectLst/>
                          <a:uLnTx/>
                          <a:uFillTx/>
                        </a:rPr>
                        <a:t>rogramme</a:t>
                      </a:r>
                      <a:r>
                        <a:rPr kumimoji="0" lang="en-GB" sz="1600" b="1" i="0" u="none" strike="noStrike" kern="0" cap="none" spc="0" normalizeH="0" baseline="0" noProof="0" dirty="0">
                          <a:ln>
                            <a:noFill/>
                          </a:ln>
                          <a:solidFill>
                            <a:srgbClr val="FFFFFF"/>
                          </a:solidFill>
                          <a:effectLst/>
                          <a:uLnTx/>
                          <a:uFillTx/>
                        </a:rPr>
                        <a:t> </a:t>
                      </a:r>
                      <a:endParaRPr kumimoji="0" lang="pl-PL" sz="1600" b="1" i="0" u="none" strike="noStrike" kern="0" cap="none" spc="0" normalizeH="0" baseline="0" noProof="0" dirty="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rPr>
                        <a:t>Financial Support for Exporters</a:t>
                      </a:r>
                      <a:endParaRPr kumimoji="0" lang="pl-PL" sz="1600" b="1" i="0" u="none" strike="noStrike" kern="0" cap="none" spc="0" normalizeH="0" baseline="0" noProof="0" dirty="0">
                        <a:ln>
                          <a:noFill/>
                        </a:ln>
                        <a:solidFill>
                          <a:srgbClr val="FFFFFF"/>
                        </a:solidFill>
                        <a:effectLst/>
                        <a:uLnTx/>
                        <a:uFillTx/>
                      </a:endParaRP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DA203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a:ln>
                            <a:noFill/>
                          </a:ln>
                          <a:solidFill>
                            <a:srgbClr val="FFFFFF"/>
                          </a:solidFill>
                          <a:effectLst/>
                          <a:uLnTx/>
                          <a:uFillTx/>
                        </a:rPr>
                        <a:t>investment </a:t>
                      </a:r>
                      <a:r>
                        <a:rPr kumimoji="0" lang="pl-PL" sz="1600" b="1" i="0" u="none" strike="noStrike" kern="0" cap="none" spc="0" normalizeH="0" baseline="0" noProof="0" dirty="0" err="1">
                          <a:ln>
                            <a:noFill/>
                          </a:ln>
                          <a:solidFill>
                            <a:srgbClr val="FFFFFF"/>
                          </a:solidFill>
                          <a:effectLst/>
                          <a:uLnTx/>
                          <a:uFillTx/>
                        </a:rPr>
                        <a:t>support</a:t>
                      </a:r>
                      <a:endParaRPr kumimoji="0" lang="pl-PL" sz="1600" b="1" i="0" u="none" strike="noStrike" kern="0" cap="none" spc="0" normalizeH="0" baseline="0" noProof="0" dirty="0">
                        <a:ln>
                          <a:noFill/>
                        </a:ln>
                        <a:solidFill>
                          <a:srgbClr val="FFFFFF"/>
                        </a:solidFill>
                        <a:effectLst/>
                        <a:uLnTx/>
                        <a:uFillTx/>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l-PL" sz="1600" b="1" i="0" u="none" strike="noStrike" kern="0" cap="none" spc="0" normalizeH="0" baseline="0" noProof="0" dirty="0">
                        <a:ln>
                          <a:noFill/>
                        </a:ln>
                        <a:solidFill>
                          <a:srgbClr val="FFFFFF"/>
                        </a:solidFill>
                        <a:effectLst/>
                        <a:uLnTx/>
                        <a:uFillTx/>
                      </a:endParaRP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DA203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l-PL" sz="1600" b="1" kern="0" dirty="0" err="1">
                          <a:solidFill>
                            <a:srgbClr val="FFFFFF"/>
                          </a:solidFill>
                        </a:rPr>
                        <a:t>suplementary</a:t>
                      </a:r>
                      <a:r>
                        <a:rPr lang="pl-PL" sz="1600" b="1" kern="0" dirty="0">
                          <a:solidFill>
                            <a:srgbClr val="FFFFFF"/>
                          </a:solidFill>
                        </a:rPr>
                        <a:t> </a:t>
                      </a:r>
                      <a:r>
                        <a:rPr lang="pl-PL" sz="1600" b="1" kern="0" dirty="0" err="1">
                          <a:solidFill>
                            <a:srgbClr val="FFFFFF"/>
                          </a:solidFill>
                        </a:rPr>
                        <a:t>instruments</a:t>
                      </a:r>
                      <a:r>
                        <a:rPr lang="pl-PL" sz="1600" b="1" kern="0" baseline="0" dirty="0">
                          <a:solidFill>
                            <a:srgbClr val="FFFFFF"/>
                          </a:solidFill>
                        </a:rPr>
                        <a:t> of </a:t>
                      </a:r>
                      <a:r>
                        <a:rPr lang="pl-PL" sz="1600" b="1" kern="0" baseline="0" dirty="0" err="1">
                          <a:solidFill>
                            <a:srgbClr val="FFFFFF"/>
                          </a:solidFill>
                        </a:rPr>
                        <a:t>support</a:t>
                      </a:r>
                      <a:r>
                        <a:rPr lang="pl-PL" sz="1600" b="1" kern="0" baseline="0" dirty="0">
                          <a:solidFill>
                            <a:srgbClr val="FFFFFF"/>
                          </a:solidFill>
                        </a:rPr>
                        <a:t> for </a:t>
                      </a:r>
                      <a:r>
                        <a:rPr lang="pl-PL" sz="1600" b="1" kern="0" baseline="0" dirty="0" err="1">
                          <a:solidFill>
                            <a:srgbClr val="FFFFFF"/>
                          </a:solidFill>
                        </a:rPr>
                        <a:t>exporters</a:t>
                      </a:r>
                      <a:endParaRPr lang="pl-PL" sz="1600" b="1" kern="0" dirty="0">
                        <a:solidFill>
                          <a:srgbClr val="FFFFFF"/>
                        </a:solidFill>
                      </a:endParaRPr>
                    </a:p>
                  </a:txBody>
                  <a:tcPr anchor="b">
                    <a:lnL w="19050" cap="flat" cmpd="sng" algn="ctr">
                      <a:solidFill>
                        <a:schemeClr val="bg1"/>
                      </a:solidFill>
                      <a:prstDash val="solid"/>
                      <a:round/>
                      <a:headEnd type="none" w="med" len="med"/>
                      <a:tailEnd type="none" w="med" len="med"/>
                    </a:lnL>
                    <a:solidFill>
                      <a:srgbClr val="DA2038"/>
                    </a:solidFill>
                  </a:tcPr>
                </a:tc>
                <a:extLst>
                  <a:ext uri="{0D108BD9-81ED-4DB2-BD59-A6C34878D82A}">
                    <a16:rowId xmlns:a16="http://schemas.microsoft.com/office/drawing/2014/main" val="1765249701"/>
                  </a:ext>
                </a:extLst>
              </a:tr>
              <a:tr h="1608771">
                <a:tc>
                  <a:txBody>
                    <a:bodyPr/>
                    <a:lstStyle/>
                    <a:p>
                      <a:pPr marL="0" marR="0" lvl="0" indent="0" algn="r"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None/>
                        <a:tabLst/>
                        <a:defRPr/>
                      </a:pPr>
                      <a:r>
                        <a:rPr kumimoji="0" lang="pl-PL" sz="1600" b="1" i="0" u="none" strike="noStrike" kern="0" cap="none" spc="0" normalizeH="0" baseline="0" noProof="0" dirty="0" err="1">
                          <a:ln>
                            <a:noFill/>
                          </a:ln>
                          <a:solidFill>
                            <a:srgbClr val="FFFFFF"/>
                          </a:solidFill>
                          <a:effectLst/>
                          <a:uLnTx/>
                          <a:uFillTx/>
                        </a:rPr>
                        <a:t>long</a:t>
                      </a:r>
                      <a:r>
                        <a:rPr kumimoji="0" lang="pl-PL" sz="1600" b="1" i="0" u="none" strike="noStrike" kern="0" cap="none" spc="0" normalizeH="0" baseline="0" noProof="0" dirty="0">
                          <a:ln>
                            <a:noFill/>
                          </a:ln>
                          <a:solidFill>
                            <a:srgbClr val="FFFFFF"/>
                          </a:solidFill>
                          <a:effectLst/>
                          <a:uLnTx/>
                          <a:uFillTx/>
                        </a:rPr>
                        <a:t>-term</a:t>
                      </a:r>
                      <a:endParaRPr kumimoji="0" lang="pl-PL" sz="1600" b="1" i="0" u="none" strike="noStrike" kern="0" cap="none" spc="0" normalizeH="0" baseline="0" noProof="0" dirty="0">
                        <a:ln>
                          <a:noFill/>
                        </a:ln>
                        <a:solidFill>
                          <a:schemeClr val="bg1"/>
                        </a:solidFill>
                        <a:effectLst/>
                        <a:uLnTx/>
                        <a:uFillTx/>
                      </a:endParaRPr>
                    </a:p>
                    <a:p>
                      <a:pPr marL="0" marR="0" lvl="0" indent="0" algn="r" defTabSz="914400" eaLnBrk="1" fontAlgn="auto" latinLnBrk="0" hangingPunct="1">
                        <a:lnSpc>
                          <a:spcPct val="100000"/>
                        </a:lnSpc>
                        <a:spcBef>
                          <a:spcPts val="0"/>
                        </a:spcBef>
                        <a:spcAft>
                          <a:spcPts val="200"/>
                        </a:spcAft>
                        <a:buClr>
                          <a:srgbClr val="DA2038"/>
                        </a:buClr>
                        <a:buSzTx/>
                        <a:buFont typeface="Wingdings" panose="05000000000000000000" pitchFamily="2" charset="2"/>
                        <a:buNone/>
                        <a:tabLst/>
                        <a:defRPr/>
                      </a:pPr>
                      <a:r>
                        <a:rPr kumimoji="0" lang="pl-PL" sz="1600" b="1" i="0" u="none" strike="noStrike" kern="0" cap="none" spc="0" normalizeH="0" baseline="0" noProof="0" dirty="0">
                          <a:ln>
                            <a:noFill/>
                          </a:ln>
                          <a:solidFill>
                            <a:schemeClr val="bg1"/>
                          </a:solidFill>
                          <a:effectLst/>
                          <a:uLnTx/>
                          <a:uFillTx/>
                        </a:rPr>
                        <a:t>(</a:t>
                      </a:r>
                      <a:r>
                        <a:rPr kumimoji="0" lang="pl-PL" sz="1600" b="1" i="0" u="none" strike="noStrike" kern="0" cap="none" spc="0" normalizeH="0" baseline="0" noProof="0" dirty="0" err="1">
                          <a:ln>
                            <a:noFill/>
                          </a:ln>
                          <a:solidFill>
                            <a:schemeClr val="bg1"/>
                          </a:solidFill>
                          <a:effectLst/>
                          <a:uLnTx/>
                          <a:uFillTx/>
                        </a:rPr>
                        <a:t>over</a:t>
                      </a:r>
                      <a:r>
                        <a:rPr kumimoji="0" lang="pl-PL" sz="1600" b="1" i="0" u="none" strike="noStrike" kern="0" cap="none" spc="0" normalizeH="0" baseline="0" noProof="0" dirty="0">
                          <a:ln>
                            <a:noFill/>
                          </a:ln>
                          <a:solidFill>
                            <a:schemeClr val="bg1"/>
                          </a:solidFill>
                          <a:effectLst/>
                          <a:uLnTx/>
                          <a:uFillTx/>
                        </a:rPr>
                        <a:t> 2 </a:t>
                      </a:r>
                      <a:r>
                        <a:rPr kumimoji="0" lang="pl-PL" sz="1600" b="1" i="0" u="none" strike="noStrike" kern="0" cap="none" spc="0" normalizeH="0" baseline="0" noProof="0" dirty="0" err="1">
                          <a:ln>
                            <a:noFill/>
                          </a:ln>
                          <a:solidFill>
                            <a:schemeClr val="bg1"/>
                          </a:solidFill>
                          <a:effectLst/>
                          <a:uLnTx/>
                          <a:uFillTx/>
                        </a:rPr>
                        <a:t>years</a:t>
                      </a:r>
                      <a:r>
                        <a:rPr kumimoji="0" lang="pl-PL" sz="1600" b="1" i="0" u="none" strike="noStrike" kern="0" cap="none" spc="0" normalizeH="0" baseline="0" noProof="0" dirty="0">
                          <a:ln>
                            <a:noFill/>
                          </a:ln>
                          <a:solidFill>
                            <a:schemeClr val="bg1"/>
                          </a:solidFill>
                          <a:effectLst/>
                          <a:uLnTx/>
                          <a:uFillTx/>
                        </a:rPr>
                        <a:t>)</a:t>
                      </a:r>
                    </a:p>
                  </a:txBody>
                  <a:tcPr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67E84"/>
                    </a:solidFill>
                  </a:tcPr>
                </a:tc>
                <a:tc>
                  <a:txBody>
                    <a:bodyPr/>
                    <a:lstStyle/>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chemeClr val="bg1"/>
                          </a:solidFill>
                          <a:effectLst/>
                          <a:uLnTx/>
                          <a:uFillTx/>
                        </a:rPr>
                        <a:t>buyer’s</a:t>
                      </a:r>
                      <a:r>
                        <a:rPr kumimoji="0" lang="pl-PL" sz="1600" b="0" i="0" u="none" strike="noStrike" kern="0" cap="none" spc="0" normalizeH="0" baseline="0" noProof="0" dirty="0">
                          <a:ln>
                            <a:noFill/>
                          </a:ln>
                          <a:solidFill>
                            <a:schemeClr val="bg1"/>
                          </a:solidFill>
                          <a:effectLst/>
                          <a:uLnTx/>
                          <a:uFillTx/>
                        </a:rPr>
                        <a:t> </a:t>
                      </a:r>
                      <a:r>
                        <a:rPr kumimoji="0" lang="pl-PL" sz="1600" b="0" i="0" u="none" strike="noStrike" kern="0" cap="none" spc="0" normalizeH="0" baseline="0" noProof="0" dirty="0" err="1">
                          <a:ln>
                            <a:noFill/>
                          </a:ln>
                          <a:solidFill>
                            <a:schemeClr val="bg1"/>
                          </a:solidFill>
                          <a:effectLst/>
                          <a:uLnTx/>
                          <a:uFillTx/>
                        </a:rPr>
                        <a:t>credit</a:t>
                      </a:r>
                      <a:endParaRPr kumimoji="0" lang="pl-PL" sz="1600" b="0" i="0" u="none" strike="noStrike" kern="0" cap="none" spc="0" normalizeH="0" baseline="0" noProof="0" dirty="0">
                        <a:ln>
                          <a:noFill/>
                        </a:ln>
                        <a:solidFill>
                          <a:schemeClr val="bg1"/>
                        </a:solidFill>
                        <a:effectLst/>
                        <a:uLnTx/>
                        <a:uFillTx/>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chemeClr val="bg1"/>
                          </a:solidFill>
                          <a:effectLst/>
                          <a:uLnTx/>
                          <a:uFillTx/>
                        </a:rPr>
                        <a:t>purchase</a:t>
                      </a:r>
                      <a:r>
                        <a:rPr kumimoji="0" lang="pl-PL" sz="1600" b="0" i="0" u="none" strike="noStrike" kern="0" cap="none" spc="0" normalizeH="0" baseline="0" noProof="0" dirty="0">
                          <a:ln>
                            <a:noFill/>
                          </a:ln>
                          <a:solidFill>
                            <a:schemeClr val="bg1"/>
                          </a:solidFill>
                          <a:effectLst/>
                          <a:uLnTx/>
                          <a:uFillTx/>
                        </a:rPr>
                        <a:t> of </a:t>
                      </a:r>
                      <a:r>
                        <a:rPr kumimoji="0" lang="pl-PL" sz="1600" b="0" i="0" u="none" strike="noStrike" kern="0" cap="none" spc="0" normalizeH="0" baseline="0" noProof="0" dirty="0" err="1">
                          <a:ln>
                            <a:noFill/>
                          </a:ln>
                          <a:solidFill>
                            <a:schemeClr val="bg1"/>
                          </a:solidFill>
                          <a:effectLst/>
                          <a:uLnTx/>
                          <a:uFillTx/>
                        </a:rPr>
                        <a:t>receivables</a:t>
                      </a:r>
                      <a:r>
                        <a:rPr kumimoji="0" lang="pl-PL" sz="1600" b="0" i="0" u="none" strike="noStrike" kern="0" cap="none" spc="0" normalizeH="0" baseline="0" noProof="0" dirty="0">
                          <a:ln>
                            <a:noFill/>
                          </a:ln>
                          <a:solidFill>
                            <a:schemeClr val="bg1"/>
                          </a:solidFill>
                          <a:effectLst/>
                          <a:uLnTx/>
                          <a:uFillTx/>
                        </a:rPr>
                        <a:t> </a:t>
                      </a: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chemeClr val="bg1"/>
                          </a:solidFill>
                          <a:effectLst/>
                          <a:uLnTx/>
                          <a:uFillTx/>
                        </a:rPr>
                        <a:t>buyer’s</a:t>
                      </a:r>
                      <a:r>
                        <a:rPr kumimoji="0" lang="pl-PL" sz="1600" b="0" i="0" u="none" strike="noStrike" kern="0" cap="none" spc="0" normalizeH="0" baseline="0" noProof="0" dirty="0">
                          <a:ln>
                            <a:noFill/>
                          </a:ln>
                          <a:solidFill>
                            <a:schemeClr val="bg1"/>
                          </a:solidFill>
                          <a:effectLst/>
                          <a:uLnTx/>
                          <a:uFillTx/>
                        </a:rPr>
                        <a:t> bank </a:t>
                      </a:r>
                      <a:r>
                        <a:rPr kumimoji="0" lang="pl-PL" sz="1600" b="0" i="0" u="none" strike="noStrike" kern="0" cap="none" spc="0" normalizeH="0" baseline="0" noProof="0" dirty="0" err="1">
                          <a:ln>
                            <a:noFill/>
                          </a:ln>
                          <a:solidFill>
                            <a:schemeClr val="bg1"/>
                          </a:solidFill>
                          <a:effectLst/>
                          <a:uLnTx/>
                          <a:uFillTx/>
                        </a:rPr>
                        <a:t>credit</a:t>
                      </a:r>
                      <a:endParaRPr kumimoji="0" lang="pl-PL" sz="1600" b="0" i="0" u="none" strike="noStrike" kern="0" cap="none" spc="0" normalizeH="0" baseline="0" noProof="0" dirty="0">
                        <a:ln>
                          <a:noFill/>
                        </a:ln>
                        <a:solidFill>
                          <a:schemeClr val="bg1"/>
                        </a:solidFill>
                        <a:effectLst/>
                        <a:uLnTx/>
                        <a:uFillTx/>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67E84"/>
                    </a:solidFill>
                  </a:tcPr>
                </a:tc>
                <a:tc>
                  <a:txBody>
                    <a:bodyPr/>
                    <a:lstStyle/>
                    <a:p>
                      <a:pPr marL="285750" indent="-285750">
                        <a:buClr>
                          <a:srgbClr val="DA2038"/>
                        </a:buClr>
                        <a:buFont typeface="Wingdings" panose="05000000000000000000" pitchFamily="2" charset="2"/>
                        <a:buChar char="§"/>
                      </a:pPr>
                      <a:r>
                        <a:rPr kumimoji="0" lang="pl-PL" sz="1600" b="0" i="0" u="none" strike="noStrike" kern="0" cap="none" spc="0" normalizeH="0" baseline="0" dirty="0" err="1">
                          <a:ln>
                            <a:noFill/>
                          </a:ln>
                          <a:solidFill>
                            <a:schemeClr val="bg1"/>
                          </a:solidFill>
                          <a:effectLst/>
                          <a:uLnTx/>
                          <a:uFillTx/>
                          <a:latin typeface="+mn-lt"/>
                          <a:ea typeface="+mn-ea"/>
                          <a:cs typeface="+mn-cs"/>
                        </a:rPr>
                        <a:t>structured</a:t>
                      </a:r>
                      <a:r>
                        <a:rPr kumimoji="0" lang="pl-PL" sz="1600" b="0" i="0" u="none" strike="noStrike" kern="0" cap="none" spc="0" normalizeH="0" baseline="0" dirty="0">
                          <a:ln>
                            <a:noFill/>
                          </a:ln>
                          <a:solidFill>
                            <a:schemeClr val="bg1"/>
                          </a:solidFill>
                          <a:effectLst/>
                          <a:uLnTx/>
                          <a:uFillTx/>
                          <a:latin typeface="+mn-lt"/>
                          <a:ea typeface="+mn-ea"/>
                          <a:cs typeface="+mn-cs"/>
                        </a:rPr>
                        <a:t> </a:t>
                      </a:r>
                      <a:r>
                        <a:rPr kumimoji="0" lang="pl-PL" sz="1600" b="0" i="0" u="none" strike="noStrike" kern="0" cap="none" spc="0" normalizeH="0" baseline="0" dirty="0" err="1">
                          <a:ln>
                            <a:noFill/>
                          </a:ln>
                          <a:solidFill>
                            <a:schemeClr val="bg1"/>
                          </a:solidFill>
                          <a:effectLst/>
                          <a:uLnTx/>
                          <a:uFillTx/>
                          <a:latin typeface="+mn-lt"/>
                          <a:ea typeface="+mn-ea"/>
                          <a:cs typeface="+mn-cs"/>
                        </a:rPr>
                        <a:t>credits</a:t>
                      </a:r>
                      <a:r>
                        <a:rPr kumimoji="0" lang="pl-PL" sz="1600" b="0" i="0" u="none" strike="noStrike" kern="0" cap="none" spc="0" normalizeH="0" baseline="0" dirty="0">
                          <a:ln>
                            <a:noFill/>
                          </a:ln>
                          <a:solidFill>
                            <a:schemeClr val="bg1"/>
                          </a:solidFill>
                          <a:effectLst/>
                          <a:uLnTx/>
                          <a:uFillTx/>
                          <a:latin typeface="+mn-lt"/>
                          <a:ea typeface="+mn-ea"/>
                          <a:cs typeface="+mn-cs"/>
                        </a:rPr>
                        <a:t> for </a:t>
                      </a:r>
                      <a:r>
                        <a:rPr kumimoji="0" lang="pl-PL" sz="1600" b="0" i="0" u="none" strike="noStrike" kern="0" cap="none" spc="0" normalizeH="0" baseline="0" dirty="0" err="1">
                          <a:ln>
                            <a:noFill/>
                          </a:ln>
                          <a:solidFill>
                            <a:schemeClr val="bg1"/>
                          </a:solidFill>
                          <a:effectLst/>
                          <a:uLnTx/>
                          <a:uFillTx/>
                          <a:latin typeface="+mn-lt"/>
                          <a:ea typeface="+mn-ea"/>
                          <a:cs typeface="+mn-cs"/>
                        </a:rPr>
                        <a:t>financing</a:t>
                      </a:r>
                      <a:r>
                        <a:rPr kumimoji="0" lang="pl-PL" sz="1600" b="0" i="0" u="none" strike="noStrike" kern="0" cap="none" spc="0" normalizeH="0" baseline="0" dirty="0">
                          <a:ln>
                            <a:noFill/>
                          </a:ln>
                          <a:solidFill>
                            <a:schemeClr val="bg1"/>
                          </a:solidFill>
                          <a:effectLst/>
                          <a:uLnTx/>
                          <a:uFillTx/>
                          <a:latin typeface="+mn-lt"/>
                          <a:ea typeface="+mn-ea"/>
                          <a:cs typeface="+mn-cs"/>
                        </a:rPr>
                        <a:t> of </a:t>
                      </a:r>
                      <a:r>
                        <a:rPr kumimoji="0" lang="pl-PL" sz="1600" b="0" i="0" u="none" strike="noStrike" kern="0" cap="none" spc="0" normalizeH="0" baseline="0" dirty="0" err="1">
                          <a:ln>
                            <a:noFill/>
                          </a:ln>
                          <a:solidFill>
                            <a:schemeClr val="bg1"/>
                          </a:solidFill>
                          <a:effectLst/>
                          <a:uLnTx/>
                          <a:uFillTx/>
                          <a:latin typeface="+mn-lt"/>
                          <a:ea typeface="+mn-ea"/>
                          <a:cs typeface="+mn-cs"/>
                        </a:rPr>
                        <a:t>international</a:t>
                      </a:r>
                      <a:r>
                        <a:rPr kumimoji="0" lang="pl-PL" sz="1600" b="0" i="0" u="none" strike="noStrike" kern="0" cap="none" spc="0" normalizeH="0" baseline="0" dirty="0">
                          <a:ln>
                            <a:noFill/>
                          </a:ln>
                          <a:solidFill>
                            <a:schemeClr val="bg1"/>
                          </a:solidFill>
                          <a:effectLst/>
                          <a:uLnTx/>
                          <a:uFillTx/>
                          <a:latin typeface="+mn-lt"/>
                          <a:ea typeface="+mn-ea"/>
                          <a:cs typeface="+mn-cs"/>
                        </a:rPr>
                        <a:t> </a:t>
                      </a:r>
                      <a:r>
                        <a:rPr kumimoji="0" lang="pl-PL" sz="1600" b="0" i="0" u="none" strike="noStrike" kern="0" cap="none" spc="0" normalizeH="0" baseline="0" dirty="0" err="1">
                          <a:ln>
                            <a:noFill/>
                          </a:ln>
                          <a:solidFill>
                            <a:schemeClr val="bg1"/>
                          </a:solidFill>
                          <a:effectLst/>
                          <a:uLnTx/>
                          <a:uFillTx/>
                          <a:latin typeface="+mn-lt"/>
                          <a:ea typeface="+mn-ea"/>
                          <a:cs typeface="+mn-cs"/>
                        </a:rPr>
                        <a:t>expansion</a:t>
                      </a:r>
                      <a:r>
                        <a:rPr kumimoji="0" lang="pl-PL" sz="1600" b="0" i="0" u="none" strike="noStrike" kern="0" cap="none" spc="0" normalizeH="0" baseline="0" dirty="0">
                          <a:ln>
                            <a:noFill/>
                          </a:ln>
                          <a:solidFill>
                            <a:schemeClr val="bg1"/>
                          </a:solidFill>
                          <a:effectLst/>
                          <a:uLnTx/>
                          <a:uFillTx/>
                          <a:latin typeface="+mn-lt"/>
                          <a:ea typeface="+mn-ea"/>
                          <a:cs typeface="+mn-cs"/>
                        </a:rPr>
                        <a:t> of </a:t>
                      </a:r>
                      <a:r>
                        <a:rPr kumimoji="0" lang="pl-PL" sz="1600" b="0" i="0" u="none" strike="noStrike" kern="0" cap="none" spc="0" normalizeH="0" baseline="0" dirty="0" err="1">
                          <a:ln>
                            <a:noFill/>
                          </a:ln>
                          <a:solidFill>
                            <a:schemeClr val="bg1"/>
                          </a:solidFill>
                          <a:effectLst/>
                          <a:uLnTx/>
                          <a:uFillTx/>
                          <a:latin typeface="+mn-lt"/>
                          <a:ea typeface="+mn-ea"/>
                          <a:cs typeface="+mn-cs"/>
                        </a:rPr>
                        <a:t>Polish</a:t>
                      </a:r>
                      <a:r>
                        <a:rPr kumimoji="0" lang="pl-PL" sz="1600" b="0" i="0" u="none" strike="noStrike" kern="0" cap="none" spc="0" normalizeH="0" baseline="0" dirty="0">
                          <a:ln>
                            <a:noFill/>
                          </a:ln>
                          <a:solidFill>
                            <a:schemeClr val="bg1"/>
                          </a:solidFill>
                          <a:effectLst/>
                          <a:uLnTx/>
                          <a:uFillTx/>
                          <a:latin typeface="+mn-lt"/>
                          <a:ea typeface="+mn-ea"/>
                          <a:cs typeface="+mn-cs"/>
                        </a:rPr>
                        <a:t> </a:t>
                      </a:r>
                      <a:r>
                        <a:rPr kumimoji="0" lang="pl-PL" sz="1600" b="0" i="0" u="none" strike="noStrike" kern="0" cap="none" spc="0" normalizeH="0" baseline="0" dirty="0" err="1">
                          <a:ln>
                            <a:noFill/>
                          </a:ln>
                          <a:solidFill>
                            <a:schemeClr val="bg1"/>
                          </a:solidFill>
                          <a:effectLst/>
                          <a:uLnTx/>
                          <a:uFillTx/>
                          <a:latin typeface="+mn-lt"/>
                          <a:ea typeface="+mn-ea"/>
                          <a:cs typeface="+mn-cs"/>
                        </a:rPr>
                        <a:t>companies</a:t>
                      </a:r>
                      <a:r>
                        <a:rPr kumimoji="0" lang="pl-PL" sz="1600" b="0" i="0" u="none" strike="noStrike" kern="0" cap="none" spc="0" normalizeH="0" baseline="0" dirty="0">
                          <a:ln>
                            <a:noFill/>
                          </a:ln>
                          <a:solidFill>
                            <a:schemeClr val="bg1"/>
                          </a:solidFill>
                          <a:effectLst/>
                          <a:uLnTx/>
                          <a:uFillTx/>
                          <a:latin typeface="+mn-lt"/>
                          <a:ea typeface="+mn-ea"/>
                          <a:cs typeface="+mn-cs"/>
                        </a:rPr>
                        <a:t>  </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67E84"/>
                    </a:solidFill>
                  </a:tcPr>
                </a:tc>
                <a:tc rowSpan="2">
                  <a:txBody>
                    <a:bodyPr/>
                    <a:lstStyle/>
                    <a:p>
                      <a:pPr marL="182563" marR="0" lvl="0" indent="-182563" algn="l"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credits</a:t>
                      </a:r>
                      <a:r>
                        <a:rPr kumimoji="0" lang="pl-PL" sz="1600" b="0" i="0" u="none" strike="noStrike" kern="0" cap="none" spc="0" normalizeH="0" baseline="0" noProof="0" dirty="0">
                          <a:ln>
                            <a:noFill/>
                          </a:ln>
                          <a:solidFill>
                            <a:srgbClr val="636B71">
                              <a:lumMod val="75000"/>
                            </a:srgbClr>
                          </a:solidFill>
                          <a:effectLst/>
                          <a:uLnTx/>
                          <a:uFillTx/>
                        </a:rPr>
                        <a:t> for </a:t>
                      </a:r>
                      <a:r>
                        <a:rPr kumimoji="0" lang="pl-PL" sz="1600" b="0" i="0" u="none" strike="noStrike" kern="0" cap="none" spc="0" normalizeH="0" baseline="0" noProof="0" dirty="0" err="1">
                          <a:ln>
                            <a:noFill/>
                          </a:ln>
                          <a:solidFill>
                            <a:srgbClr val="636B71">
                              <a:lumMod val="75000"/>
                            </a:srgbClr>
                          </a:solidFill>
                          <a:effectLst/>
                          <a:uLnTx/>
                          <a:uFillTx/>
                        </a:rPr>
                        <a:t>investments</a:t>
                      </a:r>
                      <a:r>
                        <a:rPr kumimoji="0" lang="pl-PL" sz="1600" b="0" i="0" u="none" strike="noStrike" kern="0" cap="none" spc="0" normalizeH="0" baseline="0" noProof="0" dirty="0">
                          <a:ln>
                            <a:noFill/>
                          </a:ln>
                          <a:solidFill>
                            <a:srgbClr val="636B71">
                              <a:lumMod val="75000"/>
                            </a:srgbClr>
                          </a:solidFill>
                          <a:effectLst/>
                          <a:uLnTx/>
                          <a:uFillTx/>
                        </a:rPr>
                        <a:t> with ECA </a:t>
                      </a:r>
                      <a:r>
                        <a:rPr kumimoji="0" lang="pl-PL" sz="1600" b="0" i="0" u="none" strike="noStrike" kern="0" cap="none" spc="0" normalizeH="0" baseline="0" noProof="0" dirty="0" err="1">
                          <a:ln>
                            <a:noFill/>
                          </a:ln>
                          <a:solidFill>
                            <a:srgbClr val="636B71">
                              <a:lumMod val="75000"/>
                            </a:srgbClr>
                          </a:solidFill>
                          <a:effectLst/>
                          <a:uLnTx/>
                          <a:uFillTx/>
                        </a:rPr>
                        <a:t>cover</a:t>
                      </a:r>
                      <a:r>
                        <a:rPr kumimoji="0" lang="pl-PL" sz="1600" b="0" i="0" u="none" strike="noStrike" kern="0" cap="none" spc="0" normalizeH="0" baseline="0" noProof="0" dirty="0">
                          <a:ln>
                            <a:noFill/>
                          </a:ln>
                          <a:solidFill>
                            <a:srgbClr val="636B71">
                              <a:lumMod val="75000"/>
                            </a:srgbClr>
                          </a:solidFill>
                          <a:effectLst/>
                          <a:uLnTx/>
                          <a:uFillTx/>
                        </a:rPr>
                        <a:t> </a:t>
                      </a:r>
                    </a:p>
                    <a:p>
                      <a:pPr marL="182563" marR="0" lvl="0" indent="-182563" algn="l"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lang="pl-PL" sz="1600" kern="0" noProof="0" dirty="0" err="1">
                          <a:solidFill>
                            <a:srgbClr val="636B71">
                              <a:lumMod val="75000"/>
                            </a:srgbClr>
                          </a:solidFill>
                        </a:rPr>
                        <a:t>working</a:t>
                      </a:r>
                      <a:r>
                        <a:rPr lang="pl-PL" sz="1600" kern="0" noProof="0" dirty="0">
                          <a:solidFill>
                            <a:srgbClr val="636B71">
                              <a:lumMod val="75000"/>
                            </a:srgbClr>
                          </a:solidFill>
                        </a:rPr>
                        <a:t> </a:t>
                      </a:r>
                      <a:r>
                        <a:rPr lang="pl-PL" sz="1600" kern="0" noProof="0" dirty="0" err="1">
                          <a:solidFill>
                            <a:srgbClr val="636B71">
                              <a:lumMod val="75000"/>
                            </a:srgbClr>
                          </a:solidFill>
                        </a:rPr>
                        <a:t>capital</a:t>
                      </a:r>
                      <a:r>
                        <a:rPr lang="pl-PL" sz="1600" kern="0" noProof="0" dirty="0">
                          <a:solidFill>
                            <a:srgbClr val="636B71">
                              <a:lumMod val="75000"/>
                            </a:srgbClr>
                          </a:solidFill>
                        </a:rPr>
                        <a:t> </a:t>
                      </a:r>
                      <a:r>
                        <a:rPr lang="pl-PL" sz="1600" kern="0" noProof="0" dirty="0" err="1">
                          <a:solidFill>
                            <a:srgbClr val="636B71">
                              <a:lumMod val="75000"/>
                            </a:srgbClr>
                          </a:solidFill>
                        </a:rPr>
                        <a:t>facility</a:t>
                      </a:r>
                      <a:r>
                        <a:rPr lang="pl-PL" sz="1600" kern="0" baseline="0" noProof="0" dirty="0">
                          <a:solidFill>
                            <a:srgbClr val="636B71">
                              <a:lumMod val="75000"/>
                            </a:srgbClr>
                          </a:solidFill>
                        </a:rPr>
                        <a:t> with ECA </a:t>
                      </a:r>
                      <a:r>
                        <a:rPr lang="pl-PL" sz="1600" kern="0" baseline="0" noProof="0" dirty="0" err="1">
                          <a:solidFill>
                            <a:srgbClr val="636B71">
                              <a:lumMod val="75000"/>
                            </a:srgbClr>
                          </a:solidFill>
                        </a:rPr>
                        <a:t>cover</a:t>
                      </a:r>
                      <a:r>
                        <a:rPr lang="pl-PL" sz="1600" kern="0" baseline="0" noProof="0" dirty="0">
                          <a:solidFill>
                            <a:srgbClr val="636B71">
                              <a:lumMod val="75000"/>
                            </a:srgbClr>
                          </a:solidFill>
                        </a:rPr>
                        <a:t> </a:t>
                      </a:r>
                      <a:r>
                        <a:rPr lang="pl-PL" sz="1600" kern="0" noProof="0" dirty="0">
                          <a:solidFill>
                            <a:srgbClr val="636B71">
                              <a:lumMod val="75000"/>
                            </a:srgbClr>
                          </a:solidFill>
                        </a:rPr>
                        <a:t>(</a:t>
                      </a:r>
                      <a:r>
                        <a:rPr lang="pl-PL" sz="1600" kern="0" noProof="0" dirty="0" err="1">
                          <a:solidFill>
                            <a:srgbClr val="636B71">
                              <a:lumMod val="75000"/>
                            </a:srgbClr>
                          </a:solidFill>
                        </a:rPr>
                        <a:t>up</a:t>
                      </a:r>
                      <a:r>
                        <a:rPr lang="pl-PL" sz="1600" kern="0" noProof="0" dirty="0">
                          <a:solidFill>
                            <a:srgbClr val="636B71">
                              <a:lumMod val="75000"/>
                            </a:srgbClr>
                          </a:solidFill>
                        </a:rPr>
                        <a:t> to 2 </a:t>
                      </a:r>
                      <a:r>
                        <a:rPr lang="pl-PL" sz="1600" kern="0" noProof="0" dirty="0" err="1">
                          <a:solidFill>
                            <a:srgbClr val="636B71">
                              <a:lumMod val="75000"/>
                            </a:srgbClr>
                          </a:solidFill>
                        </a:rPr>
                        <a:t>years</a:t>
                      </a:r>
                      <a:r>
                        <a:rPr lang="pl-PL" sz="1600" kern="0" noProof="0" dirty="0">
                          <a:solidFill>
                            <a:srgbClr val="636B71">
                              <a:lumMod val="75000"/>
                            </a:srgbClr>
                          </a:solidFill>
                        </a:rPr>
                        <a:t>)</a:t>
                      </a:r>
                    </a:p>
                    <a:p>
                      <a:pPr marL="182563" marR="0" lvl="0" indent="-182563" algn="l" defTabSz="914400" rtl="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dirty="0" err="1">
                          <a:ln>
                            <a:noFill/>
                          </a:ln>
                          <a:solidFill>
                            <a:srgbClr val="636B71">
                              <a:lumMod val="75000"/>
                            </a:srgbClr>
                          </a:solidFill>
                          <a:effectLst/>
                          <a:uLnTx/>
                          <a:uFillTx/>
                        </a:rPr>
                        <a:t>supply</a:t>
                      </a:r>
                      <a:r>
                        <a:rPr kumimoji="0" lang="pl-PL" sz="1600" b="0" i="0" u="none" strike="noStrike" kern="0" cap="none" spc="0" normalizeH="0" baseline="0" dirty="0">
                          <a:ln>
                            <a:noFill/>
                          </a:ln>
                          <a:solidFill>
                            <a:srgbClr val="636B71">
                              <a:lumMod val="75000"/>
                            </a:srgbClr>
                          </a:solidFill>
                          <a:effectLst/>
                          <a:uLnTx/>
                          <a:uFillTx/>
                        </a:rPr>
                        <a:t> </a:t>
                      </a:r>
                      <a:r>
                        <a:rPr kumimoji="0" lang="pl-PL" sz="1600" b="0" i="0" u="none" strike="noStrike" kern="0" cap="none" spc="0" normalizeH="0" baseline="0" dirty="0" err="1">
                          <a:ln>
                            <a:noFill/>
                          </a:ln>
                          <a:solidFill>
                            <a:srgbClr val="636B71">
                              <a:lumMod val="75000"/>
                            </a:srgbClr>
                          </a:solidFill>
                          <a:effectLst/>
                          <a:uLnTx/>
                          <a:uFillTx/>
                        </a:rPr>
                        <a:t>chain</a:t>
                      </a:r>
                      <a:r>
                        <a:rPr kumimoji="0" lang="pl-PL" sz="1600" b="0" i="0" u="none" strike="noStrike" kern="0" cap="none" spc="0" normalizeH="0" baseline="0" dirty="0">
                          <a:ln>
                            <a:noFill/>
                          </a:ln>
                          <a:solidFill>
                            <a:srgbClr val="636B71">
                              <a:lumMod val="75000"/>
                            </a:srgbClr>
                          </a:solidFill>
                          <a:effectLst/>
                          <a:uLnTx/>
                          <a:uFillTx/>
                        </a:rPr>
                        <a:t> </a:t>
                      </a:r>
                      <a:r>
                        <a:rPr kumimoji="0" lang="pl-PL" sz="1600" b="0" i="0" u="none" strike="noStrike" kern="0" cap="none" spc="0" normalizeH="0" baseline="0" dirty="0" err="1">
                          <a:ln>
                            <a:noFill/>
                          </a:ln>
                          <a:solidFill>
                            <a:srgbClr val="636B71">
                              <a:lumMod val="75000"/>
                            </a:srgbClr>
                          </a:solidFill>
                          <a:effectLst/>
                          <a:uLnTx/>
                          <a:uFillTx/>
                        </a:rPr>
                        <a:t>financing</a:t>
                      </a:r>
                      <a:endParaRPr lang="pl-PL" sz="1600" kern="0" noProof="0" dirty="0">
                        <a:solidFill>
                          <a:srgbClr val="636B71">
                            <a:lumMod val="75000"/>
                          </a:srgbClr>
                        </a:solidFill>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a:ln>
                            <a:noFill/>
                          </a:ln>
                          <a:solidFill>
                            <a:srgbClr val="636B71">
                              <a:lumMod val="75000"/>
                            </a:srgbClr>
                          </a:solidFill>
                          <a:effectLst/>
                          <a:uLnTx/>
                          <a:uFillTx/>
                        </a:rPr>
                        <a:t>cross-</a:t>
                      </a:r>
                      <a:r>
                        <a:rPr kumimoji="0" lang="pl-PL" sz="1600" b="0" i="0" u="none" strike="noStrike" kern="0" cap="none" spc="0" normalizeH="0" baseline="0" noProof="0" dirty="0" err="1">
                          <a:ln>
                            <a:noFill/>
                          </a:ln>
                          <a:solidFill>
                            <a:srgbClr val="636B71">
                              <a:lumMod val="75000"/>
                            </a:srgbClr>
                          </a:solidFill>
                          <a:effectLst/>
                          <a:uLnTx/>
                          <a:uFillTx/>
                        </a:rPr>
                        <a:t>boarder</a:t>
                      </a:r>
                      <a:r>
                        <a:rPr kumimoji="0" lang="pl-PL" sz="1600" b="0" i="0" u="none" strike="noStrike" kern="0" cap="none" spc="0" normalizeH="0" baseline="0" noProof="0" dirty="0">
                          <a:ln>
                            <a:noFill/>
                          </a:ln>
                          <a:solidFill>
                            <a:srgbClr val="636B71">
                              <a:lumMod val="75000"/>
                            </a:srgbClr>
                          </a:solidFill>
                          <a:effectLst/>
                          <a:uLnTx/>
                          <a:uFillTx/>
                        </a:rPr>
                        <a:t> </a:t>
                      </a:r>
                      <a:r>
                        <a:rPr kumimoji="0" lang="pl-PL" sz="1600" b="0" i="0" u="none" strike="noStrike" kern="0" cap="none" spc="0" normalizeH="0" baseline="0" noProof="0" dirty="0" err="1">
                          <a:ln>
                            <a:noFill/>
                          </a:ln>
                          <a:solidFill>
                            <a:srgbClr val="636B71">
                              <a:lumMod val="75000"/>
                            </a:srgbClr>
                          </a:solidFill>
                          <a:effectLst/>
                          <a:uLnTx/>
                          <a:uFillTx/>
                        </a:rPr>
                        <a:t>gurantees</a:t>
                      </a:r>
                      <a:endParaRPr kumimoji="0" lang="pl-PL" sz="1600" b="0" i="0" u="none" strike="noStrike" kern="0" cap="none" spc="0" normalizeH="0" baseline="0" noProof="0" dirty="0">
                        <a:ln>
                          <a:noFill/>
                        </a:ln>
                        <a:solidFill>
                          <a:srgbClr val="636B71">
                            <a:lumMod val="75000"/>
                          </a:srgbClr>
                        </a:solidFill>
                        <a:effectLst/>
                        <a:uLnTx/>
                        <a:uFillTx/>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lang="pl-PL" sz="1600" kern="0" dirty="0" err="1">
                          <a:solidFill>
                            <a:srgbClr val="636B71">
                              <a:lumMod val="75000"/>
                            </a:srgbClr>
                          </a:solidFill>
                        </a:rPr>
                        <a:t>guarantess</a:t>
                      </a:r>
                      <a:r>
                        <a:rPr lang="pl-PL" sz="1600" kern="0" dirty="0">
                          <a:solidFill>
                            <a:srgbClr val="636B71">
                              <a:lumMod val="75000"/>
                            </a:srgbClr>
                          </a:solidFill>
                        </a:rPr>
                        <a:t> and </a:t>
                      </a:r>
                      <a:r>
                        <a:rPr lang="pl-PL" sz="1600" kern="0" dirty="0" err="1">
                          <a:solidFill>
                            <a:srgbClr val="636B71">
                              <a:lumMod val="75000"/>
                            </a:srgbClr>
                          </a:solidFill>
                        </a:rPr>
                        <a:t>letters</a:t>
                      </a:r>
                      <a:r>
                        <a:rPr lang="pl-PL" sz="1600" kern="0" baseline="0" dirty="0">
                          <a:solidFill>
                            <a:srgbClr val="636B71">
                              <a:lumMod val="75000"/>
                            </a:srgbClr>
                          </a:solidFill>
                        </a:rPr>
                        <a:t> of </a:t>
                      </a:r>
                      <a:r>
                        <a:rPr lang="pl-PL" sz="1600" kern="0" baseline="0" dirty="0" err="1">
                          <a:solidFill>
                            <a:srgbClr val="636B71">
                              <a:lumMod val="75000"/>
                            </a:srgbClr>
                          </a:solidFill>
                        </a:rPr>
                        <a:t>credit</a:t>
                      </a:r>
                      <a:r>
                        <a:rPr lang="pl-PL" sz="1600" kern="0" baseline="0" dirty="0">
                          <a:solidFill>
                            <a:srgbClr val="636B71">
                              <a:lumMod val="75000"/>
                            </a:srgbClr>
                          </a:solidFill>
                        </a:rPr>
                        <a:t> lines</a:t>
                      </a:r>
                      <a:endParaRPr lang="pl-PL" sz="1600" kern="0" noProof="0" dirty="0">
                        <a:solidFill>
                          <a:srgbClr val="636B71">
                            <a:lumMod val="75000"/>
                          </a:srgbClr>
                        </a:solidFill>
                      </a:endParaRPr>
                    </a:p>
                  </a:txBody>
                  <a:tcPr anchor="ctr">
                    <a:lnL w="1905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80434992"/>
                  </a:ext>
                </a:extLst>
              </a:tr>
              <a:tr h="1608771">
                <a:tc>
                  <a: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err="1">
                          <a:ln>
                            <a:noFill/>
                          </a:ln>
                          <a:solidFill>
                            <a:prstClr val="black">
                              <a:lumMod val="65000"/>
                              <a:lumOff val="35000"/>
                            </a:prstClr>
                          </a:solidFill>
                          <a:effectLst/>
                          <a:uLnTx/>
                          <a:uFillTx/>
                        </a:rPr>
                        <a:t>short</a:t>
                      </a:r>
                      <a:r>
                        <a:rPr kumimoji="0" lang="pl-PL" sz="1600" b="1" i="0" u="none" strike="noStrike" kern="0" cap="none" spc="0" normalizeH="0" baseline="0" noProof="0" dirty="0">
                          <a:ln>
                            <a:noFill/>
                          </a:ln>
                          <a:solidFill>
                            <a:prstClr val="black">
                              <a:lumMod val="65000"/>
                              <a:lumOff val="35000"/>
                            </a:prstClr>
                          </a:solidFill>
                          <a:effectLst/>
                          <a:uLnTx/>
                          <a:uFillTx/>
                        </a:rPr>
                        <a:t>-term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pl-PL" sz="1600" b="1" i="0" u="none" strike="noStrike" kern="0" cap="none" spc="0" normalizeH="0" baseline="0" noProof="0" dirty="0">
                          <a:ln>
                            <a:noFill/>
                          </a:ln>
                          <a:solidFill>
                            <a:srgbClr val="636B71">
                              <a:lumMod val="75000"/>
                            </a:srgbClr>
                          </a:solidFill>
                          <a:effectLst/>
                          <a:uLnTx/>
                          <a:uFillTx/>
                        </a:rPr>
                        <a:t>(</a:t>
                      </a:r>
                      <a:r>
                        <a:rPr kumimoji="0" lang="pl-PL" sz="1600" b="1" i="0" u="none" strike="noStrike" kern="0" cap="none" spc="0" normalizeH="0" baseline="0" noProof="0" dirty="0" err="1">
                          <a:ln>
                            <a:noFill/>
                          </a:ln>
                          <a:solidFill>
                            <a:srgbClr val="636B71">
                              <a:lumMod val="75000"/>
                            </a:srgbClr>
                          </a:solidFill>
                          <a:effectLst/>
                          <a:uLnTx/>
                          <a:uFillTx/>
                        </a:rPr>
                        <a:t>up</a:t>
                      </a:r>
                      <a:r>
                        <a:rPr kumimoji="0" lang="pl-PL" sz="1600" b="1" i="0" u="none" strike="noStrike" kern="0" cap="none" spc="0" normalizeH="0" baseline="0" noProof="0" dirty="0">
                          <a:ln>
                            <a:noFill/>
                          </a:ln>
                          <a:solidFill>
                            <a:srgbClr val="636B71">
                              <a:lumMod val="75000"/>
                            </a:srgbClr>
                          </a:solidFill>
                          <a:effectLst/>
                          <a:uLnTx/>
                          <a:uFillTx/>
                        </a:rPr>
                        <a:t> to 2 </a:t>
                      </a:r>
                      <a:r>
                        <a:rPr kumimoji="0" lang="pl-PL" sz="1600" b="1" i="0" u="none" strike="noStrike" kern="0" cap="none" spc="0" normalizeH="0" baseline="0" noProof="0" dirty="0" err="1">
                          <a:ln>
                            <a:noFill/>
                          </a:ln>
                          <a:solidFill>
                            <a:srgbClr val="636B71">
                              <a:lumMod val="75000"/>
                            </a:srgbClr>
                          </a:solidFill>
                          <a:effectLst/>
                          <a:uLnTx/>
                          <a:uFillTx/>
                        </a:rPr>
                        <a:t>years</a:t>
                      </a:r>
                      <a:r>
                        <a:rPr kumimoji="0" lang="pl-PL" sz="1600" b="1" i="0" u="none" strike="noStrike" kern="0" cap="none" spc="0" normalizeH="0" baseline="0" noProof="0" dirty="0">
                          <a:ln>
                            <a:noFill/>
                          </a:ln>
                          <a:solidFill>
                            <a:srgbClr val="636B71">
                              <a:lumMod val="75000"/>
                            </a:srgbClr>
                          </a:solidFill>
                          <a:effectLst/>
                          <a:uLnTx/>
                          <a:uFillTx/>
                        </a:rPr>
                        <a:t>)</a:t>
                      </a:r>
                    </a:p>
                  </a:txBody>
                  <a:tcPr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a:txBody>
                    <a:bodyPr/>
                    <a:lstStyle/>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Letter</a:t>
                      </a:r>
                      <a:r>
                        <a:rPr kumimoji="0" lang="pl-PL" sz="1600" b="0" i="0" u="none" strike="noStrike" kern="0" cap="none" spc="0" normalizeH="0" baseline="0" noProof="0" dirty="0">
                          <a:ln>
                            <a:noFill/>
                          </a:ln>
                          <a:solidFill>
                            <a:srgbClr val="636B71">
                              <a:lumMod val="75000"/>
                            </a:srgbClr>
                          </a:solidFill>
                          <a:effectLst/>
                          <a:uLnTx/>
                          <a:uFillTx/>
                        </a:rPr>
                        <a:t> of </a:t>
                      </a:r>
                      <a:r>
                        <a:rPr kumimoji="0" lang="pl-PL" sz="1600" b="0" i="0" u="none" strike="noStrike" kern="0" cap="none" spc="0" normalizeH="0" baseline="0" noProof="0" dirty="0" err="1">
                          <a:ln>
                            <a:noFill/>
                          </a:ln>
                          <a:solidFill>
                            <a:srgbClr val="636B71">
                              <a:lumMod val="75000"/>
                            </a:srgbClr>
                          </a:solidFill>
                          <a:effectLst/>
                          <a:uLnTx/>
                          <a:uFillTx/>
                        </a:rPr>
                        <a:t>Credit</a:t>
                      </a:r>
                      <a:r>
                        <a:rPr kumimoji="0" lang="pl-PL" sz="1600" b="0" i="0" u="none" strike="noStrike" kern="0" cap="none" spc="0" normalizeH="0" baseline="0" noProof="0" dirty="0">
                          <a:ln>
                            <a:noFill/>
                          </a:ln>
                          <a:solidFill>
                            <a:srgbClr val="636B71">
                              <a:lumMod val="75000"/>
                            </a:srgbClr>
                          </a:solidFill>
                          <a:effectLst/>
                          <a:uLnTx/>
                          <a:uFillTx/>
                        </a:rPr>
                        <a:t>:</a:t>
                      </a:r>
                    </a:p>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confirming</a:t>
                      </a:r>
                      <a:endParaRPr kumimoji="0" lang="pl-PL" sz="1600" b="0" i="0" u="none" strike="noStrike" kern="0" cap="none" spc="0" normalizeH="0" baseline="0" noProof="0" dirty="0">
                        <a:ln>
                          <a:noFill/>
                        </a:ln>
                        <a:solidFill>
                          <a:srgbClr val="636B71">
                            <a:lumMod val="75000"/>
                          </a:srgbClr>
                        </a:solidFill>
                        <a:effectLst/>
                        <a:uLnTx/>
                        <a:uFillTx/>
                      </a:endParaRPr>
                    </a:p>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err="1">
                          <a:ln>
                            <a:noFill/>
                          </a:ln>
                          <a:solidFill>
                            <a:srgbClr val="636B71">
                              <a:lumMod val="75000"/>
                            </a:srgbClr>
                          </a:solidFill>
                          <a:effectLst/>
                          <a:uLnTx/>
                          <a:uFillTx/>
                        </a:rPr>
                        <a:t>discounting</a:t>
                      </a:r>
                      <a:endParaRPr kumimoji="0" lang="pl-PL" sz="1600" b="0" i="0" u="none" strike="noStrike" kern="0" cap="none" spc="0" normalizeH="0" baseline="0" noProof="0" dirty="0">
                        <a:ln>
                          <a:noFill/>
                        </a:ln>
                        <a:solidFill>
                          <a:srgbClr val="636B71">
                            <a:lumMod val="75000"/>
                          </a:srgbClr>
                        </a:solidFill>
                        <a:effectLst/>
                        <a:uLnTx/>
                        <a:uFillTx/>
                      </a:endParaRPr>
                    </a:p>
                    <a:p>
                      <a:pPr marL="358775"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a:ln>
                            <a:noFill/>
                          </a:ln>
                          <a:solidFill>
                            <a:srgbClr val="636B71">
                              <a:lumMod val="75000"/>
                            </a:srgbClr>
                          </a:solidFill>
                          <a:effectLst/>
                          <a:uLnTx/>
                          <a:uFillTx/>
                        </a:rPr>
                        <a:t>post-</a:t>
                      </a:r>
                      <a:r>
                        <a:rPr kumimoji="0" lang="pl-PL" sz="1600" b="0" i="0" u="none" strike="noStrike" kern="0" cap="none" spc="0" normalizeH="0" baseline="0" noProof="0" dirty="0" err="1">
                          <a:ln>
                            <a:noFill/>
                          </a:ln>
                          <a:solidFill>
                            <a:srgbClr val="636B71">
                              <a:lumMod val="75000"/>
                            </a:srgbClr>
                          </a:solidFill>
                          <a:effectLst/>
                          <a:uLnTx/>
                          <a:uFillTx/>
                        </a:rPr>
                        <a:t>financing</a:t>
                      </a:r>
                      <a:endParaRPr kumimoji="0" lang="pl-PL" sz="1600" b="0" i="0" u="none" strike="noStrike" kern="0" cap="none" spc="0" normalizeH="0" baseline="0" noProof="0" dirty="0">
                        <a:ln>
                          <a:noFill/>
                        </a:ln>
                        <a:solidFill>
                          <a:srgbClr val="636B71">
                            <a:lumMod val="75000"/>
                          </a:srgbClr>
                        </a:solidFill>
                        <a:effectLst/>
                        <a:uLnTx/>
                        <a:uFillTx/>
                      </a:endParaRPr>
                    </a:p>
                    <a:p>
                      <a:pPr marL="182563" marR="0" lvl="0" indent="-182563" defTabSz="914400" eaLnBrk="1" fontAlgn="auto" latinLnBrk="0" hangingPunct="1">
                        <a:lnSpc>
                          <a:spcPct val="100000"/>
                        </a:lnSpc>
                        <a:spcBef>
                          <a:spcPts val="0"/>
                        </a:spcBef>
                        <a:spcAft>
                          <a:spcPts val="200"/>
                        </a:spcAft>
                        <a:buClr>
                          <a:srgbClr val="DA2038"/>
                        </a:buClr>
                        <a:buSzTx/>
                        <a:buFont typeface="Wingdings" panose="05000000000000000000" pitchFamily="2" charset="2"/>
                        <a:buChar char="§"/>
                        <a:tabLst/>
                        <a:defRPr/>
                      </a:pPr>
                      <a:r>
                        <a:rPr kumimoji="0" lang="pl-PL" sz="1600" b="0" i="0" u="none" strike="noStrike" kern="0" cap="none" spc="0" normalizeH="0" baseline="0" noProof="0" dirty="0">
                          <a:ln>
                            <a:noFill/>
                          </a:ln>
                          <a:solidFill>
                            <a:srgbClr val="636B71">
                              <a:lumMod val="75000"/>
                            </a:srgbClr>
                          </a:solidFill>
                          <a:effectLst/>
                          <a:uLnTx/>
                          <a:uFillTx/>
                        </a:rPr>
                        <a:t>export </a:t>
                      </a:r>
                      <a:r>
                        <a:rPr kumimoji="0" lang="pl-PL" sz="1600" b="0" i="0" u="none" strike="noStrike" kern="0" cap="none" spc="0" normalizeH="0" baseline="0" noProof="0" dirty="0" err="1">
                          <a:ln>
                            <a:noFill/>
                          </a:ln>
                          <a:solidFill>
                            <a:srgbClr val="636B71">
                              <a:lumMod val="75000"/>
                            </a:srgbClr>
                          </a:solidFill>
                          <a:effectLst/>
                          <a:uLnTx/>
                          <a:uFillTx/>
                        </a:rPr>
                        <a:t>pre-financing</a:t>
                      </a:r>
                      <a:endParaRPr kumimoji="0" lang="pl-PL" sz="1600" b="0" i="0" u="none" strike="noStrike" kern="0" cap="none" spc="0" normalizeH="0" baseline="0" noProof="0" dirty="0">
                        <a:ln>
                          <a:noFill/>
                        </a:ln>
                        <a:solidFill>
                          <a:srgbClr val="636B71">
                            <a:lumMod val="75000"/>
                          </a:srgbClr>
                        </a:solidFill>
                        <a:effectLst/>
                        <a:uLnTx/>
                        <a:uFillTx/>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dirty="0">
                        <a:ln>
                          <a:noFill/>
                        </a:ln>
                        <a:solidFill>
                          <a:srgbClr val="636B71">
                            <a:lumMod val="75000"/>
                          </a:srgbClr>
                        </a:solidFill>
                        <a:effectLst/>
                        <a:uLnTx/>
                        <a:uFillTx/>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vMerge="1">
                  <a:txBody>
                    <a:bodyPr/>
                    <a:lstStyle/>
                    <a:p>
                      <a:endParaRPr lang="pl-PL" dirty="0">
                        <a:solidFill>
                          <a:srgbClr val="EAEAEA"/>
                        </a:solidFill>
                      </a:endParaRPr>
                    </a:p>
                  </a:txBody>
                  <a:tcPr anchor="ctr">
                    <a:lnL w="1905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291546731"/>
                  </a:ext>
                </a:extLst>
              </a:tr>
            </a:tbl>
          </a:graphicData>
        </a:graphic>
      </p:graphicFrame>
      <p:grpSp>
        <p:nvGrpSpPr>
          <p:cNvPr id="7" name="Grupa 6">
            <a:extLst>
              <a:ext uri="{FF2B5EF4-FFF2-40B4-BE49-F238E27FC236}">
                <a16:creationId xmlns:a16="http://schemas.microsoft.com/office/drawing/2014/main" id="{4E3D7FDD-C937-73B4-EFC1-372F4256E95C}"/>
              </a:ext>
            </a:extLst>
          </p:cNvPr>
          <p:cNvGrpSpPr/>
          <p:nvPr/>
        </p:nvGrpSpPr>
        <p:grpSpPr>
          <a:xfrm>
            <a:off x="10193264" y="1548086"/>
            <a:ext cx="434352" cy="438740"/>
            <a:chOff x="5303864" y="3670304"/>
            <a:chExt cx="628653" cy="635002"/>
          </a:xfrm>
          <a:solidFill>
            <a:schemeClr val="bg1"/>
          </a:solidFill>
        </p:grpSpPr>
        <p:sp>
          <p:nvSpPr>
            <p:cNvPr id="8" name="Freeform 313">
              <a:extLst>
                <a:ext uri="{FF2B5EF4-FFF2-40B4-BE49-F238E27FC236}">
                  <a16:creationId xmlns:a16="http://schemas.microsoft.com/office/drawing/2014/main" id="{1CFE0781-97ED-8B67-76D7-B2C524037001}"/>
                </a:ext>
              </a:extLst>
            </p:cNvPr>
            <p:cNvSpPr>
              <a:spLocks noEditPoints="1"/>
            </p:cNvSpPr>
            <p:nvPr/>
          </p:nvSpPr>
          <p:spPr bwMode="auto">
            <a:xfrm>
              <a:off x="5372128" y="3705230"/>
              <a:ext cx="515940" cy="509588"/>
            </a:xfrm>
            <a:custGeom>
              <a:avLst/>
              <a:gdLst>
                <a:gd name="T0" fmla="*/ 134 w 325"/>
                <a:gd name="T1" fmla="*/ 15 h 321"/>
                <a:gd name="T2" fmla="*/ 82 w 325"/>
                <a:gd name="T3" fmla="*/ 35 h 321"/>
                <a:gd name="T4" fmla="*/ 41 w 325"/>
                <a:gd name="T5" fmla="*/ 75 h 321"/>
                <a:gd name="T6" fmla="*/ 16 w 325"/>
                <a:gd name="T7" fmla="*/ 130 h 321"/>
                <a:gd name="T8" fmla="*/ 16 w 325"/>
                <a:gd name="T9" fmla="*/ 186 h 321"/>
                <a:gd name="T10" fmla="*/ 36 w 325"/>
                <a:gd name="T11" fmla="*/ 240 h 321"/>
                <a:gd name="T12" fmla="*/ 76 w 325"/>
                <a:gd name="T13" fmla="*/ 282 h 321"/>
                <a:gd name="T14" fmla="*/ 133 w 325"/>
                <a:gd name="T15" fmla="*/ 305 h 321"/>
                <a:gd name="T16" fmla="*/ 192 w 325"/>
                <a:gd name="T17" fmla="*/ 305 h 321"/>
                <a:gd name="T18" fmla="*/ 244 w 325"/>
                <a:gd name="T19" fmla="*/ 285 h 321"/>
                <a:gd name="T20" fmla="*/ 284 w 325"/>
                <a:gd name="T21" fmla="*/ 246 h 321"/>
                <a:gd name="T22" fmla="*/ 309 w 325"/>
                <a:gd name="T23" fmla="*/ 191 h 321"/>
                <a:gd name="T24" fmla="*/ 309 w 325"/>
                <a:gd name="T25" fmla="*/ 134 h 321"/>
                <a:gd name="T26" fmla="*/ 290 w 325"/>
                <a:gd name="T27" fmla="*/ 81 h 321"/>
                <a:gd name="T28" fmla="*/ 249 w 325"/>
                <a:gd name="T29" fmla="*/ 39 h 321"/>
                <a:gd name="T30" fmla="*/ 193 w 325"/>
                <a:gd name="T31" fmla="*/ 16 h 321"/>
                <a:gd name="T32" fmla="*/ 163 w 325"/>
                <a:gd name="T33" fmla="*/ 0 h 321"/>
                <a:gd name="T34" fmla="*/ 228 w 325"/>
                <a:gd name="T35" fmla="*/ 13 h 321"/>
                <a:gd name="T36" fmla="*/ 279 w 325"/>
                <a:gd name="T37" fmla="*/ 50 h 321"/>
                <a:gd name="T38" fmla="*/ 313 w 325"/>
                <a:gd name="T39" fmla="*/ 102 h 321"/>
                <a:gd name="T40" fmla="*/ 325 w 325"/>
                <a:gd name="T41" fmla="*/ 164 h 321"/>
                <a:gd name="T42" fmla="*/ 311 w 325"/>
                <a:gd name="T43" fmla="*/ 225 h 321"/>
                <a:gd name="T44" fmla="*/ 275 w 325"/>
                <a:gd name="T45" fmla="*/ 276 h 321"/>
                <a:gd name="T46" fmla="*/ 224 w 325"/>
                <a:gd name="T47" fmla="*/ 309 h 321"/>
                <a:gd name="T48" fmla="*/ 163 w 325"/>
                <a:gd name="T49" fmla="*/ 321 h 321"/>
                <a:gd name="T50" fmla="*/ 97 w 325"/>
                <a:gd name="T51" fmla="*/ 308 h 321"/>
                <a:gd name="T52" fmla="*/ 46 w 325"/>
                <a:gd name="T53" fmla="*/ 271 h 321"/>
                <a:gd name="T54" fmla="*/ 12 w 325"/>
                <a:gd name="T55" fmla="*/ 217 h 321"/>
                <a:gd name="T56" fmla="*/ 0 w 325"/>
                <a:gd name="T57" fmla="*/ 156 h 321"/>
                <a:gd name="T58" fmla="*/ 15 w 325"/>
                <a:gd name="T59" fmla="*/ 96 h 321"/>
                <a:gd name="T60" fmla="*/ 50 w 325"/>
                <a:gd name="T61" fmla="*/ 45 h 321"/>
                <a:gd name="T62" fmla="*/ 101 w 325"/>
                <a:gd name="T63" fmla="*/ 12 h 321"/>
                <a:gd name="T64" fmla="*/ 163 w 325"/>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 h="321">
                  <a:moveTo>
                    <a:pt x="163" y="12"/>
                  </a:moveTo>
                  <a:lnTo>
                    <a:pt x="134" y="15"/>
                  </a:lnTo>
                  <a:lnTo>
                    <a:pt x="108" y="22"/>
                  </a:lnTo>
                  <a:lnTo>
                    <a:pt x="82" y="35"/>
                  </a:lnTo>
                  <a:lnTo>
                    <a:pt x="59" y="52"/>
                  </a:lnTo>
                  <a:lnTo>
                    <a:pt x="41" y="75"/>
                  </a:lnTo>
                  <a:lnTo>
                    <a:pt x="27" y="101"/>
                  </a:lnTo>
                  <a:lnTo>
                    <a:pt x="16" y="130"/>
                  </a:lnTo>
                  <a:lnTo>
                    <a:pt x="13" y="159"/>
                  </a:lnTo>
                  <a:lnTo>
                    <a:pt x="16" y="186"/>
                  </a:lnTo>
                  <a:lnTo>
                    <a:pt x="24" y="213"/>
                  </a:lnTo>
                  <a:lnTo>
                    <a:pt x="36" y="240"/>
                  </a:lnTo>
                  <a:lnTo>
                    <a:pt x="54" y="262"/>
                  </a:lnTo>
                  <a:lnTo>
                    <a:pt x="76" y="282"/>
                  </a:lnTo>
                  <a:lnTo>
                    <a:pt x="103" y="296"/>
                  </a:lnTo>
                  <a:lnTo>
                    <a:pt x="133" y="305"/>
                  </a:lnTo>
                  <a:lnTo>
                    <a:pt x="163" y="308"/>
                  </a:lnTo>
                  <a:lnTo>
                    <a:pt x="192" y="305"/>
                  </a:lnTo>
                  <a:lnTo>
                    <a:pt x="218" y="297"/>
                  </a:lnTo>
                  <a:lnTo>
                    <a:pt x="244" y="285"/>
                  </a:lnTo>
                  <a:lnTo>
                    <a:pt x="266" y="267"/>
                  </a:lnTo>
                  <a:lnTo>
                    <a:pt x="284" y="246"/>
                  </a:lnTo>
                  <a:lnTo>
                    <a:pt x="299" y="220"/>
                  </a:lnTo>
                  <a:lnTo>
                    <a:pt x="309" y="191"/>
                  </a:lnTo>
                  <a:lnTo>
                    <a:pt x="312" y="162"/>
                  </a:lnTo>
                  <a:lnTo>
                    <a:pt x="309" y="134"/>
                  </a:lnTo>
                  <a:lnTo>
                    <a:pt x="302" y="106"/>
                  </a:lnTo>
                  <a:lnTo>
                    <a:pt x="290" y="81"/>
                  </a:lnTo>
                  <a:lnTo>
                    <a:pt x="271" y="59"/>
                  </a:lnTo>
                  <a:lnTo>
                    <a:pt x="249" y="39"/>
                  </a:lnTo>
                  <a:lnTo>
                    <a:pt x="223" y="25"/>
                  </a:lnTo>
                  <a:lnTo>
                    <a:pt x="193" y="16"/>
                  </a:lnTo>
                  <a:lnTo>
                    <a:pt x="163" y="12"/>
                  </a:lnTo>
                  <a:close/>
                  <a:moveTo>
                    <a:pt x="163" y="0"/>
                  </a:moveTo>
                  <a:lnTo>
                    <a:pt x="195" y="3"/>
                  </a:lnTo>
                  <a:lnTo>
                    <a:pt x="228" y="13"/>
                  </a:lnTo>
                  <a:lnTo>
                    <a:pt x="256" y="29"/>
                  </a:lnTo>
                  <a:lnTo>
                    <a:pt x="279" y="50"/>
                  </a:lnTo>
                  <a:lnTo>
                    <a:pt x="299" y="75"/>
                  </a:lnTo>
                  <a:lnTo>
                    <a:pt x="313" y="102"/>
                  </a:lnTo>
                  <a:lnTo>
                    <a:pt x="322" y="134"/>
                  </a:lnTo>
                  <a:lnTo>
                    <a:pt x="325" y="164"/>
                  </a:lnTo>
                  <a:lnTo>
                    <a:pt x="321" y="195"/>
                  </a:lnTo>
                  <a:lnTo>
                    <a:pt x="311" y="225"/>
                  </a:lnTo>
                  <a:lnTo>
                    <a:pt x="295" y="253"/>
                  </a:lnTo>
                  <a:lnTo>
                    <a:pt x="275" y="276"/>
                  </a:lnTo>
                  <a:lnTo>
                    <a:pt x="250" y="295"/>
                  </a:lnTo>
                  <a:lnTo>
                    <a:pt x="224" y="309"/>
                  </a:lnTo>
                  <a:lnTo>
                    <a:pt x="194" y="318"/>
                  </a:lnTo>
                  <a:lnTo>
                    <a:pt x="163" y="321"/>
                  </a:lnTo>
                  <a:lnTo>
                    <a:pt x="130" y="317"/>
                  </a:lnTo>
                  <a:lnTo>
                    <a:pt x="97" y="308"/>
                  </a:lnTo>
                  <a:lnTo>
                    <a:pt x="70" y="292"/>
                  </a:lnTo>
                  <a:lnTo>
                    <a:pt x="46" y="271"/>
                  </a:lnTo>
                  <a:lnTo>
                    <a:pt x="27" y="246"/>
                  </a:lnTo>
                  <a:lnTo>
                    <a:pt x="12" y="217"/>
                  </a:lnTo>
                  <a:lnTo>
                    <a:pt x="3" y="187"/>
                  </a:lnTo>
                  <a:lnTo>
                    <a:pt x="0" y="156"/>
                  </a:lnTo>
                  <a:lnTo>
                    <a:pt x="4" y="126"/>
                  </a:lnTo>
                  <a:lnTo>
                    <a:pt x="15" y="96"/>
                  </a:lnTo>
                  <a:lnTo>
                    <a:pt x="31" y="68"/>
                  </a:lnTo>
                  <a:lnTo>
                    <a:pt x="50" y="45"/>
                  </a:lnTo>
                  <a:lnTo>
                    <a:pt x="75" y="26"/>
                  </a:lnTo>
                  <a:lnTo>
                    <a:pt x="101" y="12"/>
                  </a:lnTo>
                  <a:lnTo>
                    <a:pt x="131" y="3"/>
                  </a:lnTo>
                  <a:lnTo>
                    <a:pt x="1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314">
              <a:extLst>
                <a:ext uri="{FF2B5EF4-FFF2-40B4-BE49-F238E27FC236}">
                  <a16:creationId xmlns:a16="http://schemas.microsoft.com/office/drawing/2014/main" id="{E8FE350E-A36F-B080-9DD3-301142C780A1}"/>
                </a:ext>
              </a:extLst>
            </p:cNvPr>
            <p:cNvSpPr>
              <a:spLocks noEditPoints="1"/>
            </p:cNvSpPr>
            <p:nvPr/>
          </p:nvSpPr>
          <p:spPr bwMode="auto">
            <a:xfrm>
              <a:off x="5896005" y="3690941"/>
              <a:ext cx="23813" cy="20637"/>
            </a:xfrm>
            <a:custGeom>
              <a:avLst/>
              <a:gdLst>
                <a:gd name="T0" fmla="*/ 0 w 15"/>
                <a:gd name="T1" fmla="*/ 9 h 13"/>
                <a:gd name="T2" fmla="*/ 0 w 15"/>
                <a:gd name="T3" fmla="*/ 9 h 13"/>
                <a:gd name="T4" fmla="*/ 0 w 15"/>
                <a:gd name="T5" fmla="*/ 9 h 13"/>
                <a:gd name="T6" fmla="*/ 0 w 15"/>
                <a:gd name="T7" fmla="*/ 9 h 13"/>
                <a:gd name="T8" fmla="*/ 9 w 15"/>
                <a:gd name="T9" fmla="*/ 0 h 13"/>
                <a:gd name="T10" fmla="*/ 15 w 15"/>
                <a:gd name="T11" fmla="*/ 6 h 13"/>
                <a:gd name="T12" fmla="*/ 4 w 15"/>
                <a:gd name="T13" fmla="*/ 13 h 13"/>
                <a:gd name="T14" fmla="*/ 0 w 15"/>
                <a:gd name="T15" fmla="*/ 9 h 13"/>
                <a:gd name="T16" fmla="*/ 9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0" y="9"/>
                  </a:moveTo>
                  <a:lnTo>
                    <a:pt x="0" y="9"/>
                  </a:lnTo>
                  <a:lnTo>
                    <a:pt x="0" y="9"/>
                  </a:lnTo>
                  <a:lnTo>
                    <a:pt x="0" y="9"/>
                  </a:lnTo>
                  <a:close/>
                  <a:moveTo>
                    <a:pt x="9" y="0"/>
                  </a:moveTo>
                  <a:lnTo>
                    <a:pt x="15" y="6"/>
                  </a:lnTo>
                  <a:lnTo>
                    <a:pt x="4" y="13"/>
                  </a:lnTo>
                  <a:lnTo>
                    <a:pt x="0" y="9"/>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315">
              <a:extLst>
                <a:ext uri="{FF2B5EF4-FFF2-40B4-BE49-F238E27FC236}">
                  <a16:creationId xmlns:a16="http://schemas.microsoft.com/office/drawing/2014/main" id="{9F063EDD-5FA7-9E44-19B0-D118E2AAA792}"/>
                </a:ext>
              </a:extLst>
            </p:cNvPr>
            <p:cNvSpPr>
              <a:spLocks noEditPoints="1"/>
            </p:cNvSpPr>
            <p:nvPr/>
          </p:nvSpPr>
          <p:spPr bwMode="auto">
            <a:xfrm>
              <a:off x="5303864" y="3719516"/>
              <a:ext cx="628653" cy="550863"/>
            </a:xfrm>
            <a:custGeom>
              <a:avLst/>
              <a:gdLst>
                <a:gd name="T0" fmla="*/ 49 w 396"/>
                <a:gd name="T1" fmla="*/ 335 h 347"/>
                <a:gd name="T2" fmla="*/ 36 w 396"/>
                <a:gd name="T3" fmla="*/ 346 h 347"/>
                <a:gd name="T4" fmla="*/ 74 w 396"/>
                <a:gd name="T5" fmla="*/ 345 h 347"/>
                <a:gd name="T6" fmla="*/ 71 w 396"/>
                <a:gd name="T7" fmla="*/ 333 h 347"/>
                <a:gd name="T8" fmla="*/ 87 w 396"/>
                <a:gd name="T9" fmla="*/ 342 h 347"/>
                <a:gd name="T10" fmla="*/ 20 w 396"/>
                <a:gd name="T11" fmla="*/ 324 h 347"/>
                <a:gd name="T12" fmla="*/ 28 w 396"/>
                <a:gd name="T13" fmla="*/ 330 h 347"/>
                <a:gd name="T14" fmla="*/ 17 w 396"/>
                <a:gd name="T15" fmla="*/ 338 h 347"/>
                <a:gd name="T16" fmla="*/ 20 w 396"/>
                <a:gd name="T17" fmla="*/ 324 h 347"/>
                <a:gd name="T18" fmla="*/ 110 w 396"/>
                <a:gd name="T19" fmla="*/ 333 h 347"/>
                <a:gd name="T20" fmla="*/ 138 w 396"/>
                <a:gd name="T21" fmla="*/ 307 h 347"/>
                <a:gd name="T22" fmla="*/ 127 w 396"/>
                <a:gd name="T23" fmla="*/ 312 h 347"/>
                <a:gd name="T24" fmla="*/ 13 w 396"/>
                <a:gd name="T25" fmla="*/ 311 h 347"/>
                <a:gd name="T26" fmla="*/ 2 w 396"/>
                <a:gd name="T27" fmla="*/ 314 h 347"/>
                <a:gd name="T28" fmla="*/ 159 w 396"/>
                <a:gd name="T29" fmla="*/ 295 h 347"/>
                <a:gd name="T30" fmla="*/ 148 w 396"/>
                <a:gd name="T31" fmla="*/ 300 h 347"/>
                <a:gd name="T32" fmla="*/ 185 w 396"/>
                <a:gd name="T33" fmla="*/ 292 h 347"/>
                <a:gd name="T34" fmla="*/ 178 w 396"/>
                <a:gd name="T35" fmla="*/ 282 h 347"/>
                <a:gd name="T36" fmla="*/ 12 w 396"/>
                <a:gd name="T37" fmla="*/ 290 h 347"/>
                <a:gd name="T38" fmla="*/ 0 w 396"/>
                <a:gd name="T39" fmla="*/ 288 h 347"/>
                <a:gd name="T40" fmla="*/ 204 w 396"/>
                <a:gd name="T41" fmla="*/ 278 h 347"/>
                <a:gd name="T42" fmla="*/ 198 w 396"/>
                <a:gd name="T43" fmla="*/ 267 h 347"/>
                <a:gd name="T44" fmla="*/ 16 w 396"/>
                <a:gd name="T45" fmla="*/ 273 h 347"/>
                <a:gd name="T46" fmla="*/ 216 w 396"/>
                <a:gd name="T47" fmla="*/ 253 h 347"/>
                <a:gd name="T48" fmla="*/ 207 w 396"/>
                <a:gd name="T49" fmla="*/ 261 h 347"/>
                <a:gd name="T50" fmla="*/ 24 w 396"/>
                <a:gd name="T51" fmla="*/ 250 h 347"/>
                <a:gd name="T52" fmla="*/ 235 w 396"/>
                <a:gd name="T53" fmla="*/ 237 h 347"/>
                <a:gd name="T54" fmla="*/ 233 w 396"/>
                <a:gd name="T55" fmla="*/ 254 h 347"/>
                <a:gd name="T56" fmla="*/ 17 w 396"/>
                <a:gd name="T57" fmla="*/ 233 h 347"/>
                <a:gd name="T58" fmla="*/ 12 w 396"/>
                <a:gd name="T59" fmla="*/ 245 h 347"/>
                <a:gd name="T60" fmla="*/ 253 w 396"/>
                <a:gd name="T61" fmla="*/ 222 h 347"/>
                <a:gd name="T62" fmla="*/ 244 w 396"/>
                <a:gd name="T63" fmla="*/ 229 h 347"/>
                <a:gd name="T64" fmla="*/ 39 w 396"/>
                <a:gd name="T65" fmla="*/ 218 h 347"/>
                <a:gd name="T66" fmla="*/ 29 w 396"/>
                <a:gd name="T67" fmla="*/ 212 h 347"/>
                <a:gd name="T68" fmla="*/ 279 w 396"/>
                <a:gd name="T69" fmla="*/ 214 h 347"/>
                <a:gd name="T70" fmla="*/ 270 w 396"/>
                <a:gd name="T71" fmla="*/ 204 h 347"/>
                <a:gd name="T72" fmla="*/ 287 w 396"/>
                <a:gd name="T73" fmla="*/ 204 h 347"/>
                <a:gd name="T74" fmla="*/ 303 w 396"/>
                <a:gd name="T75" fmla="*/ 169 h 347"/>
                <a:gd name="T76" fmla="*/ 295 w 396"/>
                <a:gd name="T77" fmla="*/ 178 h 347"/>
                <a:gd name="T78" fmla="*/ 327 w 396"/>
                <a:gd name="T79" fmla="*/ 159 h 347"/>
                <a:gd name="T80" fmla="*/ 318 w 396"/>
                <a:gd name="T81" fmla="*/ 151 h 347"/>
                <a:gd name="T82" fmla="*/ 343 w 396"/>
                <a:gd name="T83" fmla="*/ 139 h 347"/>
                <a:gd name="T84" fmla="*/ 333 w 396"/>
                <a:gd name="T85" fmla="*/ 131 h 347"/>
                <a:gd name="T86" fmla="*/ 350 w 396"/>
                <a:gd name="T87" fmla="*/ 129 h 347"/>
                <a:gd name="T88" fmla="*/ 358 w 396"/>
                <a:gd name="T89" fmla="*/ 92 h 347"/>
                <a:gd name="T90" fmla="*/ 352 w 396"/>
                <a:gd name="T91" fmla="*/ 102 h 347"/>
                <a:gd name="T92" fmla="*/ 380 w 396"/>
                <a:gd name="T93" fmla="*/ 75 h 347"/>
                <a:gd name="T94" fmla="*/ 369 w 396"/>
                <a:gd name="T95" fmla="*/ 70 h 347"/>
                <a:gd name="T96" fmla="*/ 385 w 396"/>
                <a:gd name="T97" fmla="*/ 64 h 347"/>
                <a:gd name="T98" fmla="*/ 382 w 396"/>
                <a:gd name="T99" fmla="*/ 26 h 347"/>
                <a:gd name="T100" fmla="*/ 380 w 396"/>
                <a:gd name="T101" fmla="*/ 37 h 347"/>
                <a:gd name="T102" fmla="*/ 393 w 396"/>
                <a:gd name="T103" fmla="*/ 0 h 347"/>
                <a:gd name="T104" fmla="*/ 382 w 396"/>
                <a:gd name="T105" fmla="*/ 15 h 347"/>
                <a:gd name="T106" fmla="*/ 381 w 396"/>
                <a:gd name="T107" fmla="*/ 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6" h="347">
                  <a:moveTo>
                    <a:pt x="38" y="334"/>
                  </a:moveTo>
                  <a:lnTo>
                    <a:pt x="43" y="334"/>
                  </a:lnTo>
                  <a:lnTo>
                    <a:pt x="49" y="335"/>
                  </a:lnTo>
                  <a:lnTo>
                    <a:pt x="49" y="347"/>
                  </a:lnTo>
                  <a:lnTo>
                    <a:pt x="42" y="347"/>
                  </a:lnTo>
                  <a:lnTo>
                    <a:pt x="36" y="346"/>
                  </a:lnTo>
                  <a:lnTo>
                    <a:pt x="38" y="334"/>
                  </a:lnTo>
                  <a:close/>
                  <a:moveTo>
                    <a:pt x="71" y="333"/>
                  </a:moveTo>
                  <a:lnTo>
                    <a:pt x="74" y="345"/>
                  </a:lnTo>
                  <a:lnTo>
                    <a:pt x="62" y="347"/>
                  </a:lnTo>
                  <a:lnTo>
                    <a:pt x="60" y="334"/>
                  </a:lnTo>
                  <a:lnTo>
                    <a:pt x="71" y="333"/>
                  </a:lnTo>
                  <a:close/>
                  <a:moveTo>
                    <a:pt x="94" y="326"/>
                  </a:moveTo>
                  <a:lnTo>
                    <a:pt x="98" y="338"/>
                  </a:lnTo>
                  <a:lnTo>
                    <a:pt x="87" y="342"/>
                  </a:lnTo>
                  <a:lnTo>
                    <a:pt x="83" y="330"/>
                  </a:lnTo>
                  <a:lnTo>
                    <a:pt x="94" y="326"/>
                  </a:lnTo>
                  <a:close/>
                  <a:moveTo>
                    <a:pt x="20" y="324"/>
                  </a:moveTo>
                  <a:lnTo>
                    <a:pt x="21" y="325"/>
                  </a:lnTo>
                  <a:lnTo>
                    <a:pt x="24" y="328"/>
                  </a:lnTo>
                  <a:lnTo>
                    <a:pt x="28" y="330"/>
                  </a:lnTo>
                  <a:lnTo>
                    <a:pt x="28" y="330"/>
                  </a:lnTo>
                  <a:lnTo>
                    <a:pt x="22" y="341"/>
                  </a:lnTo>
                  <a:lnTo>
                    <a:pt x="17" y="338"/>
                  </a:lnTo>
                  <a:lnTo>
                    <a:pt x="12" y="333"/>
                  </a:lnTo>
                  <a:lnTo>
                    <a:pt x="11" y="333"/>
                  </a:lnTo>
                  <a:lnTo>
                    <a:pt x="20" y="324"/>
                  </a:lnTo>
                  <a:close/>
                  <a:moveTo>
                    <a:pt x="115" y="317"/>
                  </a:moveTo>
                  <a:lnTo>
                    <a:pt x="121" y="329"/>
                  </a:lnTo>
                  <a:lnTo>
                    <a:pt x="110" y="333"/>
                  </a:lnTo>
                  <a:lnTo>
                    <a:pt x="105" y="322"/>
                  </a:lnTo>
                  <a:lnTo>
                    <a:pt x="115" y="317"/>
                  </a:lnTo>
                  <a:close/>
                  <a:moveTo>
                    <a:pt x="138" y="307"/>
                  </a:moveTo>
                  <a:lnTo>
                    <a:pt x="143" y="317"/>
                  </a:lnTo>
                  <a:lnTo>
                    <a:pt x="132" y="324"/>
                  </a:lnTo>
                  <a:lnTo>
                    <a:pt x="127" y="312"/>
                  </a:lnTo>
                  <a:lnTo>
                    <a:pt x="138" y="307"/>
                  </a:lnTo>
                  <a:close/>
                  <a:moveTo>
                    <a:pt x="12" y="305"/>
                  </a:moveTo>
                  <a:lnTo>
                    <a:pt x="13" y="311"/>
                  </a:lnTo>
                  <a:lnTo>
                    <a:pt x="15" y="316"/>
                  </a:lnTo>
                  <a:lnTo>
                    <a:pt x="4" y="321"/>
                  </a:lnTo>
                  <a:lnTo>
                    <a:pt x="2" y="314"/>
                  </a:lnTo>
                  <a:lnTo>
                    <a:pt x="0" y="307"/>
                  </a:lnTo>
                  <a:lnTo>
                    <a:pt x="12" y="305"/>
                  </a:lnTo>
                  <a:close/>
                  <a:moveTo>
                    <a:pt x="159" y="295"/>
                  </a:moveTo>
                  <a:lnTo>
                    <a:pt x="164" y="305"/>
                  </a:lnTo>
                  <a:lnTo>
                    <a:pt x="153" y="312"/>
                  </a:lnTo>
                  <a:lnTo>
                    <a:pt x="148" y="300"/>
                  </a:lnTo>
                  <a:lnTo>
                    <a:pt x="159" y="295"/>
                  </a:lnTo>
                  <a:close/>
                  <a:moveTo>
                    <a:pt x="178" y="282"/>
                  </a:moveTo>
                  <a:lnTo>
                    <a:pt x="185" y="292"/>
                  </a:lnTo>
                  <a:lnTo>
                    <a:pt x="174" y="299"/>
                  </a:lnTo>
                  <a:lnTo>
                    <a:pt x="168" y="288"/>
                  </a:lnTo>
                  <a:lnTo>
                    <a:pt x="178" y="282"/>
                  </a:lnTo>
                  <a:close/>
                  <a:moveTo>
                    <a:pt x="2" y="282"/>
                  </a:moveTo>
                  <a:lnTo>
                    <a:pt x="13" y="283"/>
                  </a:lnTo>
                  <a:lnTo>
                    <a:pt x="12" y="290"/>
                  </a:lnTo>
                  <a:lnTo>
                    <a:pt x="12" y="295"/>
                  </a:lnTo>
                  <a:lnTo>
                    <a:pt x="0" y="294"/>
                  </a:lnTo>
                  <a:lnTo>
                    <a:pt x="0" y="288"/>
                  </a:lnTo>
                  <a:lnTo>
                    <a:pt x="2" y="282"/>
                  </a:lnTo>
                  <a:close/>
                  <a:moveTo>
                    <a:pt x="198" y="267"/>
                  </a:moveTo>
                  <a:lnTo>
                    <a:pt x="204" y="278"/>
                  </a:lnTo>
                  <a:lnTo>
                    <a:pt x="195" y="284"/>
                  </a:lnTo>
                  <a:lnTo>
                    <a:pt x="187" y="275"/>
                  </a:lnTo>
                  <a:lnTo>
                    <a:pt x="198" y="267"/>
                  </a:lnTo>
                  <a:close/>
                  <a:moveTo>
                    <a:pt x="8" y="257"/>
                  </a:moveTo>
                  <a:lnTo>
                    <a:pt x="20" y="261"/>
                  </a:lnTo>
                  <a:lnTo>
                    <a:pt x="16" y="273"/>
                  </a:lnTo>
                  <a:lnTo>
                    <a:pt x="4" y="269"/>
                  </a:lnTo>
                  <a:lnTo>
                    <a:pt x="8" y="257"/>
                  </a:lnTo>
                  <a:close/>
                  <a:moveTo>
                    <a:pt x="216" y="253"/>
                  </a:moveTo>
                  <a:lnTo>
                    <a:pt x="224" y="262"/>
                  </a:lnTo>
                  <a:lnTo>
                    <a:pt x="215" y="270"/>
                  </a:lnTo>
                  <a:lnTo>
                    <a:pt x="207" y="261"/>
                  </a:lnTo>
                  <a:lnTo>
                    <a:pt x="216" y="253"/>
                  </a:lnTo>
                  <a:close/>
                  <a:moveTo>
                    <a:pt x="24" y="250"/>
                  </a:moveTo>
                  <a:lnTo>
                    <a:pt x="24" y="250"/>
                  </a:lnTo>
                  <a:lnTo>
                    <a:pt x="24" y="250"/>
                  </a:lnTo>
                  <a:lnTo>
                    <a:pt x="24" y="250"/>
                  </a:lnTo>
                  <a:close/>
                  <a:moveTo>
                    <a:pt x="235" y="237"/>
                  </a:moveTo>
                  <a:lnTo>
                    <a:pt x="235" y="237"/>
                  </a:lnTo>
                  <a:lnTo>
                    <a:pt x="244" y="246"/>
                  </a:lnTo>
                  <a:lnTo>
                    <a:pt x="233" y="254"/>
                  </a:lnTo>
                  <a:lnTo>
                    <a:pt x="225" y="245"/>
                  </a:lnTo>
                  <a:lnTo>
                    <a:pt x="235" y="237"/>
                  </a:lnTo>
                  <a:close/>
                  <a:moveTo>
                    <a:pt x="17" y="233"/>
                  </a:moveTo>
                  <a:lnTo>
                    <a:pt x="29" y="240"/>
                  </a:lnTo>
                  <a:lnTo>
                    <a:pt x="24" y="250"/>
                  </a:lnTo>
                  <a:lnTo>
                    <a:pt x="12" y="245"/>
                  </a:lnTo>
                  <a:lnTo>
                    <a:pt x="17" y="233"/>
                  </a:lnTo>
                  <a:close/>
                  <a:moveTo>
                    <a:pt x="253" y="222"/>
                  </a:moveTo>
                  <a:lnTo>
                    <a:pt x="253" y="222"/>
                  </a:lnTo>
                  <a:lnTo>
                    <a:pt x="261" y="231"/>
                  </a:lnTo>
                  <a:lnTo>
                    <a:pt x="253" y="239"/>
                  </a:lnTo>
                  <a:lnTo>
                    <a:pt x="244" y="229"/>
                  </a:lnTo>
                  <a:lnTo>
                    <a:pt x="253" y="222"/>
                  </a:lnTo>
                  <a:close/>
                  <a:moveTo>
                    <a:pt x="29" y="212"/>
                  </a:moveTo>
                  <a:lnTo>
                    <a:pt x="39" y="218"/>
                  </a:lnTo>
                  <a:lnTo>
                    <a:pt x="34" y="228"/>
                  </a:lnTo>
                  <a:lnTo>
                    <a:pt x="24" y="223"/>
                  </a:lnTo>
                  <a:lnTo>
                    <a:pt x="29" y="212"/>
                  </a:lnTo>
                  <a:close/>
                  <a:moveTo>
                    <a:pt x="270" y="204"/>
                  </a:moveTo>
                  <a:lnTo>
                    <a:pt x="270" y="204"/>
                  </a:lnTo>
                  <a:lnTo>
                    <a:pt x="279" y="214"/>
                  </a:lnTo>
                  <a:lnTo>
                    <a:pt x="270" y="222"/>
                  </a:lnTo>
                  <a:lnTo>
                    <a:pt x="262" y="214"/>
                  </a:lnTo>
                  <a:lnTo>
                    <a:pt x="270" y="204"/>
                  </a:lnTo>
                  <a:close/>
                  <a:moveTo>
                    <a:pt x="287" y="187"/>
                  </a:moveTo>
                  <a:lnTo>
                    <a:pt x="296" y="195"/>
                  </a:lnTo>
                  <a:lnTo>
                    <a:pt x="287" y="204"/>
                  </a:lnTo>
                  <a:lnTo>
                    <a:pt x="279" y="197"/>
                  </a:lnTo>
                  <a:lnTo>
                    <a:pt x="287" y="187"/>
                  </a:lnTo>
                  <a:close/>
                  <a:moveTo>
                    <a:pt x="303" y="169"/>
                  </a:moveTo>
                  <a:lnTo>
                    <a:pt x="312" y="177"/>
                  </a:lnTo>
                  <a:lnTo>
                    <a:pt x="304" y="186"/>
                  </a:lnTo>
                  <a:lnTo>
                    <a:pt x="295" y="178"/>
                  </a:lnTo>
                  <a:lnTo>
                    <a:pt x="303" y="169"/>
                  </a:lnTo>
                  <a:close/>
                  <a:moveTo>
                    <a:pt x="318" y="151"/>
                  </a:moveTo>
                  <a:lnTo>
                    <a:pt x="327" y="159"/>
                  </a:lnTo>
                  <a:lnTo>
                    <a:pt x="320" y="168"/>
                  </a:lnTo>
                  <a:lnTo>
                    <a:pt x="310" y="160"/>
                  </a:lnTo>
                  <a:lnTo>
                    <a:pt x="318" y="151"/>
                  </a:lnTo>
                  <a:close/>
                  <a:moveTo>
                    <a:pt x="333" y="131"/>
                  </a:moveTo>
                  <a:lnTo>
                    <a:pt x="333" y="131"/>
                  </a:lnTo>
                  <a:lnTo>
                    <a:pt x="343" y="139"/>
                  </a:lnTo>
                  <a:lnTo>
                    <a:pt x="335" y="148"/>
                  </a:lnTo>
                  <a:lnTo>
                    <a:pt x="325" y="142"/>
                  </a:lnTo>
                  <a:lnTo>
                    <a:pt x="333" y="131"/>
                  </a:lnTo>
                  <a:close/>
                  <a:moveTo>
                    <a:pt x="346" y="112"/>
                  </a:moveTo>
                  <a:lnTo>
                    <a:pt x="356" y="118"/>
                  </a:lnTo>
                  <a:lnTo>
                    <a:pt x="350" y="129"/>
                  </a:lnTo>
                  <a:lnTo>
                    <a:pt x="339" y="122"/>
                  </a:lnTo>
                  <a:lnTo>
                    <a:pt x="346" y="112"/>
                  </a:lnTo>
                  <a:close/>
                  <a:moveTo>
                    <a:pt x="358" y="92"/>
                  </a:moveTo>
                  <a:lnTo>
                    <a:pt x="369" y="97"/>
                  </a:lnTo>
                  <a:lnTo>
                    <a:pt x="363" y="108"/>
                  </a:lnTo>
                  <a:lnTo>
                    <a:pt x="352" y="102"/>
                  </a:lnTo>
                  <a:lnTo>
                    <a:pt x="358" y="92"/>
                  </a:lnTo>
                  <a:close/>
                  <a:moveTo>
                    <a:pt x="369" y="70"/>
                  </a:moveTo>
                  <a:lnTo>
                    <a:pt x="380" y="75"/>
                  </a:lnTo>
                  <a:lnTo>
                    <a:pt x="375" y="87"/>
                  </a:lnTo>
                  <a:lnTo>
                    <a:pt x="364" y="81"/>
                  </a:lnTo>
                  <a:lnTo>
                    <a:pt x="369" y="70"/>
                  </a:lnTo>
                  <a:close/>
                  <a:moveTo>
                    <a:pt x="377" y="49"/>
                  </a:moveTo>
                  <a:lnTo>
                    <a:pt x="389" y="53"/>
                  </a:lnTo>
                  <a:lnTo>
                    <a:pt x="385" y="64"/>
                  </a:lnTo>
                  <a:lnTo>
                    <a:pt x="373" y="59"/>
                  </a:lnTo>
                  <a:lnTo>
                    <a:pt x="377" y="49"/>
                  </a:lnTo>
                  <a:close/>
                  <a:moveTo>
                    <a:pt x="382" y="26"/>
                  </a:moveTo>
                  <a:lnTo>
                    <a:pt x="394" y="28"/>
                  </a:lnTo>
                  <a:lnTo>
                    <a:pt x="393" y="40"/>
                  </a:lnTo>
                  <a:lnTo>
                    <a:pt x="380" y="37"/>
                  </a:lnTo>
                  <a:lnTo>
                    <a:pt x="381" y="32"/>
                  </a:lnTo>
                  <a:lnTo>
                    <a:pt x="382" y="26"/>
                  </a:lnTo>
                  <a:close/>
                  <a:moveTo>
                    <a:pt x="393" y="0"/>
                  </a:moveTo>
                  <a:lnTo>
                    <a:pt x="394" y="7"/>
                  </a:lnTo>
                  <a:lnTo>
                    <a:pt x="396" y="15"/>
                  </a:lnTo>
                  <a:lnTo>
                    <a:pt x="382" y="15"/>
                  </a:lnTo>
                  <a:lnTo>
                    <a:pt x="382" y="9"/>
                  </a:lnTo>
                  <a:lnTo>
                    <a:pt x="381" y="4"/>
                  </a:lnTo>
                  <a:lnTo>
                    <a:pt x="381" y="4"/>
                  </a:lnTo>
                  <a:lnTo>
                    <a:pt x="3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316">
              <a:extLst>
                <a:ext uri="{FF2B5EF4-FFF2-40B4-BE49-F238E27FC236}">
                  <a16:creationId xmlns:a16="http://schemas.microsoft.com/office/drawing/2014/main" id="{35F86523-10B5-C1A6-7DE5-557C9D77036B}"/>
                </a:ext>
              </a:extLst>
            </p:cNvPr>
            <p:cNvSpPr>
              <a:spLocks/>
            </p:cNvSpPr>
            <p:nvPr/>
          </p:nvSpPr>
          <p:spPr bwMode="auto">
            <a:xfrm>
              <a:off x="5361015" y="4032254"/>
              <a:ext cx="20638" cy="17463"/>
            </a:xfrm>
            <a:custGeom>
              <a:avLst/>
              <a:gdLst>
                <a:gd name="T0" fmla="*/ 3 w 13"/>
                <a:gd name="T1" fmla="*/ 0 h 11"/>
                <a:gd name="T2" fmla="*/ 13 w 13"/>
                <a:gd name="T3" fmla="*/ 6 h 11"/>
                <a:gd name="T4" fmla="*/ 10 w 13"/>
                <a:gd name="T5" fmla="*/ 11 h 11"/>
                <a:gd name="T6" fmla="*/ 0 w 13"/>
                <a:gd name="T7" fmla="*/ 5 h 11"/>
                <a:gd name="T8" fmla="*/ 3 w 13"/>
                <a:gd name="T9" fmla="*/ 0 h 11"/>
              </a:gdLst>
              <a:ahLst/>
              <a:cxnLst>
                <a:cxn ang="0">
                  <a:pos x="T0" y="T1"/>
                </a:cxn>
                <a:cxn ang="0">
                  <a:pos x="T2" y="T3"/>
                </a:cxn>
                <a:cxn ang="0">
                  <a:pos x="T4" y="T5"/>
                </a:cxn>
                <a:cxn ang="0">
                  <a:pos x="T6" y="T7"/>
                </a:cxn>
                <a:cxn ang="0">
                  <a:pos x="T8" y="T9"/>
                </a:cxn>
              </a:cxnLst>
              <a:rect l="0" t="0" r="r" b="b"/>
              <a:pathLst>
                <a:path w="13" h="11">
                  <a:moveTo>
                    <a:pt x="3" y="0"/>
                  </a:moveTo>
                  <a:lnTo>
                    <a:pt x="13" y="6"/>
                  </a:lnTo>
                  <a:lnTo>
                    <a:pt x="10" y="11"/>
                  </a:lnTo>
                  <a:lnTo>
                    <a:pt x="0" y="5"/>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317">
              <a:extLst>
                <a:ext uri="{FF2B5EF4-FFF2-40B4-BE49-F238E27FC236}">
                  <a16:creationId xmlns:a16="http://schemas.microsoft.com/office/drawing/2014/main" id="{3CE0A73F-04B6-A87C-321C-3EF45DAFFC38}"/>
                </a:ext>
              </a:extLst>
            </p:cNvPr>
            <p:cNvSpPr>
              <a:spLocks/>
            </p:cNvSpPr>
            <p:nvPr/>
          </p:nvSpPr>
          <p:spPr bwMode="auto">
            <a:xfrm>
              <a:off x="5322912" y="3670304"/>
              <a:ext cx="609603" cy="600075"/>
            </a:xfrm>
            <a:custGeom>
              <a:avLst/>
              <a:gdLst>
                <a:gd name="T0" fmla="*/ 343 w 384"/>
                <a:gd name="T1" fmla="*/ 0 h 378"/>
                <a:gd name="T2" fmla="*/ 360 w 384"/>
                <a:gd name="T3" fmla="*/ 5 h 378"/>
                <a:gd name="T4" fmla="*/ 370 w 384"/>
                <a:gd name="T5" fmla="*/ 13 h 378"/>
                <a:gd name="T6" fmla="*/ 378 w 384"/>
                <a:gd name="T7" fmla="*/ 23 h 378"/>
                <a:gd name="T8" fmla="*/ 382 w 384"/>
                <a:gd name="T9" fmla="*/ 38 h 378"/>
                <a:gd name="T10" fmla="*/ 381 w 384"/>
                <a:gd name="T11" fmla="*/ 69 h 378"/>
                <a:gd name="T12" fmla="*/ 363 w 384"/>
                <a:gd name="T13" fmla="*/ 118 h 378"/>
                <a:gd name="T14" fmla="*/ 322 w 384"/>
                <a:gd name="T15" fmla="*/ 182 h 378"/>
                <a:gd name="T16" fmla="*/ 253 w 384"/>
                <a:gd name="T17" fmla="*/ 259 h 378"/>
                <a:gd name="T18" fmla="*/ 164 w 384"/>
                <a:gd name="T19" fmla="*/ 328 h 378"/>
                <a:gd name="T20" fmla="*/ 109 w 384"/>
                <a:gd name="T21" fmla="*/ 360 h 378"/>
                <a:gd name="T22" fmla="*/ 60 w 384"/>
                <a:gd name="T23" fmla="*/ 376 h 378"/>
                <a:gd name="T24" fmla="*/ 27 w 384"/>
                <a:gd name="T25" fmla="*/ 377 h 378"/>
                <a:gd name="T26" fmla="*/ 10 w 384"/>
                <a:gd name="T27" fmla="*/ 372 h 378"/>
                <a:gd name="T28" fmla="*/ 0 w 384"/>
                <a:gd name="T29" fmla="*/ 364 h 378"/>
                <a:gd name="T30" fmla="*/ 14 w 384"/>
                <a:gd name="T31" fmla="*/ 360 h 378"/>
                <a:gd name="T32" fmla="*/ 26 w 384"/>
                <a:gd name="T33" fmla="*/ 365 h 378"/>
                <a:gd name="T34" fmla="*/ 38 w 384"/>
                <a:gd name="T35" fmla="*/ 366 h 378"/>
                <a:gd name="T36" fmla="*/ 80 w 384"/>
                <a:gd name="T37" fmla="*/ 359 h 378"/>
                <a:gd name="T38" fmla="*/ 130 w 384"/>
                <a:gd name="T39" fmla="*/ 335 h 378"/>
                <a:gd name="T40" fmla="*/ 206 w 384"/>
                <a:gd name="T41" fmla="*/ 284 h 378"/>
                <a:gd name="T42" fmla="*/ 285 w 384"/>
                <a:gd name="T43" fmla="*/ 207 h 378"/>
                <a:gd name="T44" fmla="*/ 336 w 384"/>
                <a:gd name="T45" fmla="*/ 139 h 378"/>
                <a:gd name="T46" fmla="*/ 363 w 384"/>
                <a:gd name="T47" fmla="*/ 89 h 378"/>
                <a:gd name="T48" fmla="*/ 370 w 384"/>
                <a:gd name="T49" fmla="*/ 48 h 378"/>
                <a:gd name="T50" fmla="*/ 369 w 384"/>
                <a:gd name="T51" fmla="*/ 33 h 378"/>
                <a:gd name="T52" fmla="*/ 361 w 384"/>
                <a:gd name="T53" fmla="*/ 22 h 378"/>
                <a:gd name="T54" fmla="*/ 350 w 384"/>
                <a:gd name="T55" fmla="*/ 14 h 378"/>
                <a:gd name="T56" fmla="*/ 339 w 384"/>
                <a:gd name="T57" fmla="*/ 12 h 378"/>
                <a:gd name="T58" fmla="*/ 314 w 384"/>
                <a:gd name="T59" fmla="*/ 13 h 378"/>
                <a:gd name="T60" fmla="*/ 271 w 384"/>
                <a:gd name="T61" fmla="*/ 27 h 378"/>
                <a:gd name="T62" fmla="*/ 241 w 384"/>
                <a:gd name="T63" fmla="*/ 29 h 378"/>
                <a:gd name="T64" fmla="*/ 291 w 384"/>
                <a:gd name="T65" fmla="*/ 6 h 378"/>
                <a:gd name="T66" fmla="*/ 333 w 384"/>
                <a:gd name="T6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378">
                  <a:moveTo>
                    <a:pt x="333" y="0"/>
                  </a:moveTo>
                  <a:lnTo>
                    <a:pt x="343" y="0"/>
                  </a:lnTo>
                  <a:lnTo>
                    <a:pt x="353" y="2"/>
                  </a:lnTo>
                  <a:lnTo>
                    <a:pt x="360" y="5"/>
                  </a:lnTo>
                  <a:lnTo>
                    <a:pt x="365" y="9"/>
                  </a:lnTo>
                  <a:lnTo>
                    <a:pt x="370" y="13"/>
                  </a:lnTo>
                  <a:lnTo>
                    <a:pt x="374" y="18"/>
                  </a:lnTo>
                  <a:lnTo>
                    <a:pt x="378" y="23"/>
                  </a:lnTo>
                  <a:lnTo>
                    <a:pt x="380" y="29"/>
                  </a:lnTo>
                  <a:lnTo>
                    <a:pt x="382" y="38"/>
                  </a:lnTo>
                  <a:lnTo>
                    <a:pt x="384" y="48"/>
                  </a:lnTo>
                  <a:lnTo>
                    <a:pt x="381" y="69"/>
                  </a:lnTo>
                  <a:lnTo>
                    <a:pt x="374" y="93"/>
                  </a:lnTo>
                  <a:lnTo>
                    <a:pt x="363" y="118"/>
                  </a:lnTo>
                  <a:lnTo>
                    <a:pt x="347" y="145"/>
                  </a:lnTo>
                  <a:lnTo>
                    <a:pt x="322" y="182"/>
                  </a:lnTo>
                  <a:lnTo>
                    <a:pt x="289" y="220"/>
                  </a:lnTo>
                  <a:lnTo>
                    <a:pt x="253" y="259"/>
                  </a:lnTo>
                  <a:lnTo>
                    <a:pt x="208" y="297"/>
                  </a:lnTo>
                  <a:lnTo>
                    <a:pt x="164" y="328"/>
                  </a:lnTo>
                  <a:lnTo>
                    <a:pt x="136" y="345"/>
                  </a:lnTo>
                  <a:lnTo>
                    <a:pt x="109" y="360"/>
                  </a:lnTo>
                  <a:lnTo>
                    <a:pt x="84" y="370"/>
                  </a:lnTo>
                  <a:lnTo>
                    <a:pt x="60" y="376"/>
                  </a:lnTo>
                  <a:lnTo>
                    <a:pt x="38" y="378"/>
                  </a:lnTo>
                  <a:lnTo>
                    <a:pt x="27" y="377"/>
                  </a:lnTo>
                  <a:lnTo>
                    <a:pt x="17" y="374"/>
                  </a:lnTo>
                  <a:lnTo>
                    <a:pt x="10" y="372"/>
                  </a:lnTo>
                  <a:lnTo>
                    <a:pt x="5" y="369"/>
                  </a:lnTo>
                  <a:lnTo>
                    <a:pt x="0" y="364"/>
                  </a:lnTo>
                  <a:lnTo>
                    <a:pt x="9" y="356"/>
                  </a:lnTo>
                  <a:lnTo>
                    <a:pt x="14" y="360"/>
                  </a:lnTo>
                  <a:lnTo>
                    <a:pt x="21" y="364"/>
                  </a:lnTo>
                  <a:lnTo>
                    <a:pt x="26" y="365"/>
                  </a:lnTo>
                  <a:lnTo>
                    <a:pt x="31" y="365"/>
                  </a:lnTo>
                  <a:lnTo>
                    <a:pt x="38" y="366"/>
                  </a:lnTo>
                  <a:lnTo>
                    <a:pt x="58" y="364"/>
                  </a:lnTo>
                  <a:lnTo>
                    <a:pt x="80" y="359"/>
                  </a:lnTo>
                  <a:lnTo>
                    <a:pt x="103" y="348"/>
                  </a:lnTo>
                  <a:lnTo>
                    <a:pt x="130" y="335"/>
                  </a:lnTo>
                  <a:lnTo>
                    <a:pt x="168" y="311"/>
                  </a:lnTo>
                  <a:lnTo>
                    <a:pt x="206" y="284"/>
                  </a:lnTo>
                  <a:lnTo>
                    <a:pt x="243" y="250"/>
                  </a:lnTo>
                  <a:lnTo>
                    <a:pt x="285" y="207"/>
                  </a:lnTo>
                  <a:lnTo>
                    <a:pt x="318" y="165"/>
                  </a:lnTo>
                  <a:lnTo>
                    <a:pt x="336" y="139"/>
                  </a:lnTo>
                  <a:lnTo>
                    <a:pt x="352" y="112"/>
                  </a:lnTo>
                  <a:lnTo>
                    <a:pt x="363" y="89"/>
                  </a:lnTo>
                  <a:lnTo>
                    <a:pt x="369" y="67"/>
                  </a:lnTo>
                  <a:lnTo>
                    <a:pt x="370" y="48"/>
                  </a:lnTo>
                  <a:lnTo>
                    <a:pt x="370" y="40"/>
                  </a:lnTo>
                  <a:lnTo>
                    <a:pt x="369" y="33"/>
                  </a:lnTo>
                  <a:lnTo>
                    <a:pt x="365" y="27"/>
                  </a:lnTo>
                  <a:lnTo>
                    <a:pt x="361" y="22"/>
                  </a:lnTo>
                  <a:lnTo>
                    <a:pt x="356" y="18"/>
                  </a:lnTo>
                  <a:lnTo>
                    <a:pt x="350" y="14"/>
                  </a:lnTo>
                  <a:lnTo>
                    <a:pt x="344" y="13"/>
                  </a:lnTo>
                  <a:lnTo>
                    <a:pt x="339" y="12"/>
                  </a:lnTo>
                  <a:lnTo>
                    <a:pt x="333" y="12"/>
                  </a:lnTo>
                  <a:lnTo>
                    <a:pt x="314" y="13"/>
                  </a:lnTo>
                  <a:lnTo>
                    <a:pt x="295" y="18"/>
                  </a:lnTo>
                  <a:lnTo>
                    <a:pt x="271" y="27"/>
                  </a:lnTo>
                  <a:lnTo>
                    <a:pt x="247" y="39"/>
                  </a:lnTo>
                  <a:lnTo>
                    <a:pt x="241" y="29"/>
                  </a:lnTo>
                  <a:lnTo>
                    <a:pt x="267" y="16"/>
                  </a:lnTo>
                  <a:lnTo>
                    <a:pt x="291" y="6"/>
                  </a:lnTo>
                  <a:lnTo>
                    <a:pt x="313" y="1"/>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318">
              <a:extLst>
                <a:ext uri="{FF2B5EF4-FFF2-40B4-BE49-F238E27FC236}">
                  <a16:creationId xmlns:a16="http://schemas.microsoft.com/office/drawing/2014/main" id="{80D6EC06-2400-E0DE-73EC-43B6CF28EE4F}"/>
                </a:ext>
              </a:extLst>
            </p:cNvPr>
            <p:cNvSpPr>
              <a:spLocks noEditPoints="1"/>
            </p:cNvSpPr>
            <p:nvPr/>
          </p:nvSpPr>
          <p:spPr bwMode="auto">
            <a:xfrm>
              <a:off x="5365773" y="4181481"/>
              <a:ext cx="125413" cy="123825"/>
            </a:xfrm>
            <a:custGeom>
              <a:avLst/>
              <a:gdLst>
                <a:gd name="T0" fmla="*/ 40 w 79"/>
                <a:gd name="T1" fmla="*/ 13 h 78"/>
                <a:gd name="T2" fmla="*/ 33 w 79"/>
                <a:gd name="T3" fmla="*/ 14 h 78"/>
                <a:gd name="T4" fmla="*/ 27 w 79"/>
                <a:gd name="T5" fmla="*/ 17 h 78"/>
                <a:gd name="T6" fmla="*/ 21 w 79"/>
                <a:gd name="T7" fmla="*/ 21 h 78"/>
                <a:gd name="T8" fmla="*/ 17 w 79"/>
                <a:gd name="T9" fmla="*/ 26 h 78"/>
                <a:gd name="T10" fmla="*/ 14 w 79"/>
                <a:gd name="T11" fmla="*/ 33 h 78"/>
                <a:gd name="T12" fmla="*/ 14 w 79"/>
                <a:gd name="T13" fmla="*/ 39 h 78"/>
                <a:gd name="T14" fmla="*/ 14 w 79"/>
                <a:gd name="T15" fmla="*/ 47 h 78"/>
                <a:gd name="T16" fmla="*/ 17 w 79"/>
                <a:gd name="T17" fmla="*/ 54 h 78"/>
                <a:gd name="T18" fmla="*/ 21 w 79"/>
                <a:gd name="T19" fmla="*/ 59 h 78"/>
                <a:gd name="T20" fmla="*/ 27 w 79"/>
                <a:gd name="T21" fmla="*/ 63 h 78"/>
                <a:gd name="T22" fmla="*/ 33 w 79"/>
                <a:gd name="T23" fmla="*/ 65 h 78"/>
                <a:gd name="T24" fmla="*/ 40 w 79"/>
                <a:gd name="T25" fmla="*/ 67 h 78"/>
                <a:gd name="T26" fmla="*/ 48 w 79"/>
                <a:gd name="T27" fmla="*/ 65 h 78"/>
                <a:gd name="T28" fmla="*/ 54 w 79"/>
                <a:gd name="T29" fmla="*/ 63 h 78"/>
                <a:gd name="T30" fmla="*/ 59 w 79"/>
                <a:gd name="T31" fmla="*/ 59 h 78"/>
                <a:gd name="T32" fmla="*/ 63 w 79"/>
                <a:gd name="T33" fmla="*/ 54 h 78"/>
                <a:gd name="T34" fmla="*/ 66 w 79"/>
                <a:gd name="T35" fmla="*/ 47 h 78"/>
                <a:gd name="T36" fmla="*/ 67 w 79"/>
                <a:gd name="T37" fmla="*/ 39 h 78"/>
                <a:gd name="T38" fmla="*/ 66 w 79"/>
                <a:gd name="T39" fmla="*/ 33 h 78"/>
                <a:gd name="T40" fmla="*/ 63 w 79"/>
                <a:gd name="T41" fmla="*/ 26 h 78"/>
                <a:gd name="T42" fmla="*/ 59 w 79"/>
                <a:gd name="T43" fmla="*/ 21 h 78"/>
                <a:gd name="T44" fmla="*/ 54 w 79"/>
                <a:gd name="T45" fmla="*/ 17 h 78"/>
                <a:gd name="T46" fmla="*/ 48 w 79"/>
                <a:gd name="T47" fmla="*/ 14 h 78"/>
                <a:gd name="T48" fmla="*/ 40 w 79"/>
                <a:gd name="T49" fmla="*/ 13 h 78"/>
                <a:gd name="T50" fmla="*/ 40 w 79"/>
                <a:gd name="T51" fmla="*/ 0 h 78"/>
                <a:gd name="T52" fmla="*/ 55 w 79"/>
                <a:gd name="T53" fmla="*/ 4 h 78"/>
                <a:gd name="T54" fmla="*/ 69 w 79"/>
                <a:gd name="T55" fmla="*/ 12 h 78"/>
                <a:gd name="T56" fmla="*/ 76 w 79"/>
                <a:gd name="T57" fmla="*/ 25 h 78"/>
                <a:gd name="T58" fmla="*/ 79 w 79"/>
                <a:gd name="T59" fmla="*/ 39 h 78"/>
                <a:gd name="T60" fmla="*/ 76 w 79"/>
                <a:gd name="T61" fmla="*/ 55 h 78"/>
                <a:gd name="T62" fmla="*/ 69 w 79"/>
                <a:gd name="T63" fmla="*/ 67 h 78"/>
                <a:gd name="T64" fmla="*/ 55 w 79"/>
                <a:gd name="T65" fmla="*/ 76 h 78"/>
                <a:gd name="T66" fmla="*/ 40 w 79"/>
                <a:gd name="T67" fmla="*/ 78 h 78"/>
                <a:gd name="T68" fmla="*/ 25 w 79"/>
                <a:gd name="T69" fmla="*/ 76 h 78"/>
                <a:gd name="T70" fmla="*/ 12 w 79"/>
                <a:gd name="T71" fmla="*/ 67 h 78"/>
                <a:gd name="T72" fmla="*/ 4 w 79"/>
                <a:gd name="T73" fmla="*/ 55 h 78"/>
                <a:gd name="T74" fmla="*/ 0 w 79"/>
                <a:gd name="T75" fmla="*/ 39 h 78"/>
                <a:gd name="T76" fmla="*/ 4 w 79"/>
                <a:gd name="T77" fmla="*/ 25 h 78"/>
                <a:gd name="T78" fmla="*/ 12 w 79"/>
                <a:gd name="T79" fmla="*/ 12 h 78"/>
                <a:gd name="T80" fmla="*/ 25 w 79"/>
                <a:gd name="T81" fmla="*/ 4 h 78"/>
                <a:gd name="T82" fmla="*/ 40 w 79"/>
                <a:gd name="T8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 h="78">
                  <a:moveTo>
                    <a:pt x="40" y="13"/>
                  </a:moveTo>
                  <a:lnTo>
                    <a:pt x="33" y="14"/>
                  </a:lnTo>
                  <a:lnTo>
                    <a:pt x="27" y="17"/>
                  </a:lnTo>
                  <a:lnTo>
                    <a:pt x="21" y="21"/>
                  </a:lnTo>
                  <a:lnTo>
                    <a:pt x="17" y="26"/>
                  </a:lnTo>
                  <a:lnTo>
                    <a:pt x="14" y="33"/>
                  </a:lnTo>
                  <a:lnTo>
                    <a:pt x="14" y="39"/>
                  </a:lnTo>
                  <a:lnTo>
                    <a:pt x="14" y="47"/>
                  </a:lnTo>
                  <a:lnTo>
                    <a:pt x="17" y="54"/>
                  </a:lnTo>
                  <a:lnTo>
                    <a:pt x="21" y="59"/>
                  </a:lnTo>
                  <a:lnTo>
                    <a:pt x="27" y="63"/>
                  </a:lnTo>
                  <a:lnTo>
                    <a:pt x="33" y="65"/>
                  </a:lnTo>
                  <a:lnTo>
                    <a:pt x="40" y="67"/>
                  </a:lnTo>
                  <a:lnTo>
                    <a:pt x="48" y="65"/>
                  </a:lnTo>
                  <a:lnTo>
                    <a:pt x="54" y="63"/>
                  </a:lnTo>
                  <a:lnTo>
                    <a:pt x="59" y="59"/>
                  </a:lnTo>
                  <a:lnTo>
                    <a:pt x="63" y="54"/>
                  </a:lnTo>
                  <a:lnTo>
                    <a:pt x="66" y="47"/>
                  </a:lnTo>
                  <a:lnTo>
                    <a:pt x="67" y="39"/>
                  </a:lnTo>
                  <a:lnTo>
                    <a:pt x="66" y="33"/>
                  </a:lnTo>
                  <a:lnTo>
                    <a:pt x="63" y="26"/>
                  </a:lnTo>
                  <a:lnTo>
                    <a:pt x="59" y="21"/>
                  </a:lnTo>
                  <a:lnTo>
                    <a:pt x="54" y="17"/>
                  </a:lnTo>
                  <a:lnTo>
                    <a:pt x="48" y="14"/>
                  </a:lnTo>
                  <a:lnTo>
                    <a:pt x="40" y="13"/>
                  </a:lnTo>
                  <a:close/>
                  <a:moveTo>
                    <a:pt x="40" y="0"/>
                  </a:moveTo>
                  <a:lnTo>
                    <a:pt x="55" y="4"/>
                  </a:lnTo>
                  <a:lnTo>
                    <a:pt x="69" y="12"/>
                  </a:lnTo>
                  <a:lnTo>
                    <a:pt x="76" y="25"/>
                  </a:lnTo>
                  <a:lnTo>
                    <a:pt x="79" y="39"/>
                  </a:lnTo>
                  <a:lnTo>
                    <a:pt x="76" y="55"/>
                  </a:lnTo>
                  <a:lnTo>
                    <a:pt x="69" y="67"/>
                  </a:lnTo>
                  <a:lnTo>
                    <a:pt x="55" y="76"/>
                  </a:lnTo>
                  <a:lnTo>
                    <a:pt x="40" y="78"/>
                  </a:lnTo>
                  <a:lnTo>
                    <a:pt x="25" y="76"/>
                  </a:lnTo>
                  <a:lnTo>
                    <a:pt x="12" y="67"/>
                  </a:lnTo>
                  <a:lnTo>
                    <a:pt x="4" y="55"/>
                  </a:lnTo>
                  <a:lnTo>
                    <a:pt x="0" y="39"/>
                  </a:lnTo>
                  <a:lnTo>
                    <a:pt x="4" y="25"/>
                  </a:lnTo>
                  <a:lnTo>
                    <a:pt x="12" y="12"/>
                  </a:lnTo>
                  <a:lnTo>
                    <a:pt x="25" y="4"/>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319">
              <a:extLst>
                <a:ext uri="{FF2B5EF4-FFF2-40B4-BE49-F238E27FC236}">
                  <a16:creationId xmlns:a16="http://schemas.microsoft.com/office/drawing/2014/main" id="{29DF4DBC-C1B4-B713-F3D6-FB79DD79B520}"/>
                </a:ext>
              </a:extLst>
            </p:cNvPr>
            <p:cNvSpPr>
              <a:spLocks/>
            </p:cNvSpPr>
            <p:nvPr/>
          </p:nvSpPr>
          <p:spPr bwMode="auto">
            <a:xfrm>
              <a:off x="5573742" y="3819528"/>
              <a:ext cx="315914" cy="307975"/>
            </a:xfrm>
            <a:custGeom>
              <a:avLst/>
              <a:gdLst>
                <a:gd name="T0" fmla="*/ 82 w 199"/>
                <a:gd name="T1" fmla="*/ 0 h 194"/>
                <a:gd name="T2" fmla="*/ 100 w 199"/>
                <a:gd name="T3" fmla="*/ 15 h 194"/>
                <a:gd name="T4" fmla="*/ 100 w 199"/>
                <a:gd name="T5" fmla="*/ 15 h 194"/>
                <a:gd name="T6" fmla="*/ 104 w 199"/>
                <a:gd name="T7" fmla="*/ 15 h 194"/>
                <a:gd name="T8" fmla="*/ 109 w 199"/>
                <a:gd name="T9" fmla="*/ 15 h 194"/>
                <a:gd name="T10" fmla="*/ 117 w 199"/>
                <a:gd name="T11" fmla="*/ 15 h 194"/>
                <a:gd name="T12" fmla="*/ 134 w 199"/>
                <a:gd name="T13" fmla="*/ 13 h 194"/>
                <a:gd name="T14" fmla="*/ 152 w 199"/>
                <a:gd name="T15" fmla="*/ 13 h 194"/>
                <a:gd name="T16" fmla="*/ 160 w 199"/>
                <a:gd name="T17" fmla="*/ 12 h 194"/>
                <a:gd name="T18" fmla="*/ 167 w 199"/>
                <a:gd name="T19" fmla="*/ 12 h 194"/>
                <a:gd name="T20" fmla="*/ 171 w 199"/>
                <a:gd name="T21" fmla="*/ 11 h 194"/>
                <a:gd name="T22" fmla="*/ 173 w 199"/>
                <a:gd name="T23" fmla="*/ 22 h 194"/>
                <a:gd name="T24" fmla="*/ 168 w 199"/>
                <a:gd name="T25" fmla="*/ 24 h 194"/>
                <a:gd name="T26" fmla="*/ 160 w 199"/>
                <a:gd name="T27" fmla="*/ 24 h 194"/>
                <a:gd name="T28" fmla="*/ 154 w 199"/>
                <a:gd name="T29" fmla="*/ 25 h 194"/>
                <a:gd name="T30" fmla="*/ 129 w 199"/>
                <a:gd name="T31" fmla="*/ 26 h 194"/>
                <a:gd name="T32" fmla="*/ 113 w 199"/>
                <a:gd name="T33" fmla="*/ 26 h 194"/>
                <a:gd name="T34" fmla="*/ 103 w 199"/>
                <a:gd name="T35" fmla="*/ 28 h 194"/>
                <a:gd name="T36" fmla="*/ 99 w 199"/>
                <a:gd name="T37" fmla="*/ 28 h 194"/>
                <a:gd name="T38" fmla="*/ 96 w 199"/>
                <a:gd name="T39" fmla="*/ 28 h 194"/>
                <a:gd name="T40" fmla="*/ 79 w 199"/>
                <a:gd name="T41" fmla="*/ 15 h 194"/>
                <a:gd name="T42" fmla="*/ 62 w 199"/>
                <a:gd name="T43" fmla="*/ 21 h 194"/>
                <a:gd name="T44" fmla="*/ 66 w 199"/>
                <a:gd name="T45" fmla="*/ 38 h 194"/>
                <a:gd name="T46" fmla="*/ 46 w 199"/>
                <a:gd name="T47" fmla="*/ 42 h 194"/>
                <a:gd name="T48" fmla="*/ 66 w 199"/>
                <a:gd name="T49" fmla="*/ 68 h 194"/>
                <a:gd name="T50" fmla="*/ 55 w 199"/>
                <a:gd name="T51" fmla="*/ 80 h 194"/>
                <a:gd name="T52" fmla="*/ 28 w 199"/>
                <a:gd name="T53" fmla="*/ 69 h 194"/>
                <a:gd name="T54" fmla="*/ 13 w 199"/>
                <a:gd name="T55" fmla="*/ 88 h 194"/>
                <a:gd name="T56" fmla="*/ 15 w 199"/>
                <a:gd name="T57" fmla="*/ 97 h 194"/>
                <a:gd name="T58" fmla="*/ 33 w 199"/>
                <a:gd name="T59" fmla="*/ 105 h 194"/>
                <a:gd name="T60" fmla="*/ 27 w 199"/>
                <a:gd name="T61" fmla="*/ 147 h 194"/>
                <a:gd name="T62" fmla="*/ 29 w 199"/>
                <a:gd name="T63" fmla="*/ 165 h 194"/>
                <a:gd name="T64" fmla="*/ 68 w 199"/>
                <a:gd name="T65" fmla="*/ 121 h 194"/>
                <a:gd name="T66" fmla="*/ 63 w 199"/>
                <a:gd name="T67" fmla="*/ 119 h 194"/>
                <a:gd name="T68" fmla="*/ 70 w 199"/>
                <a:gd name="T69" fmla="*/ 93 h 194"/>
                <a:gd name="T70" fmla="*/ 89 w 199"/>
                <a:gd name="T71" fmla="*/ 98 h 194"/>
                <a:gd name="T72" fmla="*/ 110 w 199"/>
                <a:gd name="T73" fmla="*/ 85 h 194"/>
                <a:gd name="T74" fmla="*/ 116 w 199"/>
                <a:gd name="T75" fmla="*/ 115 h 194"/>
                <a:gd name="T76" fmla="*/ 139 w 199"/>
                <a:gd name="T77" fmla="*/ 109 h 194"/>
                <a:gd name="T78" fmla="*/ 143 w 199"/>
                <a:gd name="T79" fmla="*/ 134 h 194"/>
                <a:gd name="T80" fmla="*/ 192 w 199"/>
                <a:gd name="T81" fmla="*/ 90 h 194"/>
                <a:gd name="T82" fmla="*/ 199 w 199"/>
                <a:gd name="T83" fmla="*/ 100 h 194"/>
                <a:gd name="T84" fmla="*/ 134 w 199"/>
                <a:gd name="T85" fmla="*/ 159 h 194"/>
                <a:gd name="T86" fmla="*/ 129 w 199"/>
                <a:gd name="T87" fmla="*/ 124 h 194"/>
                <a:gd name="T88" fmla="*/ 106 w 199"/>
                <a:gd name="T89" fmla="*/ 130 h 194"/>
                <a:gd name="T90" fmla="*/ 101 w 199"/>
                <a:gd name="T91" fmla="*/ 106 h 194"/>
                <a:gd name="T92" fmla="*/ 91 w 199"/>
                <a:gd name="T93" fmla="*/ 111 h 194"/>
                <a:gd name="T94" fmla="*/ 79 w 199"/>
                <a:gd name="T95" fmla="*/ 109 h 194"/>
                <a:gd name="T96" fmla="*/ 78 w 199"/>
                <a:gd name="T97" fmla="*/ 111 h 194"/>
                <a:gd name="T98" fmla="*/ 89 w 199"/>
                <a:gd name="T99" fmla="*/ 115 h 194"/>
                <a:gd name="T100" fmla="*/ 19 w 199"/>
                <a:gd name="T101" fmla="*/ 194 h 194"/>
                <a:gd name="T102" fmla="*/ 15 w 199"/>
                <a:gd name="T103" fmla="*/ 147 h 194"/>
                <a:gd name="T104" fmla="*/ 20 w 199"/>
                <a:gd name="T105" fmla="*/ 113 h 194"/>
                <a:gd name="T106" fmla="*/ 4 w 199"/>
                <a:gd name="T107" fmla="*/ 106 h 194"/>
                <a:gd name="T108" fmla="*/ 0 w 199"/>
                <a:gd name="T109" fmla="*/ 84 h 194"/>
                <a:gd name="T110" fmla="*/ 24 w 199"/>
                <a:gd name="T111" fmla="*/ 55 h 194"/>
                <a:gd name="T112" fmla="*/ 48 w 199"/>
                <a:gd name="T113" fmla="*/ 64 h 194"/>
                <a:gd name="T114" fmla="*/ 24 w 199"/>
                <a:gd name="T115" fmla="*/ 33 h 194"/>
                <a:gd name="T116" fmla="*/ 50 w 199"/>
                <a:gd name="T117" fmla="*/ 29 h 194"/>
                <a:gd name="T118" fmla="*/ 48 w 199"/>
                <a:gd name="T119" fmla="*/ 15 h 194"/>
                <a:gd name="T120" fmla="*/ 82 w 199"/>
                <a:gd name="T1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9" h="194">
                  <a:moveTo>
                    <a:pt x="82" y="0"/>
                  </a:moveTo>
                  <a:lnTo>
                    <a:pt x="100" y="15"/>
                  </a:lnTo>
                  <a:lnTo>
                    <a:pt x="100" y="15"/>
                  </a:lnTo>
                  <a:lnTo>
                    <a:pt x="104" y="15"/>
                  </a:lnTo>
                  <a:lnTo>
                    <a:pt x="109" y="15"/>
                  </a:lnTo>
                  <a:lnTo>
                    <a:pt x="117" y="15"/>
                  </a:lnTo>
                  <a:lnTo>
                    <a:pt x="134" y="13"/>
                  </a:lnTo>
                  <a:lnTo>
                    <a:pt x="152" y="13"/>
                  </a:lnTo>
                  <a:lnTo>
                    <a:pt x="160" y="12"/>
                  </a:lnTo>
                  <a:lnTo>
                    <a:pt x="167" y="12"/>
                  </a:lnTo>
                  <a:lnTo>
                    <a:pt x="171" y="11"/>
                  </a:lnTo>
                  <a:lnTo>
                    <a:pt x="173" y="22"/>
                  </a:lnTo>
                  <a:lnTo>
                    <a:pt x="168" y="24"/>
                  </a:lnTo>
                  <a:lnTo>
                    <a:pt x="160" y="24"/>
                  </a:lnTo>
                  <a:lnTo>
                    <a:pt x="154" y="25"/>
                  </a:lnTo>
                  <a:lnTo>
                    <a:pt x="129" y="26"/>
                  </a:lnTo>
                  <a:lnTo>
                    <a:pt x="113" y="26"/>
                  </a:lnTo>
                  <a:lnTo>
                    <a:pt x="103" y="28"/>
                  </a:lnTo>
                  <a:lnTo>
                    <a:pt x="99" y="28"/>
                  </a:lnTo>
                  <a:lnTo>
                    <a:pt x="96" y="28"/>
                  </a:lnTo>
                  <a:lnTo>
                    <a:pt x="79" y="15"/>
                  </a:lnTo>
                  <a:lnTo>
                    <a:pt x="62" y="21"/>
                  </a:lnTo>
                  <a:lnTo>
                    <a:pt x="66" y="38"/>
                  </a:lnTo>
                  <a:lnTo>
                    <a:pt x="46" y="42"/>
                  </a:lnTo>
                  <a:lnTo>
                    <a:pt x="66" y="68"/>
                  </a:lnTo>
                  <a:lnTo>
                    <a:pt x="55" y="80"/>
                  </a:lnTo>
                  <a:lnTo>
                    <a:pt x="28" y="69"/>
                  </a:lnTo>
                  <a:lnTo>
                    <a:pt x="13" y="88"/>
                  </a:lnTo>
                  <a:lnTo>
                    <a:pt x="15" y="97"/>
                  </a:lnTo>
                  <a:lnTo>
                    <a:pt x="33" y="105"/>
                  </a:lnTo>
                  <a:lnTo>
                    <a:pt x="27" y="147"/>
                  </a:lnTo>
                  <a:lnTo>
                    <a:pt x="29" y="165"/>
                  </a:lnTo>
                  <a:lnTo>
                    <a:pt x="68" y="121"/>
                  </a:lnTo>
                  <a:lnTo>
                    <a:pt x="63" y="119"/>
                  </a:lnTo>
                  <a:lnTo>
                    <a:pt x="70" y="93"/>
                  </a:lnTo>
                  <a:lnTo>
                    <a:pt x="89" y="98"/>
                  </a:lnTo>
                  <a:lnTo>
                    <a:pt x="110" y="85"/>
                  </a:lnTo>
                  <a:lnTo>
                    <a:pt x="116" y="115"/>
                  </a:lnTo>
                  <a:lnTo>
                    <a:pt x="139" y="109"/>
                  </a:lnTo>
                  <a:lnTo>
                    <a:pt x="143" y="134"/>
                  </a:lnTo>
                  <a:lnTo>
                    <a:pt x="192" y="90"/>
                  </a:lnTo>
                  <a:lnTo>
                    <a:pt x="199" y="100"/>
                  </a:lnTo>
                  <a:lnTo>
                    <a:pt x="134" y="159"/>
                  </a:lnTo>
                  <a:lnTo>
                    <a:pt x="129" y="124"/>
                  </a:lnTo>
                  <a:lnTo>
                    <a:pt x="106" y="130"/>
                  </a:lnTo>
                  <a:lnTo>
                    <a:pt x="101" y="106"/>
                  </a:lnTo>
                  <a:lnTo>
                    <a:pt x="91" y="111"/>
                  </a:lnTo>
                  <a:lnTo>
                    <a:pt x="79" y="109"/>
                  </a:lnTo>
                  <a:lnTo>
                    <a:pt x="78" y="111"/>
                  </a:lnTo>
                  <a:lnTo>
                    <a:pt x="89" y="115"/>
                  </a:lnTo>
                  <a:lnTo>
                    <a:pt x="19" y="194"/>
                  </a:lnTo>
                  <a:lnTo>
                    <a:pt x="15" y="147"/>
                  </a:lnTo>
                  <a:lnTo>
                    <a:pt x="20" y="113"/>
                  </a:lnTo>
                  <a:lnTo>
                    <a:pt x="4" y="106"/>
                  </a:lnTo>
                  <a:lnTo>
                    <a:pt x="0" y="84"/>
                  </a:lnTo>
                  <a:lnTo>
                    <a:pt x="24" y="55"/>
                  </a:lnTo>
                  <a:lnTo>
                    <a:pt x="48" y="64"/>
                  </a:lnTo>
                  <a:lnTo>
                    <a:pt x="24" y="33"/>
                  </a:lnTo>
                  <a:lnTo>
                    <a:pt x="50" y="29"/>
                  </a:lnTo>
                  <a:lnTo>
                    <a:pt x="48" y="15"/>
                  </a:ln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320">
              <a:extLst>
                <a:ext uri="{FF2B5EF4-FFF2-40B4-BE49-F238E27FC236}">
                  <a16:creationId xmlns:a16="http://schemas.microsoft.com/office/drawing/2014/main" id="{287497BE-F0E8-A772-CE6F-80B1EC918F50}"/>
                </a:ext>
              </a:extLst>
            </p:cNvPr>
            <p:cNvSpPr>
              <a:spLocks/>
            </p:cNvSpPr>
            <p:nvPr/>
          </p:nvSpPr>
          <p:spPr bwMode="auto">
            <a:xfrm>
              <a:off x="5389589" y="3729039"/>
              <a:ext cx="157163" cy="200025"/>
            </a:xfrm>
            <a:custGeom>
              <a:avLst/>
              <a:gdLst>
                <a:gd name="T0" fmla="*/ 85 w 99"/>
                <a:gd name="T1" fmla="*/ 0 h 126"/>
                <a:gd name="T2" fmla="*/ 85 w 99"/>
                <a:gd name="T3" fmla="*/ 0 h 126"/>
                <a:gd name="T4" fmla="*/ 97 w 99"/>
                <a:gd name="T5" fmla="*/ 3 h 126"/>
                <a:gd name="T6" fmla="*/ 80 w 99"/>
                <a:gd name="T7" fmla="*/ 47 h 126"/>
                <a:gd name="T8" fmla="*/ 81 w 99"/>
                <a:gd name="T9" fmla="*/ 47 h 126"/>
                <a:gd name="T10" fmla="*/ 81 w 99"/>
                <a:gd name="T11" fmla="*/ 47 h 126"/>
                <a:gd name="T12" fmla="*/ 90 w 99"/>
                <a:gd name="T13" fmla="*/ 49 h 126"/>
                <a:gd name="T14" fmla="*/ 99 w 99"/>
                <a:gd name="T15" fmla="*/ 74 h 126"/>
                <a:gd name="T16" fmla="*/ 97 w 99"/>
                <a:gd name="T17" fmla="*/ 82 h 126"/>
                <a:gd name="T18" fmla="*/ 55 w 99"/>
                <a:gd name="T19" fmla="*/ 99 h 126"/>
                <a:gd name="T20" fmla="*/ 51 w 99"/>
                <a:gd name="T21" fmla="*/ 100 h 126"/>
                <a:gd name="T22" fmla="*/ 39 w 99"/>
                <a:gd name="T23" fmla="*/ 98 h 126"/>
                <a:gd name="T24" fmla="*/ 39 w 99"/>
                <a:gd name="T25" fmla="*/ 100 h 126"/>
                <a:gd name="T26" fmla="*/ 38 w 99"/>
                <a:gd name="T27" fmla="*/ 106 h 126"/>
                <a:gd name="T28" fmla="*/ 38 w 99"/>
                <a:gd name="T29" fmla="*/ 112 h 126"/>
                <a:gd name="T30" fmla="*/ 38 w 99"/>
                <a:gd name="T31" fmla="*/ 117 h 126"/>
                <a:gd name="T32" fmla="*/ 38 w 99"/>
                <a:gd name="T33" fmla="*/ 119 h 126"/>
                <a:gd name="T34" fmla="*/ 37 w 99"/>
                <a:gd name="T35" fmla="*/ 121 h 126"/>
                <a:gd name="T36" fmla="*/ 37 w 99"/>
                <a:gd name="T37" fmla="*/ 121 h 126"/>
                <a:gd name="T38" fmla="*/ 29 w 99"/>
                <a:gd name="T39" fmla="*/ 126 h 126"/>
                <a:gd name="T40" fmla="*/ 0 w 99"/>
                <a:gd name="T41" fmla="*/ 117 h 126"/>
                <a:gd name="T42" fmla="*/ 4 w 99"/>
                <a:gd name="T43" fmla="*/ 106 h 126"/>
                <a:gd name="T44" fmla="*/ 26 w 99"/>
                <a:gd name="T45" fmla="*/ 113 h 126"/>
                <a:gd name="T46" fmla="*/ 26 w 99"/>
                <a:gd name="T47" fmla="*/ 108 h 126"/>
                <a:gd name="T48" fmla="*/ 27 w 99"/>
                <a:gd name="T49" fmla="*/ 98 h 126"/>
                <a:gd name="T50" fmla="*/ 27 w 99"/>
                <a:gd name="T51" fmla="*/ 94 h 126"/>
                <a:gd name="T52" fmla="*/ 27 w 99"/>
                <a:gd name="T53" fmla="*/ 90 h 126"/>
                <a:gd name="T54" fmla="*/ 29 w 99"/>
                <a:gd name="T55" fmla="*/ 89 h 126"/>
                <a:gd name="T56" fmla="*/ 29 w 99"/>
                <a:gd name="T57" fmla="*/ 87 h 126"/>
                <a:gd name="T58" fmla="*/ 29 w 99"/>
                <a:gd name="T59" fmla="*/ 86 h 126"/>
                <a:gd name="T60" fmla="*/ 30 w 99"/>
                <a:gd name="T61" fmla="*/ 86 h 126"/>
                <a:gd name="T62" fmla="*/ 31 w 99"/>
                <a:gd name="T63" fmla="*/ 85 h 126"/>
                <a:gd name="T64" fmla="*/ 33 w 99"/>
                <a:gd name="T65" fmla="*/ 83 h 126"/>
                <a:gd name="T66" fmla="*/ 34 w 99"/>
                <a:gd name="T67" fmla="*/ 83 h 126"/>
                <a:gd name="T68" fmla="*/ 35 w 99"/>
                <a:gd name="T69" fmla="*/ 83 h 126"/>
                <a:gd name="T70" fmla="*/ 52 w 99"/>
                <a:gd name="T71" fmla="*/ 87 h 126"/>
                <a:gd name="T72" fmla="*/ 86 w 99"/>
                <a:gd name="T73" fmla="*/ 73 h 126"/>
                <a:gd name="T74" fmla="*/ 81 w 99"/>
                <a:gd name="T75" fmla="*/ 61 h 126"/>
                <a:gd name="T76" fmla="*/ 80 w 99"/>
                <a:gd name="T77" fmla="*/ 62 h 126"/>
                <a:gd name="T78" fmla="*/ 76 w 99"/>
                <a:gd name="T79" fmla="*/ 64 h 126"/>
                <a:gd name="T80" fmla="*/ 73 w 99"/>
                <a:gd name="T81" fmla="*/ 65 h 126"/>
                <a:gd name="T82" fmla="*/ 72 w 99"/>
                <a:gd name="T83" fmla="*/ 66 h 126"/>
                <a:gd name="T84" fmla="*/ 71 w 99"/>
                <a:gd name="T85" fmla="*/ 66 h 126"/>
                <a:gd name="T86" fmla="*/ 69 w 99"/>
                <a:gd name="T87" fmla="*/ 66 h 126"/>
                <a:gd name="T88" fmla="*/ 68 w 99"/>
                <a:gd name="T89" fmla="*/ 68 h 126"/>
                <a:gd name="T90" fmla="*/ 68 w 99"/>
                <a:gd name="T91" fmla="*/ 66 h 126"/>
                <a:gd name="T92" fmla="*/ 67 w 99"/>
                <a:gd name="T93" fmla="*/ 66 h 126"/>
                <a:gd name="T94" fmla="*/ 65 w 99"/>
                <a:gd name="T95" fmla="*/ 66 h 126"/>
                <a:gd name="T96" fmla="*/ 64 w 99"/>
                <a:gd name="T97" fmla="*/ 65 h 126"/>
                <a:gd name="T98" fmla="*/ 63 w 99"/>
                <a:gd name="T99" fmla="*/ 62 h 126"/>
                <a:gd name="T100" fmla="*/ 63 w 99"/>
                <a:gd name="T101" fmla="*/ 58 h 126"/>
                <a:gd name="T102" fmla="*/ 85 w 99"/>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 h="126">
                  <a:moveTo>
                    <a:pt x="85" y="0"/>
                  </a:moveTo>
                  <a:lnTo>
                    <a:pt x="85" y="0"/>
                  </a:lnTo>
                  <a:lnTo>
                    <a:pt x="97" y="3"/>
                  </a:lnTo>
                  <a:lnTo>
                    <a:pt x="80" y="47"/>
                  </a:lnTo>
                  <a:lnTo>
                    <a:pt x="81" y="47"/>
                  </a:lnTo>
                  <a:lnTo>
                    <a:pt x="81" y="47"/>
                  </a:lnTo>
                  <a:lnTo>
                    <a:pt x="90" y="49"/>
                  </a:lnTo>
                  <a:lnTo>
                    <a:pt x="99" y="74"/>
                  </a:lnTo>
                  <a:lnTo>
                    <a:pt x="97" y="82"/>
                  </a:lnTo>
                  <a:lnTo>
                    <a:pt x="55" y="99"/>
                  </a:lnTo>
                  <a:lnTo>
                    <a:pt x="51" y="100"/>
                  </a:lnTo>
                  <a:lnTo>
                    <a:pt x="39" y="98"/>
                  </a:lnTo>
                  <a:lnTo>
                    <a:pt x="39" y="100"/>
                  </a:lnTo>
                  <a:lnTo>
                    <a:pt x="38" y="106"/>
                  </a:lnTo>
                  <a:lnTo>
                    <a:pt x="38" y="112"/>
                  </a:lnTo>
                  <a:lnTo>
                    <a:pt x="38" y="117"/>
                  </a:lnTo>
                  <a:lnTo>
                    <a:pt x="38" y="119"/>
                  </a:lnTo>
                  <a:lnTo>
                    <a:pt x="37" y="121"/>
                  </a:lnTo>
                  <a:lnTo>
                    <a:pt x="37" y="121"/>
                  </a:lnTo>
                  <a:lnTo>
                    <a:pt x="29" y="126"/>
                  </a:lnTo>
                  <a:lnTo>
                    <a:pt x="0" y="117"/>
                  </a:lnTo>
                  <a:lnTo>
                    <a:pt x="4" y="106"/>
                  </a:lnTo>
                  <a:lnTo>
                    <a:pt x="26" y="113"/>
                  </a:lnTo>
                  <a:lnTo>
                    <a:pt x="26" y="108"/>
                  </a:lnTo>
                  <a:lnTo>
                    <a:pt x="27" y="98"/>
                  </a:lnTo>
                  <a:lnTo>
                    <a:pt x="27" y="94"/>
                  </a:lnTo>
                  <a:lnTo>
                    <a:pt x="27" y="90"/>
                  </a:lnTo>
                  <a:lnTo>
                    <a:pt x="29" y="89"/>
                  </a:lnTo>
                  <a:lnTo>
                    <a:pt x="29" y="87"/>
                  </a:lnTo>
                  <a:lnTo>
                    <a:pt x="29" y="86"/>
                  </a:lnTo>
                  <a:lnTo>
                    <a:pt x="30" y="86"/>
                  </a:lnTo>
                  <a:lnTo>
                    <a:pt x="31" y="85"/>
                  </a:lnTo>
                  <a:lnTo>
                    <a:pt x="33" y="83"/>
                  </a:lnTo>
                  <a:lnTo>
                    <a:pt x="34" y="83"/>
                  </a:lnTo>
                  <a:lnTo>
                    <a:pt x="35" y="83"/>
                  </a:lnTo>
                  <a:lnTo>
                    <a:pt x="52" y="87"/>
                  </a:lnTo>
                  <a:lnTo>
                    <a:pt x="86" y="73"/>
                  </a:lnTo>
                  <a:lnTo>
                    <a:pt x="81" y="61"/>
                  </a:lnTo>
                  <a:lnTo>
                    <a:pt x="80" y="62"/>
                  </a:lnTo>
                  <a:lnTo>
                    <a:pt x="76" y="64"/>
                  </a:lnTo>
                  <a:lnTo>
                    <a:pt x="73" y="65"/>
                  </a:lnTo>
                  <a:lnTo>
                    <a:pt x="72" y="66"/>
                  </a:lnTo>
                  <a:lnTo>
                    <a:pt x="71" y="66"/>
                  </a:lnTo>
                  <a:lnTo>
                    <a:pt x="69" y="66"/>
                  </a:lnTo>
                  <a:lnTo>
                    <a:pt x="68" y="68"/>
                  </a:lnTo>
                  <a:lnTo>
                    <a:pt x="68" y="66"/>
                  </a:lnTo>
                  <a:lnTo>
                    <a:pt x="67" y="66"/>
                  </a:lnTo>
                  <a:lnTo>
                    <a:pt x="65" y="66"/>
                  </a:lnTo>
                  <a:lnTo>
                    <a:pt x="64" y="65"/>
                  </a:lnTo>
                  <a:lnTo>
                    <a:pt x="63" y="62"/>
                  </a:lnTo>
                  <a:lnTo>
                    <a:pt x="63" y="58"/>
                  </a:lnTo>
                  <a:lnTo>
                    <a:pt x="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9A7F95B0-3050-7EFA-C937-4383B1C64A22}"/>
                </a:ext>
              </a:extLst>
            </p:cNvPr>
            <p:cNvSpPr>
              <a:spLocks noEditPoints="1"/>
            </p:cNvSpPr>
            <p:nvPr/>
          </p:nvSpPr>
          <p:spPr bwMode="auto">
            <a:xfrm>
              <a:off x="5438800" y="3914774"/>
              <a:ext cx="112714" cy="211138"/>
            </a:xfrm>
            <a:custGeom>
              <a:avLst/>
              <a:gdLst>
                <a:gd name="T0" fmla="*/ 30 w 71"/>
                <a:gd name="T1" fmla="*/ 20 h 133"/>
                <a:gd name="T2" fmla="*/ 21 w 71"/>
                <a:gd name="T3" fmla="*/ 32 h 133"/>
                <a:gd name="T4" fmla="*/ 25 w 71"/>
                <a:gd name="T5" fmla="*/ 58 h 133"/>
                <a:gd name="T6" fmla="*/ 25 w 71"/>
                <a:gd name="T7" fmla="*/ 58 h 133"/>
                <a:gd name="T8" fmla="*/ 25 w 71"/>
                <a:gd name="T9" fmla="*/ 58 h 133"/>
                <a:gd name="T10" fmla="*/ 25 w 71"/>
                <a:gd name="T11" fmla="*/ 59 h 133"/>
                <a:gd name="T12" fmla="*/ 24 w 71"/>
                <a:gd name="T13" fmla="*/ 62 h 133"/>
                <a:gd name="T14" fmla="*/ 24 w 71"/>
                <a:gd name="T15" fmla="*/ 62 h 133"/>
                <a:gd name="T16" fmla="*/ 15 w 71"/>
                <a:gd name="T17" fmla="*/ 89 h 133"/>
                <a:gd name="T18" fmla="*/ 23 w 71"/>
                <a:gd name="T19" fmla="*/ 106 h 133"/>
                <a:gd name="T20" fmla="*/ 55 w 71"/>
                <a:gd name="T21" fmla="*/ 53 h 133"/>
                <a:gd name="T22" fmla="*/ 30 w 71"/>
                <a:gd name="T23" fmla="*/ 20 h 133"/>
                <a:gd name="T24" fmla="*/ 30 w 71"/>
                <a:gd name="T25" fmla="*/ 0 h 133"/>
                <a:gd name="T26" fmla="*/ 71 w 71"/>
                <a:gd name="T27" fmla="*/ 53 h 133"/>
                <a:gd name="T28" fmla="*/ 20 w 71"/>
                <a:gd name="T29" fmla="*/ 133 h 133"/>
                <a:gd name="T30" fmla="*/ 0 w 71"/>
                <a:gd name="T31" fmla="*/ 89 h 133"/>
                <a:gd name="T32" fmla="*/ 12 w 71"/>
                <a:gd name="T33" fmla="*/ 58 h 133"/>
                <a:gd name="T34" fmla="*/ 8 w 71"/>
                <a:gd name="T35" fmla="*/ 29 h 133"/>
                <a:gd name="T36" fmla="*/ 30 w 71"/>
                <a:gd name="T3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133">
                  <a:moveTo>
                    <a:pt x="30" y="20"/>
                  </a:moveTo>
                  <a:lnTo>
                    <a:pt x="21" y="32"/>
                  </a:lnTo>
                  <a:lnTo>
                    <a:pt x="25" y="58"/>
                  </a:lnTo>
                  <a:lnTo>
                    <a:pt x="25" y="58"/>
                  </a:lnTo>
                  <a:lnTo>
                    <a:pt x="25" y="58"/>
                  </a:lnTo>
                  <a:lnTo>
                    <a:pt x="25" y="59"/>
                  </a:lnTo>
                  <a:lnTo>
                    <a:pt x="24" y="62"/>
                  </a:lnTo>
                  <a:lnTo>
                    <a:pt x="24" y="62"/>
                  </a:lnTo>
                  <a:lnTo>
                    <a:pt x="15" y="89"/>
                  </a:lnTo>
                  <a:lnTo>
                    <a:pt x="23" y="106"/>
                  </a:lnTo>
                  <a:lnTo>
                    <a:pt x="55" y="53"/>
                  </a:lnTo>
                  <a:lnTo>
                    <a:pt x="30" y="20"/>
                  </a:lnTo>
                  <a:close/>
                  <a:moveTo>
                    <a:pt x="30" y="0"/>
                  </a:moveTo>
                  <a:lnTo>
                    <a:pt x="71" y="53"/>
                  </a:lnTo>
                  <a:lnTo>
                    <a:pt x="20" y="133"/>
                  </a:lnTo>
                  <a:lnTo>
                    <a:pt x="0" y="89"/>
                  </a:lnTo>
                  <a:lnTo>
                    <a:pt x="12" y="58"/>
                  </a:lnTo>
                  <a:lnTo>
                    <a:pt x="8" y="2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322">
              <a:extLst>
                <a:ext uri="{FF2B5EF4-FFF2-40B4-BE49-F238E27FC236}">
                  <a16:creationId xmlns:a16="http://schemas.microsoft.com/office/drawing/2014/main" id="{8BABA4E9-3047-7E51-8FFB-89A3EFE3F97D}"/>
                </a:ext>
              </a:extLst>
            </p:cNvPr>
            <p:cNvSpPr>
              <a:spLocks noEditPoints="1"/>
            </p:cNvSpPr>
            <p:nvPr/>
          </p:nvSpPr>
          <p:spPr bwMode="auto">
            <a:xfrm>
              <a:off x="5584826" y="3711576"/>
              <a:ext cx="101600" cy="87313"/>
            </a:xfrm>
            <a:custGeom>
              <a:avLst/>
              <a:gdLst>
                <a:gd name="T0" fmla="*/ 33 w 64"/>
                <a:gd name="T1" fmla="*/ 13 h 55"/>
                <a:gd name="T2" fmla="*/ 21 w 64"/>
                <a:gd name="T3" fmla="*/ 13 h 55"/>
                <a:gd name="T4" fmla="*/ 13 w 64"/>
                <a:gd name="T5" fmla="*/ 14 h 55"/>
                <a:gd name="T6" fmla="*/ 16 w 64"/>
                <a:gd name="T7" fmla="*/ 38 h 55"/>
                <a:gd name="T8" fmla="*/ 34 w 64"/>
                <a:gd name="T9" fmla="*/ 31 h 55"/>
                <a:gd name="T10" fmla="*/ 44 w 64"/>
                <a:gd name="T11" fmla="*/ 13 h 55"/>
                <a:gd name="T12" fmla="*/ 33 w 64"/>
                <a:gd name="T13" fmla="*/ 13 h 55"/>
                <a:gd name="T14" fmla="*/ 33 w 64"/>
                <a:gd name="T15" fmla="*/ 0 h 55"/>
                <a:gd name="T16" fmla="*/ 47 w 64"/>
                <a:gd name="T17" fmla="*/ 1 h 55"/>
                <a:gd name="T18" fmla="*/ 56 w 64"/>
                <a:gd name="T19" fmla="*/ 3 h 55"/>
                <a:gd name="T20" fmla="*/ 64 w 64"/>
                <a:gd name="T21" fmla="*/ 5 h 55"/>
                <a:gd name="T22" fmla="*/ 42 w 64"/>
                <a:gd name="T23" fmla="*/ 42 h 55"/>
                <a:gd name="T24" fmla="*/ 13 w 64"/>
                <a:gd name="T25" fmla="*/ 52 h 55"/>
                <a:gd name="T26" fmla="*/ 5 w 64"/>
                <a:gd name="T27" fmla="*/ 55 h 55"/>
                <a:gd name="T28" fmla="*/ 0 w 64"/>
                <a:gd name="T29" fmla="*/ 4 h 55"/>
                <a:gd name="T30" fmla="*/ 5 w 64"/>
                <a:gd name="T31" fmla="*/ 3 h 55"/>
                <a:gd name="T32" fmla="*/ 20 w 64"/>
                <a:gd name="T33" fmla="*/ 1 h 55"/>
                <a:gd name="T34" fmla="*/ 33 w 64"/>
                <a:gd name="T3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55">
                  <a:moveTo>
                    <a:pt x="33" y="13"/>
                  </a:moveTo>
                  <a:lnTo>
                    <a:pt x="21" y="13"/>
                  </a:lnTo>
                  <a:lnTo>
                    <a:pt x="13" y="14"/>
                  </a:lnTo>
                  <a:lnTo>
                    <a:pt x="16" y="38"/>
                  </a:lnTo>
                  <a:lnTo>
                    <a:pt x="34" y="31"/>
                  </a:lnTo>
                  <a:lnTo>
                    <a:pt x="44" y="13"/>
                  </a:lnTo>
                  <a:lnTo>
                    <a:pt x="33" y="13"/>
                  </a:lnTo>
                  <a:close/>
                  <a:moveTo>
                    <a:pt x="33" y="0"/>
                  </a:moveTo>
                  <a:lnTo>
                    <a:pt x="47" y="1"/>
                  </a:lnTo>
                  <a:lnTo>
                    <a:pt x="56" y="3"/>
                  </a:lnTo>
                  <a:lnTo>
                    <a:pt x="64" y="5"/>
                  </a:lnTo>
                  <a:lnTo>
                    <a:pt x="42" y="42"/>
                  </a:lnTo>
                  <a:lnTo>
                    <a:pt x="13" y="52"/>
                  </a:lnTo>
                  <a:lnTo>
                    <a:pt x="5" y="55"/>
                  </a:lnTo>
                  <a:lnTo>
                    <a:pt x="0" y="4"/>
                  </a:lnTo>
                  <a:lnTo>
                    <a:pt x="5" y="3"/>
                  </a:lnTo>
                  <a:lnTo>
                    <a:pt x="20"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 name="Grupa 17">
            <a:extLst>
              <a:ext uri="{FF2B5EF4-FFF2-40B4-BE49-F238E27FC236}">
                <a16:creationId xmlns:a16="http://schemas.microsoft.com/office/drawing/2014/main" id="{199E7237-B92B-02A1-0076-0ECA37E536E1}"/>
              </a:ext>
            </a:extLst>
          </p:cNvPr>
          <p:cNvGrpSpPr/>
          <p:nvPr/>
        </p:nvGrpSpPr>
        <p:grpSpPr>
          <a:xfrm>
            <a:off x="6925941" y="1482200"/>
            <a:ext cx="402068" cy="450541"/>
            <a:chOff x="13773166" y="2390769"/>
            <a:chExt cx="487347" cy="546098"/>
          </a:xfrm>
          <a:solidFill>
            <a:schemeClr val="bg1"/>
          </a:solidFill>
        </p:grpSpPr>
        <p:sp>
          <p:nvSpPr>
            <p:cNvPr id="19" name="Freeform 576">
              <a:extLst>
                <a:ext uri="{FF2B5EF4-FFF2-40B4-BE49-F238E27FC236}">
                  <a16:creationId xmlns:a16="http://schemas.microsoft.com/office/drawing/2014/main" id="{F9FE8C1A-5269-4243-861E-786AA75AD6DC}"/>
                </a:ext>
              </a:extLst>
            </p:cNvPr>
            <p:cNvSpPr>
              <a:spLocks/>
            </p:cNvSpPr>
            <p:nvPr/>
          </p:nvSpPr>
          <p:spPr bwMode="auto">
            <a:xfrm>
              <a:off x="13844610" y="2390769"/>
              <a:ext cx="174625" cy="193675"/>
            </a:xfrm>
            <a:custGeom>
              <a:avLst/>
              <a:gdLst>
                <a:gd name="T0" fmla="*/ 19 w 218"/>
                <a:gd name="T1" fmla="*/ 243 h 244"/>
                <a:gd name="T2" fmla="*/ 27 w 218"/>
                <a:gd name="T3" fmla="*/ 235 h 244"/>
                <a:gd name="T4" fmla="*/ 27 w 218"/>
                <a:gd name="T5" fmla="*/ 29 h 244"/>
                <a:gd name="T6" fmla="*/ 70 w 218"/>
                <a:gd name="T7" fmla="*/ 40 h 244"/>
                <a:gd name="T8" fmla="*/ 106 w 218"/>
                <a:gd name="T9" fmla="*/ 57 h 244"/>
                <a:gd name="T10" fmla="*/ 146 w 218"/>
                <a:gd name="T11" fmla="*/ 78 h 244"/>
                <a:gd name="T12" fmla="*/ 152 w 218"/>
                <a:gd name="T13" fmla="*/ 92 h 244"/>
                <a:gd name="T14" fmla="*/ 125 w 218"/>
                <a:gd name="T15" fmla="*/ 99 h 244"/>
                <a:gd name="T16" fmla="*/ 98 w 218"/>
                <a:gd name="T17" fmla="*/ 99 h 244"/>
                <a:gd name="T18" fmla="*/ 63 w 218"/>
                <a:gd name="T19" fmla="*/ 108 h 244"/>
                <a:gd name="T20" fmla="*/ 39 w 218"/>
                <a:gd name="T21" fmla="*/ 125 h 244"/>
                <a:gd name="T22" fmla="*/ 38 w 218"/>
                <a:gd name="T23" fmla="*/ 135 h 244"/>
                <a:gd name="T24" fmla="*/ 41 w 218"/>
                <a:gd name="T25" fmla="*/ 143 h 244"/>
                <a:gd name="T26" fmla="*/ 49 w 218"/>
                <a:gd name="T27" fmla="*/ 146 h 244"/>
                <a:gd name="T28" fmla="*/ 57 w 218"/>
                <a:gd name="T29" fmla="*/ 146 h 244"/>
                <a:gd name="T30" fmla="*/ 74 w 218"/>
                <a:gd name="T31" fmla="*/ 133 h 244"/>
                <a:gd name="T32" fmla="*/ 100 w 218"/>
                <a:gd name="T33" fmla="*/ 125 h 244"/>
                <a:gd name="T34" fmla="*/ 127 w 218"/>
                <a:gd name="T35" fmla="*/ 125 h 244"/>
                <a:gd name="T36" fmla="*/ 157 w 218"/>
                <a:gd name="T37" fmla="*/ 121 h 244"/>
                <a:gd name="T38" fmla="*/ 193 w 218"/>
                <a:gd name="T39" fmla="*/ 100 h 244"/>
                <a:gd name="T40" fmla="*/ 217 w 218"/>
                <a:gd name="T41" fmla="*/ 76 h 244"/>
                <a:gd name="T42" fmla="*/ 218 w 218"/>
                <a:gd name="T43" fmla="*/ 68 h 244"/>
                <a:gd name="T44" fmla="*/ 215 w 218"/>
                <a:gd name="T45" fmla="*/ 60 h 244"/>
                <a:gd name="T46" fmla="*/ 207 w 218"/>
                <a:gd name="T47" fmla="*/ 57 h 244"/>
                <a:gd name="T48" fmla="*/ 179 w 218"/>
                <a:gd name="T49" fmla="*/ 57 h 244"/>
                <a:gd name="T50" fmla="*/ 139 w 218"/>
                <a:gd name="T51" fmla="*/ 45 h 244"/>
                <a:gd name="T52" fmla="*/ 98 w 218"/>
                <a:gd name="T53" fmla="*/ 21 h 244"/>
                <a:gd name="T54" fmla="*/ 46 w 218"/>
                <a:gd name="T55" fmla="*/ 3 h 244"/>
                <a:gd name="T56" fmla="*/ 8 w 218"/>
                <a:gd name="T57" fmla="*/ 2 h 244"/>
                <a:gd name="T58" fmla="*/ 1 w 218"/>
                <a:gd name="T59" fmla="*/ 8 h 244"/>
                <a:gd name="T60" fmla="*/ 0 w 218"/>
                <a:gd name="T61" fmla="*/ 230 h 244"/>
                <a:gd name="T62" fmla="*/ 3 w 218"/>
                <a:gd name="T63" fmla="*/ 240 h 244"/>
                <a:gd name="T64" fmla="*/ 14 w 218"/>
                <a:gd name="T6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244">
                  <a:moveTo>
                    <a:pt x="14" y="244"/>
                  </a:moveTo>
                  <a:lnTo>
                    <a:pt x="19" y="243"/>
                  </a:lnTo>
                  <a:lnTo>
                    <a:pt x="24" y="240"/>
                  </a:lnTo>
                  <a:lnTo>
                    <a:pt x="27" y="235"/>
                  </a:lnTo>
                  <a:lnTo>
                    <a:pt x="27" y="230"/>
                  </a:lnTo>
                  <a:lnTo>
                    <a:pt x="27" y="29"/>
                  </a:lnTo>
                  <a:lnTo>
                    <a:pt x="51" y="32"/>
                  </a:lnTo>
                  <a:lnTo>
                    <a:pt x="70" y="40"/>
                  </a:lnTo>
                  <a:lnTo>
                    <a:pt x="89" y="48"/>
                  </a:lnTo>
                  <a:lnTo>
                    <a:pt x="106" y="57"/>
                  </a:lnTo>
                  <a:lnTo>
                    <a:pt x="125" y="68"/>
                  </a:lnTo>
                  <a:lnTo>
                    <a:pt x="146" y="78"/>
                  </a:lnTo>
                  <a:lnTo>
                    <a:pt x="168" y="84"/>
                  </a:lnTo>
                  <a:lnTo>
                    <a:pt x="152" y="92"/>
                  </a:lnTo>
                  <a:lnTo>
                    <a:pt x="138" y="97"/>
                  </a:lnTo>
                  <a:lnTo>
                    <a:pt x="125" y="99"/>
                  </a:lnTo>
                  <a:lnTo>
                    <a:pt x="112" y="99"/>
                  </a:lnTo>
                  <a:lnTo>
                    <a:pt x="98" y="99"/>
                  </a:lnTo>
                  <a:lnTo>
                    <a:pt x="81" y="102"/>
                  </a:lnTo>
                  <a:lnTo>
                    <a:pt x="63" y="108"/>
                  </a:lnTo>
                  <a:lnTo>
                    <a:pt x="43" y="122"/>
                  </a:lnTo>
                  <a:lnTo>
                    <a:pt x="39" y="125"/>
                  </a:lnTo>
                  <a:lnTo>
                    <a:pt x="38" y="130"/>
                  </a:lnTo>
                  <a:lnTo>
                    <a:pt x="38" y="135"/>
                  </a:lnTo>
                  <a:lnTo>
                    <a:pt x="39" y="138"/>
                  </a:lnTo>
                  <a:lnTo>
                    <a:pt x="41" y="143"/>
                  </a:lnTo>
                  <a:lnTo>
                    <a:pt x="44" y="144"/>
                  </a:lnTo>
                  <a:lnTo>
                    <a:pt x="49" y="146"/>
                  </a:lnTo>
                  <a:lnTo>
                    <a:pt x="52" y="146"/>
                  </a:lnTo>
                  <a:lnTo>
                    <a:pt x="57" y="146"/>
                  </a:lnTo>
                  <a:lnTo>
                    <a:pt x="60" y="143"/>
                  </a:lnTo>
                  <a:lnTo>
                    <a:pt x="74" y="133"/>
                  </a:lnTo>
                  <a:lnTo>
                    <a:pt x="87" y="129"/>
                  </a:lnTo>
                  <a:lnTo>
                    <a:pt x="100" y="125"/>
                  </a:lnTo>
                  <a:lnTo>
                    <a:pt x="112" y="125"/>
                  </a:lnTo>
                  <a:lnTo>
                    <a:pt x="127" y="125"/>
                  </a:lnTo>
                  <a:lnTo>
                    <a:pt x="141" y="124"/>
                  </a:lnTo>
                  <a:lnTo>
                    <a:pt x="157" y="121"/>
                  </a:lnTo>
                  <a:lnTo>
                    <a:pt x="174" y="113"/>
                  </a:lnTo>
                  <a:lnTo>
                    <a:pt x="193" y="100"/>
                  </a:lnTo>
                  <a:lnTo>
                    <a:pt x="214" y="81"/>
                  </a:lnTo>
                  <a:lnTo>
                    <a:pt x="217" y="76"/>
                  </a:lnTo>
                  <a:lnTo>
                    <a:pt x="218" y="73"/>
                  </a:lnTo>
                  <a:lnTo>
                    <a:pt x="218" y="68"/>
                  </a:lnTo>
                  <a:lnTo>
                    <a:pt x="217" y="65"/>
                  </a:lnTo>
                  <a:lnTo>
                    <a:pt x="215" y="60"/>
                  </a:lnTo>
                  <a:lnTo>
                    <a:pt x="211" y="59"/>
                  </a:lnTo>
                  <a:lnTo>
                    <a:pt x="207" y="57"/>
                  </a:lnTo>
                  <a:lnTo>
                    <a:pt x="203" y="57"/>
                  </a:lnTo>
                  <a:lnTo>
                    <a:pt x="179" y="57"/>
                  </a:lnTo>
                  <a:lnTo>
                    <a:pt x="158" y="53"/>
                  </a:lnTo>
                  <a:lnTo>
                    <a:pt x="139" y="45"/>
                  </a:lnTo>
                  <a:lnTo>
                    <a:pt x="119" y="34"/>
                  </a:lnTo>
                  <a:lnTo>
                    <a:pt x="98" y="21"/>
                  </a:lnTo>
                  <a:lnTo>
                    <a:pt x="74" y="11"/>
                  </a:lnTo>
                  <a:lnTo>
                    <a:pt x="46" y="3"/>
                  </a:lnTo>
                  <a:lnTo>
                    <a:pt x="14" y="0"/>
                  </a:lnTo>
                  <a:lnTo>
                    <a:pt x="8" y="2"/>
                  </a:lnTo>
                  <a:lnTo>
                    <a:pt x="3" y="3"/>
                  </a:lnTo>
                  <a:lnTo>
                    <a:pt x="1" y="8"/>
                  </a:lnTo>
                  <a:lnTo>
                    <a:pt x="0" y="15"/>
                  </a:lnTo>
                  <a:lnTo>
                    <a:pt x="0" y="230"/>
                  </a:lnTo>
                  <a:lnTo>
                    <a:pt x="1" y="235"/>
                  </a:lnTo>
                  <a:lnTo>
                    <a:pt x="3" y="240"/>
                  </a:lnTo>
                  <a:lnTo>
                    <a:pt x="8" y="243"/>
                  </a:lnTo>
                  <a:lnTo>
                    <a:pt x="14" y="2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77">
              <a:extLst>
                <a:ext uri="{FF2B5EF4-FFF2-40B4-BE49-F238E27FC236}">
                  <a16:creationId xmlns:a16="http://schemas.microsoft.com/office/drawing/2014/main" id="{5AE96D34-B037-44C2-E446-C62E0E662F13}"/>
                </a:ext>
              </a:extLst>
            </p:cNvPr>
            <p:cNvSpPr>
              <a:spLocks/>
            </p:cNvSpPr>
            <p:nvPr/>
          </p:nvSpPr>
          <p:spPr bwMode="auto">
            <a:xfrm>
              <a:off x="13874773" y="2511418"/>
              <a:ext cx="217488" cy="47624"/>
            </a:xfrm>
            <a:custGeom>
              <a:avLst/>
              <a:gdLst>
                <a:gd name="T0" fmla="*/ 6 w 274"/>
                <a:gd name="T1" fmla="*/ 35 h 61"/>
                <a:gd name="T2" fmla="*/ 3 w 274"/>
                <a:gd name="T3" fmla="*/ 38 h 61"/>
                <a:gd name="T4" fmla="*/ 1 w 274"/>
                <a:gd name="T5" fmla="*/ 42 h 61"/>
                <a:gd name="T6" fmla="*/ 0 w 274"/>
                <a:gd name="T7" fmla="*/ 46 h 61"/>
                <a:gd name="T8" fmla="*/ 0 w 274"/>
                <a:gd name="T9" fmla="*/ 49 h 61"/>
                <a:gd name="T10" fmla="*/ 1 w 274"/>
                <a:gd name="T11" fmla="*/ 54 h 61"/>
                <a:gd name="T12" fmla="*/ 5 w 274"/>
                <a:gd name="T13" fmla="*/ 57 h 61"/>
                <a:gd name="T14" fmla="*/ 9 w 274"/>
                <a:gd name="T15" fmla="*/ 61 h 61"/>
                <a:gd name="T16" fmla="*/ 14 w 274"/>
                <a:gd name="T17" fmla="*/ 61 h 61"/>
                <a:gd name="T18" fmla="*/ 17 w 274"/>
                <a:gd name="T19" fmla="*/ 61 h 61"/>
                <a:gd name="T20" fmla="*/ 20 w 274"/>
                <a:gd name="T21" fmla="*/ 59 h 61"/>
                <a:gd name="T22" fmla="*/ 57 w 274"/>
                <a:gd name="T23" fmla="*/ 43 h 61"/>
                <a:gd name="T24" fmla="*/ 97 w 274"/>
                <a:gd name="T25" fmla="*/ 32 h 61"/>
                <a:gd name="T26" fmla="*/ 138 w 274"/>
                <a:gd name="T27" fmla="*/ 29 h 61"/>
                <a:gd name="T28" fmla="*/ 177 w 274"/>
                <a:gd name="T29" fmla="*/ 32 h 61"/>
                <a:gd name="T30" fmla="*/ 217 w 274"/>
                <a:gd name="T31" fmla="*/ 42 h 61"/>
                <a:gd name="T32" fmla="*/ 253 w 274"/>
                <a:gd name="T33" fmla="*/ 57 h 61"/>
                <a:gd name="T34" fmla="*/ 258 w 274"/>
                <a:gd name="T35" fmla="*/ 59 h 61"/>
                <a:gd name="T36" fmla="*/ 263 w 274"/>
                <a:gd name="T37" fmla="*/ 59 h 61"/>
                <a:gd name="T38" fmla="*/ 266 w 274"/>
                <a:gd name="T39" fmla="*/ 57 h 61"/>
                <a:gd name="T40" fmla="*/ 271 w 274"/>
                <a:gd name="T41" fmla="*/ 56 h 61"/>
                <a:gd name="T42" fmla="*/ 272 w 274"/>
                <a:gd name="T43" fmla="*/ 53 h 61"/>
                <a:gd name="T44" fmla="*/ 274 w 274"/>
                <a:gd name="T45" fmla="*/ 48 h 61"/>
                <a:gd name="T46" fmla="*/ 274 w 274"/>
                <a:gd name="T47" fmla="*/ 43 h 61"/>
                <a:gd name="T48" fmla="*/ 274 w 274"/>
                <a:gd name="T49" fmla="*/ 40 h 61"/>
                <a:gd name="T50" fmla="*/ 271 w 274"/>
                <a:gd name="T51" fmla="*/ 37 h 61"/>
                <a:gd name="T52" fmla="*/ 268 w 274"/>
                <a:gd name="T53" fmla="*/ 34 h 61"/>
                <a:gd name="T54" fmla="*/ 226 w 274"/>
                <a:gd name="T55" fmla="*/ 15 h 61"/>
                <a:gd name="T56" fmla="*/ 184 w 274"/>
                <a:gd name="T57" fmla="*/ 4 h 61"/>
                <a:gd name="T58" fmla="*/ 139 w 274"/>
                <a:gd name="T59" fmla="*/ 0 h 61"/>
                <a:gd name="T60" fmla="*/ 93 w 274"/>
                <a:gd name="T61" fmla="*/ 5 h 61"/>
                <a:gd name="T62" fmla="*/ 49 w 274"/>
                <a:gd name="T63" fmla="*/ 16 h 61"/>
                <a:gd name="T64" fmla="*/ 6 w 274"/>
                <a:gd name="T65"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4" h="61">
                  <a:moveTo>
                    <a:pt x="6" y="35"/>
                  </a:moveTo>
                  <a:lnTo>
                    <a:pt x="3" y="38"/>
                  </a:lnTo>
                  <a:lnTo>
                    <a:pt x="1" y="42"/>
                  </a:lnTo>
                  <a:lnTo>
                    <a:pt x="0" y="46"/>
                  </a:lnTo>
                  <a:lnTo>
                    <a:pt x="0" y="49"/>
                  </a:lnTo>
                  <a:lnTo>
                    <a:pt x="1" y="54"/>
                  </a:lnTo>
                  <a:lnTo>
                    <a:pt x="5" y="57"/>
                  </a:lnTo>
                  <a:lnTo>
                    <a:pt x="9" y="61"/>
                  </a:lnTo>
                  <a:lnTo>
                    <a:pt x="14" y="61"/>
                  </a:lnTo>
                  <a:lnTo>
                    <a:pt x="17" y="61"/>
                  </a:lnTo>
                  <a:lnTo>
                    <a:pt x="20" y="59"/>
                  </a:lnTo>
                  <a:lnTo>
                    <a:pt x="57" y="43"/>
                  </a:lnTo>
                  <a:lnTo>
                    <a:pt x="97" y="32"/>
                  </a:lnTo>
                  <a:lnTo>
                    <a:pt x="138" y="29"/>
                  </a:lnTo>
                  <a:lnTo>
                    <a:pt x="177" y="32"/>
                  </a:lnTo>
                  <a:lnTo>
                    <a:pt x="217" y="42"/>
                  </a:lnTo>
                  <a:lnTo>
                    <a:pt x="253" y="57"/>
                  </a:lnTo>
                  <a:lnTo>
                    <a:pt x="258" y="59"/>
                  </a:lnTo>
                  <a:lnTo>
                    <a:pt x="263" y="59"/>
                  </a:lnTo>
                  <a:lnTo>
                    <a:pt x="266" y="57"/>
                  </a:lnTo>
                  <a:lnTo>
                    <a:pt x="271" y="56"/>
                  </a:lnTo>
                  <a:lnTo>
                    <a:pt x="272" y="53"/>
                  </a:lnTo>
                  <a:lnTo>
                    <a:pt x="274" y="48"/>
                  </a:lnTo>
                  <a:lnTo>
                    <a:pt x="274" y="43"/>
                  </a:lnTo>
                  <a:lnTo>
                    <a:pt x="274" y="40"/>
                  </a:lnTo>
                  <a:lnTo>
                    <a:pt x="271" y="37"/>
                  </a:lnTo>
                  <a:lnTo>
                    <a:pt x="268" y="34"/>
                  </a:lnTo>
                  <a:lnTo>
                    <a:pt x="226" y="15"/>
                  </a:lnTo>
                  <a:lnTo>
                    <a:pt x="184" y="4"/>
                  </a:lnTo>
                  <a:lnTo>
                    <a:pt x="139" y="0"/>
                  </a:lnTo>
                  <a:lnTo>
                    <a:pt x="93" y="5"/>
                  </a:lnTo>
                  <a:lnTo>
                    <a:pt x="49" y="16"/>
                  </a:lnTo>
                  <a:lnTo>
                    <a:pt x="6" y="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78">
              <a:extLst>
                <a:ext uri="{FF2B5EF4-FFF2-40B4-BE49-F238E27FC236}">
                  <a16:creationId xmlns:a16="http://schemas.microsoft.com/office/drawing/2014/main" id="{16FB327C-D3B8-F381-C776-D00BAD025CB2}"/>
                </a:ext>
              </a:extLst>
            </p:cNvPr>
            <p:cNvSpPr>
              <a:spLocks/>
            </p:cNvSpPr>
            <p:nvPr/>
          </p:nvSpPr>
          <p:spPr bwMode="auto">
            <a:xfrm>
              <a:off x="13773166" y="2582855"/>
              <a:ext cx="425451" cy="354012"/>
            </a:xfrm>
            <a:custGeom>
              <a:avLst/>
              <a:gdLst>
                <a:gd name="T0" fmla="*/ 453 w 535"/>
                <a:gd name="T1" fmla="*/ 13 h 447"/>
                <a:gd name="T2" fmla="*/ 451 w 535"/>
                <a:gd name="T3" fmla="*/ 21 h 447"/>
                <a:gd name="T4" fmla="*/ 454 w 535"/>
                <a:gd name="T5" fmla="*/ 29 h 447"/>
                <a:gd name="T6" fmla="*/ 494 w 535"/>
                <a:gd name="T7" fmla="*/ 100 h 447"/>
                <a:gd name="T8" fmla="*/ 507 w 535"/>
                <a:gd name="T9" fmla="*/ 179 h 447"/>
                <a:gd name="T10" fmla="*/ 488 w 535"/>
                <a:gd name="T11" fmla="*/ 273 h 447"/>
                <a:gd name="T12" fmla="*/ 437 w 535"/>
                <a:gd name="T13" fmla="*/ 349 h 447"/>
                <a:gd name="T14" fmla="*/ 361 w 535"/>
                <a:gd name="T15" fmla="*/ 401 h 447"/>
                <a:gd name="T16" fmla="*/ 267 w 535"/>
                <a:gd name="T17" fmla="*/ 420 h 447"/>
                <a:gd name="T18" fmla="*/ 174 w 535"/>
                <a:gd name="T19" fmla="*/ 401 h 447"/>
                <a:gd name="T20" fmla="*/ 98 w 535"/>
                <a:gd name="T21" fmla="*/ 349 h 447"/>
                <a:gd name="T22" fmla="*/ 46 w 535"/>
                <a:gd name="T23" fmla="*/ 273 h 447"/>
                <a:gd name="T24" fmla="*/ 26 w 535"/>
                <a:gd name="T25" fmla="*/ 179 h 447"/>
                <a:gd name="T26" fmla="*/ 42 w 535"/>
                <a:gd name="T27" fmla="*/ 95 h 447"/>
                <a:gd name="T28" fmla="*/ 85 w 535"/>
                <a:gd name="T29" fmla="*/ 22 h 447"/>
                <a:gd name="T30" fmla="*/ 88 w 535"/>
                <a:gd name="T31" fmla="*/ 14 h 447"/>
                <a:gd name="T32" fmla="*/ 87 w 535"/>
                <a:gd name="T33" fmla="*/ 6 h 447"/>
                <a:gd name="T34" fmla="*/ 80 w 535"/>
                <a:gd name="T35" fmla="*/ 0 h 447"/>
                <a:gd name="T36" fmla="*/ 71 w 535"/>
                <a:gd name="T37" fmla="*/ 0 h 447"/>
                <a:gd name="T38" fmla="*/ 65 w 535"/>
                <a:gd name="T39" fmla="*/ 5 h 447"/>
                <a:gd name="T40" fmla="*/ 15 w 535"/>
                <a:gd name="T41" fmla="*/ 86 h 447"/>
                <a:gd name="T42" fmla="*/ 0 w 535"/>
                <a:gd name="T43" fmla="*/ 179 h 447"/>
                <a:gd name="T44" fmla="*/ 15 w 535"/>
                <a:gd name="T45" fmla="*/ 273 h 447"/>
                <a:gd name="T46" fmla="*/ 63 w 535"/>
                <a:gd name="T47" fmla="*/ 352 h 447"/>
                <a:gd name="T48" fmla="*/ 131 w 535"/>
                <a:gd name="T49" fmla="*/ 410 h 447"/>
                <a:gd name="T50" fmla="*/ 218 w 535"/>
                <a:gd name="T51" fmla="*/ 442 h 447"/>
                <a:gd name="T52" fmla="*/ 315 w 535"/>
                <a:gd name="T53" fmla="*/ 442 h 447"/>
                <a:gd name="T54" fmla="*/ 402 w 535"/>
                <a:gd name="T55" fmla="*/ 410 h 447"/>
                <a:gd name="T56" fmla="*/ 472 w 535"/>
                <a:gd name="T57" fmla="*/ 352 h 447"/>
                <a:gd name="T58" fmla="*/ 518 w 535"/>
                <a:gd name="T59" fmla="*/ 273 h 447"/>
                <a:gd name="T60" fmla="*/ 535 w 535"/>
                <a:gd name="T61" fmla="*/ 179 h 447"/>
                <a:gd name="T62" fmla="*/ 519 w 535"/>
                <a:gd name="T63" fmla="*/ 90 h 447"/>
                <a:gd name="T64" fmla="*/ 476 w 535"/>
                <a:gd name="T65" fmla="*/ 11 h 447"/>
                <a:gd name="T66" fmla="*/ 469 w 535"/>
                <a:gd name="T67" fmla="*/ 8 h 447"/>
                <a:gd name="T68" fmla="*/ 461 w 535"/>
                <a:gd name="T69" fmla="*/ 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5" h="447">
                  <a:moveTo>
                    <a:pt x="456" y="10"/>
                  </a:moveTo>
                  <a:lnTo>
                    <a:pt x="453" y="13"/>
                  </a:lnTo>
                  <a:lnTo>
                    <a:pt x="451" y="18"/>
                  </a:lnTo>
                  <a:lnTo>
                    <a:pt x="451" y="21"/>
                  </a:lnTo>
                  <a:lnTo>
                    <a:pt x="453" y="25"/>
                  </a:lnTo>
                  <a:lnTo>
                    <a:pt x="454" y="29"/>
                  </a:lnTo>
                  <a:lnTo>
                    <a:pt x="476" y="63"/>
                  </a:lnTo>
                  <a:lnTo>
                    <a:pt x="494" y="100"/>
                  </a:lnTo>
                  <a:lnTo>
                    <a:pt x="503" y="138"/>
                  </a:lnTo>
                  <a:lnTo>
                    <a:pt x="507" y="179"/>
                  </a:lnTo>
                  <a:lnTo>
                    <a:pt x="502" y="228"/>
                  </a:lnTo>
                  <a:lnTo>
                    <a:pt x="488" y="273"/>
                  </a:lnTo>
                  <a:lnTo>
                    <a:pt x="465" y="314"/>
                  </a:lnTo>
                  <a:lnTo>
                    <a:pt x="437" y="349"/>
                  </a:lnTo>
                  <a:lnTo>
                    <a:pt x="400" y="379"/>
                  </a:lnTo>
                  <a:lnTo>
                    <a:pt x="361" y="401"/>
                  </a:lnTo>
                  <a:lnTo>
                    <a:pt x="315" y="415"/>
                  </a:lnTo>
                  <a:lnTo>
                    <a:pt x="267" y="420"/>
                  </a:lnTo>
                  <a:lnTo>
                    <a:pt x="218" y="415"/>
                  </a:lnTo>
                  <a:lnTo>
                    <a:pt x="174" y="401"/>
                  </a:lnTo>
                  <a:lnTo>
                    <a:pt x="133" y="379"/>
                  </a:lnTo>
                  <a:lnTo>
                    <a:pt x="98" y="349"/>
                  </a:lnTo>
                  <a:lnTo>
                    <a:pt x="68" y="314"/>
                  </a:lnTo>
                  <a:lnTo>
                    <a:pt x="46" y="273"/>
                  </a:lnTo>
                  <a:lnTo>
                    <a:pt x="31" y="228"/>
                  </a:lnTo>
                  <a:lnTo>
                    <a:pt x="26" y="179"/>
                  </a:lnTo>
                  <a:lnTo>
                    <a:pt x="31" y="136"/>
                  </a:lnTo>
                  <a:lnTo>
                    <a:pt x="42" y="95"/>
                  </a:lnTo>
                  <a:lnTo>
                    <a:pt x="60" y="57"/>
                  </a:lnTo>
                  <a:lnTo>
                    <a:pt x="85" y="22"/>
                  </a:lnTo>
                  <a:lnTo>
                    <a:pt x="87" y="19"/>
                  </a:lnTo>
                  <a:lnTo>
                    <a:pt x="88" y="14"/>
                  </a:lnTo>
                  <a:lnTo>
                    <a:pt x="88" y="11"/>
                  </a:lnTo>
                  <a:lnTo>
                    <a:pt x="87" y="6"/>
                  </a:lnTo>
                  <a:lnTo>
                    <a:pt x="84" y="3"/>
                  </a:lnTo>
                  <a:lnTo>
                    <a:pt x="80" y="0"/>
                  </a:lnTo>
                  <a:lnTo>
                    <a:pt x="76" y="0"/>
                  </a:lnTo>
                  <a:lnTo>
                    <a:pt x="71" y="0"/>
                  </a:lnTo>
                  <a:lnTo>
                    <a:pt x="68" y="2"/>
                  </a:lnTo>
                  <a:lnTo>
                    <a:pt x="65" y="5"/>
                  </a:lnTo>
                  <a:lnTo>
                    <a:pt x="36" y="43"/>
                  </a:lnTo>
                  <a:lnTo>
                    <a:pt x="15" y="86"/>
                  </a:lnTo>
                  <a:lnTo>
                    <a:pt x="3" y="132"/>
                  </a:lnTo>
                  <a:lnTo>
                    <a:pt x="0" y="179"/>
                  </a:lnTo>
                  <a:lnTo>
                    <a:pt x="3" y="227"/>
                  </a:lnTo>
                  <a:lnTo>
                    <a:pt x="15" y="273"/>
                  </a:lnTo>
                  <a:lnTo>
                    <a:pt x="36" y="314"/>
                  </a:lnTo>
                  <a:lnTo>
                    <a:pt x="63" y="352"/>
                  </a:lnTo>
                  <a:lnTo>
                    <a:pt x="95" y="383"/>
                  </a:lnTo>
                  <a:lnTo>
                    <a:pt x="131" y="410"/>
                  </a:lnTo>
                  <a:lnTo>
                    <a:pt x="174" y="429"/>
                  </a:lnTo>
                  <a:lnTo>
                    <a:pt x="218" y="442"/>
                  </a:lnTo>
                  <a:lnTo>
                    <a:pt x="267" y="447"/>
                  </a:lnTo>
                  <a:lnTo>
                    <a:pt x="315" y="442"/>
                  </a:lnTo>
                  <a:lnTo>
                    <a:pt x="361" y="429"/>
                  </a:lnTo>
                  <a:lnTo>
                    <a:pt x="402" y="410"/>
                  </a:lnTo>
                  <a:lnTo>
                    <a:pt x="440" y="383"/>
                  </a:lnTo>
                  <a:lnTo>
                    <a:pt x="472" y="352"/>
                  </a:lnTo>
                  <a:lnTo>
                    <a:pt x="499" y="314"/>
                  </a:lnTo>
                  <a:lnTo>
                    <a:pt x="518" y="273"/>
                  </a:lnTo>
                  <a:lnTo>
                    <a:pt x="530" y="227"/>
                  </a:lnTo>
                  <a:lnTo>
                    <a:pt x="535" y="179"/>
                  </a:lnTo>
                  <a:lnTo>
                    <a:pt x="530" y="133"/>
                  </a:lnTo>
                  <a:lnTo>
                    <a:pt x="519" y="90"/>
                  </a:lnTo>
                  <a:lnTo>
                    <a:pt x="502" y="49"/>
                  </a:lnTo>
                  <a:lnTo>
                    <a:pt x="476" y="11"/>
                  </a:lnTo>
                  <a:lnTo>
                    <a:pt x="472" y="10"/>
                  </a:lnTo>
                  <a:lnTo>
                    <a:pt x="469" y="8"/>
                  </a:lnTo>
                  <a:lnTo>
                    <a:pt x="464" y="6"/>
                  </a:lnTo>
                  <a:lnTo>
                    <a:pt x="461" y="8"/>
                  </a:lnTo>
                  <a:lnTo>
                    <a:pt x="456"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579">
              <a:extLst>
                <a:ext uri="{FF2B5EF4-FFF2-40B4-BE49-F238E27FC236}">
                  <a16:creationId xmlns:a16="http://schemas.microsoft.com/office/drawing/2014/main" id="{6D82A134-C9E1-1A8D-6211-E3FFC760FCAE}"/>
                </a:ext>
              </a:extLst>
            </p:cNvPr>
            <p:cNvSpPr>
              <a:spLocks/>
            </p:cNvSpPr>
            <p:nvPr/>
          </p:nvSpPr>
          <p:spPr bwMode="auto">
            <a:xfrm>
              <a:off x="13808105" y="2552694"/>
              <a:ext cx="146050" cy="193675"/>
            </a:xfrm>
            <a:custGeom>
              <a:avLst/>
              <a:gdLst>
                <a:gd name="T0" fmla="*/ 176 w 186"/>
                <a:gd name="T1" fmla="*/ 1 h 242"/>
                <a:gd name="T2" fmla="*/ 173 w 186"/>
                <a:gd name="T3" fmla="*/ 0 h 242"/>
                <a:gd name="T4" fmla="*/ 168 w 186"/>
                <a:gd name="T5" fmla="*/ 1 h 242"/>
                <a:gd name="T6" fmla="*/ 165 w 186"/>
                <a:gd name="T7" fmla="*/ 3 h 242"/>
                <a:gd name="T8" fmla="*/ 162 w 186"/>
                <a:gd name="T9" fmla="*/ 6 h 242"/>
                <a:gd name="T10" fmla="*/ 159 w 186"/>
                <a:gd name="T11" fmla="*/ 9 h 242"/>
                <a:gd name="T12" fmla="*/ 157 w 186"/>
                <a:gd name="T13" fmla="*/ 15 h 242"/>
                <a:gd name="T14" fmla="*/ 157 w 186"/>
                <a:gd name="T15" fmla="*/ 22 h 242"/>
                <a:gd name="T16" fmla="*/ 154 w 186"/>
                <a:gd name="T17" fmla="*/ 31 h 242"/>
                <a:gd name="T18" fmla="*/ 151 w 186"/>
                <a:gd name="T19" fmla="*/ 41 h 242"/>
                <a:gd name="T20" fmla="*/ 145 w 186"/>
                <a:gd name="T21" fmla="*/ 54 h 242"/>
                <a:gd name="T22" fmla="*/ 141 w 186"/>
                <a:gd name="T23" fmla="*/ 57 h 242"/>
                <a:gd name="T24" fmla="*/ 132 w 186"/>
                <a:gd name="T25" fmla="*/ 69 h 242"/>
                <a:gd name="T26" fmla="*/ 125 w 186"/>
                <a:gd name="T27" fmla="*/ 77 h 242"/>
                <a:gd name="T28" fmla="*/ 118 w 186"/>
                <a:gd name="T29" fmla="*/ 82 h 242"/>
                <a:gd name="T30" fmla="*/ 108 w 186"/>
                <a:gd name="T31" fmla="*/ 85 h 242"/>
                <a:gd name="T32" fmla="*/ 94 w 186"/>
                <a:gd name="T33" fmla="*/ 88 h 242"/>
                <a:gd name="T34" fmla="*/ 75 w 186"/>
                <a:gd name="T35" fmla="*/ 92 h 242"/>
                <a:gd name="T36" fmla="*/ 61 w 186"/>
                <a:gd name="T37" fmla="*/ 99 h 242"/>
                <a:gd name="T38" fmla="*/ 49 w 186"/>
                <a:gd name="T39" fmla="*/ 109 h 242"/>
                <a:gd name="T40" fmla="*/ 42 w 186"/>
                <a:gd name="T41" fmla="*/ 120 h 242"/>
                <a:gd name="T42" fmla="*/ 37 w 186"/>
                <a:gd name="T43" fmla="*/ 133 h 242"/>
                <a:gd name="T44" fmla="*/ 32 w 186"/>
                <a:gd name="T45" fmla="*/ 147 h 242"/>
                <a:gd name="T46" fmla="*/ 27 w 186"/>
                <a:gd name="T47" fmla="*/ 160 h 242"/>
                <a:gd name="T48" fmla="*/ 19 w 186"/>
                <a:gd name="T49" fmla="*/ 171 h 242"/>
                <a:gd name="T50" fmla="*/ 10 w 186"/>
                <a:gd name="T51" fmla="*/ 179 h 242"/>
                <a:gd name="T52" fmla="*/ 7 w 186"/>
                <a:gd name="T53" fmla="*/ 182 h 242"/>
                <a:gd name="T54" fmla="*/ 5 w 186"/>
                <a:gd name="T55" fmla="*/ 185 h 242"/>
                <a:gd name="T56" fmla="*/ 4 w 186"/>
                <a:gd name="T57" fmla="*/ 188 h 242"/>
                <a:gd name="T58" fmla="*/ 0 w 186"/>
                <a:gd name="T59" fmla="*/ 228 h 242"/>
                <a:gd name="T60" fmla="*/ 2 w 186"/>
                <a:gd name="T61" fmla="*/ 233 h 242"/>
                <a:gd name="T62" fmla="*/ 5 w 186"/>
                <a:gd name="T63" fmla="*/ 237 h 242"/>
                <a:gd name="T64" fmla="*/ 8 w 186"/>
                <a:gd name="T65" fmla="*/ 240 h 242"/>
                <a:gd name="T66" fmla="*/ 15 w 186"/>
                <a:gd name="T67" fmla="*/ 242 h 242"/>
                <a:gd name="T68" fmla="*/ 19 w 186"/>
                <a:gd name="T69" fmla="*/ 240 h 242"/>
                <a:gd name="T70" fmla="*/ 24 w 186"/>
                <a:gd name="T71" fmla="*/ 237 h 242"/>
                <a:gd name="T72" fmla="*/ 27 w 186"/>
                <a:gd name="T73" fmla="*/ 233 h 242"/>
                <a:gd name="T74" fmla="*/ 27 w 186"/>
                <a:gd name="T75" fmla="*/ 228 h 242"/>
                <a:gd name="T76" fmla="*/ 30 w 186"/>
                <a:gd name="T77" fmla="*/ 198 h 242"/>
                <a:gd name="T78" fmla="*/ 43 w 186"/>
                <a:gd name="T79" fmla="*/ 185 h 242"/>
                <a:gd name="T80" fmla="*/ 53 w 186"/>
                <a:gd name="T81" fmla="*/ 169 h 242"/>
                <a:gd name="T82" fmla="*/ 59 w 186"/>
                <a:gd name="T83" fmla="*/ 153 h 242"/>
                <a:gd name="T84" fmla="*/ 64 w 186"/>
                <a:gd name="T85" fmla="*/ 137 h 242"/>
                <a:gd name="T86" fmla="*/ 72 w 186"/>
                <a:gd name="T87" fmla="*/ 126 h 242"/>
                <a:gd name="T88" fmla="*/ 81 w 186"/>
                <a:gd name="T89" fmla="*/ 118 h 242"/>
                <a:gd name="T90" fmla="*/ 97 w 186"/>
                <a:gd name="T91" fmla="*/ 115 h 242"/>
                <a:gd name="T92" fmla="*/ 118 w 186"/>
                <a:gd name="T93" fmla="*/ 112 h 242"/>
                <a:gd name="T94" fmla="*/ 132 w 186"/>
                <a:gd name="T95" fmla="*/ 106 h 242"/>
                <a:gd name="T96" fmla="*/ 143 w 186"/>
                <a:gd name="T97" fmla="*/ 98 h 242"/>
                <a:gd name="T98" fmla="*/ 152 w 186"/>
                <a:gd name="T99" fmla="*/ 87 h 242"/>
                <a:gd name="T100" fmla="*/ 164 w 186"/>
                <a:gd name="T101" fmla="*/ 73 h 242"/>
                <a:gd name="T102" fmla="*/ 167 w 186"/>
                <a:gd name="T103" fmla="*/ 69 h 242"/>
                <a:gd name="T104" fmla="*/ 176 w 186"/>
                <a:gd name="T105" fmla="*/ 52 h 242"/>
                <a:gd name="T106" fmla="*/ 181 w 186"/>
                <a:gd name="T107" fmla="*/ 39 h 242"/>
                <a:gd name="T108" fmla="*/ 184 w 186"/>
                <a:gd name="T109" fmla="*/ 28 h 242"/>
                <a:gd name="T110" fmla="*/ 184 w 186"/>
                <a:gd name="T111" fmla="*/ 23 h 242"/>
                <a:gd name="T112" fmla="*/ 186 w 186"/>
                <a:gd name="T113" fmla="*/ 19 h 242"/>
                <a:gd name="T114" fmla="*/ 186 w 186"/>
                <a:gd name="T115" fmla="*/ 14 h 242"/>
                <a:gd name="T116" fmla="*/ 186 w 186"/>
                <a:gd name="T117" fmla="*/ 11 h 242"/>
                <a:gd name="T118" fmla="*/ 184 w 186"/>
                <a:gd name="T119" fmla="*/ 6 h 242"/>
                <a:gd name="T120" fmla="*/ 181 w 186"/>
                <a:gd name="T121" fmla="*/ 3 h 242"/>
                <a:gd name="T122" fmla="*/ 176 w 186"/>
                <a:gd name="T123" fmla="*/ 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242">
                  <a:moveTo>
                    <a:pt x="176" y="1"/>
                  </a:moveTo>
                  <a:lnTo>
                    <a:pt x="173" y="0"/>
                  </a:lnTo>
                  <a:lnTo>
                    <a:pt x="168" y="1"/>
                  </a:lnTo>
                  <a:lnTo>
                    <a:pt x="165" y="3"/>
                  </a:lnTo>
                  <a:lnTo>
                    <a:pt x="162" y="6"/>
                  </a:lnTo>
                  <a:lnTo>
                    <a:pt x="159" y="9"/>
                  </a:lnTo>
                  <a:lnTo>
                    <a:pt x="157" y="15"/>
                  </a:lnTo>
                  <a:lnTo>
                    <a:pt x="157" y="22"/>
                  </a:lnTo>
                  <a:lnTo>
                    <a:pt x="154" y="31"/>
                  </a:lnTo>
                  <a:lnTo>
                    <a:pt x="151" y="41"/>
                  </a:lnTo>
                  <a:lnTo>
                    <a:pt x="145" y="54"/>
                  </a:lnTo>
                  <a:lnTo>
                    <a:pt x="141" y="57"/>
                  </a:lnTo>
                  <a:lnTo>
                    <a:pt x="132" y="69"/>
                  </a:lnTo>
                  <a:lnTo>
                    <a:pt x="125" y="77"/>
                  </a:lnTo>
                  <a:lnTo>
                    <a:pt x="118" y="82"/>
                  </a:lnTo>
                  <a:lnTo>
                    <a:pt x="108" y="85"/>
                  </a:lnTo>
                  <a:lnTo>
                    <a:pt x="94" y="88"/>
                  </a:lnTo>
                  <a:lnTo>
                    <a:pt x="75" y="92"/>
                  </a:lnTo>
                  <a:lnTo>
                    <a:pt x="61" y="99"/>
                  </a:lnTo>
                  <a:lnTo>
                    <a:pt x="49" y="109"/>
                  </a:lnTo>
                  <a:lnTo>
                    <a:pt x="42" y="120"/>
                  </a:lnTo>
                  <a:lnTo>
                    <a:pt x="37" y="133"/>
                  </a:lnTo>
                  <a:lnTo>
                    <a:pt x="32" y="147"/>
                  </a:lnTo>
                  <a:lnTo>
                    <a:pt x="27" y="160"/>
                  </a:lnTo>
                  <a:lnTo>
                    <a:pt x="19" y="171"/>
                  </a:lnTo>
                  <a:lnTo>
                    <a:pt x="10" y="179"/>
                  </a:lnTo>
                  <a:lnTo>
                    <a:pt x="7" y="182"/>
                  </a:lnTo>
                  <a:lnTo>
                    <a:pt x="5" y="185"/>
                  </a:lnTo>
                  <a:lnTo>
                    <a:pt x="4" y="188"/>
                  </a:lnTo>
                  <a:lnTo>
                    <a:pt x="0" y="228"/>
                  </a:lnTo>
                  <a:lnTo>
                    <a:pt x="2" y="233"/>
                  </a:lnTo>
                  <a:lnTo>
                    <a:pt x="5" y="237"/>
                  </a:lnTo>
                  <a:lnTo>
                    <a:pt x="8" y="240"/>
                  </a:lnTo>
                  <a:lnTo>
                    <a:pt x="15" y="242"/>
                  </a:lnTo>
                  <a:lnTo>
                    <a:pt x="19" y="240"/>
                  </a:lnTo>
                  <a:lnTo>
                    <a:pt x="24" y="237"/>
                  </a:lnTo>
                  <a:lnTo>
                    <a:pt x="27" y="233"/>
                  </a:lnTo>
                  <a:lnTo>
                    <a:pt x="27" y="228"/>
                  </a:lnTo>
                  <a:lnTo>
                    <a:pt x="30" y="198"/>
                  </a:lnTo>
                  <a:lnTo>
                    <a:pt x="43" y="185"/>
                  </a:lnTo>
                  <a:lnTo>
                    <a:pt x="53" y="169"/>
                  </a:lnTo>
                  <a:lnTo>
                    <a:pt x="59" y="153"/>
                  </a:lnTo>
                  <a:lnTo>
                    <a:pt x="64" y="137"/>
                  </a:lnTo>
                  <a:lnTo>
                    <a:pt x="72" y="126"/>
                  </a:lnTo>
                  <a:lnTo>
                    <a:pt x="81" y="118"/>
                  </a:lnTo>
                  <a:lnTo>
                    <a:pt x="97" y="115"/>
                  </a:lnTo>
                  <a:lnTo>
                    <a:pt x="118" y="112"/>
                  </a:lnTo>
                  <a:lnTo>
                    <a:pt x="132" y="106"/>
                  </a:lnTo>
                  <a:lnTo>
                    <a:pt x="143" y="98"/>
                  </a:lnTo>
                  <a:lnTo>
                    <a:pt x="152" y="87"/>
                  </a:lnTo>
                  <a:lnTo>
                    <a:pt x="164" y="73"/>
                  </a:lnTo>
                  <a:lnTo>
                    <a:pt x="167" y="69"/>
                  </a:lnTo>
                  <a:lnTo>
                    <a:pt x="176" y="52"/>
                  </a:lnTo>
                  <a:lnTo>
                    <a:pt x="181" y="39"/>
                  </a:lnTo>
                  <a:lnTo>
                    <a:pt x="184" y="28"/>
                  </a:lnTo>
                  <a:lnTo>
                    <a:pt x="184" y="23"/>
                  </a:lnTo>
                  <a:lnTo>
                    <a:pt x="186" y="19"/>
                  </a:lnTo>
                  <a:lnTo>
                    <a:pt x="186" y="14"/>
                  </a:lnTo>
                  <a:lnTo>
                    <a:pt x="186" y="11"/>
                  </a:lnTo>
                  <a:lnTo>
                    <a:pt x="184" y="6"/>
                  </a:lnTo>
                  <a:lnTo>
                    <a:pt x="181" y="3"/>
                  </a:lnTo>
                  <a:lnTo>
                    <a:pt x="176" y="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580">
              <a:extLst>
                <a:ext uri="{FF2B5EF4-FFF2-40B4-BE49-F238E27FC236}">
                  <a16:creationId xmlns:a16="http://schemas.microsoft.com/office/drawing/2014/main" id="{186AB735-0517-C021-8B4E-C53A45B45570}"/>
                </a:ext>
              </a:extLst>
            </p:cNvPr>
            <p:cNvSpPr>
              <a:spLocks/>
            </p:cNvSpPr>
            <p:nvPr/>
          </p:nvSpPr>
          <p:spPr bwMode="auto">
            <a:xfrm>
              <a:off x="13954141" y="2563806"/>
              <a:ext cx="217488" cy="307974"/>
            </a:xfrm>
            <a:custGeom>
              <a:avLst/>
              <a:gdLst>
                <a:gd name="T0" fmla="*/ 130 w 274"/>
                <a:gd name="T1" fmla="*/ 347 h 388"/>
                <a:gd name="T2" fmla="*/ 131 w 274"/>
                <a:gd name="T3" fmla="*/ 377 h 388"/>
                <a:gd name="T4" fmla="*/ 144 w 274"/>
                <a:gd name="T5" fmla="*/ 387 h 388"/>
                <a:gd name="T6" fmla="*/ 160 w 274"/>
                <a:gd name="T7" fmla="*/ 385 h 388"/>
                <a:gd name="T8" fmla="*/ 177 w 274"/>
                <a:gd name="T9" fmla="*/ 373 h 388"/>
                <a:gd name="T10" fmla="*/ 201 w 274"/>
                <a:gd name="T11" fmla="*/ 350 h 388"/>
                <a:gd name="T12" fmla="*/ 231 w 274"/>
                <a:gd name="T13" fmla="*/ 317 h 388"/>
                <a:gd name="T14" fmla="*/ 245 w 274"/>
                <a:gd name="T15" fmla="*/ 276 h 388"/>
                <a:gd name="T16" fmla="*/ 250 w 274"/>
                <a:gd name="T17" fmla="*/ 255 h 388"/>
                <a:gd name="T18" fmla="*/ 258 w 274"/>
                <a:gd name="T19" fmla="*/ 251 h 388"/>
                <a:gd name="T20" fmla="*/ 267 w 274"/>
                <a:gd name="T21" fmla="*/ 249 h 388"/>
                <a:gd name="T22" fmla="*/ 272 w 274"/>
                <a:gd name="T23" fmla="*/ 243 h 388"/>
                <a:gd name="T24" fmla="*/ 272 w 274"/>
                <a:gd name="T25" fmla="*/ 233 h 388"/>
                <a:gd name="T26" fmla="*/ 267 w 274"/>
                <a:gd name="T27" fmla="*/ 227 h 388"/>
                <a:gd name="T28" fmla="*/ 256 w 274"/>
                <a:gd name="T29" fmla="*/ 222 h 388"/>
                <a:gd name="T30" fmla="*/ 244 w 274"/>
                <a:gd name="T31" fmla="*/ 224 h 388"/>
                <a:gd name="T32" fmla="*/ 223 w 274"/>
                <a:gd name="T33" fmla="*/ 251 h 388"/>
                <a:gd name="T34" fmla="*/ 212 w 274"/>
                <a:gd name="T35" fmla="*/ 293 h 388"/>
                <a:gd name="T36" fmla="*/ 185 w 274"/>
                <a:gd name="T37" fmla="*/ 328 h 388"/>
                <a:gd name="T38" fmla="*/ 158 w 274"/>
                <a:gd name="T39" fmla="*/ 352 h 388"/>
                <a:gd name="T40" fmla="*/ 158 w 274"/>
                <a:gd name="T41" fmla="*/ 347 h 388"/>
                <a:gd name="T42" fmla="*/ 160 w 274"/>
                <a:gd name="T43" fmla="*/ 331 h 388"/>
                <a:gd name="T44" fmla="*/ 163 w 274"/>
                <a:gd name="T45" fmla="*/ 297 h 388"/>
                <a:gd name="T46" fmla="*/ 153 w 274"/>
                <a:gd name="T47" fmla="*/ 262 h 388"/>
                <a:gd name="T48" fmla="*/ 147 w 274"/>
                <a:gd name="T49" fmla="*/ 228 h 388"/>
                <a:gd name="T50" fmla="*/ 144 w 274"/>
                <a:gd name="T51" fmla="*/ 198 h 388"/>
                <a:gd name="T52" fmla="*/ 123 w 274"/>
                <a:gd name="T53" fmla="*/ 181 h 388"/>
                <a:gd name="T54" fmla="*/ 93 w 274"/>
                <a:gd name="T55" fmla="*/ 178 h 388"/>
                <a:gd name="T56" fmla="*/ 71 w 274"/>
                <a:gd name="T57" fmla="*/ 181 h 388"/>
                <a:gd name="T58" fmla="*/ 58 w 274"/>
                <a:gd name="T59" fmla="*/ 183 h 388"/>
                <a:gd name="T60" fmla="*/ 39 w 274"/>
                <a:gd name="T61" fmla="*/ 173 h 388"/>
                <a:gd name="T62" fmla="*/ 30 w 274"/>
                <a:gd name="T63" fmla="*/ 157 h 388"/>
                <a:gd name="T64" fmla="*/ 27 w 274"/>
                <a:gd name="T65" fmla="*/ 130 h 388"/>
                <a:gd name="T66" fmla="*/ 39 w 274"/>
                <a:gd name="T67" fmla="*/ 99 h 388"/>
                <a:gd name="T68" fmla="*/ 49 w 274"/>
                <a:gd name="T69" fmla="*/ 68 h 388"/>
                <a:gd name="T70" fmla="*/ 44 w 274"/>
                <a:gd name="T71" fmla="*/ 35 h 388"/>
                <a:gd name="T72" fmla="*/ 44 w 274"/>
                <a:gd name="T73" fmla="*/ 11 h 388"/>
                <a:gd name="T74" fmla="*/ 38 w 274"/>
                <a:gd name="T75" fmla="*/ 2 h 388"/>
                <a:gd name="T76" fmla="*/ 27 w 274"/>
                <a:gd name="T77" fmla="*/ 0 h 388"/>
                <a:gd name="T78" fmla="*/ 19 w 274"/>
                <a:gd name="T79" fmla="*/ 7 h 388"/>
                <a:gd name="T80" fmla="*/ 16 w 274"/>
                <a:gd name="T81" fmla="*/ 29 h 388"/>
                <a:gd name="T82" fmla="*/ 19 w 274"/>
                <a:gd name="T83" fmla="*/ 57 h 388"/>
                <a:gd name="T84" fmla="*/ 20 w 274"/>
                <a:gd name="T85" fmla="*/ 70 h 388"/>
                <a:gd name="T86" fmla="*/ 20 w 274"/>
                <a:gd name="T87" fmla="*/ 78 h 388"/>
                <a:gd name="T88" fmla="*/ 6 w 274"/>
                <a:gd name="T89" fmla="*/ 103 h 388"/>
                <a:gd name="T90" fmla="*/ 1 w 274"/>
                <a:gd name="T91" fmla="*/ 156 h 388"/>
                <a:gd name="T92" fmla="*/ 20 w 274"/>
                <a:gd name="T93" fmla="*/ 194 h 388"/>
                <a:gd name="T94" fmla="*/ 57 w 274"/>
                <a:gd name="T95" fmla="*/ 209 h 388"/>
                <a:gd name="T96" fmla="*/ 73 w 274"/>
                <a:gd name="T97" fmla="*/ 209 h 388"/>
                <a:gd name="T98" fmla="*/ 92 w 274"/>
                <a:gd name="T99" fmla="*/ 206 h 388"/>
                <a:gd name="T100" fmla="*/ 111 w 274"/>
                <a:gd name="T101" fmla="*/ 206 h 388"/>
                <a:gd name="T102" fmla="*/ 119 w 274"/>
                <a:gd name="T103" fmla="*/ 211 h 388"/>
                <a:gd name="T104" fmla="*/ 120 w 274"/>
                <a:gd name="T105" fmla="*/ 219 h 388"/>
                <a:gd name="T106" fmla="*/ 120 w 274"/>
                <a:gd name="T107" fmla="*/ 241 h 388"/>
                <a:gd name="T108" fmla="*/ 128 w 274"/>
                <a:gd name="T109" fmla="*/ 270 h 388"/>
                <a:gd name="T110" fmla="*/ 134 w 274"/>
                <a:gd name="T111" fmla="*/ 298 h 388"/>
                <a:gd name="T112" fmla="*/ 133 w 274"/>
                <a:gd name="T113" fmla="*/ 3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 h="388">
                  <a:moveTo>
                    <a:pt x="133" y="328"/>
                  </a:moveTo>
                  <a:lnTo>
                    <a:pt x="130" y="347"/>
                  </a:lnTo>
                  <a:lnTo>
                    <a:pt x="128" y="365"/>
                  </a:lnTo>
                  <a:lnTo>
                    <a:pt x="131" y="377"/>
                  </a:lnTo>
                  <a:lnTo>
                    <a:pt x="139" y="385"/>
                  </a:lnTo>
                  <a:lnTo>
                    <a:pt x="144" y="387"/>
                  </a:lnTo>
                  <a:lnTo>
                    <a:pt x="149" y="388"/>
                  </a:lnTo>
                  <a:lnTo>
                    <a:pt x="160" y="385"/>
                  </a:lnTo>
                  <a:lnTo>
                    <a:pt x="169" y="379"/>
                  </a:lnTo>
                  <a:lnTo>
                    <a:pt x="177" y="373"/>
                  </a:lnTo>
                  <a:lnTo>
                    <a:pt x="182" y="368"/>
                  </a:lnTo>
                  <a:lnTo>
                    <a:pt x="201" y="350"/>
                  </a:lnTo>
                  <a:lnTo>
                    <a:pt x="217" y="333"/>
                  </a:lnTo>
                  <a:lnTo>
                    <a:pt x="231" y="317"/>
                  </a:lnTo>
                  <a:lnTo>
                    <a:pt x="241" y="298"/>
                  </a:lnTo>
                  <a:lnTo>
                    <a:pt x="245" y="276"/>
                  </a:lnTo>
                  <a:lnTo>
                    <a:pt x="247" y="263"/>
                  </a:lnTo>
                  <a:lnTo>
                    <a:pt x="250" y="255"/>
                  </a:lnTo>
                  <a:lnTo>
                    <a:pt x="253" y="249"/>
                  </a:lnTo>
                  <a:lnTo>
                    <a:pt x="258" y="251"/>
                  </a:lnTo>
                  <a:lnTo>
                    <a:pt x="263" y="251"/>
                  </a:lnTo>
                  <a:lnTo>
                    <a:pt x="267" y="249"/>
                  </a:lnTo>
                  <a:lnTo>
                    <a:pt x="271" y="246"/>
                  </a:lnTo>
                  <a:lnTo>
                    <a:pt x="272" y="243"/>
                  </a:lnTo>
                  <a:lnTo>
                    <a:pt x="274" y="238"/>
                  </a:lnTo>
                  <a:lnTo>
                    <a:pt x="272" y="233"/>
                  </a:lnTo>
                  <a:lnTo>
                    <a:pt x="271" y="230"/>
                  </a:lnTo>
                  <a:lnTo>
                    <a:pt x="267" y="227"/>
                  </a:lnTo>
                  <a:lnTo>
                    <a:pt x="263" y="224"/>
                  </a:lnTo>
                  <a:lnTo>
                    <a:pt x="256" y="222"/>
                  </a:lnTo>
                  <a:lnTo>
                    <a:pt x="250" y="222"/>
                  </a:lnTo>
                  <a:lnTo>
                    <a:pt x="244" y="224"/>
                  </a:lnTo>
                  <a:lnTo>
                    <a:pt x="231" y="233"/>
                  </a:lnTo>
                  <a:lnTo>
                    <a:pt x="223" y="251"/>
                  </a:lnTo>
                  <a:lnTo>
                    <a:pt x="217" y="273"/>
                  </a:lnTo>
                  <a:lnTo>
                    <a:pt x="212" y="293"/>
                  </a:lnTo>
                  <a:lnTo>
                    <a:pt x="201" y="311"/>
                  </a:lnTo>
                  <a:lnTo>
                    <a:pt x="185" y="328"/>
                  </a:lnTo>
                  <a:lnTo>
                    <a:pt x="163" y="349"/>
                  </a:lnTo>
                  <a:lnTo>
                    <a:pt x="158" y="352"/>
                  </a:lnTo>
                  <a:lnTo>
                    <a:pt x="157" y="354"/>
                  </a:lnTo>
                  <a:lnTo>
                    <a:pt x="158" y="347"/>
                  </a:lnTo>
                  <a:lnTo>
                    <a:pt x="158" y="339"/>
                  </a:lnTo>
                  <a:lnTo>
                    <a:pt x="160" y="331"/>
                  </a:lnTo>
                  <a:lnTo>
                    <a:pt x="161" y="319"/>
                  </a:lnTo>
                  <a:lnTo>
                    <a:pt x="163" y="297"/>
                  </a:lnTo>
                  <a:lnTo>
                    <a:pt x="158" y="278"/>
                  </a:lnTo>
                  <a:lnTo>
                    <a:pt x="153" y="262"/>
                  </a:lnTo>
                  <a:lnTo>
                    <a:pt x="149" y="244"/>
                  </a:lnTo>
                  <a:lnTo>
                    <a:pt x="147" y="228"/>
                  </a:lnTo>
                  <a:lnTo>
                    <a:pt x="147" y="213"/>
                  </a:lnTo>
                  <a:lnTo>
                    <a:pt x="144" y="198"/>
                  </a:lnTo>
                  <a:lnTo>
                    <a:pt x="136" y="189"/>
                  </a:lnTo>
                  <a:lnTo>
                    <a:pt x="123" y="181"/>
                  </a:lnTo>
                  <a:lnTo>
                    <a:pt x="109" y="178"/>
                  </a:lnTo>
                  <a:lnTo>
                    <a:pt x="93" y="178"/>
                  </a:lnTo>
                  <a:lnTo>
                    <a:pt x="77" y="181"/>
                  </a:lnTo>
                  <a:lnTo>
                    <a:pt x="71" y="181"/>
                  </a:lnTo>
                  <a:lnTo>
                    <a:pt x="65" y="183"/>
                  </a:lnTo>
                  <a:lnTo>
                    <a:pt x="58" y="183"/>
                  </a:lnTo>
                  <a:lnTo>
                    <a:pt x="47" y="179"/>
                  </a:lnTo>
                  <a:lnTo>
                    <a:pt x="39" y="173"/>
                  </a:lnTo>
                  <a:lnTo>
                    <a:pt x="33" y="165"/>
                  </a:lnTo>
                  <a:lnTo>
                    <a:pt x="30" y="157"/>
                  </a:lnTo>
                  <a:lnTo>
                    <a:pt x="28" y="149"/>
                  </a:lnTo>
                  <a:lnTo>
                    <a:pt x="27" y="130"/>
                  </a:lnTo>
                  <a:lnTo>
                    <a:pt x="31" y="113"/>
                  </a:lnTo>
                  <a:lnTo>
                    <a:pt x="39" y="99"/>
                  </a:lnTo>
                  <a:lnTo>
                    <a:pt x="47" y="83"/>
                  </a:lnTo>
                  <a:lnTo>
                    <a:pt x="49" y="68"/>
                  </a:lnTo>
                  <a:lnTo>
                    <a:pt x="46" y="53"/>
                  </a:lnTo>
                  <a:lnTo>
                    <a:pt x="44" y="35"/>
                  </a:lnTo>
                  <a:lnTo>
                    <a:pt x="44" y="16"/>
                  </a:lnTo>
                  <a:lnTo>
                    <a:pt x="44" y="11"/>
                  </a:lnTo>
                  <a:lnTo>
                    <a:pt x="42" y="7"/>
                  </a:lnTo>
                  <a:lnTo>
                    <a:pt x="38" y="2"/>
                  </a:lnTo>
                  <a:lnTo>
                    <a:pt x="33" y="0"/>
                  </a:lnTo>
                  <a:lnTo>
                    <a:pt x="27" y="0"/>
                  </a:lnTo>
                  <a:lnTo>
                    <a:pt x="22" y="3"/>
                  </a:lnTo>
                  <a:lnTo>
                    <a:pt x="19" y="7"/>
                  </a:lnTo>
                  <a:lnTo>
                    <a:pt x="17" y="13"/>
                  </a:lnTo>
                  <a:lnTo>
                    <a:pt x="16" y="29"/>
                  </a:lnTo>
                  <a:lnTo>
                    <a:pt x="17" y="45"/>
                  </a:lnTo>
                  <a:lnTo>
                    <a:pt x="19" y="57"/>
                  </a:lnTo>
                  <a:lnTo>
                    <a:pt x="20" y="64"/>
                  </a:lnTo>
                  <a:lnTo>
                    <a:pt x="20" y="70"/>
                  </a:lnTo>
                  <a:lnTo>
                    <a:pt x="20" y="75"/>
                  </a:lnTo>
                  <a:lnTo>
                    <a:pt x="20" y="78"/>
                  </a:lnTo>
                  <a:lnTo>
                    <a:pt x="19" y="81"/>
                  </a:lnTo>
                  <a:lnTo>
                    <a:pt x="6" y="103"/>
                  </a:lnTo>
                  <a:lnTo>
                    <a:pt x="0" y="129"/>
                  </a:lnTo>
                  <a:lnTo>
                    <a:pt x="1" y="156"/>
                  </a:lnTo>
                  <a:lnTo>
                    <a:pt x="8" y="176"/>
                  </a:lnTo>
                  <a:lnTo>
                    <a:pt x="20" y="194"/>
                  </a:lnTo>
                  <a:lnTo>
                    <a:pt x="36" y="205"/>
                  </a:lnTo>
                  <a:lnTo>
                    <a:pt x="57" y="209"/>
                  </a:lnTo>
                  <a:lnTo>
                    <a:pt x="65" y="209"/>
                  </a:lnTo>
                  <a:lnTo>
                    <a:pt x="73" y="209"/>
                  </a:lnTo>
                  <a:lnTo>
                    <a:pt x="82" y="208"/>
                  </a:lnTo>
                  <a:lnTo>
                    <a:pt x="92" y="206"/>
                  </a:lnTo>
                  <a:lnTo>
                    <a:pt x="103" y="206"/>
                  </a:lnTo>
                  <a:lnTo>
                    <a:pt x="111" y="206"/>
                  </a:lnTo>
                  <a:lnTo>
                    <a:pt x="117" y="208"/>
                  </a:lnTo>
                  <a:lnTo>
                    <a:pt x="119" y="211"/>
                  </a:lnTo>
                  <a:lnTo>
                    <a:pt x="120" y="214"/>
                  </a:lnTo>
                  <a:lnTo>
                    <a:pt x="120" y="219"/>
                  </a:lnTo>
                  <a:lnTo>
                    <a:pt x="120" y="225"/>
                  </a:lnTo>
                  <a:lnTo>
                    <a:pt x="120" y="241"/>
                  </a:lnTo>
                  <a:lnTo>
                    <a:pt x="123" y="255"/>
                  </a:lnTo>
                  <a:lnTo>
                    <a:pt x="128" y="270"/>
                  </a:lnTo>
                  <a:lnTo>
                    <a:pt x="133" y="284"/>
                  </a:lnTo>
                  <a:lnTo>
                    <a:pt x="134" y="298"/>
                  </a:lnTo>
                  <a:lnTo>
                    <a:pt x="134" y="314"/>
                  </a:lnTo>
                  <a:lnTo>
                    <a:pt x="133"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581">
              <a:extLst>
                <a:ext uri="{FF2B5EF4-FFF2-40B4-BE49-F238E27FC236}">
                  <a16:creationId xmlns:a16="http://schemas.microsoft.com/office/drawing/2014/main" id="{63C90812-9DCA-1F5B-CB45-535B1B075B01}"/>
                </a:ext>
              </a:extLst>
            </p:cNvPr>
            <p:cNvSpPr>
              <a:spLocks/>
            </p:cNvSpPr>
            <p:nvPr/>
          </p:nvSpPr>
          <p:spPr bwMode="auto">
            <a:xfrm>
              <a:off x="14101763" y="2455863"/>
              <a:ext cx="158750" cy="161925"/>
            </a:xfrm>
            <a:custGeom>
              <a:avLst/>
              <a:gdLst>
                <a:gd name="T0" fmla="*/ 198 w 200"/>
                <a:gd name="T1" fmla="*/ 57 h 204"/>
                <a:gd name="T2" fmla="*/ 195 w 200"/>
                <a:gd name="T3" fmla="*/ 54 h 204"/>
                <a:gd name="T4" fmla="*/ 192 w 200"/>
                <a:gd name="T5" fmla="*/ 51 h 204"/>
                <a:gd name="T6" fmla="*/ 189 w 200"/>
                <a:gd name="T7" fmla="*/ 49 h 204"/>
                <a:gd name="T8" fmla="*/ 184 w 200"/>
                <a:gd name="T9" fmla="*/ 49 h 204"/>
                <a:gd name="T10" fmla="*/ 163 w 200"/>
                <a:gd name="T11" fmla="*/ 51 h 204"/>
                <a:gd name="T12" fmla="*/ 144 w 200"/>
                <a:gd name="T13" fmla="*/ 46 h 204"/>
                <a:gd name="T14" fmla="*/ 127 w 200"/>
                <a:gd name="T15" fmla="*/ 38 h 204"/>
                <a:gd name="T16" fmla="*/ 109 w 200"/>
                <a:gd name="T17" fmla="*/ 29 h 204"/>
                <a:gd name="T18" fmla="*/ 90 w 200"/>
                <a:gd name="T19" fmla="*/ 19 h 204"/>
                <a:gd name="T20" fmla="*/ 68 w 200"/>
                <a:gd name="T21" fmla="*/ 10 h 204"/>
                <a:gd name="T22" fmla="*/ 43 w 200"/>
                <a:gd name="T23" fmla="*/ 2 h 204"/>
                <a:gd name="T24" fmla="*/ 14 w 200"/>
                <a:gd name="T25" fmla="*/ 0 h 204"/>
                <a:gd name="T26" fmla="*/ 8 w 200"/>
                <a:gd name="T27" fmla="*/ 0 h 204"/>
                <a:gd name="T28" fmla="*/ 5 w 200"/>
                <a:gd name="T29" fmla="*/ 3 h 204"/>
                <a:gd name="T30" fmla="*/ 2 w 200"/>
                <a:gd name="T31" fmla="*/ 8 h 204"/>
                <a:gd name="T32" fmla="*/ 0 w 200"/>
                <a:gd name="T33" fmla="*/ 13 h 204"/>
                <a:gd name="T34" fmla="*/ 0 w 200"/>
                <a:gd name="T35" fmla="*/ 192 h 204"/>
                <a:gd name="T36" fmla="*/ 2 w 200"/>
                <a:gd name="T37" fmla="*/ 197 h 204"/>
                <a:gd name="T38" fmla="*/ 5 w 200"/>
                <a:gd name="T39" fmla="*/ 201 h 204"/>
                <a:gd name="T40" fmla="*/ 8 w 200"/>
                <a:gd name="T41" fmla="*/ 204 h 204"/>
                <a:gd name="T42" fmla="*/ 14 w 200"/>
                <a:gd name="T43" fmla="*/ 204 h 204"/>
                <a:gd name="T44" fmla="*/ 19 w 200"/>
                <a:gd name="T45" fmla="*/ 204 h 204"/>
                <a:gd name="T46" fmla="*/ 24 w 200"/>
                <a:gd name="T47" fmla="*/ 201 h 204"/>
                <a:gd name="T48" fmla="*/ 27 w 200"/>
                <a:gd name="T49" fmla="*/ 197 h 204"/>
                <a:gd name="T50" fmla="*/ 27 w 200"/>
                <a:gd name="T51" fmla="*/ 192 h 204"/>
                <a:gd name="T52" fmla="*/ 27 w 200"/>
                <a:gd name="T53" fmla="*/ 27 h 204"/>
                <a:gd name="T54" fmla="*/ 54 w 200"/>
                <a:gd name="T55" fmla="*/ 33 h 204"/>
                <a:gd name="T56" fmla="*/ 76 w 200"/>
                <a:gd name="T57" fmla="*/ 43 h 204"/>
                <a:gd name="T58" fmla="*/ 97 w 200"/>
                <a:gd name="T59" fmla="*/ 52 h 204"/>
                <a:gd name="T60" fmla="*/ 120 w 200"/>
                <a:gd name="T61" fmla="*/ 67 h 204"/>
                <a:gd name="T62" fmla="*/ 149 w 200"/>
                <a:gd name="T63" fmla="*/ 76 h 204"/>
                <a:gd name="T64" fmla="*/ 133 w 200"/>
                <a:gd name="T65" fmla="*/ 82 h 204"/>
                <a:gd name="T66" fmla="*/ 119 w 200"/>
                <a:gd name="T67" fmla="*/ 86 h 204"/>
                <a:gd name="T68" fmla="*/ 106 w 200"/>
                <a:gd name="T69" fmla="*/ 86 h 204"/>
                <a:gd name="T70" fmla="*/ 92 w 200"/>
                <a:gd name="T71" fmla="*/ 86 h 204"/>
                <a:gd name="T72" fmla="*/ 78 w 200"/>
                <a:gd name="T73" fmla="*/ 87 h 204"/>
                <a:gd name="T74" fmla="*/ 60 w 200"/>
                <a:gd name="T75" fmla="*/ 94 h 204"/>
                <a:gd name="T76" fmla="*/ 43 w 200"/>
                <a:gd name="T77" fmla="*/ 106 h 204"/>
                <a:gd name="T78" fmla="*/ 40 w 200"/>
                <a:gd name="T79" fmla="*/ 109 h 204"/>
                <a:gd name="T80" fmla="*/ 38 w 200"/>
                <a:gd name="T81" fmla="*/ 114 h 204"/>
                <a:gd name="T82" fmla="*/ 38 w 200"/>
                <a:gd name="T83" fmla="*/ 119 h 204"/>
                <a:gd name="T84" fmla="*/ 40 w 200"/>
                <a:gd name="T85" fmla="*/ 122 h 204"/>
                <a:gd name="T86" fmla="*/ 41 w 200"/>
                <a:gd name="T87" fmla="*/ 125 h 204"/>
                <a:gd name="T88" fmla="*/ 44 w 200"/>
                <a:gd name="T89" fmla="*/ 128 h 204"/>
                <a:gd name="T90" fmla="*/ 49 w 200"/>
                <a:gd name="T91" fmla="*/ 130 h 204"/>
                <a:gd name="T92" fmla="*/ 54 w 200"/>
                <a:gd name="T93" fmla="*/ 130 h 204"/>
                <a:gd name="T94" fmla="*/ 57 w 200"/>
                <a:gd name="T95" fmla="*/ 130 h 204"/>
                <a:gd name="T96" fmla="*/ 60 w 200"/>
                <a:gd name="T97" fmla="*/ 127 h 204"/>
                <a:gd name="T98" fmla="*/ 73 w 200"/>
                <a:gd name="T99" fmla="*/ 119 h 204"/>
                <a:gd name="T100" fmla="*/ 84 w 200"/>
                <a:gd name="T101" fmla="*/ 114 h 204"/>
                <a:gd name="T102" fmla="*/ 94 w 200"/>
                <a:gd name="T103" fmla="*/ 113 h 204"/>
                <a:gd name="T104" fmla="*/ 105 w 200"/>
                <a:gd name="T105" fmla="*/ 113 h 204"/>
                <a:gd name="T106" fmla="*/ 117 w 200"/>
                <a:gd name="T107" fmla="*/ 113 h 204"/>
                <a:gd name="T108" fmla="*/ 130 w 200"/>
                <a:gd name="T109" fmla="*/ 111 h 204"/>
                <a:gd name="T110" fmla="*/ 143 w 200"/>
                <a:gd name="T111" fmla="*/ 108 h 204"/>
                <a:gd name="T112" fmla="*/ 158 w 200"/>
                <a:gd name="T113" fmla="*/ 101 h 204"/>
                <a:gd name="T114" fmla="*/ 176 w 200"/>
                <a:gd name="T115" fmla="*/ 90 h 204"/>
                <a:gd name="T116" fmla="*/ 195 w 200"/>
                <a:gd name="T117" fmla="*/ 73 h 204"/>
                <a:gd name="T118" fmla="*/ 198 w 200"/>
                <a:gd name="T119" fmla="*/ 70 h 204"/>
                <a:gd name="T120" fmla="*/ 200 w 200"/>
                <a:gd name="T121" fmla="*/ 65 h 204"/>
                <a:gd name="T122" fmla="*/ 200 w 200"/>
                <a:gd name="T123" fmla="*/ 62 h 204"/>
                <a:gd name="T124" fmla="*/ 198 w 200"/>
                <a:gd name="T125"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4">
                  <a:moveTo>
                    <a:pt x="198" y="57"/>
                  </a:moveTo>
                  <a:lnTo>
                    <a:pt x="195" y="54"/>
                  </a:lnTo>
                  <a:lnTo>
                    <a:pt x="192" y="51"/>
                  </a:lnTo>
                  <a:lnTo>
                    <a:pt x="189" y="49"/>
                  </a:lnTo>
                  <a:lnTo>
                    <a:pt x="184" y="49"/>
                  </a:lnTo>
                  <a:lnTo>
                    <a:pt x="163" y="51"/>
                  </a:lnTo>
                  <a:lnTo>
                    <a:pt x="144" y="46"/>
                  </a:lnTo>
                  <a:lnTo>
                    <a:pt x="127" y="38"/>
                  </a:lnTo>
                  <a:lnTo>
                    <a:pt x="109" y="29"/>
                  </a:lnTo>
                  <a:lnTo>
                    <a:pt x="90" y="19"/>
                  </a:lnTo>
                  <a:lnTo>
                    <a:pt x="68" y="10"/>
                  </a:lnTo>
                  <a:lnTo>
                    <a:pt x="43" y="2"/>
                  </a:lnTo>
                  <a:lnTo>
                    <a:pt x="14" y="0"/>
                  </a:lnTo>
                  <a:lnTo>
                    <a:pt x="8" y="0"/>
                  </a:lnTo>
                  <a:lnTo>
                    <a:pt x="5" y="3"/>
                  </a:lnTo>
                  <a:lnTo>
                    <a:pt x="2" y="8"/>
                  </a:lnTo>
                  <a:lnTo>
                    <a:pt x="0" y="13"/>
                  </a:lnTo>
                  <a:lnTo>
                    <a:pt x="0" y="192"/>
                  </a:lnTo>
                  <a:lnTo>
                    <a:pt x="2" y="197"/>
                  </a:lnTo>
                  <a:lnTo>
                    <a:pt x="5" y="201"/>
                  </a:lnTo>
                  <a:lnTo>
                    <a:pt x="8" y="204"/>
                  </a:lnTo>
                  <a:lnTo>
                    <a:pt x="14" y="204"/>
                  </a:lnTo>
                  <a:lnTo>
                    <a:pt x="19" y="204"/>
                  </a:lnTo>
                  <a:lnTo>
                    <a:pt x="24" y="201"/>
                  </a:lnTo>
                  <a:lnTo>
                    <a:pt x="27" y="197"/>
                  </a:lnTo>
                  <a:lnTo>
                    <a:pt x="27" y="192"/>
                  </a:lnTo>
                  <a:lnTo>
                    <a:pt x="27" y="27"/>
                  </a:lnTo>
                  <a:lnTo>
                    <a:pt x="54" y="33"/>
                  </a:lnTo>
                  <a:lnTo>
                    <a:pt x="76" y="43"/>
                  </a:lnTo>
                  <a:lnTo>
                    <a:pt x="97" y="52"/>
                  </a:lnTo>
                  <a:lnTo>
                    <a:pt x="120" y="67"/>
                  </a:lnTo>
                  <a:lnTo>
                    <a:pt x="149" y="76"/>
                  </a:lnTo>
                  <a:lnTo>
                    <a:pt x="133" y="82"/>
                  </a:lnTo>
                  <a:lnTo>
                    <a:pt x="119" y="86"/>
                  </a:lnTo>
                  <a:lnTo>
                    <a:pt x="106" y="86"/>
                  </a:lnTo>
                  <a:lnTo>
                    <a:pt x="92" y="86"/>
                  </a:lnTo>
                  <a:lnTo>
                    <a:pt x="78" y="87"/>
                  </a:lnTo>
                  <a:lnTo>
                    <a:pt x="60" y="94"/>
                  </a:lnTo>
                  <a:lnTo>
                    <a:pt x="43" y="106"/>
                  </a:lnTo>
                  <a:lnTo>
                    <a:pt x="40" y="109"/>
                  </a:lnTo>
                  <a:lnTo>
                    <a:pt x="38" y="114"/>
                  </a:lnTo>
                  <a:lnTo>
                    <a:pt x="38" y="119"/>
                  </a:lnTo>
                  <a:lnTo>
                    <a:pt x="40" y="122"/>
                  </a:lnTo>
                  <a:lnTo>
                    <a:pt x="41" y="125"/>
                  </a:lnTo>
                  <a:lnTo>
                    <a:pt x="44" y="128"/>
                  </a:lnTo>
                  <a:lnTo>
                    <a:pt x="49" y="130"/>
                  </a:lnTo>
                  <a:lnTo>
                    <a:pt x="54" y="130"/>
                  </a:lnTo>
                  <a:lnTo>
                    <a:pt x="57" y="130"/>
                  </a:lnTo>
                  <a:lnTo>
                    <a:pt x="60" y="127"/>
                  </a:lnTo>
                  <a:lnTo>
                    <a:pt x="73" y="119"/>
                  </a:lnTo>
                  <a:lnTo>
                    <a:pt x="84" y="114"/>
                  </a:lnTo>
                  <a:lnTo>
                    <a:pt x="94" y="113"/>
                  </a:lnTo>
                  <a:lnTo>
                    <a:pt x="105" y="113"/>
                  </a:lnTo>
                  <a:lnTo>
                    <a:pt x="117" y="113"/>
                  </a:lnTo>
                  <a:lnTo>
                    <a:pt x="130" y="111"/>
                  </a:lnTo>
                  <a:lnTo>
                    <a:pt x="143" y="108"/>
                  </a:lnTo>
                  <a:lnTo>
                    <a:pt x="158" y="101"/>
                  </a:lnTo>
                  <a:lnTo>
                    <a:pt x="176" y="90"/>
                  </a:lnTo>
                  <a:lnTo>
                    <a:pt x="195" y="73"/>
                  </a:lnTo>
                  <a:lnTo>
                    <a:pt x="198" y="70"/>
                  </a:lnTo>
                  <a:lnTo>
                    <a:pt x="200" y="65"/>
                  </a:lnTo>
                  <a:lnTo>
                    <a:pt x="200" y="62"/>
                  </a:lnTo>
                  <a:lnTo>
                    <a:pt x="198" y="5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 name="Grupa 24">
            <a:extLst>
              <a:ext uri="{FF2B5EF4-FFF2-40B4-BE49-F238E27FC236}">
                <a16:creationId xmlns:a16="http://schemas.microsoft.com/office/drawing/2014/main" id="{D4354530-23D9-9C3F-4086-FE9ECEEA4F7A}"/>
              </a:ext>
            </a:extLst>
          </p:cNvPr>
          <p:cNvGrpSpPr/>
          <p:nvPr/>
        </p:nvGrpSpPr>
        <p:grpSpPr>
          <a:xfrm>
            <a:off x="3697520" y="1504241"/>
            <a:ext cx="411596" cy="413643"/>
            <a:chOff x="15209903" y="5768971"/>
            <a:chExt cx="636597" cy="639761"/>
          </a:xfrm>
          <a:solidFill>
            <a:schemeClr val="bg1"/>
          </a:solidFill>
        </p:grpSpPr>
        <p:sp>
          <p:nvSpPr>
            <p:cNvPr id="26" name="Freeform 1187">
              <a:extLst>
                <a:ext uri="{FF2B5EF4-FFF2-40B4-BE49-F238E27FC236}">
                  <a16:creationId xmlns:a16="http://schemas.microsoft.com/office/drawing/2014/main" id="{B395331D-9C33-4CB6-A241-5BB47E93EBD2}"/>
                </a:ext>
              </a:extLst>
            </p:cNvPr>
            <p:cNvSpPr>
              <a:spLocks noEditPoints="1"/>
            </p:cNvSpPr>
            <p:nvPr/>
          </p:nvSpPr>
          <p:spPr bwMode="auto">
            <a:xfrm>
              <a:off x="15328955" y="5888035"/>
              <a:ext cx="395289" cy="398463"/>
            </a:xfrm>
            <a:custGeom>
              <a:avLst/>
              <a:gdLst>
                <a:gd name="T0" fmla="*/ 124 w 249"/>
                <a:gd name="T1" fmla="*/ 13 h 251"/>
                <a:gd name="T2" fmla="*/ 94 w 249"/>
                <a:gd name="T3" fmla="*/ 17 h 251"/>
                <a:gd name="T4" fmla="*/ 68 w 249"/>
                <a:gd name="T5" fmla="*/ 29 h 251"/>
                <a:gd name="T6" fmla="*/ 46 w 249"/>
                <a:gd name="T7" fmla="*/ 46 h 251"/>
                <a:gd name="T8" fmla="*/ 28 w 249"/>
                <a:gd name="T9" fmla="*/ 69 h 251"/>
                <a:gd name="T10" fmla="*/ 17 w 249"/>
                <a:gd name="T11" fmla="*/ 95 h 251"/>
                <a:gd name="T12" fmla="*/ 12 w 249"/>
                <a:gd name="T13" fmla="*/ 125 h 251"/>
                <a:gd name="T14" fmla="*/ 16 w 249"/>
                <a:gd name="T15" fmla="*/ 155 h 251"/>
                <a:gd name="T16" fmla="*/ 28 w 249"/>
                <a:gd name="T17" fmla="*/ 183 h 251"/>
                <a:gd name="T18" fmla="*/ 45 w 249"/>
                <a:gd name="T19" fmla="*/ 205 h 251"/>
                <a:gd name="T20" fmla="*/ 68 w 249"/>
                <a:gd name="T21" fmla="*/ 224 h 251"/>
                <a:gd name="T22" fmla="*/ 94 w 249"/>
                <a:gd name="T23" fmla="*/ 235 h 251"/>
                <a:gd name="T24" fmla="*/ 124 w 249"/>
                <a:gd name="T25" fmla="*/ 239 h 251"/>
                <a:gd name="T26" fmla="*/ 124 w 249"/>
                <a:gd name="T27" fmla="*/ 239 h 251"/>
                <a:gd name="T28" fmla="*/ 154 w 249"/>
                <a:gd name="T29" fmla="*/ 235 h 251"/>
                <a:gd name="T30" fmla="*/ 181 w 249"/>
                <a:gd name="T31" fmla="*/ 224 h 251"/>
                <a:gd name="T32" fmla="*/ 203 w 249"/>
                <a:gd name="T33" fmla="*/ 207 h 251"/>
                <a:gd name="T34" fmla="*/ 221 w 249"/>
                <a:gd name="T35" fmla="*/ 183 h 251"/>
                <a:gd name="T36" fmla="*/ 232 w 249"/>
                <a:gd name="T37" fmla="*/ 155 h 251"/>
                <a:gd name="T38" fmla="*/ 236 w 249"/>
                <a:gd name="T39" fmla="*/ 127 h 251"/>
                <a:gd name="T40" fmla="*/ 232 w 249"/>
                <a:gd name="T41" fmla="*/ 97 h 251"/>
                <a:gd name="T42" fmla="*/ 221 w 249"/>
                <a:gd name="T43" fmla="*/ 69 h 251"/>
                <a:gd name="T44" fmla="*/ 203 w 249"/>
                <a:gd name="T45" fmla="*/ 46 h 251"/>
                <a:gd name="T46" fmla="*/ 181 w 249"/>
                <a:gd name="T47" fmla="*/ 29 h 251"/>
                <a:gd name="T48" fmla="*/ 154 w 249"/>
                <a:gd name="T49" fmla="*/ 17 h 251"/>
                <a:gd name="T50" fmla="*/ 124 w 249"/>
                <a:gd name="T51" fmla="*/ 13 h 251"/>
                <a:gd name="T52" fmla="*/ 124 w 249"/>
                <a:gd name="T53" fmla="*/ 13 h 251"/>
                <a:gd name="T54" fmla="*/ 124 w 249"/>
                <a:gd name="T55" fmla="*/ 0 h 251"/>
                <a:gd name="T56" fmla="*/ 124 w 249"/>
                <a:gd name="T57" fmla="*/ 0 h 251"/>
                <a:gd name="T58" fmla="*/ 153 w 249"/>
                <a:gd name="T59" fmla="*/ 4 h 251"/>
                <a:gd name="T60" fmla="*/ 179 w 249"/>
                <a:gd name="T61" fmla="*/ 13 h 251"/>
                <a:gd name="T62" fmla="*/ 202 w 249"/>
                <a:gd name="T63" fmla="*/ 29 h 251"/>
                <a:gd name="T64" fmla="*/ 221 w 249"/>
                <a:gd name="T65" fmla="*/ 48 h 251"/>
                <a:gd name="T66" fmla="*/ 236 w 249"/>
                <a:gd name="T67" fmla="*/ 70 h 251"/>
                <a:gd name="T68" fmla="*/ 245 w 249"/>
                <a:gd name="T69" fmla="*/ 98 h 251"/>
                <a:gd name="T70" fmla="*/ 249 w 249"/>
                <a:gd name="T71" fmla="*/ 127 h 251"/>
                <a:gd name="T72" fmla="*/ 245 w 249"/>
                <a:gd name="T73" fmla="*/ 154 h 251"/>
                <a:gd name="T74" fmla="*/ 236 w 249"/>
                <a:gd name="T75" fmla="*/ 182 h 251"/>
                <a:gd name="T76" fmla="*/ 221 w 249"/>
                <a:gd name="T77" fmla="*/ 204 h 251"/>
                <a:gd name="T78" fmla="*/ 202 w 249"/>
                <a:gd name="T79" fmla="*/ 224 h 251"/>
                <a:gd name="T80" fmla="*/ 179 w 249"/>
                <a:gd name="T81" fmla="*/ 239 h 251"/>
                <a:gd name="T82" fmla="*/ 153 w 249"/>
                <a:gd name="T83" fmla="*/ 248 h 251"/>
                <a:gd name="T84" fmla="*/ 124 w 249"/>
                <a:gd name="T85" fmla="*/ 251 h 251"/>
                <a:gd name="T86" fmla="*/ 124 w 249"/>
                <a:gd name="T87" fmla="*/ 251 h 251"/>
                <a:gd name="T88" fmla="*/ 96 w 249"/>
                <a:gd name="T89" fmla="*/ 248 h 251"/>
                <a:gd name="T90" fmla="*/ 69 w 249"/>
                <a:gd name="T91" fmla="*/ 238 h 251"/>
                <a:gd name="T92" fmla="*/ 46 w 249"/>
                <a:gd name="T93" fmla="*/ 224 h 251"/>
                <a:gd name="T94" fmla="*/ 28 w 249"/>
                <a:gd name="T95" fmla="*/ 204 h 251"/>
                <a:gd name="T96" fmla="*/ 13 w 249"/>
                <a:gd name="T97" fmla="*/ 180 h 251"/>
                <a:gd name="T98" fmla="*/ 3 w 249"/>
                <a:gd name="T99" fmla="*/ 154 h 251"/>
                <a:gd name="T100" fmla="*/ 0 w 249"/>
                <a:gd name="T101" fmla="*/ 125 h 251"/>
                <a:gd name="T102" fmla="*/ 4 w 249"/>
                <a:gd name="T103" fmla="*/ 97 h 251"/>
                <a:gd name="T104" fmla="*/ 13 w 249"/>
                <a:gd name="T105" fmla="*/ 70 h 251"/>
                <a:gd name="T106" fmla="*/ 28 w 249"/>
                <a:gd name="T107" fmla="*/ 47 h 251"/>
                <a:gd name="T108" fmla="*/ 47 w 249"/>
                <a:gd name="T109" fmla="*/ 27 h 251"/>
                <a:gd name="T110" fmla="*/ 69 w 249"/>
                <a:gd name="T111" fmla="*/ 13 h 251"/>
                <a:gd name="T112" fmla="*/ 96 w 249"/>
                <a:gd name="T113" fmla="*/ 4 h 251"/>
                <a:gd name="T114" fmla="*/ 124 w 249"/>
                <a:gd name="T115"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9" h="251">
                  <a:moveTo>
                    <a:pt x="124" y="13"/>
                  </a:moveTo>
                  <a:lnTo>
                    <a:pt x="94" y="17"/>
                  </a:lnTo>
                  <a:lnTo>
                    <a:pt x="68" y="29"/>
                  </a:lnTo>
                  <a:lnTo>
                    <a:pt x="46" y="46"/>
                  </a:lnTo>
                  <a:lnTo>
                    <a:pt x="28" y="69"/>
                  </a:lnTo>
                  <a:lnTo>
                    <a:pt x="17" y="95"/>
                  </a:lnTo>
                  <a:lnTo>
                    <a:pt x="12" y="125"/>
                  </a:lnTo>
                  <a:lnTo>
                    <a:pt x="16" y="155"/>
                  </a:lnTo>
                  <a:lnTo>
                    <a:pt x="28" y="183"/>
                  </a:lnTo>
                  <a:lnTo>
                    <a:pt x="45" y="205"/>
                  </a:lnTo>
                  <a:lnTo>
                    <a:pt x="68" y="224"/>
                  </a:lnTo>
                  <a:lnTo>
                    <a:pt x="94" y="235"/>
                  </a:lnTo>
                  <a:lnTo>
                    <a:pt x="124" y="239"/>
                  </a:lnTo>
                  <a:lnTo>
                    <a:pt x="124" y="239"/>
                  </a:lnTo>
                  <a:lnTo>
                    <a:pt x="154" y="235"/>
                  </a:lnTo>
                  <a:lnTo>
                    <a:pt x="181" y="224"/>
                  </a:lnTo>
                  <a:lnTo>
                    <a:pt x="203" y="207"/>
                  </a:lnTo>
                  <a:lnTo>
                    <a:pt x="221" y="183"/>
                  </a:lnTo>
                  <a:lnTo>
                    <a:pt x="232" y="155"/>
                  </a:lnTo>
                  <a:lnTo>
                    <a:pt x="236" y="127"/>
                  </a:lnTo>
                  <a:lnTo>
                    <a:pt x="232" y="97"/>
                  </a:lnTo>
                  <a:lnTo>
                    <a:pt x="221" y="69"/>
                  </a:lnTo>
                  <a:lnTo>
                    <a:pt x="203" y="46"/>
                  </a:lnTo>
                  <a:lnTo>
                    <a:pt x="181" y="29"/>
                  </a:lnTo>
                  <a:lnTo>
                    <a:pt x="154" y="17"/>
                  </a:lnTo>
                  <a:lnTo>
                    <a:pt x="124" y="13"/>
                  </a:lnTo>
                  <a:lnTo>
                    <a:pt x="124" y="13"/>
                  </a:lnTo>
                  <a:close/>
                  <a:moveTo>
                    <a:pt x="124" y="0"/>
                  </a:moveTo>
                  <a:lnTo>
                    <a:pt x="124" y="0"/>
                  </a:lnTo>
                  <a:lnTo>
                    <a:pt x="153" y="4"/>
                  </a:lnTo>
                  <a:lnTo>
                    <a:pt x="179" y="13"/>
                  </a:lnTo>
                  <a:lnTo>
                    <a:pt x="202" y="29"/>
                  </a:lnTo>
                  <a:lnTo>
                    <a:pt x="221" y="48"/>
                  </a:lnTo>
                  <a:lnTo>
                    <a:pt x="236" y="70"/>
                  </a:lnTo>
                  <a:lnTo>
                    <a:pt x="245" y="98"/>
                  </a:lnTo>
                  <a:lnTo>
                    <a:pt x="249" y="127"/>
                  </a:lnTo>
                  <a:lnTo>
                    <a:pt x="245" y="154"/>
                  </a:lnTo>
                  <a:lnTo>
                    <a:pt x="236" y="182"/>
                  </a:lnTo>
                  <a:lnTo>
                    <a:pt x="221" y="204"/>
                  </a:lnTo>
                  <a:lnTo>
                    <a:pt x="202" y="224"/>
                  </a:lnTo>
                  <a:lnTo>
                    <a:pt x="179" y="239"/>
                  </a:lnTo>
                  <a:lnTo>
                    <a:pt x="153" y="248"/>
                  </a:lnTo>
                  <a:lnTo>
                    <a:pt x="124" y="251"/>
                  </a:lnTo>
                  <a:lnTo>
                    <a:pt x="124" y="251"/>
                  </a:lnTo>
                  <a:lnTo>
                    <a:pt x="96" y="248"/>
                  </a:lnTo>
                  <a:lnTo>
                    <a:pt x="69" y="238"/>
                  </a:lnTo>
                  <a:lnTo>
                    <a:pt x="46" y="224"/>
                  </a:lnTo>
                  <a:lnTo>
                    <a:pt x="28" y="204"/>
                  </a:lnTo>
                  <a:lnTo>
                    <a:pt x="13" y="180"/>
                  </a:lnTo>
                  <a:lnTo>
                    <a:pt x="3" y="154"/>
                  </a:lnTo>
                  <a:lnTo>
                    <a:pt x="0" y="125"/>
                  </a:lnTo>
                  <a:lnTo>
                    <a:pt x="4" y="97"/>
                  </a:lnTo>
                  <a:lnTo>
                    <a:pt x="13" y="70"/>
                  </a:lnTo>
                  <a:lnTo>
                    <a:pt x="28" y="47"/>
                  </a:lnTo>
                  <a:lnTo>
                    <a:pt x="47" y="27"/>
                  </a:lnTo>
                  <a:lnTo>
                    <a:pt x="69" y="13"/>
                  </a:lnTo>
                  <a:lnTo>
                    <a:pt x="96" y="4"/>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188">
              <a:extLst>
                <a:ext uri="{FF2B5EF4-FFF2-40B4-BE49-F238E27FC236}">
                  <a16:creationId xmlns:a16="http://schemas.microsoft.com/office/drawing/2014/main" id="{A9960DEA-12E1-4E1E-F7D8-EA0710BF3666}"/>
                </a:ext>
              </a:extLst>
            </p:cNvPr>
            <p:cNvSpPr>
              <a:spLocks/>
            </p:cNvSpPr>
            <p:nvPr/>
          </p:nvSpPr>
          <p:spPr bwMode="auto">
            <a:xfrm>
              <a:off x="15468655" y="5942010"/>
              <a:ext cx="244475" cy="288925"/>
            </a:xfrm>
            <a:custGeom>
              <a:avLst/>
              <a:gdLst>
                <a:gd name="T0" fmla="*/ 115 w 154"/>
                <a:gd name="T1" fmla="*/ 12 h 182"/>
                <a:gd name="T2" fmla="*/ 102 w 154"/>
                <a:gd name="T3" fmla="*/ 18 h 182"/>
                <a:gd name="T4" fmla="*/ 94 w 154"/>
                <a:gd name="T5" fmla="*/ 22 h 182"/>
                <a:gd name="T6" fmla="*/ 90 w 154"/>
                <a:gd name="T7" fmla="*/ 25 h 182"/>
                <a:gd name="T8" fmla="*/ 89 w 154"/>
                <a:gd name="T9" fmla="*/ 25 h 182"/>
                <a:gd name="T10" fmla="*/ 43 w 154"/>
                <a:gd name="T11" fmla="*/ 29 h 182"/>
                <a:gd name="T12" fmla="*/ 40 w 154"/>
                <a:gd name="T13" fmla="*/ 49 h 182"/>
                <a:gd name="T14" fmla="*/ 36 w 154"/>
                <a:gd name="T15" fmla="*/ 59 h 182"/>
                <a:gd name="T16" fmla="*/ 42 w 154"/>
                <a:gd name="T17" fmla="*/ 86 h 182"/>
                <a:gd name="T18" fmla="*/ 19 w 154"/>
                <a:gd name="T19" fmla="*/ 82 h 182"/>
                <a:gd name="T20" fmla="*/ 17 w 154"/>
                <a:gd name="T21" fmla="*/ 106 h 182"/>
                <a:gd name="T22" fmla="*/ 39 w 154"/>
                <a:gd name="T23" fmla="*/ 140 h 182"/>
                <a:gd name="T24" fmla="*/ 60 w 154"/>
                <a:gd name="T25" fmla="*/ 110 h 182"/>
                <a:gd name="T26" fmla="*/ 49 w 154"/>
                <a:gd name="T27" fmla="*/ 82 h 182"/>
                <a:gd name="T28" fmla="*/ 83 w 154"/>
                <a:gd name="T29" fmla="*/ 70 h 182"/>
                <a:gd name="T30" fmla="*/ 111 w 154"/>
                <a:gd name="T31" fmla="*/ 81 h 182"/>
                <a:gd name="T32" fmla="*/ 131 w 154"/>
                <a:gd name="T33" fmla="*/ 74 h 182"/>
                <a:gd name="T34" fmla="*/ 144 w 154"/>
                <a:gd name="T35" fmla="*/ 55 h 182"/>
                <a:gd name="T36" fmla="*/ 141 w 154"/>
                <a:gd name="T37" fmla="*/ 81 h 182"/>
                <a:gd name="T38" fmla="*/ 107 w 154"/>
                <a:gd name="T39" fmla="*/ 99 h 182"/>
                <a:gd name="T40" fmla="*/ 82 w 154"/>
                <a:gd name="T41" fmla="*/ 93 h 182"/>
                <a:gd name="T42" fmla="*/ 64 w 154"/>
                <a:gd name="T43" fmla="*/ 98 h 182"/>
                <a:gd name="T44" fmla="*/ 44 w 154"/>
                <a:gd name="T45" fmla="*/ 182 h 182"/>
                <a:gd name="T46" fmla="*/ 27 w 154"/>
                <a:gd name="T47" fmla="*/ 144 h 182"/>
                <a:gd name="T48" fmla="*/ 10 w 154"/>
                <a:gd name="T49" fmla="*/ 118 h 182"/>
                <a:gd name="T50" fmla="*/ 10 w 154"/>
                <a:gd name="T51" fmla="*/ 72 h 182"/>
                <a:gd name="T52" fmla="*/ 12 w 154"/>
                <a:gd name="T53" fmla="*/ 67 h 182"/>
                <a:gd name="T54" fmla="*/ 23 w 154"/>
                <a:gd name="T55" fmla="*/ 44 h 182"/>
                <a:gd name="T56" fmla="*/ 40 w 154"/>
                <a:gd name="T57" fmla="*/ 14 h 182"/>
                <a:gd name="T58" fmla="*/ 85 w 154"/>
                <a:gd name="T59" fmla="*/ 13 h 182"/>
                <a:gd name="T60" fmla="*/ 91 w 154"/>
                <a:gd name="T61" fmla="*/ 9 h 182"/>
                <a:gd name="T62" fmla="*/ 108 w 154"/>
                <a:gd name="T6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 h="182">
                  <a:moveTo>
                    <a:pt x="108" y="0"/>
                  </a:moveTo>
                  <a:lnTo>
                    <a:pt x="115" y="12"/>
                  </a:lnTo>
                  <a:lnTo>
                    <a:pt x="108" y="14"/>
                  </a:lnTo>
                  <a:lnTo>
                    <a:pt x="102" y="18"/>
                  </a:lnTo>
                  <a:lnTo>
                    <a:pt x="98" y="21"/>
                  </a:lnTo>
                  <a:lnTo>
                    <a:pt x="94" y="22"/>
                  </a:lnTo>
                  <a:lnTo>
                    <a:pt x="91" y="23"/>
                  </a:lnTo>
                  <a:lnTo>
                    <a:pt x="90" y="25"/>
                  </a:lnTo>
                  <a:lnTo>
                    <a:pt x="90" y="25"/>
                  </a:lnTo>
                  <a:lnTo>
                    <a:pt x="89" y="25"/>
                  </a:lnTo>
                  <a:lnTo>
                    <a:pt x="59" y="34"/>
                  </a:lnTo>
                  <a:lnTo>
                    <a:pt x="43" y="29"/>
                  </a:lnTo>
                  <a:lnTo>
                    <a:pt x="32" y="38"/>
                  </a:lnTo>
                  <a:lnTo>
                    <a:pt x="40" y="49"/>
                  </a:lnTo>
                  <a:lnTo>
                    <a:pt x="27" y="57"/>
                  </a:lnTo>
                  <a:lnTo>
                    <a:pt x="36" y="59"/>
                  </a:lnTo>
                  <a:lnTo>
                    <a:pt x="47" y="72"/>
                  </a:lnTo>
                  <a:lnTo>
                    <a:pt x="42" y="86"/>
                  </a:lnTo>
                  <a:lnTo>
                    <a:pt x="27" y="81"/>
                  </a:lnTo>
                  <a:lnTo>
                    <a:pt x="19" y="82"/>
                  </a:lnTo>
                  <a:lnTo>
                    <a:pt x="14" y="99"/>
                  </a:lnTo>
                  <a:lnTo>
                    <a:pt x="17" y="106"/>
                  </a:lnTo>
                  <a:lnTo>
                    <a:pt x="32" y="106"/>
                  </a:lnTo>
                  <a:lnTo>
                    <a:pt x="39" y="140"/>
                  </a:lnTo>
                  <a:lnTo>
                    <a:pt x="43" y="150"/>
                  </a:lnTo>
                  <a:lnTo>
                    <a:pt x="60" y="110"/>
                  </a:lnTo>
                  <a:lnTo>
                    <a:pt x="52" y="106"/>
                  </a:lnTo>
                  <a:lnTo>
                    <a:pt x="49" y="82"/>
                  </a:lnTo>
                  <a:lnTo>
                    <a:pt x="72" y="86"/>
                  </a:lnTo>
                  <a:lnTo>
                    <a:pt x="83" y="70"/>
                  </a:lnTo>
                  <a:lnTo>
                    <a:pt x="95" y="91"/>
                  </a:lnTo>
                  <a:lnTo>
                    <a:pt x="111" y="81"/>
                  </a:lnTo>
                  <a:lnTo>
                    <a:pt x="119" y="98"/>
                  </a:lnTo>
                  <a:lnTo>
                    <a:pt x="131" y="74"/>
                  </a:lnTo>
                  <a:lnTo>
                    <a:pt x="144" y="55"/>
                  </a:lnTo>
                  <a:lnTo>
                    <a:pt x="144" y="55"/>
                  </a:lnTo>
                  <a:lnTo>
                    <a:pt x="154" y="61"/>
                  </a:lnTo>
                  <a:lnTo>
                    <a:pt x="141" y="81"/>
                  </a:lnTo>
                  <a:lnTo>
                    <a:pt x="119" y="125"/>
                  </a:lnTo>
                  <a:lnTo>
                    <a:pt x="107" y="99"/>
                  </a:lnTo>
                  <a:lnTo>
                    <a:pt x="91" y="110"/>
                  </a:lnTo>
                  <a:lnTo>
                    <a:pt x="82" y="93"/>
                  </a:lnTo>
                  <a:lnTo>
                    <a:pt x="76" y="101"/>
                  </a:lnTo>
                  <a:lnTo>
                    <a:pt x="64" y="98"/>
                  </a:lnTo>
                  <a:lnTo>
                    <a:pt x="77" y="103"/>
                  </a:lnTo>
                  <a:lnTo>
                    <a:pt x="44" y="182"/>
                  </a:lnTo>
                  <a:lnTo>
                    <a:pt x="38" y="169"/>
                  </a:lnTo>
                  <a:lnTo>
                    <a:pt x="27" y="144"/>
                  </a:lnTo>
                  <a:lnTo>
                    <a:pt x="22" y="118"/>
                  </a:lnTo>
                  <a:lnTo>
                    <a:pt x="10" y="118"/>
                  </a:lnTo>
                  <a:lnTo>
                    <a:pt x="0" y="101"/>
                  </a:lnTo>
                  <a:lnTo>
                    <a:pt x="10" y="72"/>
                  </a:lnTo>
                  <a:lnTo>
                    <a:pt x="25" y="69"/>
                  </a:lnTo>
                  <a:lnTo>
                    <a:pt x="12" y="67"/>
                  </a:lnTo>
                  <a:lnTo>
                    <a:pt x="9" y="53"/>
                  </a:lnTo>
                  <a:lnTo>
                    <a:pt x="23" y="44"/>
                  </a:lnTo>
                  <a:lnTo>
                    <a:pt x="17" y="35"/>
                  </a:lnTo>
                  <a:lnTo>
                    <a:pt x="40" y="14"/>
                  </a:lnTo>
                  <a:lnTo>
                    <a:pt x="59" y="21"/>
                  </a:lnTo>
                  <a:lnTo>
                    <a:pt x="85" y="13"/>
                  </a:lnTo>
                  <a:lnTo>
                    <a:pt x="86" y="13"/>
                  </a:lnTo>
                  <a:lnTo>
                    <a:pt x="91" y="9"/>
                  </a:lnTo>
                  <a:lnTo>
                    <a:pt x="99" y="5"/>
                  </a:lnTo>
                  <a:lnTo>
                    <a:pt x="1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189">
              <a:extLst>
                <a:ext uri="{FF2B5EF4-FFF2-40B4-BE49-F238E27FC236}">
                  <a16:creationId xmlns:a16="http://schemas.microsoft.com/office/drawing/2014/main" id="{20A672D6-0EE1-7F28-EB57-D3C355BE2C62}"/>
                </a:ext>
              </a:extLst>
            </p:cNvPr>
            <p:cNvSpPr>
              <a:spLocks/>
            </p:cNvSpPr>
            <p:nvPr/>
          </p:nvSpPr>
          <p:spPr bwMode="auto">
            <a:xfrm>
              <a:off x="15340068" y="5937248"/>
              <a:ext cx="101600" cy="179388"/>
            </a:xfrm>
            <a:custGeom>
              <a:avLst/>
              <a:gdLst>
                <a:gd name="T0" fmla="*/ 39 w 64"/>
                <a:gd name="T1" fmla="*/ 0 h 113"/>
                <a:gd name="T2" fmla="*/ 39 w 64"/>
                <a:gd name="T3" fmla="*/ 0 h 113"/>
                <a:gd name="T4" fmla="*/ 51 w 64"/>
                <a:gd name="T5" fmla="*/ 4 h 113"/>
                <a:gd name="T6" fmla="*/ 45 w 64"/>
                <a:gd name="T7" fmla="*/ 18 h 113"/>
                <a:gd name="T8" fmla="*/ 45 w 64"/>
                <a:gd name="T9" fmla="*/ 18 h 113"/>
                <a:gd name="T10" fmla="*/ 36 w 64"/>
                <a:gd name="T11" fmla="*/ 41 h 113"/>
                <a:gd name="T12" fmla="*/ 36 w 64"/>
                <a:gd name="T13" fmla="*/ 42 h 113"/>
                <a:gd name="T14" fmla="*/ 38 w 64"/>
                <a:gd name="T15" fmla="*/ 42 h 113"/>
                <a:gd name="T16" fmla="*/ 38 w 64"/>
                <a:gd name="T17" fmla="*/ 41 h 113"/>
                <a:gd name="T18" fmla="*/ 39 w 64"/>
                <a:gd name="T19" fmla="*/ 38 h 113"/>
                <a:gd name="T20" fmla="*/ 40 w 64"/>
                <a:gd name="T21" fmla="*/ 37 h 113"/>
                <a:gd name="T22" fmla="*/ 40 w 64"/>
                <a:gd name="T23" fmla="*/ 37 h 113"/>
                <a:gd name="T24" fmla="*/ 51 w 64"/>
                <a:gd name="T25" fmla="*/ 37 h 113"/>
                <a:gd name="T26" fmla="*/ 64 w 64"/>
                <a:gd name="T27" fmla="*/ 54 h 113"/>
                <a:gd name="T28" fmla="*/ 64 w 64"/>
                <a:gd name="T29" fmla="*/ 62 h 113"/>
                <a:gd name="T30" fmla="*/ 38 w 64"/>
                <a:gd name="T31" fmla="*/ 85 h 113"/>
                <a:gd name="T32" fmla="*/ 34 w 64"/>
                <a:gd name="T33" fmla="*/ 87 h 113"/>
                <a:gd name="T34" fmla="*/ 26 w 64"/>
                <a:gd name="T35" fmla="*/ 88 h 113"/>
                <a:gd name="T36" fmla="*/ 30 w 64"/>
                <a:gd name="T37" fmla="*/ 105 h 113"/>
                <a:gd name="T38" fmla="*/ 23 w 64"/>
                <a:gd name="T39" fmla="*/ 113 h 113"/>
                <a:gd name="T40" fmla="*/ 0 w 64"/>
                <a:gd name="T41" fmla="*/ 113 h 113"/>
                <a:gd name="T42" fmla="*/ 0 w 64"/>
                <a:gd name="T43" fmla="*/ 101 h 113"/>
                <a:gd name="T44" fmla="*/ 15 w 64"/>
                <a:gd name="T45" fmla="*/ 101 h 113"/>
                <a:gd name="T46" fmla="*/ 13 w 64"/>
                <a:gd name="T47" fmla="*/ 90 h 113"/>
                <a:gd name="T48" fmla="*/ 13 w 64"/>
                <a:gd name="T49" fmla="*/ 89 h 113"/>
                <a:gd name="T50" fmla="*/ 13 w 64"/>
                <a:gd name="T51" fmla="*/ 88 h 113"/>
                <a:gd name="T52" fmla="*/ 11 w 64"/>
                <a:gd name="T53" fmla="*/ 85 h 113"/>
                <a:gd name="T54" fmla="*/ 11 w 64"/>
                <a:gd name="T55" fmla="*/ 83 h 113"/>
                <a:gd name="T56" fmla="*/ 11 w 64"/>
                <a:gd name="T57" fmla="*/ 81 h 113"/>
                <a:gd name="T58" fmla="*/ 13 w 64"/>
                <a:gd name="T59" fmla="*/ 81 h 113"/>
                <a:gd name="T60" fmla="*/ 13 w 64"/>
                <a:gd name="T61" fmla="*/ 80 h 113"/>
                <a:gd name="T62" fmla="*/ 14 w 64"/>
                <a:gd name="T63" fmla="*/ 79 h 113"/>
                <a:gd name="T64" fmla="*/ 15 w 64"/>
                <a:gd name="T65" fmla="*/ 77 h 113"/>
                <a:gd name="T66" fmla="*/ 18 w 64"/>
                <a:gd name="T67" fmla="*/ 76 h 113"/>
                <a:gd name="T68" fmla="*/ 18 w 64"/>
                <a:gd name="T69" fmla="*/ 76 h 113"/>
                <a:gd name="T70" fmla="*/ 31 w 64"/>
                <a:gd name="T71" fmla="*/ 75 h 113"/>
                <a:gd name="T72" fmla="*/ 51 w 64"/>
                <a:gd name="T73" fmla="*/ 56 h 113"/>
                <a:gd name="T74" fmla="*/ 45 w 64"/>
                <a:gd name="T75" fmla="*/ 50 h 113"/>
                <a:gd name="T76" fmla="*/ 44 w 64"/>
                <a:gd name="T77" fmla="*/ 51 h 113"/>
                <a:gd name="T78" fmla="*/ 41 w 64"/>
                <a:gd name="T79" fmla="*/ 55 h 113"/>
                <a:gd name="T80" fmla="*/ 40 w 64"/>
                <a:gd name="T81" fmla="*/ 56 h 113"/>
                <a:gd name="T82" fmla="*/ 40 w 64"/>
                <a:gd name="T83" fmla="*/ 56 h 113"/>
                <a:gd name="T84" fmla="*/ 39 w 64"/>
                <a:gd name="T85" fmla="*/ 58 h 113"/>
                <a:gd name="T86" fmla="*/ 38 w 64"/>
                <a:gd name="T87" fmla="*/ 58 h 113"/>
                <a:gd name="T88" fmla="*/ 38 w 64"/>
                <a:gd name="T89" fmla="*/ 58 h 113"/>
                <a:gd name="T90" fmla="*/ 36 w 64"/>
                <a:gd name="T91" fmla="*/ 58 h 113"/>
                <a:gd name="T92" fmla="*/ 31 w 64"/>
                <a:gd name="T93" fmla="*/ 55 h 113"/>
                <a:gd name="T94" fmla="*/ 31 w 64"/>
                <a:gd name="T95" fmla="*/ 55 h 113"/>
                <a:gd name="T96" fmla="*/ 30 w 64"/>
                <a:gd name="T97" fmla="*/ 54 h 113"/>
                <a:gd name="T98" fmla="*/ 28 w 64"/>
                <a:gd name="T99" fmla="*/ 51 h 113"/>
                <a:gd name="T100" fmla="*/ 27 w 64"/>
                <a:gd name="T101" fmla="*/ 49 h 113"/>
                <a:gd name="T102" fmla="*/ 24 w 64"/>
                <a:gd name="T103" fmla="*/ 45 h 113"/>
                <a:gd name="T104" fmla="*/ 24 w 64"/>
                <a:gd name="T105" fmla="*/ 43 h 113"/>
                <a:gd name="T106" fmla="*/ 23 w 64"/>
                <a:gd name="T107" fmla="*/ 42 h 113"/>
                <a:gd name="T108" fmla="*/ 23 w 64"/>
                <a:gd name="T109" fmla="*/ 42 h 113"/>
                <a:gd name="T110" fmla="*/ 23 w 64"/>
                <a:gd name="T111" fmla="*/ 41 h 113"/>
                <a:gd name="T112" fmla="*/ 23 w 64"/>
                <a:gd name="T113" fmla="*/ 39 h 113"/>
                <a:gd name="T114" fmla="*/ 23 w 64"/>
                <a:gd name="T115" fmla="*/ 38 h 113"/>
                <a:gd name="T116" fmla="*/ 23 w 64"/>
                <a:gd name="T117" fmla="*/ 38 h 113"/>
                <a:gd name="T118" fmla="*/ 34 w 64"/>
                <a:gd name="T119" fmla="*/ 15 h 113"/>
                <a:gd name="T120" fmla="*/ 39 w 64"/>
                <a:gd name="T1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113">
                  <a:moveTo>
                    <a:pt x="39" y="0"/>
                  </a:moveTo>
                  <a:lnTo>
                    <a:pt x="39" y="0"/>
                  </a:lnTo>
                  <a:lnTo>
                    <a:pt x="51" y="4"/>
                  </a:lnTo>
                  <a:lnTo>
                    <a:pt x="45" y="18"/>
                  </a:lnTo>
                  <a:lnTo>
                    <a:pt x="45" y="18"/>
                  </a:lnTo>
                  <a:lnTo>
                    <a:pt x="36" y="41"/>
                  </a:lnTo>
                  <a:lnTo>
                    <a:pt x="36" y="42"/>
                  </a:lnTo>
                  <a:lnTo>
                    <a:pt x="38" y="42"/>
                  </a:lnTo>
                  <a:lnTo>
                    <a:pt x="38" y="41"/>
                  </a:lnTo>
                  <a:lnTo>
                    <a:pt x="39" y="38"/>
                  </a:lnTo>
                  <a:lnTo>
                    <a:pt x="40" y="37"/>
                  </a:lnTo>
                  <a:lnTo>
                    <a:pt x="40" y="37"/>
                  </a:lnTo>
                  <a:lnTo>
                    <a:pt x="51" y="37"/>
                  </a:lnTo>
                  <a:lnTo>
                    <a:pt x="64" y="54"/>
                  </a:lnTo>
                  <a:lnTo>
                    <a:pt x="64" y="62"/>
                  </a:lnTo>
                  <a:lnTo>
                    <a:pt x="38" y="85"/>
                  </a:lnTo>
                  <a:lnTo>
                    <a:pt x="34" y="87"/>
                  </a:lnTo>
                  <a:lnTo>
                    <a:pt x="26" y="88"/>
                  </a:lnTo>
                  <a:lnTo>
                    <a:pt x="30" y="105"/>
                  </a:lnTo>
                  <a:lnTo>
                    <a:pt x="23" y="113"/>
                  </a:lnTo>
                  <a:lnTo>
                    <a:pt x="0" y="113"/>
                  </a:lnTo>
                  <a:lnTo>
                    <a:pt x="0" y="101"/>
                  </a:lnTo>
                  <a:lnTo>
                    <a:pt x="15" y="101"/>
                  </a:lnTo>
                  <a:lnTo>
                    <a:pt x="13" y="90"/>
                  </a:lnTo>
                  <a:lnTo>
                    <a:pt x="13" y="89"/>
                  </a:lnTo>
                  <a:lnTo>
                    <a:pt x="13" y="88"/>
                  </a:lnTo>
                  <a:lnTo>
                    <a:pt x="11" y="85"/>
                  </a:lnTo>
                  <a:lnTo>
                    <a:pt x="11" y="83"/>
                  </a:lnTo>
                  <a:lnTo>
                    <a:pt x="11" y="81"/>
                  </a:lnTo>
                  <a:lnTo>
                    <a:pt x="13" y="81"/>
                  </a:lnTo>
                  <a:lnTo>
                    <a:pt x="13" y="80"/>
                  </a:lnTo>
                  <a:lnTo>
                    <a:pt x="14" y="79"/>
                  </a:lnTo>
                  <a:lnTo>
                    <a:pt x="15" y="77"/>
                  </a:lnTo>
                  <a:lnTo>
                    <a:pt x="18" y="76"/>
                  </a:lnTo>
                  <a:lnTo>
                    <a:pt x="18" y="76"/>
                  </a:lnTo>
                  <a:lnTo>
                    <a:pt x="31" y="75"/>
                  </a:lnTo>
                  <a:lnTo>
                    <a:pt x="51" y="56"/>
                  </a:lnTo>
                  <a:lnTo>
                    <a:pt x="45" y="50"/>
                  </a:lnTo>
                  <a:lnTo>
                    <a:pt x="44" y="51"/>
                  </a:lnTo>
                  <a:lnTo>
                    <a:pt x="41" y="55"/>
                  </a:lnTo>
                  <a:lnTo>
                    <a:pt x="40" y="56"/>
                  </a:lnTo>
                  <a:lnTo>
                    <a:pt x="40" y="56"/>
                  </a:lnTo>
                  <a:lnTo>
                    <a:pt x="39" y="58"/>
                  </a:lnTo>
                  <a:lnTo>
                    <a:pt x="38" y="58"/>
                  </a:lnTo>
                  <a:lnTo>
                    <a:pt x="38" y="58"/>
                  </a:lnTo>
                  <a:lnTo>
                    <a:pt x="36" y="58"/>
                  </a:lnTo>
                  <a:lnTo>
                    <a:pt x="31" y="55"/>
                  </a:lnTo>
                  <a:lnTo>
                    <a:pt x="31" y="55"/>
                  </a:lnTo>
                  <a:lnTo>
                    <a:pt x="30" y="54"/>
                  </a:lnTo>
                  <a:lnTo>
                    <a:pt x="28" y="51"/>
                  </a:lnTo>
                  <a:lnTo>
                    <a:pt x="27" y="49"/>
                  </a:lnTo>
                  <a:lnTo>
                    <a:pt x="24" y="45"/>
                  </a:lnTo>
                  <a:lnTo>
                    <a:pt x="24" y="43"/>
                  </a:lnTo>
                  <a:lnTo>
                    <a:pt x="23" y="42"/>
                  </a:lnTo>
                  <a:lnTo>
                    <a:pt x="23" y="42"/>
                  </a:lnTo>
                  <a:lnTo>
                    <a:pt x="23" y="41"/>
                  </a:lnTo>
                  <a:lnTo>
                    <a:pt x="23" y="39"/>
                  </a:lnTo>
                  <a:lnTo>
                    <a:pt x="23" y="38"/>
                  </a:lnTo>
                  <a:lnTo>
                    <a:pt x="23" y="38"/>
                  </a:lnTo>
                  <a:lnTo>
                    <a:pt x="34" y="15"/>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190">
              <a:extLst>
                <a:ext uri="{FF2B5EF4-FFF2-40B4-BE49-F238E27FC236}">
                  <a16:creationId xmlns:a16="http://schemas.microsoft.com/office/drawing/2014/main" id="{22CC1C23-DC41-EF53-1331-892EA035ED42}"/>
                </a:ext>
              </a:extLst>
            </p:cNvPr>
            <p:cNvSpPr>
              <a:spLocks noEditPoints="1"/>
            </p:cNvSpPr>
            <p:nvPr/>
          </p:nvSpPr>
          <p:spPr bwMode="auto">
            <a:xfrm>
              <a:off x="15381344" y="6083297"/>
              <a:ext cx="87313" cy="163513"/>
            </a:xfrm>
            <a:custGeom>
              <a:avLst/>
              <a:gdLst>
                <a:gd name="T0" fmla="*/ 19 w 55"/>
                <a:gd name="T1" fmla="*/ 21 h 103"/>
                <a:gd name="T2" fmla="*/ 13 w 55"/>
                <a:gd name="T3" fmla="*/ 34 h 103"/>
                <a:gd name="T4" fmla="*/ 22 w 55"/>
                <a:gd name="T5" fmla="*/ 51 h 103"/>
                <a:gd name="T6" fmla="*/ 22 w 55"/>
                <a:gd name="T7" fmla="*/ 51 h 103"/>
                <a:gd name="T8" fmla="*/ 22 w 55"/>
                <a:gd name="T9" fmla="*/ 52 h 103"/>
                <a:gd name="T10" fmla="*/ 22 w 55"/>
                <a:gd name="T11" fmla="*/ 52 h 103"/>
                <a:gd name="T12" fmla="*/ 23 w 55"/>
                <a:gd name="T13" fmla="*/ 55 h 103"/>
                <a:gd name="T14" fmla="*/ 23 w 55"/>
                <a:gd name="T15" fmla="*/ 55 h 103"/>
                <a:gd name="T16" fmla="*/ 22 w 55"/>
                <a:gd name="T17" fmla="*/ 78 h 103"/>
                <a:gd name="T18" fmla="*/ 23 w 55"/>
                <a:gd name="T19" fmla="*/ 80 h 103"/>
                <a:gd name="T20" fmla="*/ 40 w 55"/>
                <a:gd name="T21" fmla="*/ 40 h 103"/>
                <a:gd name="T22" fmla="*/ 19 w 55"/>
                <a:gd name="T23" fmla="*/ 21 h 103"/>
                <a:gd name="T24" fmla="*/ 14 w 55"/>
                <a:gd name="T25" fmla="*/ 0 h 103"/>
                <a:gd name="T26" fmla="*/ 55 w 55"/>
                <a:gd name="T27" fmla="*/ 36 h 103"/>
                <a:gd name="T28" fmla="*/ 26 w 55"/>
                <a:gd name="T29" fmla="*/ 103 h 103"/>
                <a:gd name="T30" fmla="*/ 10 w 55"/>
                <a:gd name="T31" fmla="*/ 82 h 103"/>
                <a:gd name="T32" fmla="*/ 10 w 55"/>
                <a:gd name="T33" fmla="*/ 56 h 103"/>
                <a:gd name="T34" fmla="*/ 0 w 55"/>
                <a:gd name="T35" fmla="*/ 34 h 103"/>
                <a:gd name="T36" fmla="*/ 14 w 55"/>
                <a:gd name="T3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03">
                  <a:moveTo>
                    <a:pt x="19" y="21"/>
                  </a:moveTo>
                  <a:lnTo>
                    <a:pt x="13" y="34"/>
                  </a:lnTo>
                  <a:lnTo>
                    <a:pt x="22" y="51"/>
                  </a:lnTo>
                  <a:lnTo>
                    <a:pt x="22" y="51"/>
                  </a:lnTo>
                  <a:lnTo>
                    <a:pt x="22" y="52"/>
                  </a:lnTo>
                  <a:lnTo>
                    <a:pt x="22" y="52"/>
                  </a:lnTo>
                  <a:lnTo>
                    <a:pt x="23" y="55"/>
                  </a:lnTo>
                  <a:lnTo>
                    <a:pt x="23" y="55"/>
                  </a:lnTo>
                  <a:lnTo>
                    <a:pt x="22" y="78"/>
                  </a:lnTo>
                  <a:lnTo>
                    <a:pt x="23" y="80"/>
                  </a:lnTo>
                  <a:lnTo>
                    <a:pt x="40" y="40"/>
                  </a:lnTo>
                  <a:lnTo>
                    <a:pt x="19" y="21"/>
                  </a:lnTo>
                  <a:close/>
                  <a:moveTo>
                    <a:pt x="14" y="0"/>
                  </a:moveTo>
                  <a:lnTo>
                    <a:pt x="55" y="36"/>
                  </a:lnTo>
                  <a:lnTo>
                    <a:pt x="26" y="103"/>
                  </a:lnTo>
                  <a:lnTo>
                    <a:pt x="10" y="82"/>
                  </a:lnTo>
                  <a:lnTo>
                    <a:pt x="10" y="56"/>
                  </a:lnTo>
                  <a:lnTo>
                    <a:pt x="0" y="34"/>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91">
              <a:extLst>
                <a:ext uri="{FF2B5EF4-FFF2-40B4-BE49-F238E27FC236}">
                  <a16:creationId xmlns:a16="http://schemas.microsoft.com/office/drawing/2014/main" id="{432DDC50-9935-40A0-5A68-CE7CC560B22B}"/>
                </a:ext>
              </a:extLst>
            </p:cNvPr>
            <p:cNvSpPr>
              <a:spLocks noEditPoints="1"/>
            </p:cNvSpPr>
            <p:nvPr/>
          </p:nvSpPr>
          <p:spPr bwMode="auto">
            <a:xfrm>
              <a:off x="15428968" y="5922960"/>
              <a:ext cx="82550" cy="88900"/>
            </a:xfrm>
            <a:custGeom>
              <a:avLst/>
              <a:gdLst>
                <a:gd name="T0" fmla="*/ 35 w 52"/>
                <a:gd name="T1" fmla="*/ 16 h 56"/>
                <a:gd name="T2" fmla="*/ 26 w 52"/>
                <a:gd name="T3" fmla="*/ 18 h 56"/>
                <a:gd name="T4" fmla="*/ 16 w 52"/>
                <a:gd name="T5" fmla="*/ 22 h 56"/>
                <a:gd name="T6" fmla="*/ 23 w 52"/>
                <a:gd name="T7" fmla="*/ 37 h 56"/>
                <a:gd name="T8" fmla="*/ 33 w 52"/>
                <a:gd name="T9" fmla="*/ 29 h 56"/>
                <a:gd name="T10" fmla="*/ 35 w 52"/>
                <a:gd name="T11" fmla="*/ 16 h 56"/>
                <a:gd name="T12" fmla="*/ 52 w 52"/>
                <a:gd name="T13" fmla="*/ 0 h 56"/>
                <a:gd name="T14" fmla="*/ 44 w 52"/>
                <a:gd name="T15" fmla="*/ 35 h 56"/>
                <a:gd name="T16" fmla="*/ 25 w 52"/>
                <a:gd name="T17" fmla="*/ 51 h 56"/>
                <a:gd name="T18" fmla="*/ 18 w 52"/>
                <a:gd name="T19" fmla="*/ 56 h 56"/>
                <a:gd name="T20" fmla="*/ 0 w 52"/>
                <a:gd name="T21" fmla="*/ 17 h 56"/>
                <a:gd name="T22" fmla="*/ 5 w 52"/>
                <a:gd name="T23" fmla="*/ 14 h 56"/>
                <a:gd name="T24" fmla="*/ 22 w 52"/>
                <a:gd name="T25" fmla="*/ 7 h 56"/>
                <a:gd name="T26" fmla="*/ 35 w 52"/>
                <a:gd name="T27" fmla="*/ 3 h 56"/>
                <a:gd name="T28" fmla="*/ 43 w 52"/>
                <a:gd name="T29" fmla="*/ 1 h 56"/>
                <a:gd name="T30" fmla="*/ 52 w 52"/>
                <a:gd name="T3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6">
                  <a:moveTo>
                    <a:pt x="35" y="16"/>
                  </a:moveTo>
                  <a:lnTo>
                    <a:pt x="26" y="18"/>
                  </a:lnTo>
                  <a:lnTo>
                    <a:pt x="16" y="22"/>
                  </a:lnTo>
                  <a:lnTo>
                    <a:pt x="23" y="37"/>
                  </a:lnTo>
                  <a:lnTo>
                    <a:pt x="33" y="29"/>
                  </a:lnTo>
                  <a:lnTo>
                    <a:pt x="35" y="16"/>
                  </a:lnTo>
                  <a:close/>
                  <a:moveTo>
                    <a:pt x="52" y="0"/>
                  </a:moveTo>
                  <a:lnTo>
                    <a:pt x="44" y="35"/>
                  </a:lnTo>
                  <a:lnTo>
                    <a:pt x="25" y="51"/>
                  </a:lnTo>
                  <a:lnTo>
                    <a:pt x="18" y="56"/>
                  </a:lnTo>
                  <a:lnTo>
                    <a:pt x="0" y="17"/>
                  </a:lnTo>
                  <a:lnTo>
                    <a:pt x="5" y="14"/>
                  </a:lnTo>
                  <a:lnTo>
                    <a:pt x="22" y="7"/>
                  </a:lnTo>
                  <a:lnTo>
                    <a:pt x="35" y="3"/>
                  </a:lnTo>
                  <a:lnTo>
                    <a:pt x="43" y="1"/>
                  </a:lnTo>
                  <a:lnTo>
                    <a:pt x="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192">
              <a:extLst>
                <a:ext uri="{FF2B5EF4-FFF2-40B4-BE49-F238E27FC236}">
                  <a16:creationId xmlns:a16="http://schemas.microsoft.com/office/drawing/2014/main" id="{DCBB838C-726B-0408-8B81-07732C25C6A3}"/>
                </a:ext>
              </a:extLst>
            </p:cNvPr>
            <p:cNvSpPr>
              <a:spLocks/>
            </p:cNvSpPr>
            <p:nvPr/>
          </p:nvSpPr>
          <p:spPr bwMode="auto">
            <a:xfrm>
              <a:off x="15209903" y="5768971"/>
              <a:ext cx="542927" cy="490537"/>
            </a:xfrm>
            <a:custGeom>
              <a:avLst/>
              <a:gdLst>
                <a:gd name="T0" fmla="*/ 201 w 342"/>
                <a:gd name="T1" fmla="*/ 0 h 309"/>
                <a:gd name="T2" fmla="*/ 231 w 342"/>
                <a:gd name="T3" fmla="*/ 3 h 309"/>
                <a:gd name="T4" fmla="*/ 261 w 342"/>
                <a:gd name="T5" fmla="*/ 9 h 309"/>
                <a:gd name="T6" fmla="*/ 290 w 342"/>
                <a:gd name="T7" fmla="*/ 21 h 309"/>
                <a:gd name="T8" fmla="*/ 317 w 342"/>
                <a:gd name="T9" fmla="*/ 38 h 309"/>
                <a:gd name="T10" fmla="*/ 342 w 342"/>
                <a:gd name="T11" fmla="*/ 59 h 309"/>
                <a:gd name="T12" fmla="*/ 333 w 342"/>
                <a:gd name="T13" fmla="*/ 68 h 309"/>
                <a:gd name="T14" fmla="*/ 309 w 342"/>
                <a:gd name="T15" fmla="*/ 47 h 309"/>
                <a:gd name="T16" fmla="*/ 284 w 342"/>
                <a:gd name="T17" fmla="*/ 33 h 309"/>
                <a:gd name="T18" fmla="*/ 257 w 342"/>
                <a:gd name="T19" fmla="*/ 21 h 309"/>
                <a:gd name="T20" fmla="*/ 229 w 342"/>
                <a:gd name="T21" fmla="*/ 14 h 309"/>
                <a:gd name="T22" fmla="*/ 201 w 342"/>
                <a:gd name="T23" fmla="*/ 12 h 309"/>
                <a:gd name="T24" fmla="*/ 172 w 342"/>
                <a:gd name="T25" fmla="*/ 14 h 309"/>
                <a:gd name="T26" fmla="*/ 143 w 342"/>
                <a:gd name="T27" fmla="*/ 21 h 309"/>
                <a:gd name="T28" fmla="*/ 117 w 342"/>
                <a:gd name="T29" fmla="*/ 33 h 309"/>
                <a:gd name="T30" fmla="*/ 91 w 342"/>
                <a:gd name="T31" fmla="*/ 47 h 309"/>
                <a:gd name="T32" fmla="*/ 67 w 342"/>
                <a:gd name="T33" fmla="*/ 68 h 309"/>
                <a:gd name="T34" fmla="*/ 48 w 342"/>
                <a:gd name="T35" fmla="*/ 92 h 309"/>
                <a:gd name="T36" fmla="*/ 33 w 342"/>
                <a:gd name="T37" fmla="*/ 117 h 309"/>
                <a:gd name="T38" fmla="*/ 21 w 342"/>
                <a:gd name="T39" fmla="*/ 144 h 309"/>
                <a:gd name="T40" fmla="*/ 15 w 342"/>
                <a:gd name="T41" fmla="*/ 173 h 309"/>
                <a:gd name="T42" fmla="*/ 12 w 342"/>
                <a:gd name="T43" fmla="*/ 202 h 309"/>
                <a:gd name="T44" fmla="*/ 16 w 342"/>
                <a:gd name="T45" fmla="*/ 237 h 309"/>
                <a:gd name="T46" fmla="*/ 25 w 342"/>
                <a:gd name="T47" fmla="*/ 270 h 309"/>
                <a:gd name="T48" fmla="*/ 41 w 342"/>
                <a:gd name="T49" fmla="*/ 302 h 309"/>
                <a:gd name="T50" fmla="*/ 41 w 342"/>
                <a:gd name="T51" fmla="*/ 302 h 309"/>
                <a:gd name="T52" fmla="*/ 31 w 342"/>
                <a:gd name="T53" fmla="*/ 309 h 309"/>
                <a:gd name="T54" fmla="*/ 14 w 342"/>
                <a:gd name="T55" fmla="*/ 275 h 309"/>
                <a:gd name="T56" fmla="*/ 4 w 342"/>
                <a:gd name="T57" fmla="*/ 238 h 309"/>
                <a:gd name="T58" fmla="*/ 0 w 342"/>
                <a:gd name="T59" fmla="*/ 202 h 309"/>
                <a:gd name="T60" fmla="*/ 3 w 342"/>
                <a:gd name="T61" fmla="*/ 172 h 309"/>
                <a:gd name="T62" fmla="*/ 10 w 342"/>
                <a:gd name="T63" fmla="*/ 140 h 309"/>
                <a:gd name="T64" fmla="*/ 21 w 342"/>
                <a:gd name="T65" fmla="*/ 111 h 309"/>
                <a:gd name="T66" fmla="*/ 38 w 342"/>
                <a:gd name="T67" fmla="*/ 84 h 309"/>
                <a:gd name="T68" fmla="*/ 59 w 342"/>
                <a:gd name="T69" fmla="*/ 59 h 309"/>
                <a:gd name="T70" fmla="*/ 84 w 342"/>
                <a:gd name="T71" fmla="*/ 38 h 309"/>
                <a:gd name="T72" fmla="*/ 110 w 342"/>
                <a:gd name="T73" fmla="*/ 21 h 309"/>
                <a:gd name="T74" fmla="*/ 139 w 342"/>
                <a:gd name="T75" fmla="*/ 9 h 309"/>
                <a:gd name="T76" fmla="*/ 169 w 342"/>
                <a:gd name="T77" fmla="*/ 3 h 309"/>
                <a:gd name="T78" fmla="*/ 201 w 342"/>
                <a:gd name="T7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309">
                  <a:moveTo>
                    <a:pt x="201" y="0"/>
                  </a:moveTo>
                  <a:lnTo>
                    <a:pt x="231" y="3"/>
                  </a:lnTo>
                  <a:lnTo>
                    <a:pt x="261" y="9"/>
                  </a:lnTo>
                  <a:lnTo>
                    <a:pt x="290" y="21"/>
                  </a:lnTo>
                  <a:lnTo>
                    <a:pt x="317" y="38"/>
                  </a:lnTo>
                  <a:lnTo>
                    <a:pt x="342" y="59"/>
                  </a:lnTo>
                  <a:lnTo>
                    <a:pt x="333" y="68"/>
                  </a:lnTo>
                  <a:lnTo>
                    <a:pt x="309" y="47"/>
                  </a:lnTo>
                  <a:lnTo>
                    <a:pt x="284" y="33"/>
                  </a:lnTo>
                  <a:lnTo>
                    <a:pt x="257" y="21"/>
                  </a:lnTo>
                  <a:lnTo>
                    <a:pt x="229" y="14"/>
                  </a:lnTo>
                  <a:lnTo>
                    <a:pt x="201" y="12"/>
                  </a:lnTo>
                  <a:lnTo>
                    <a:pt x="172" y="14"/>
                  </a:lnTo>
                  <a:lnTo>
                    <a:pt x="143" y="21"/>
                  </a:lnTo>
                  <a:lnTo>
                    <a:pt x="117" y="33"/>
                  </a:lnTo>
                  <a:lnTo>
                    <a:pt x="91" y="47"/>
                  </a:lnTo>
                  <a:lnTo>
                    <a:pt x="67" y="68"/>
                  </a:lnTo>
                  <a:lnTo>
                    <a:pt x="48" y="92"/>
                  </a:lnTo>
                  <a:lnTo>
                    <a:pt x="33" y="117"/>
                  </a:lnTo>
                  <a:lnTo>
                    <a:pt x="21" y="144"/>
                  </a:lnTo>
                  <a:lnTo>
                    <a:pt x="15" y="173"/>
                  </a:lnTo>
                  <a:lnTo>
                    <a:pt x="12" y="202"/>
                  </a:lnTo>
                  <a:lnTo>
                    <a:pt x="16" y="237"/>
                  </a:lnTo>
                  <a:lnTo>
                    <a:pt x="25" y="270"/>
                  </a:lnTo>
                  <a:lnTo>
                    <a:pt x="41" y="302"/>
                  </a:lnTo>
                  <a:lnTo>
                    <a:pt x="41" y="302"/>
                  </a:lnTo>
                  <a:lnTo>
                    <a:pt x="31" y="309"/>
                  </a:lnTo>
                  <a:lnTo>
                    <a:pt x="14" y="275"/>
                  </a:lnTo>
                  <a:lnTo>
                    <a:pt x="4" y="238"/>
                  </a:lnTo>
                  <a:lnTo>
                    <a:pt x="0" y="202"/>
                  </a:lnTo>
                  <a:lnTo>
                    <a:pt x="3" y="172"/>
                  </a:lnTo>
                  <a:lnTo>
                    <a:pt x="10" y="140"/>
                  </a:lnTo>
                  <a:lnTo>
                    <a:pt x="21" y="111"/>
                  </a:lnTo>
                  <a:lnTo>
                    <a:pt x="38" y="84"/>
                  </a:lnTo>
                  <a:lnTo>
                    <a:pt x="59" y="59"/>
                  </a:lnTo>
                  <a:lnTo>
                    <a:pt x="84" y="38"/>
                  </a:lnTo>
                  <a:lnTo>
                    <a:pt x="110" y="21"/>
                  </a:lnTo>
                  <a:lnTo>
                    <a:pt x="139" y="9"/>
                  </a:lnTo>
                  <a:lnTo>
                    <a:pt x="169"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193">
              <a:extLst>
                <a:ext uri="{FF2B5EF4-FFF2-40B4-BE49-F238E27FC236}">
                  <a16:creationId xmlns:a16="http://schemas.microsoft.com/office/drawing/2014/main" id="{380DE25C-9F84-E9F8-BEF5-84EAE684D172}"/>
                </a:ext>
              </a:extLst>
            </p:cNvPr>
            <p:cNvSpPr>
              <a:spLocks/>
            </p:cNvSpPr>
            <p:nvPr/>
          </p:nvSpPr>
          <p:spPr bwMode="auto">
            <a:xfrm>
              <a:off x="15667105" y="5797547"/>
              <a:ext cx="87313" cy="87313"/>
            </a:xfrm>
            <a:custGeom>
              <a:avLst/>
              <a:gdLst>
                <a:gd name="T0" fmla="*/ 42 w 55"/>
                <a:gd name="T1" fmla="*/ 0 h 55"/>
                <a:gd name="T2" fmla="*/ 55 w 55"/>
                <a:gd name="T3" fmla="*/ 0 h 55"/>
                <a:gd name="T4" fmla="*/ 55 w 55"/>
                <a:gd name="T5" fmla="*/ 55 h 55"/>
                <a:gd name="T6" fmla="*/ 0 w 55"/>
                <a:gd name="T7" fmla="*/ 55 h 55"/>
                <a:gd name="T8" fmla="*/ 0 w 55"/>
                <a:gd name="T9" fmla="*/ 42 h 55"/>
                <a:gd name="T10" fmla="*/ 42 w 55"/>
                <a:gd name="T11" fmla="*/ 42 h 55"/>
                <a:gd name="T12" fmla="*/ 42 w 55"/>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5" h="55">
                  <a:moveTo>
                    <a:pt x="42" y="0"/>
                  </a:moveTo>
                  <a:lnTo>
                    <a:pt x="55" y="0"/>
                  </a:lnTo>
                  <a:lnTo>
                    <a:pt x="55" y="55"/>
                  </a:lnTo>
                  <a:lnTo>
                    <a:pt x="0" y="55"/>
                  </a:lnTo>
                  <a:lnTo>
                    <a:pt x="0" y="42"/>
                  </a:lnTo>
                  <a:lnTo>
                    <a:pt x="42" y="42"/>
                  </a:lnTo>
                  <a:lnTo>
                    <a:pt x="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194">
              <a:extLst>
                <a:ext uri="{FF2B5EF4-FFF2-40B4-BE49-F238E27FC236}">
                  <a16:creationId xmlns:a16="http://schemas.microsoft.com/office/drawing/2014/main" id="{590572AA-647A-F261-F7E8-1DE37EA7AFCA}"/>
                </a:ext>
              </a:extLst>
            </p:cNvPr>
            <p:cNvSpPr>
              <a:spLocks/>
            </p:cNvSpPr>
            <p:nvPr/>
          </p:nvSpPr>
          <p:spPr bwMode="auto">
            <a:xfrm>
              <a:off x="15306748" y="5916608"/>
              <a:ext cx="539752" cy="492124"/>
            </a:xfrm>
            <a:custGeom>
              <a:avLst/>
              <a:gdLst>
                <a:gd name="T0" fmla="*/ 310 w 340"/>
                <a:gd name="T1" fmla="*/ 0 h 310"/>
                <a:gd name="T2" fmla="*/ 327 w 340"/>
                <a:gd name="T3" fmla="*/ 34 h 310"/>
                <a:gd name="T4" fmla="*/ 337 w 340"/>
                <a:gd name="T5" fmla="*/ 71 h 310"/>
                <a:gd name="T6" fmla="*/ 340 w 340"/>
                <a:gd name="T7" fmla="*/ 109 h 310"/>
                <a:gd name="T8" fmla="*/ 339 w 340"/>
                <a:gd name="T9" fmla="*/ 139 h 310"/>
                <a:gd name="T10" fmla="*/ 331 w 340"/>
                <a:gd name="T11" fmla="*/ 169 h 310"/>
                <a:gd name="T12" fmla="*/ 319 w 340"/>
                <a:gd name="T13" fmla="*/ 198 h 310"/>
                <a:gd name="T14" fmla="*/ 303 w 340"/>
                <a:gd name="T15" fmla="*/ 225 h 310"/>
                <a:gd name="T16" fmla="*/ 282 w 340"/>
                <a:gd name="T17" fmla="*/ 250 h 310"/>
                <a:gd name="T18" fmla="*/ 257 w 340"/>
                <a:gd name="T19" fmla="*/ 272 h 310"/>
                <a:gd name="T20" fmla="*/ 230 w 340"/>
                <a:gd name="T21" fmla="*/ 288 h 310"/>
                <a:gd name="T22" fmla="*/ 201 w 340"/>
                <a:gd name="T23" fmla="*/ 300 h 310"/>
                <a:gd name="T24" fmla="*/ 171 w 340"/>
                <a:gd name="T25" fmla="*/ 308 h 310"/>
                <a:gd name="T26" fmla="*/ 141 w 340"/>
                <a:gd name="T27" fmla="*/ 310 h 310"/>
                <a:gd name="T28" fmla="*/ 110 w 340"/>
                <a:gd name="T29" fmla="*/ 308 h 310"/>
                <a:gd name="T30" fmla="*/ 79 w 340"/>
                <a:gd name="T31" fmla="*/ 300 h 310"/>
                <a:gd name="T32" fmla="*/ 51 w 340"/>
                <a:gd name="T33" fmla="*/ 288 h 310"/>
                <a:gd name="T34" fmla="*/ 25 w 340"/>
                <a:gd name="T35" fmla="*/ 272 h 310"/>
                <a:gd name="T36" fmla="*/ 0 w 340"/>
                <a:gd name="T37" fmla="*/ 250 h 310"/>
                <a:gd name="T38" fmla="*/ 8 w 340"/>
                <a:gd name="T39" fmla="*/ 242 h 310"/>
                <a:gd name="T40" fmla="*/ 31 w 340"/>
                <a:gd name="T41" fmla="*/ 262 h 310"/>
                <a:gd name="T42" fmla="*/ 57 w 340"/>
                <a:gd name="T43" fmla="*/ 278 h 310"/>
                <a:gd name="T44" fmla="*/ 83 w 340"/>
                <a:gd name="T45" fmla="*/ 289 h 310"/>
                <a:gd name="T46" fmla="*/ 112 w 340"/>
                <a:gd name="T47" fmla="*/ 296 h 310"/>
                <a:gd name="T48" fmla="*/ 141 w 340"/>
                <a:gd name="T49" fmla="*/ 297 h 310"/>
                <a:gd name="T50" fmla="*/ 170 w 340"/>
                <a:gd name="T51" fmla="*/ 296 h 310"/>
                <a:gd name="T52" fmla="*/ 197 w 340"/>
                <a:gd name="T53" fmla="*/ 288 h 310"/>
                <a:gd name="T54" fmla="*/ 225 w 340"/>
                <a:gd name="T55" fmla="*/ 278 h 310"/>
                <a:gd name="T56" fmla="*/ 250 w 340"/>
                <a:gd name="T57" fmla="*/ 262 h 310"/>
                <a:gd name="T58" fmla="*/ 273 w 340"/>
                <a:gd name="T59" fmla="*/ 242 h 310"/>
                <a:gd name="T60" fmla="*/ 293 w 340"/>
                <a:gd name="T61" fmla="*/ 219 h 310"/>
                <a:gd name="T62" fmla="*/ 309 w 340"/>
                <a:gd name="T63" fmla="*/ 192 h 310"/>
                <a:gd name="T64" fmla="*/ 319 w 340"/>
                <a:gd name="T65" fmla="*/ 165 h 310"/>
                <a:gd name="T66" fmla="*/ 326 w 340"/>
                <a:gd name="T67" fmla="*/ 137 h 310"/>
                <a:gd name="T68" fmla="*/ 328 w 340"/>
                <a:gd name="T69" fmla="*/ 109 h 310"/>
                <a:gd name="T70" fmla="*/ 326 w 340"/>
                <a:gd name="T71" fmla="*/ 73 h 310"/>
                <a:gd name="T72" fmla="*/ 315 w 340"/>
                <a:gd name="T73" fmla="*/ 39 h 310"/>
                <a:gd name="T74" fmla="*/ 299 w 340"/>
                <a:gd name="T75" fmla="*/ 7 h 310"/>
                <a:gd name="T76" fmla="*/ 299 w 340"/>
                <a:gd name="T77" fmla="*/ 7 h 310"/>
                <a:gd name="T78" fmla="*/ 310 w 340"/>
                <a:gd name="T79"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310">
                  <a:moveTo>
                    <a:pt x="310" y="0"/>
                  </a:moveTo>
                  <a:lnTo>
                    <a:pt x="327" y="34"/>
                  </a:lnTo>
                  <a:lnTo>
                    <a:pt x="337" y="71"/>
                  </a:lnTo>
                  <a:lnTo>
                    <a:pt x="340" y="109"/>
                  </a:lnTo>
                  <a:lnTo>
                    <a:pt x="339" y="139"/>
                  </a:lnTo>
                  <a:lnTo>
                    <a:pt x="331" y="169"/>
                  </a:lnTo>
                  <a:lnTo>
                    <a:pt x="319" y="198"/>
                  </a:lnTo>
                  <a:lnTo>
                    <a:pt x="303" y="225"/>
                  </a:lnTo>
                  <a:lnTo>
                    <a:pt x="282" y="250"/>
                  </a:lnTo>
                  <a:lnTo>
                    <a:pt x="257" y="272"/>
                  </a:lnTo>
                  <a:lnTo>
                    <a:pt x="230" y="288"/>
                  </a:lnTo>
                  <a:lnTo>
                    <a:pt x="201" y="300"/>
                  </a:lnTo>
                  <a:lnTo>
                    <a:pt x="171" y="308"/>
                  </a:lnTo>
                  <a:lnTo>
                    <a:pt x="141" y="310"/>
                  </a:lnTo>
                  <a:lnTo>
                    <a:pt x="110" y="308"/>
                  </a:lnTo>
                  <a:lnTo>
                    <a:pt x="79" y="300"/>
                  </a:lnTo>
                  <a:lnTo>
                    <a:pt x="51" y="288"/>
                  </a:lnTo>
                  <a:lnTo>
                    <a:pt x="25" y="272"/>
                  </a:lnTo>
                  <a:lnTo>
                    <a:pt x="0" y="250"/>
                  </a:lnTo>
                  <a:lnTo>
                    <a:pt x="8" y="242"/>
                  </a:lnTo>
                  <a:lnTo>
                    <a:pt x="31" y="262"/>
                  </a:lnTo>
                  <a:lnTo>
                    <a:pt x="57" y="278"/>
                  </a:lnTo>
                  <a:lnTo>
                    <a:pt x="83" y="289"/>
                  </a:lnTo>
                  <a:lnTo>
                    <a:pt x="112" y="296"/>
                  </a:lnTo>
                  <a:lnTo>
                    <a:pt x="141" y="297"/>
                  </a:lnTo>
                  <a:lnTo>
                    <a:pt x="170" y="296"/>
                  </a:lnTo>
                  <a:lnTo>
                    <a:pt x="197" y="288"/>
                  </a:lnTo>
                  <a:lnTo>
                    <a:pt x="225" y="278"/>
                  </a:lnTo>
                  <a:lnTo>
                    <a:pt x="250" y="262"/>
                  </a:lnTo>
                  <a:lnTo>
                    <a:pt x="273" y="242"/>
                  </a:lnTo>
                  <a:lnTo>
                    <a:pt x="293" y="219"/>
                  </a:lnTo>
                  <a:lnTo>
                    <a:pt x="309" y="192"/>
                  </a:lnTo>
                  <a:lnTo>
                    <a:pt x="319" y="165"/>
                  </a:lnTo>
                  <a:lnTo>
                    <a:pt x="326" y="137"/>
                  </a:lnTo>
                  <a:lnTo>
                    <a:pt x="328" y="109"/>
                  </a:lnTo>
                  <a:lnTo>
                    <a:pt x="326" y="73"/>
                  </a:lnTo>
                  <a:lnTo>
                    <a:pt x="315" y="39"/>
                  </a:lnTo>
                  <a:lnTo>
                    <a:pt x="299" y="7"/>
                  </a:lnTo>
                  <a:lnTo>
                    <a:pt x="299" y="7"/>
                  </a:lnTo>
                  <a:lnTo>
                    <a:pt x="3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195">
              <a:extLst>
                <a:ext uri="{FF2B5EF4-FFF2-40B4-BE49-F238E27FC236}">
                  <a16:creationId xmlns:a16="http://schemas.microsoft.com/office/drawing/2014/main" id="{1FB328EE-1AC6-C902-C454-51E8FA893602}"/>
                </a:ext>
              </a:extLst>
            </p:cNvPr>
            <p:cNvSpPr>
              <a:spLocks/>
            </p:cNvSpPr>
            <p:nvPr/>
          </p:nvSpPr>
          <p:spPr bwMode="auto">
            <a:xfrm>
              <a:off x="15303500" y="6292852"/>
              <a:ext cx="85725" cy="87313"/>
            </a:xfrm>
            <a:custGeom>
              <a:avLst/>
              <a:gdLst>
                <a:gd name="T0" fmla="*/ 0 w 54"/>
                <a:gd name="T1" fmla="*/ 0 h 55"/>
                <a:gd name="T2" fmla="*/ 54 w 54"/>
                <a:gd name="T3" fmla="*/ 0 h 55"/>
                <a:gd name="T4" fmla="*/ 54 w 54"/>
                <a:gd name="T5" fmla="*/ 12 h 55"/>
                <a:gd name="T6" fmla="*/ 12 w 54"/>
                <a:gd name="T7" fmla="*/ 12 h 55"/>
                <a:gd name="T8" fmla="*/ 12 w 54"/>
                <a:gd name="T9" fmla="*/ 55 h 55"/>
                <a:gd name="T10" fmla="*/ 0 w 54"/>
                <a:gd name="T11" fmla="*/ 55 h 55"/>
                <a:gd name="T12" fmla="*/ 0 w 54"/>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4" h="55">
                  <a:moveTo>
                    <a:pt x="0" y="0"/>
                  </a:moveTo>
                  <a:lnTo>
                    <a:pt x="54" y="0"/>
                  </a:lnTo>
                  <a:lnTo>
                    <a:pt x="54" y="12"/>
                  </a:lnTo>
                  <a:lnTo>
                    <a:pt x="12" y="12"/>
                  </a:lnTo>
                  <a:lnTo>
                    <a:pt x="12" y="55"/>
                  </a:lnTo>
                  <a:lnTo>
                    <a:pt x="0" y="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 name="Grupa 34">
            <a:extLst>
              <a:ext uri="{FF2B5EF4-FFF2-40B4-BE49-F238E27FC236}">
                <a16:creationId xmlns:a16="http://schemas.microsoft.com/office/drawing/2014/main" id="{33E949A4-9109-C027-8D20-E22BCA3BC887}"/>
              </a:ext>
            </a:extLst>
          </p:cNvPr>
          <p:cNvGrpSpPr/>
          <p:nvPr/>
        </p:nvGrpSpPr>
        <p:grpSpPr>
          <a:xfrm>
            <a:off x="337516" y="3126504"/>
            <a:ext cx="430907" cy="374498"/>
            <a:chOff x="4128703" y="1544239"/>
            <a:chExt cx="527067" cy="475296"/>
          </a:xfrm>
          <a:solidFill>
            <a:srgbClr val="DA2038"/>
          </a:solidFill>
        </p:grpSpPr>
        <p:sp>
          <p:nvSpPr>
            <p:cNvPr id="36" name="Freeform 502">
              <a:extLst>
                <a:ext uri="{FF2B5EF4-FFF2-40B4-BE49-F238E27FC236}">
                  <a16:creationId xmlns:a16="http://schemas.microsoft.com/office/drawing/2014/main" id="{9503318E-AF8F-10DC-283D-2CAFFC94EB18}"/>
                </a:ext>
              </a:extLst>
            </p:cNvPr>
            <p:cNvSpPr>
              <a:spLocks/>
            </p:cNvSpPr>
            <p:nvPr/>
          </p:nvSpPr>
          <p:spPr bwMode="auto">
            <a:xfrm>
              <a:off x="4128705" y="1652430"/>
              <a:ext cx="428121" cy="367105"/>
            </a:xfrm>
            <a:custGeom>
              <a:avLst/>
              <a:gdLst>
                <a:gd name="T0" fmla="*/ 10 w 463"/>
                <a:gd name="T1" fmla="*/ 0 h 397"/>
                <a:gd name="T2" fmla="*/ 453 w 463"/>
                <a:gd name="T3" fmla="*/ 0 h 397"/>
                <a:gd name="T4" fmla="*/ 458 w 463"/>
                <a:gd name="T5" fmla="*/ 2 h 397"/>
                <a:gd name="T6" fmla="*/ 461 w 463"/>
                <a:gd name="T7" fmla="*/ 3 h 397"/>
                <a:gd name="T8" fmla="*/ 462 w 463"/>
                <a:gd name="T9" fmla="*/ 6 h 397"/>
                <a:gd name="T10" fmla="*/ 463 w 463"/>
                <a:gd name="T11" fmla="*/ 10 h 397"/>
                <a:gd name="T12" fmla="*/ 463 w 463"/>
                <a:gd name="T13" fmla="*/ 64 h 397"/>
                <a:gd name="T14" fmla="*/ 444 w 463"/>
                <a:gd name="T15" fmla="*/ 64 h 397"/>
                <a:gd name="T16" fmla="*/ 444 w 463"/>
                <a:gd name="T17" fmla="*/ 20 h 397"/>
                <a:gd name="T18" fmla="*/ 20 w 463"/>
                <a:gd name="T19" fmla="*/ 20 h 397"/>
                <a:gd name="T20" fmla="*/ 20 w 463"/>
                <a:gd name="T21" fmla="*/ 377 h 397"/>
                <a:gd name="T22" fmla="*/ 444 w 463"/>
                <a:gd name="T23" fmla="*/ 377 h 397"/>
                <a:gd name="T24" fmla="*/ 444 w 463"/>
                <a:gd name="T25" fmla="*/ 339 h 397"/>
                <a:gd name="T26" fmla="*/ 463 w 463"/>
                <a:gd name="T27" fmla="*/ 339 h 397"/>
                <a:gd name="T28" fmla="*/ 463 w 463"/>
                <a:gd name="T29" fmla="*/ 387 h 397"/>
                <a:gd name="T30" fmla="*/ 462 w 463"/>
                <a:gd name="T31" fmla="*/ 391 h 397"/>
                <a:gd name="T32" fmla="*/ 461 w 463"/>
                <a:gd name="T33" fmla="*/ 394 h 397"/>
                <a:gd name="T34" fmla="*/ 458 w 463"/>
                <a:gd name="T35" fmla="*/ 395 h 397"/>
                <a:gd name="T36" fmla="*/ 453 w 463"/>
                <a:gd name="T37" fmla="*/ 397 h 397"/>
                <a:gd name="T38" fmla="*/ 10 w 463"/>
                <a:gd name="T39" fmla="*/ 397 h 397"/>
                <a:gd name="T40" fmla="*/ 6 w 463"/>
                <a:gd name="T41" fmla="*/ 395 h 397"/>
                <a:gd name="T42" fmla="*/ 3 w 463"/>
                <a:gd name="T43" fmla="*/ 394 h 397"/>
                <a:gd name="T44" fmla="*/ 0 w 463"/>
                <a:gd name="T45" fmla="*/ 391 h 397"/>
                <a:gd name="T46" fmla="*/ 0 w 463"/>
                <a:gd name="T47" fmla="*/ 387 h 397"/>
                <a:gd name="T48" fmla="*/ 0 w 463"/>
                <a:gd name="T49" fmla="*/ 10 h 397"/>
                <a:gd name="T50" fmla="*/ 0 w 463"/>
                <a:gd name="T51" fmla="*/ 6 h 397"/>
                <a:gd name="T52" fmla="*/ 3 w 463"/>
                <a:gd name="T53" fmla="*/ 3 h 397"/>
                <a:gd name="T54" fmla="*/ 6 w 463"/>
                <a:gd name="T55" fmla="*/ 2 h 397"/>
                <a:gd name="T56" fmla="*/ 10 w 463"/>
                <a:gd name="T5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3" h="397">
                  <a:moveTo>
                    <a:pt x="10" y="0"/>
                  </a:moveTo>
                  <a:lnTo>
                    <a:pt x="453" y="0"/>
                  </a:lnTo>
                  <a:lnTo>
                    <a:pt x="458" y="2"/>
                  </a:lnTo>
                  <a:lnTo>
                    <a:pt x="461" y="3"/>
                  </a:lnTo>
                  <a:lnTo>
                    <a:pt x="462" y="6"/>
                  </a:lnTo>
                  <a:lnTo>
                    <a:pt x="463" y="10"/>
                  </a:lnTo>
                  <a:lnTo>
                    <a:pt x="463" y="64"/>
                  </a:lnTo>
                  <a:lnTo>
                    <a:pt x="444" y="64"/>
                  </a:lnTo>
                  <a:lnTo>
                    <a:pt x="444" y="20"/>
                  </a:lnTo>
                  <a:lnTo>
                    <a:pt x="20" y="20"/>
                  </a:lnTo>
                  <a:lnTo>
                    <a:pt x="20" y="377"/>
                  </a:lnTo>
                  <a:lnTo>
                    <a:pt x="444" y="377"/>
                  </a:lnTo>
                  <a:lnTo>
                    <a:pt x="444" y="339"/>
                  </a:lnTo>
                  <a:lnTo>
                    <a:pt x="463" y="339"/>
                  </a:lnTo>
                  <a:lnTo>
                    <a:pt x="463" y="387"/>
                  </a:lnTo>
                  <a:lnTo>
                    <a:pt x="462" y="391"/>
                  </a:lnTo>
                  <a:lnTo>
                    <a:pt x="461" y="394"/>
                  </a:lnTo>
                  <a:lnTo>
                    <a:pt x="458" y="395"/>
                  </a:lnTo>
                  <a:lnTo>
                    <a:pt x="453" y="397"/>
                  </a:lnTo>
                  <a:lnTo>
                    <a:pt x="10" y="397"/>
                  </a:lnTo>
                  <a:lnTo>
                    <a:pt x="6" y="395"/>
                  </a:lnTo>
                  <a:lnTo>
                    <a:pt x="3" y="394"/>
                  </a:lnTo>
                  <a:lnTo>
                    <a:pt x="0" y="391"/>
                  </a:lnTo>
                  <a:lnTo>
                    <a:pt x="0" y="387"/>
                  </a:lnTo>
                  <a:lnTo>
                    <a:pt x="0" y="10"/>
                  </a:lnTo>
                  <a:lnTo>
                    <a:pt x="0" y="6"/>
                  </a:lnTo>
                  <a:lnTo>
                    <a:pt x="3" y="3"/>
                  </a:lnTo>
                  <a:lnTo>
                    <a:pt x="6" y="2"/>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503">
              <a:extLst>
                <a:ext uri="{FF2B5EF4-FFF2-40B4-BE49-F238E27FC236}">
                  <a16:creationId xmlns:a16="http://schemas.microsoft.com/office/drawing/2014/main" id="{51783BFB-DC8B-D105-20BB-C2812CA32AA1}"/>
                </a:ext>
              </a:extLst>
            </p:cNvPr>
            <p:cNvSpPr>
              <a:spLocks noEditPoints="1"/>
            </p:cNvSpPr>
            <p:nvPr/>
          </p:nvSpPr>
          <p:spPr bwMode="auto">
            <a:xfrm>
              <a:off x="4128703" y="1579379"/>
              <a:ext cx="428121" cy="91544"/>
            </a:xfrm>
            <a:custGeom>
              <a:avLst/>
              <a:gdLst>
                <a:gd name="T0" fmla="*/ 27 w 463"/>
                <a:gd name="T1" fmla="*/ 20 h 99"/>
                <a:gd name="T2" fmla="*/ 23 w 463"/>
                <a:gd name="T3" fmla="*/ 21 h 99"/>
                <a:gd name="T4" fmla="*/ 22 w 463"/>
                <a:gd name="T5" fmla="*/ 23 h 99"/>
                <a:gd name="T6" fmla="*/ 20 w 463"/>
                <a:gd name="T7" fmla="*/ 26 h 99"/>
                <a:gd name="T8" fmla="*/ 20 w 463"/>
                <a:gd name="T9" fmla="*/ 79 h 99"/>
                <a:gd name="T10" fmla="*/ 444 w 463"/>
                <a:gd name="T11" fmla="*/ 79 h 99"/>
                <a:gd name="T12" fmla="*/ 444 w 463"/>
                <a:gd name="T13" fmla="*/ 26 h 99"/>
                <a:gd name="T14" fmla="*/ 442 w 463"/>
                <a:gd name="T15" fmla="*/ 23 h 99"/>
                <a:gd name="T16" fmla="*/ 439 w 463"/>
                <a:gd name="T17" fmla="*/ 21 h 99"/>
                <a:gd name="T18" fmla="*/ 436 w 463"/>
                <a:gd name="T19" fmla="*/ 20 h 99"/>
                <a:gd name="T20" fmla="*/ 27 w 463"/>
                <a:gd name="T21" fmla="*/ 20 h 99"/>
                <a:gd name="T22" fmla="*/ 27 w 463"/>
                <a:gd name="T23" fmla="*/ 0 h 99"/>
                <a:gd name="T24" fmla="*/ 436 w 463"/>
                <a:gd name="T25" fmla="*/ 0 h 99"/>
                <a:gd name="T26" fmla="*/ 451 w 463"/>
                <a:gd name="T27" fmla="*/ 3 h 99"/>
                <a:gd name="T28" fmla="*/ 459 w 463"/>
                <a:gd name="T29" fmla="*/ 13 h 99"/>
                <a:gd name="T30" fmla="*/ 463 w 463"/>
                <a:gd name="T31" fmla="*/ 26 h 99"/>
                <a:gd name="T32" fmla="*/ 463 w 463"/>
                <a:gd name="T33" fmla="*/ 99 h 99"/>
                <a:gd name="T34" fmla="*/ 0 w 463"/>
                <a:gd name="T35" fmla="*/ 99 h 99"/>
                <a:gd name="T36" fmla="*/ 0 w 463"/>
                <a:gd name="T37" fmla="*/ 26 h 99"/>
                <a:gd name="T38" fmla="*/ 3 w 463"/>
                <a:gd name="T39" fmla="*/ 13 h 99"/>
                <a:gd name="T40" fmla="*/ 13 w 463"/>
                <a:gd name="T41" fmla="*/ 3 h 99"/>
                <a:gd name="T42" fmla="*/ 27 w 463"/>
                <a:gd name="T4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3" h="99">
                  <a:moveTo>
                    <a:pt x="27" y="20"/>
                  </a:moveTo>
                  <a:lnTo>
                    <a:pt x="23" y="21"/>
                  </a:lnTo>
                  <a:lnTo>
                    <a:pt x="22" y="23"/>
                  </a:lnTo>
                  <a:lnTo>
                    <a:pt x="20" y="26"/>
                  </a:lnTo>
                  <a:lnTo>
                    <a:pt x="20" y="79"/>
                  </a:lnTo>
                  <a:lnTo>
                    <a:pt x="444" y="79"/>
                  </a:lnTo>
                  <a:lnTo>
                    <a:pt x="444" y="26"/>
                  </a:lnTo>
                  <a:lnTo>
                    <a:pt x="442" y="23"/>
                  </a:lnTo>
                  <a:lnTo>
                    <a:pt x="439" y="21"/>
                  </a:lnTo>
                  <a:lnTo>
                    <a:pt x="436" y="20"/>
                  </a:lnTo>
                  <a:lnTo>
                    <a:pt x="27" y="20"/>
                  </a:lnTo>
                  <a:close/>
                  <a:moveTo>
                    <a:pt x="27" y="0"/>
                  </a:moveTo>
                  <a:lnTo>
                    <a:pt x="436" y="0"/>
                  </a:lnTo>
                  <a:lnTo>
                    <a:pt x="451" y="3"/>
                  </a:lnTo>
                  <a:lnTo>
                    <a:pt x="459" y="13"/>
                  </a:lnTo>
                  <a:lnTo>
                    <a:pt x="463" y="26"/>
                  </a:lnTo>
                  <a:lnTo>
                    <a:pt x="463" y="99"/>
                  </a:lnTo>
                  <a:lnTo>
                    <a:pt x="0" y="99"/>
                  </a:lnTo>
                  <a:lnTo>
                    <a:pt x="0" y="26"/>
                  </a:lnTo>
                  <a:lnTo>
                    <a:pt x="3" y="13"/>
                  </a:lnTo>
                  <a:lnTo>
                    <a:pt x="13" y="3"/>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504">
              <a:extLst>
                <a:ext uri="{FF2B5EF4-FFF2-40B4-BE49-F238E27FC236}">
                  <a16:creationId xmlns:a16="http://schemas.microsoft.com/office/drawing/2014/main" id="{80662102-44F5-B4AB-A501-33CF1E5541DF}"/>
                </a:ext>
              </a:extLst>
            </p:cNvPr>
            <p:cNvSpPr>
              <a:spLocks/>
            </p:cNvSpPr>
            <p:nvPr/>
          </p:nvSpPr>
          <p:spPr bwMode="auto">
            <a:xfrm>
              <a:off x="4185110" y="1544240"/>
              <a:ext cx="18494" cy="88770"/>
            </a:xfrm>
            <a:custGeom>
              <a:avLst/>
              <a:gdLst>
                <a:gd name="T0" fmla="*/ 10 w 20"/>
                <a:gd name="T1" fmla="*/ 0 h 96"/>
                <a:gd name="T2" fmla="*/ 14 w 20"/>
                <a:gd name="T3" fmla="*/ 0 h 96"/>
                <a:gd name="T4" fmla="*/ 17 w 20"/>
                <a:gd name="T5" fmla="*/ 3 h 96"/>
                <a:gd name="T6" fmla="*/ 19 w 20"/>
                <a:gd name="T7" fmla="*/ 6 h 96"/>
                <a:gd name="T8" fmla="*/ 20 w 20"/>
                <a:gd name="T9" fmla="*/ 10 h 96"/>
                <a:gd name="T10" fmla="*/ 20 w 20"/>
                <a:gd name="T11" fmla="*/ 86 h 96"/>
                <a:gd name="T12" fmla="*/ 19 w 20"/>
                <a:gd name="T13" fmla="*/ 89 h 96"/>
                <a:gd name="T14" fmla="*/ 17 w 20"/>
                <a:gd name="T15" fmla="*/ 93 h 96"/>
                <a:gd name="T16" fmla="*/ 14 w 20"/>
                <a:gd name="T17" fmla="*/ 95 h 96"/>
                <a:gd name="T18" fmla="*/ 10 w 20"/>
                <a:gd name="T19" fmla="*/ 96 h 96"/>
                <a:gd name="T20" fmla="*/ 6 w 20"/>
                <a:gd name="T21" fmla="*/ 95 h 96"/>
                <a:gd name="T22" fmla="*/ 3 w 20"/>
                <a:gd name="T23" fmla="*/ 93 h 96"/>
                <a:gd name="T24" fmla="*/ 0 w 20"/>
                <a:gd name="T25" fmla="*/ 89 h 96"/>
                <a:gd name="T26" fmla="*/ 0 w 20"/>
                <a:gd name="T27" fmla="*/ 86 h 96"/>
                <a:gd name="T28" fmla="*/ 0 w 20"/>
                <a:gd name="T29" fmla="*/ 10 h 96"/>
                <a:gd name="T30" fmla="*/ 0 w 20"/>
                <a:gd name="T31" fmla="*/ 6 h 96"/>
                <a:gd name="T32" fmla="*/ 3 w 20"/>
                <a:gd name="T33" fmla="*/ 3 h 96"/>
                <a:gd name="T34" fmla="*/ 6 w 20"/>
                <a:gd name="T35" fmla="*/ 0 h 96"/>
                <a:gd name="T36" fmla="*/ 10 w 20"/>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6">
                  <a:moveTo>
                    <a:pt x="10" y="0"/>
                  </a:moveTo>
                  <a:lnTo>
                    <a:pt x="14" y="0"/>
                  </a:lnTo>
                  <a:lnTo>
                    <a:pt x="17" y="3"/>
                  </a:lnTo>
                  <a:lnTo>
                    <a:pt x="19" y="6"/>
                  </a:lnTo>
                  <a:lnTo>
                    <a:pt x="20" y="10"/>
                  </a:lnTo>
                  <a:lnTo>
                    <a:pt x="20" y="86"/>
                  </a:lnTo>
                  <a:lnTo>
                    <a:pt x="19" y="89"/>
                  </a:lnTo>
                  <a:lnTo>
                    <a:pt x="17" y="93"/>
                  </a:lnTo>
                  <a:lnTo>
                    <a:pt x="14" y="95"/>
                  </a:lnTo>
                  <a:lnTo>
                    <a:pt x="10" y="96"/>
                  </a:lnTo>
                  <a:lnTo>
                    <a:pt x="6" y="95"/>
                  </a:lnTo>
                  <a:lnTo>
                    <a:pt x="3" y="93"/>
                  </a:lnTo>
                  <a:lnTo>
                    <a:pt x="0" y="89"/>
                  </a:lnTo>
                  <a:lnTo>
                    <a:pt x="0" y="86"/>
                  </a:lnTo>
                  <a:lnTo>
                    <a:pt x="0" y="10"/>
                  </a:lnTo>
                  <a:lnTo>
                    <a:pt x="0" y="6"/>
                  </a:lnTo>
                  <a:lnTo>
                    <a:pt x="3" y="3"/>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505">
              <a:extLst>
                <a:ext uri="{FF2B5EF4-FFF2-40B4-BE49-F238E27FC236}">
                  <a16:creationId xmlns:a16="http://schemas.microsoft.com/office/drawing/2014/main" id="{110E4001-922D-CCF5-98DF-4EE78AE0D091}"/>
                </a:ext>
              </a:extLst>
            </p:cNvPr>
            <p:cNvSpPr>
              <a:spLocks/>
            </p:cNvSpPr>
            <p:nvPr/>
          </p:nvSpPr>
          <p:spPr bwMode="auto">
            <a:xfrm>
              <a:off x="4282199" y="1544240"/>
              <a:ext cx="18494" cy="88770"/>
            </a:xfrm>
            <a:custGeom>
              <a:avLst/>
              <a:gdLst>
                <a:gd name="T0" fmla="*/ 10 w 20"/>
                <a:gd name="T1" fmla="*/ 0 h 96"/>
                <a:gd name="T2" fmla="*/ 14 w 20"/>
                <a:gd name="T3" fmla="*/ 0 h 96"/>
                <a:gd name="T4" fmla="*/ 17 w 20"/>
                <a:gd name="T5" fmla="*/ 3 h 96"/>
                <a:gd name="T6" fmla="*/ 20 w 20"/>
                <a:gd name="T7" fmla="*/ 6 h 96"/>
                <a:gd name="T8" fmla="*/ 20 w 20"/>
                <a:gd name="T9" fmla="*/ 10 h 96"/>
                <a:gd name="T10" fmla="*/ 20 w 20"/>
                <a:gd name="T11" fmla="*/ 86 h 96"/>
                <a:gd name="T12" fmla="*/ 20 w 20"/>
                <a:gd name="T13" fmla="*/ 89 h 96"/>
                <a:gd name="T14" fmla="*/ 17 w 20"/>
                <a:gd name="T15" fmla="*/ 93 h 96"/>
                <a:gd name="T16" fmla="*/ 14 w 20"/>
                <a:gd name="T17" fmla="*/ 95 h 96"/>
                <a:gd name="T18" fmla="*/ 10 w 20"/>
                <a:gd name="T19" fmla="*/ 96 h 96"/>
                <a:gd name="T20" fmla="*/ 6 w 20"/>
                <a:gd name="T21" fmla="*/ 95 h 96"/>
                <a:gd name="T22" fmla="*/ 3 w 20"/>
                <a:gd name="T23" fmla="*/ 93 h 96"/>
                <a:gd name="T24" fmla="*/ 0 w 20"/>
                <a:gd name="T25" fmla="*/ 89 h 96"/>
                <a:gd name="T26" fmla="*/ 0 w 20"/>
                <a:gd name="T27" fmla="*/ 86 h 96"/>
                <a:gd name="T28" fmla="*/ 0 w 20"/>
                <a:gd name="T29" fmla="*/ 10 h 96"/>
                <a:gd name="T30" fmla="*/ 0 w 20"/>
                <a:gd name="T31" fmla="*/ 6 h 96"/>
                <a:gd name="T32" fmla="*/ 3 w 20"/>
                <a:gd name="T33" fmla="*/ 3 h 96"/>
                <a:gd name="T34" fmla="*/ 6 w 20"/>
                <a:gd name="T35" fmla="*/ 0 h 96"/>
                <a:gd name="T36" fmla="*/ 10 w 20"/>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6">
                  <a:moveTo>
                    <a:pt x="10" y="0"/>
                  </a:moveTo>
                  <a:lnTo>
                    <a:pt x="14" y="0"/>
                  </a:lnTo>
                  <a:lnTo>
                    <a:pt x="17" y="3"/>
                  </a:lnTo>
                  <a:lnTo>
                    <a:pt x="20" y="6"/>
                  </a:lnTo>
                  <a:lnTo>
                    <a:pt x="20" y="10"/>
                  </a:lnTo>
                  <a:lnTo>
                    <a:pt x="20" y="86"/>
                  </a:lnTo>
                  <a:lnTo>
                    <a:pt x="20" y="89"/>
                  </a:lnTo>
                  <a:lnTo>
                    <a:pt x="17" y="93"/>
                  </a:lnTo>
                  <a:lnTo>
                    <a:pt x="14" y="95"/>
                  </a:lnTo>
                  <a:lnTo>
                    <a:pt x="10" y="96"/>
                  </a:lnTo>
                  <a:lnTo>
                    <a:pt x="6" y="95"/>
                  </a:lnTo>
                  <a:lnTo>
                    <a:pt x="3" y="93"/>
                  </a:lnTo>
                  <a:lnTo>
                    <a:pt x="0" y="89"/>
                  </a:lnTo>
                  <a:lnTo>
                    <a:pt x="0" y="86"/>
                  </a:lnTo>
                  <a:lnTo>
                    <a:pt x="0" y="10"/>
                  </a:lnTo>
                  <a:lnTo>
                    <a:pt x="0" y="6"/>
                  </a:lnTo>
                  <a:lnTo>
                    <a:pt x="3" y="3"/>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506">
              <a:extLst>
                <a:ext uri="{FF2B5EF4-FFF2-40B4-BE49-F238E27FC236}">
                  <a16:creationId xmlns:a16="http://schemas.microsoft.com/office/drawing/2014/main" id="{EFA6C014-FBAD-9651-B108-B5CE1C215476}"/>
                </a:ext>
              </a:extLst>
            </p:cNvPr>
            <p:cNvSpPr>
              <a:spLocks/>
            </p:cNvSpPr>
            <p:nvPr/>
          </p:nvSpPr>
          <p:spPr bwMode="auto">
            <a:xfrm>
              <a:off x="4385763" y="1544240"/>
              <a:ext cx="18494" cy="88770"/>
            </a:xfrm>
            <a:custGeom>
              <a:avLst/>
              <a:gdLst>
                <a:gd name="T0" fmla="*/ 10 w 20"/>
                <a:gd name="T1" fmla="*/ 0 h 96"/>
                <a:gd name="T2" fmla="*/ 14 w 20"/>
                <a:gd name="T3" fmla="*/ 0 h 96"/>
                <a:gd name="T4" fmla="*/ 17 w 20"/>
                <a:gd name="T5" fmla="*/ 3 h 96"/>
                <a:gd name="T6" fmla="*/ 20 w 20"/>
                <a:gd name="T7" fmla="*/ 6 h 96"/>
                <a:gd name="T8" fmla="*/ 20 w 20"/>
                <a:gd name="T9" fmla="*/ 10 h 96"/>
                <a:gd name="T10" fmla="*/ 20 w 20"/>
                <a:gd name="T11" fmla="*/ 86 h 96"/>
                <a:gd name="T12" fmla="*/ 20 w 20"/>
                <a:gd name="T13" fmla="*/ 89 h 96"/>
                <a:gd name="T14" fmla="*/ 17 w 20"/>
                <a:gd name="T15" fmla="*/ 93 h 96"/>
                <a:gd name="T16" fmla="*/ 14 w 20"/>
                <a:gd name="T17" fmla="*/ 95 h 96"/>
                <a:gd name="T18" fmla="*/ 10 w 20"/>
                <a:gd name="T19" fmla="*/ 96 h 96"/>
                <a:gd name="T20" fmla="*/ 6 w 20"/>
                <a:gd name="T21" fmla="*/ 95 h 96"/>
                <a:gd name="T22" fmla="*/ 3 w 20"/>
                <a:gd name="T23" fmla="*/ 93 h 96"/>
                <a:gd name="T24" fmla="*/ 1 w 20"/>
                <a:gd name="T25" fmla="*/ 89 h 96"/>
                <a:gd name="T26" fmla="*/ 0 w 20"/>
                <a:gd name="T27" fmla="*/ 86 h 96"/>
                <a:gd name="T28" fmla="*/ 0 w 20"/>
                <a:gd name="T29" fmla="*/ 10 h 96"/>
                <a:gd name="T30" fmla="*/ 1 w 20"/>
                <a:gd name="T31" fmla="*/ 6 h 96"/>
                <a:gd name="T32" fmla="*/ 3 w 20"/>
                <a:gd name="T33" fmla="*/ 3 h 96"/>
                <a:gd name="T34" fmla="*/ 6 w 20"/>
                <a:gd name="T35" fmla="*/ 0 h 96"/>
                <a:gd name="T36" fmla="*/ 10 w 20"/>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6">
                  <a:moveTo>
                    <a:pt x="10" y="0"/>
                  </a:moveTo>
                  <a:lnTo>
                    <a:pt x="14" y="0"/>
                  </a:lnTo>
                  <a:lnTo>
                    <a:pt x="17" y="3"/>
                  </a:lnTo>
                  <a:lnTo>
                    <a:pt x="20" y="6"/>
                  </a:lnTo>
                  <a:lnTo>
                    <a:pt x="20" y="10"/>
                  </a:lnTo>
                  <a:lnTo>
                    <a:pt x="20" y="86"/>
                  </a:lnTo>
                  <a:lnTo>
                    <a:pt x="20" y="89"/>
                  </a:lnTo>
                  <a:lnTo>
                    <a:pt x="17" y="93"/>
                  </a:lnTo>
                  <a:lnTo>
                    <a:pt x="14" y="95"/>
                  </a:lnTo>
                  <a:lnTo>
                    <a:pt x="10" y="96"/>
                  </a:lnTo>
                  <a:lnTo>
                    <a:pt x="6" y="95"/>
                  </a:lnTo>
                  <a:lnTo>
                    <a:pt x="3" y="93"/>
                  </a:lnTo>
                  <a:lnTo>
                    <a:pt x="1" y="89"/>
                  </a:lnTo>
                  <a:lnTo>
                    <a:pt x="0" y="86"/>
                  </a:lnTo>
                  <a:lnTo>
                    <a:pt x="0" y="10"/>
                  </a:lnTo>
                  <a:lnTo>
                    <a:pt x="1" y="6"/>
                  </a:lnTo>
                  <a:lnTo>
                    <a:pt x="3" y="3"/>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507">
              <a:extLst>
                <a:ext uri="{FF2B5EF4-FFF2-40B4-BE49-F238E27FC236}">
                  <a16:creationId xmlns:a16="http://schemas.microsoft.com/office/drawing/2014/main" id="{AB9FA3FD-3098-507F-E919-E8343A334639}"/>
                </a:ext>
              </a:extLst>
            </p:cNvPr>
            <p:cNvSpPr>
              <a:spLocks/>
            </p:cNvSpPr>
            <p:nvPr/>
          </p:nvSpPr>
          <p:spPr bwMode="auto">
            <a:xfrm>
              <a:off x="4482852" y="1544239"/>
              <a:ext cx="17568" cy="88770"/>
            </a:xfrm>
            <a:custGeom>
              <a:avLst/>
              <a:gdLst>
                <a:gd name="T0" fmla="*/ 10 w 19"/>
                <a:gd name="T1" fmla="*/ 0 h 96"/>
                <a:gd name="T2" fmla="*/ 14 w 19"/>
                <a:gd name="T3" fmla="*/ 0 h 96"/>
                <a:gd name="T4" fmla="*/ 17 w 19"/>
                <a:gd name="T5" fmla="*/ 3 h 96"/>
                <a:gd name="T6" fmla="*/ 19 w 19"/>
                <a:gd name="T7" fmla="*/ 6 h 96"/>
                <a:gd name="T8" fmla="*/ 19 w 19"/>
                <a:gd name="T9" fmla="*/ 10 h 96"/>
                <a:gd name="T10" fmla="*/ 19 w 19"/>
                <a:gd name="T11" fmla="*/ 86 h 96"/>
                <a:gd name="T12" fmla="*/ 19 w 19"/>
                <a:gd name="T13" fmla="*/ 89 h 96"/>
                <a:gd name="T14" fmla="*/ 17 w 19"/>
                <a:gd name="T15" fmla="*/ 93 h 96"/>
                <a:gd name="T16" fmla="*/ 14 w 19"/>
                <a:gd name="T17" fmla="*/ 95 h 96"/>
                <a:gd name="T18" fmla="*/ 10 w 19"/>
                <a:gd name="T19" fmla="*/ 96 h 96"/>
                <a:gd name="T20" fmla="*/ 5 w 19"/>
                <a:gd name="T21" fmla="*/ 95 h 96"/>
                <a:gd name="T22" fmla="*/ 2 w 19"/>
                <a:gd name="T23" fmla="*/ 93 h 96"/>
                <a:gd name="T24" fmla="*/ 0 w 19"/>
                <a:gd name="T25" fmla="*/ 89 h 96"/>
                <a:gd name="T26" fmla="*/ 0 w 19"/>
                <a:gd name="T27" fmla="*/ 86 h 96"/>
                <a:gd name="T28" fmla="*/ 0 w 19"/>
                <a:gd name="T29" fmla="*/ 10 h 96"/>
                <a:gd name="T30" fmla="*/ 0 w 19"/>
                <a:gd name="T31" fmla="*/ 6 h 96"/>
                <a:gd name="T32" fmla="*/ 2 w 19"/>
                <a:gd name="T33" fmla="*/ 3 h 96"/>
                <a:gd name="T34" fmla="*/ 5 w 19"/>
                <a:gd name="T35" fmla="*/ 0 h 96"/>
                <a:gd name="T36" fmla="*/ 10 w 19"/>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96">
                  <a:moveTo>
                    <a:pt x="10" y="0"/>
                  </a:moveTo>
                  <a:lnTo>
                    <a:pt x="14" y="0"/>
                  </a:lnTo>
                  <a:lnTo>
                    <a:pt x="17" y="3"/>
                  </a:lnTo>
                  <a:lnTo>
                    <a:pt x="19" y="6"/>
                  </a:lnTo>
                  <a:lnTo>
                    <a:pt x="19" y="10"/>
                  </a:lnTo>
                  <a:lnTo>
                    <a:pt x="19" y="86"/>
                  </a:lnTo>
                  <a:lnTo>
                    <a:pt x="19" y="89"/>
                  </a:lnTo>
                  <a:lnTo>
                    <a:pt x="17" y="93"/>
                  </a:lnTo>
                  <a:lnTo>
                    <a:pt x="14" y="95"/>
                  </a:lnTo>
                  <a:lnTo>
                    <a:pt x="10" y="96"/>
                  </a:lnTo>
                  <a:lnTo>
                    <a:pt x="5" y="95"/>
                  </a:lnTo>
                  <a:lnTo>
                    <a:pt x="2" y="93"/>
                  </a:lnTo>
                  <a:lnTo>
                    <a:pt x="0" y="89"/>
                  </a:lnTo>
                  <a:lnTo>
                    <a:pt x="0" y="86"/>
                  </a:lnTo>
                  <a:lnTo>
                    <a:pt x="0" y="10"/>
                  </a:lnTo>
                  <a:lnTo>
                    <a:pt x="0" y="6"/>
                  </a:lnTo>
                  <a:lnTo>
                    <a:pt x="2" y="3"/>
                  </a:lnTo>
                  <a:lnTo>
                    <a:pt x="5"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509">
              <a:extLst>
                <a:ext uri="{FF2B5EF4-FFF2-40B4-BE49-F238E27FC236}">
                  <a16:creationId xmlns:a16="http://schemas.microsoft.com/office/drawing/2014/main" id="{0CAEB9AC-C389-E1BE-5703-7F46DDA6D215}"/>
                </a:ext>
              </a:extLst>
            </p:cNvPr>
            <p:cNvSpPr>
              <a:spLocks noEditPoints="1"/>
            </p:cNvSpPr>
            <p:nvPr/>
          </p:nvSpPr>
          <p:spPr bwMode="auto">
            <a:xfrm>
              <a:off x="4382994" y="1702358"/>
              <a:ext cx="272776" cy="272785"/>
            </a:xfrm>
            <a:custGeom>
              <a:avLst/>
              <a:gdLst>
                <a:gd name="T0" fmla="*/ 48 w 295"/>
                <a:gd name="T1" fmla="*/ 20 h 295"/>
                <a:gd name="T2" fmla="*/ 34 w 295"/>
                <a:gd name="T3" fmla="*/ 24 h 295"/>
                <a:gd name="T4" fmla="*/ 24 w 295"/>
                <a:gd name="T5" fmla="*/ 34 h 295"/>
                <a:gd name="T6" fmla="*/ 20 w 295"/>
                <a:gd name="T7" fmla="*/ 48 h 295"/>
                <a:gd name="T8" fmla="*/ 20 w 295"/>
                <a:gd name="T9" fmla="*/ 248 h 295"/>
                <a:gd name="T10" fmla="*/ 24 w 295"/>
                <a:gd name="T11" fmla="*/ 261 h 295"/>
                <a:gd name="T12" fmla="*/ 34 w 295"/>
                <a:gd name="T13" fmla="*/ 271 h 295"/>
                <a:gd name="T14" fmla="*/ 48 w 295"/>
                <a:gd name="T15" fmla="*/ 275 h 295"/>
                <a:gd name="T16" fmla="*/ 248 w 295"/>
                <a:gd name="T17" fmla="*/ 275 h 295"/>
                <a:gd name="T18" fmla="*/ 261 w 295"/>
                <a:gd name="T19" fmla="*/ 271 h 295"/>
                <a:gd name="T20" fmla="*/ 270 w 295"/>
                <a:gd name="T21" fmla="*/ 261 h 295"/>
                <a:gd name="T22" fmla="*/ 275 w 295"/>
                <a:gd name="T23" fmla="*/ 248 h 295"/>
                <a:gd name="T24" fmla="*/ 275 w 295"/>
                <a:gd name="T25" fmla="*/ 48 h 295"/>
                <a:gd name="T26" fmla="*/ 270 w 295"/>
                <a:gd name="T27" fmla="*/ 34 h 295"/>
                <a:gd name="T28" fmla="*/ 261 w 295"/>
                <a:gd name="T29" fmla="*/ 24 h 295"/>
                <a:gd name="T30" fmla="*/ 248 w 295"/>
                <a:gd name="T31" fmla="*/ 20 h 295"/>
                <a:gd name="T32" fmla="*/ 48 w 295"/>
                <a:gd name="T33" fmla="*/ 20 h 295"/>
                <a:gd name="T34" fmla="*/ 48 w 295"/>
                <a:gd name="T35" fmla="*/ 0 h 295"/>
                <a:gd name="T36" fmla="*/ 248 w 295"/>
                <a:gd name="T37" fmla="*/ 0 h 295"/>
                <a:gd name="T38" fmla="*/ 266 w 295"/>
                <a:gd name="T39" fmla="*/ 4 h 295"/>
                <a:gd name="T40" fmla="*/ 280 w 295"/>
                <a:gd name="T41" fmla="*/ 14 h 295"/>
                <a:gd name="T42" fmla="*/ 292 w 295"/>
                <a:gd name="T43" fmla="*/ 29 h 295"/>
                <a:gd name="T44" fmla="*/ 295 w 295"/>
                <a:gd name="T45" fmla="*/ 48 h 295"/>
                <a:gd name="T46" fmla="*/ 295 w 295"/>
                <a:gd name="T47" fmla="*/ 248 h 295"/>
                <a:gd name="T48" fmla="*/ 292 w 295"/>
                <a:gd name="T49" fmla="*/ 266 h 295"/>
                <a:gd name="T50" fmla="*/ 280 w 295"/>
                <a:gd name="T51" fmla="*/ 281 h 295"/>
                <a:gd name="T52" fmla="*/ 266 w 295"/>
                <a:gd name="T53" fmla="*/ 292 h 295"/>
                <a:gd name="T54" fmla="*/ 248 w 295"/>
                <a:gd name="T55" fmla="*/ 295 h 295"/>
                <a:gd name="T56" fmla="*/ 48 w 295"/>
                <a:gd name="T57" fmla="*/ 295 h 295"/>
                <a:gd name="T58" fmla="*/ 28 w 295"/>
                <a:gd name="T59" fmla="*/ 292 h 295"/>
                <a:gd name="T60" fmla="*/ 14 w 295"/>
                <a:gd name="T61" fmla="*/ 281 h 295"/>
                <a:gd name="T62" fmla="*/ 4 w 295"/>
                <a:gd name="T63" fmla="*/ 266 h 295"/>
                <a:gd name="T64" fmla="*/ 0 w 295"/>
                <a:gd name="T65" fmla="*/ 248 h 295"/>
                <a:gd name="T66" fmla="*/ 0 w 295"/>
                <a:gd name="T67" fmla="*/ 48 h 295"/>
                <a:gd name="T68" fmla="*/ 4 w 295"/>
                <a:gd name="T69" fmla="*/ 29 h 295"/>
                <a:gd name="T70" fmla="*/ 14 w 295"/>
                <a:gd name="T71" fmla="*/ 14 h 295"/>
                <a:gd name="T72" fmla="*/ 28 w 295"/>
                <a:gd name="T73" fmla="*/ 4 h 295"/>
                <a:gd name="T74" fmla="*/ 48 w 295"/>
                <a:gd name="T75"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5" h="295">
                  <a:moveTo>
                    <a:pt x="48" y="20"/>
                  </a:moveTo>
                  <a:lnTo>
                    <a:pt x="34" y="24"/>
                  </a:lnTo>
                  <a:lnTo>
                    <a:pt x="24" y="34"/>
                  </a:lnTo>
                  <a:lnTo>
                    <a:pt x="20" y="48"/>
                  </a:lnTo>
                  <a:lnTo>
                    <a:pt x="20" y="248"/>
                  </a:lnTo>
                  <a:lnTo>
                    <a:pt x="24" y="261"/>
                  </a:lnTo>
                  <a:lnTo>
                    <a:pt x="34" y="271"/>
                  </a:lnTo>
                  <a:lnTo>
                    <a:pt x="48" y="275"/>
                  </a:lnTo>
                  <a:lnTo>
                    <a:pt x="248" y="275"/>
                  </a:lnTo>
                  <a:lnTo>
                    <a:pt x="261" y="271"/>
                  </a:lnTo>
                  <a:lnTo>
                    <a:pt x="270" y="261"/>
                  </a:lnTo>
                  <a:lnTo>
                    <a:pt x="275" y="248"/>
                  </a:lnTo>
                  <a:lnTo>
                    <a:pt x="275" y="48"/>
                  </a:lnTo>
                  <a:lnTo>
                    <a:pt x="270" y="34"/>
                  </a:lnTo>
                  <a:lnTo>
                    <a:pt x="261" y="24"/>
                  </a:lnTo>
                  <a:lnTo>
                    <a:pt x="248" y="20"/>
                  </a:lnTo>
                  <a:lnTo>
                    <a:pt x="48" y="20"/>
                  </a:lnTo>
                  <a:close/>
                  <a:moveTo>
                    <a:pt x="48" y="0"/>
                  </a:moveTo>
                  <a:lnTo>
                    <a:pt x="248" y="0"/>
                  </a:lnTo>
                  <a:lnTo>
                    <a:pt x="266" y="4"/>
                  </a:lnTo>
                  <a:lnTo>
                    <a:pt x="280" y="14"/>
                  </a:lnTo>
                  <a:lnTo>
                    <a:pt x="292" y="29"/>
                  </a:lnTo>
                  <a:lnTo>
                    <a:pt x="295" y="48"/>
                  </a:lnTo>
                  <a:lnTo>
                    <a:pt x="295" y="248"/>
                  </a:lnTo>
                  <a:lnTo>
                    <a:pt x="292" y="266"/>
                  </a:lnTo>
                  <a:lnTo>
                    <a:pt x="280" y="281"/>
                  </a:lnTo>
                  <a:lnTo>
                    <a:pt x="266" y="292"/>
                  </a:lnTo>
                  <a:lnTo>
                    <a:pt x="248" y="295"/>
                  </a:lnTo>
                  <a:lnTo>
                    <a:pt x="48" y="295"/>
                  </a:lnTo>
                  <a:lnTo>
                    <a:pt x="28" y="292"/>
                  </a:lnTo>
                  <a:lnTo>
                    <a:pt x="14" y="281"/>
                  </a:lnTo>
                  <a:lnTo>
                    <a:pt x="4" y="266"/>
                  </a:lnTo>
                  <a:lnTo>
                    <a:pt x="0" y="248"/>
                  </a:lnTo>
                  <a:lnTo>
                    <a:pt x="0" y="48"/>
                  </a:lnTo>
                  <a:lnTo>
                    <a:pt x="4" y="29"/>
                  </a:lnTo>
                  <a:lnTo>
                    <a:pt x="14" y="14"/>
                  </a:lnTo>
                  <a:lnTo>
                    <a:pt x="28" y="4"/>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510">
              <a:extLst>
                <a:ext uri="{FF2B5EF4-FFF2-40B4-BE49-F238E27FC236}">
                  <a16:creationId xmlns:a16="http://schemas.microsoft.com/office/drawing/2014/main" id="{5C13B950-4CD6-EAF6-2E74-59F1C2A72391}"/>
                </a:ext>
              </a:extLst>
            </p:cNvPr>
            <p:cNvSpPr>
              <a:spLocks/>
            </p:cNvSpPr>
            <p:nvPr/>
          </p:nvSpPr>
          <p:spPr bwMode="auto">
            <a:xfrm>
              <a:off x="4482856" y="1780032"/>
              <a:ext cx="85994" cy="69352"/>
            </a:xfrm>
            <a:custGeom>
              <a:avLst/>
              <a:gdLst>
                <a:gd name="T0" fmla="*/ 10 w 93"/>
                <a:gd name="T1" fmla="*/ 0 h 75"/>
                <a:gd name="T2" fmla="*/ 14 w 93"/>
                <a:gd name="T3" fmla="*/ 0 h 75"/>
                <a:gd name="T4" fmla="*/ 17 w 93"/>
                <a:gd name="T5" fmla="*/ 1 h 75"/>
                <a:gd name="T6" fmla="*/ 19 w 93"/>
                <a:gd name="T7" fmla="*/ 5 h 75"/>
                <a:gd name="T8" fmla="*/ 45 w 93"/>
                <a:gd name="T9" fmla="*/ 55 h 75"/>
                <a:gd name="T10" fmla="*/ 83 w 93"/>
                <a:gd name="T11" fmla="*/ 55 h 75"/>
                <a:gd name="T12" fmla="*/ 87 w 93"/>
                <a:gd name="T13" fmla="*/ 56 h 75"/>
                <a:gd name="T14" fmla="*/ 90 w 93"/>
                <a:gd name="T15" fmla="*/ 58 h 75"/>
                <a:gd name="T16" fmla="*/ 93 w 93"/>
                <a:gd name="T17" fmla="*/ 62 h 75"/>
                <a:gd name="T18" fmla="*/ 93 w 93"/>
                <a:gd name="T19" fmla="*/ 65 h 75"/>
                <a:gd name="T20" fmla="*/ 93 w 93"/>
                <a:gd name="T21" fmla="*/ 69 h 75"/>
                <a:gd name="T22" fmla="*/ 90 w 93"/>
                <a:gd name="T23" fmla="*/ 72 h 75"/>
                <a:gd name="T24" fmla="*/ 87 w 93"/>
                <a:gd name="T25" fmla="*/ 75 h 75"/>
                <a:gd name="T26" fmla="*/ 83 w 93"/>
                <a:gd name="T27" fmla="*/ 75 h 75"/>
                <a:gd name="T28" fmla="*/ 34 w 93"/>
                <a:gd name="T29" fmla="*/ 75 h 75"/>
                <a:gd name="T30" fmla="*/ 1 w 93"/>
                <a:gd name="T31" fmla="*/ 14 h 75"/>
                <a:gd name="T32" fmla="*/ 0 w 93"/>
                <a:gd name="T33" fmla="*/ 10 h 75"/>
                <a:gd name="T34" fmla="*/ 1 w 93"/>
                <a:gd name="T35" fmla="*/ 7 h 75"/>
                <a:gd name="T36" fmla="*/ 2 w 93"/>
                <a:gd name="T37" fmla="*/ 3 h 75"/>
                <a:gd name="T38" fmla="*/ 5 w 93"/>
                <a:gd name="T39" fmla="*/ 1 h 75"/>
                <a:gd name="T40" fmla="*/ 10 w 93"/>
                <a:gd name="T4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75">
                  <a:moveTo>
                    <a:pt x="10" y="0"/>
                  </a:moveTo>
                  <a:lnTo>
                    <a:pt x="14" y="0"/>
                  </a:lnTo>
                  <a:lnTo>
                    <a:pt x="17" y="1"/>
                  </a:lnTo>
                  <a:lnTo>
                    <a:pt x="19" y="5"/>
                  </a:lnTo>
                  <a:lnTo>
                    <a:pt x="45" y="55"/>
                  </a:lnTo>
                  <a:lnTo>
                    <a:pt x="83" y="55"/>
                  </a:lnTo>
                  <a:lnTo>
                    <a:pt x="87" y="56"/>
                  </a:lnTo>
                  <a:lnTo>
                    <a:pt x="90" y="58"/>
                  </a:lnTo>
                  <a:lnTo>
                    <a:pt x="93" y="62"/>
                  </a:lnTo>
                  <a:lnTo>
                    <a:pt x="93" y="65"/>
                  </a:lnTo>
                  <a:lnTo>
                    <a:pt x="93" y="69"/>
                  </a:lnTo>
                  <a:lnTo>
                    <a:pt x="90" y="72"/>
                  </a:lnTo>
                  <a:lnTo>
                    <a:pt x="87" y="75"/>
                  </a:lnTo>
                  <a:lnTo>
                    <a:pt x="83" y="75"/>
                  </a:lnTo>
                  <a:lnTo>
                    <a:pt x="34" y="75"/>
                  </a:lnTo>
                  <a:lnTo>
                    <a:pt x="1" y="14"/>
                  </a:lnTo>
                  <a:lnTo>
                    <a:pt x="0" y="10"/>
                  </a:lnTo>
                  <a:lnTo>
                    <a:pt x="1" y="7"/>
                  </a:lnTo>
                  <a:lnTo>
                    <a:pt x="2" y="3"/>
                  </a:lnTo>
                  <a:lnTo>
                    <a:pt x="5" y="1"/>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511">
              <a:extLst>
                <a:ext uri="{FF2B5EF4-FFF2-40B4-BE49-F238E27FC236}">
                  <a16:creationId xmlns:a16="http://schemas.microsoft.com/office/drawing/2014/main" id="{8FCEF171-27D4-D4D9-BB18-8F0D2FA9D1E8}"/>
                </a:ext>
              </a:extLst>
            </p:cNvPr>
            <p:cNvSpPr>
              <a:spLocks noChangeArrowheads="1"/>
            </p:cNvSpPr>
            <p:nvPr/>
          </p:nvSpPr>
          <p:spPr bwMode="auto">
            <a:xfrm>
              <a:off x="4509674" y="1737495"/>
              <a:ext cx="18494" cy="314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512">
              <a:extLst>
                <a:ext uri="{FF2B5EF4-FFF2-40B4-BE49-F238E27FC236}">
                  <a16:creationId xmlns:a16="http://schemas.microsoft.com/office/drawing/2014/main" id="{54F3AB4F-390E-8288-574A-5712067FCBB2}"/>
                </a:ext>
              </a:extLst>
            </p:cNvPr>
            <p:cNvSpPr>
              <a:spLocks noChangeArrowheads="1"/>
            </p:cNvSpPr>
            <p:nvPr/>
          </p:nvSpPr>
          <p:spPr bwMode="auto">
            <a:xfrm>
              <a:off x="4418130" y="1830890"/>
              <a:ext cx="33288" cy="184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513">
              <a:extLst>
                <a:ext uri="{FF2B5EF4-FFF2-40B4-BE49-F238E27FC236}">
                  <a16:creationId xmlns:a16="http://schemas.microsoft.com/office/drawing/2014/main" id="{99140CA7-BB85-B2A7-C7B4-DA13754A00CE}"/>
                </a:ext>
              </a:extLst>
            </p:cNvPr>
            <p:cNvSpPr>
              <a:spLocks noChangeArrowheads="1"/>
            </p:cNvSpPr>
            <p:nvPr/>
          </p:nvSpPr>
          <p:spPr bwMode="auto">
            <a:xfrm>
              <a:off x="4509674" y="1908560"/>
              <a:ext cx="18494" cy="305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514">
              <a:extLst>
                <a:ext uri="{FF2B5EF4-FFF2-40B4-BE49-F238E27FC236}">
                  <a16:creationId xmlns:a16="http://schemas.microsoft.com/office/drawing/2014/main" id="{874E7303-6B10-8DFF-B3C0-BD41BB518875}"/>
                </a:ext>
              </a:extLst>
            </p:cNvPr>
            <p:cNvSpPr>
              <a:spLocks noChangeArrowheads="1"/>
            </p:cNvSpPr>
            <p:nvPr/>
          </p:nvSpPr>
          <p:spPr bwMode="auto">
            <a:xfrm>
              <a:off x="4593818" y="1830887"/>
              <a:ext cx="25891" cy="184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515">
              <a:extLst>
                <a:ext uri="{FF2B5EF4-FFF2-40B4-BE49-F238E27FC236}">
                  <a16:creationId xmlns:a16="http://schemas.microsoft.com/office/drawing/2014/main" id="{7668B4E8-824D-1AD6-5D2C-F671D29BB24B}"/>
                </a:ext>
              </a:extLst>
            </p:cNvPr>
            <p:cNvSpPr>
              <a:spLocks/>
            </p:cNvSpPr>
            <p:nvPr/>
          </p:nvSpPr>
          <p:spPr bwMode="auto">
            <a:xfrm>
              <a:off x="4572543" y="1761536"/>
              <a:ext cx="24966" cy="23118"/>
            </a:xfrm>
            <a:custGeom>
              <a:avLst/>
              <a:gdLst>
                <a:gd name="T0" fmla="*/ 13 w 27"/>
                <a:gd name="T1" fmla="*/ 0 h 25"/>
                <a:gd name="T2" fmla="*/ 27 w 27"/>
                <a:gd name="T3" fmla="*/ 14 h 25"/>
                <a:gd name="T4" fmla="*/ 14 w 27"/>
                <a:gd name="T5" fmla="*/ 25 h 25"/>
                <a:gd name="T6" fmla="*/ 0 w 27"/>
                <a:gd name="T7" fmla="*/ 11 h 25"/>
                <a:gd name="T8" fmla="*/ 13 w 27"/>
                <a:gd name="T9" fmla="*/ 0 h 25"/>
              </a:gdLst>
              <a:ahLst/>
              <a:cxnLst>
                <a:cxn ang="0">
                  <a:pos x="T0" y="T1"/>
                </a:cxn>
                <a:cxn ang="0">
                  <a:pos x="T2" y="T3"/>
                </a:cxn>
                <a:cxn ang="0">
                  <a:pos x="T4" y="T5"/>
                </a:cxn>
                <a:cxn ang="0">
                  <a:pos x="T6" y="T7"/>
                </a:cxn>
                <a:cxn ang="0">
                  <a:pos x="T8" y="T9"/>
                </a:cxn>
              </a:cxnLst>
              <a:rect l="0" t="0" r="r" b="b"/>
              <a:pathLst>
                <a:path w="27" h="25">
                  <a:moveTo>
                    <a:pt x="13" y="0"/>
                  </a:moveTo>
                  <a:lnTo>
                    <a:pt x="27" y="14"/>
                  </a:lnTo>
                  <a:lnTo>
                    <a:pt x="14" y="25"/>
                  </a:lnTo>
                  <a:lnTo>
                    <a:pt x="0" y="1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16">
              <a:extLst>
                <a:ext uri="{FF2B5EF4-FFF2-40B4-BE49-F238E27FC236}">
                  <a16:creationId xmlns:a16="http://schemas.microsoft.com/office/drawing/2014/main" id="{B85DFB80-9010-0B7B-CF15-AA4FFB4676C7}"/>
                </a:ext>
              </a:extLst>
            </p:cNvPr>
            <p:cNvSpPr>
              <a:spLocks/>
            </p:cNvSpPr>
            <p:nvPr/>
          </p:nvSpPr>
          <p:spPr bwMode="auto">
            <a:xfrm>
              <a:off x="4440316" y="1761536"/>
              <a:ext cx="24966" cy="24967"/>
            </a:xfrm>
            <a:custGeom>
              <a:avLst/>
              <a:gdLst>
                <a:gd name="T0" fmla="*/ 15 w 27"/>
                <a:gd name="T1" fmla="*/ 0 h 27"/>
                <a:gd name="T2" fmla="*/ 27 w 27"/>
                <a:gd name="T3" fmla="*/ 13 h 27"/>
                <a:gd name="T4" fmla="*/ 13 w 27"/>
                <a:gd name="T5" fmla="*/ 27 h 27"/>
                <a:gd name="T6" fmla="*/ 0 w 27"/>
                <a:gd name="T7" fmla="*/ 16 h 27"/>
                <a:gd name="T8" fmla="*/ 15 w 27"/>
                <a:gd name="T9" fmla="*/ 0 h 27"/>
              </a:gdLst>
              <a:ahLst/>
              <a:cxnLst>
                <a:cxn ang="0">
                  <a:pos x="T0" y="T1"/>
                </a:cxn>
                <a:cxn ang="0">
                  <a:pos x="T2" y="T3"/>
                </a:cxn>
                <a:cxn ang="0">
                  <a:pos x="T4" y="T5"/>
                </a:cxn>
                <a:cxn ang="0">
                  <a:pos x="T6" y="T7"/>
                </a:cxn>
                <a:cxn ang="0">
                  <a:pos x="T8" y="T9"/>
                </a:cxn>
              </a:cxnLst>
              <a:rect l="0" t="0" r="r" b="b"/>
              <a:pathLst>
                <a:path w="27" h="27">
                  <a:moveTo>
                    <a:pt x="15" y="0"/>
                  </a:moveTo>
                  <a:lnTo>
                    <a:pt x="27" y="13"/>
                  </a:lnTo>
                  <a:lnTo>
                    <a:pt x="13" y="27"/>
                  </a:lnTo>
                  <a:lnTo>
                    <a:pt x="0" y="16"/>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17">
              <a:extLst>
                <a:ext uri="{FF2B5EF4-FFF2-40B4-BE49-F238E27FC236}">
                  <a16:creationId xmlns:a16="http://schemas.microsoft.com/office/drawing/2014/main" id="{0D641914-4AAA-95DD-01DB-AB2DB509C534}"/>
                </a:ext>
              </a:extLst>
            </p:cNvPr>
            <p:cNvSpPr>
              <a:spLocks/>
            </p:cNvSpPr>
            <p:nvPr/>
          </p:nvSpPr>
          <p:spPr bwMode="auto">
            <a:xfrm>
              <a:off x="4442165" y="1893766"/>
              <a:ext cx="23116" cy="23118"/>
            </a:xfrm>
            <a:custGeom>
              <a:avLst/>
              <a:gdLst>
                <a:gd name="T0" fmla="*/ 10 w 25"/>
                <a:gd name="T1" fmla="*/ 0 h 25"/>
                <a:gd name="T2" fmla="*/ 25 w 25"/>
                <a:gd name="T3" fmla="*/ 14 h 25"/>
                <a:gd name="T4" fmla="*/ 14 w 25"/>
                <a:gd name="T5" fmla="*/ 25 h 25"/>
                <a:gd name="T6" fmla="*/ 0 w 25"/>
                <a:gd name="T7" fmla="*/ 11 h 25"/>
                <a:gd name="T8" fmla="*/ 10 w 25"/>
                <a:gd name="T9" fmla="*/ 0 h 25"/>
              </a:gdLst>
              <a:ahLst/>
              <a:cxnLst>
                <a:cxn ang="0">
                  <a:pos x="T0" y="T1"/>
                </a:cxn>
                <a:cxn ang="0">
                  <a:pos x="T2" y="T3"/>
                </a:cxn>
                <a:cxn ang="0">
                  <a:pos x="T4" y="T5"/>
                </a:cxn>
                <a:cxn ang="0">
                  <a:pos x="T6" y="T7"/>
                </a:cxn>
                <a:cxn ang="0">
                  <a:pos x="T8" y="T9"/>
                </a:cxn>
              </a:cxnLst>
              <a:rect l="0" t="0" r="r" b="b"/>
              <a:pathLst>
                <a:path w="25" h="25">
                  <a:moveTo>
                    <a:pt x="10" y="0"/>
                  </a:moveTo>
                  <a:lnTo>
                    <a:pt x="25" y="14"/>
                  </a:lnTo>
                  <a:lnTo>
                    <a:pt x="14" y="25"/>
                  </a:lnTo>
                  <a:lnTo>
                    <a:pt x="0" y="11"/>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18">
              <a:extLst>
                <a:ext uri="{FF2B5EF4-FFF2-40B4-BE49-F238E27FC236}">
                  <a16:creationId xmlns:a16="http://schemas.microsoft.com/office/drawing/2014/main" id="{7AF6F1A1-55D1-CAF1-3BE4-AC4D30DC41A4}"/>
                </a:ext>
              </a:extLst>
            </p:cNvPr>
            <p:cNvSpPr>
              <a:spLocks/>
            </p:cNvSpPr>
            <p:nvPr/>
          </p:nvSpPr>
          <p:spPr bwMode="auto">
            <a:xfrm>
              <a:off x="4572549" y="1894691"/>
              <a:ext cx="24041" cy="24043"/>
            </a:xfrm>
            <a:custGeom>
              <a:avLst/>
              <a:gdLst>
                <a:gd name="T0" fmla="*/ 16 w 26"/>
                <a:gd name="T1" fmla="*/ 0 h 26"/>
                <a:gd name="T2" fmla="*/ 26 w 26"/>
                <a:gd name="T3" fmla="*/ 10 h 26"/>
                <a:gd name="T4" fmla="*/ 12 w 26"/>
                <a:gd name="T5" fmla="*/ 26 h 26"/>
                <a:gd name="T6" fmla="*/ 0 w 26"/>
                <a:gd name="T7" fmla="*/ 15 h 26"/>
                <a:gd name="T8" fmla="*/ 16 w 26"/>
                <a:gd name="T9" fmla="*/ 0 h 26"/>
              </a:gdLst>
              <a:ahLst/>
              <a:cxnLst>
                <a:cxn ang="0">
                  <a:pos x="T0" y="T1"/>
                </a:cxn>
                <a:cxn ang="0">
                  <a:pos x="T2" y="T3"/>
                </a:cxn>
                <a:cxn ang="0">
                  <a:pos x="T4" y="T5"/>
                </a:cxn>
                <a:cxn ang="0">
                  <a:pos x="T6" y="T7"/>
                </a:cxn>
                <a:cxn ang="0">
                  <a:pos x="T8" y="T9"/>
                </a:cxn>
              </a:cxnLst>
              <a:rect l="0" t="0" r="r" b="b"/>
              <a:pathLst>
                <a:path w="26" h="26">
                  <a:moveTo>
                    <a:pt x="16" y="0"/>
                  </a:moveTo>
                  <a:lnTo>
                    <a:pt x="26" y="10"/>
                  </a:lnTo>
                  <a:lnTo>
                    <a:pt x="12" y="26"/>
                  </a:lnTo>
                  <a:lnTo>
                    <a:pt x="0" y="15"/>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519">
              <a:extLst>
                <a:ext uri="{FF2B5EF4-FFF2-40B4-BE49-F238E27FC236}">
                  <a16:creationId xmlns:a16="http://schemas.microsoft.com/office/drawing/2014/main" id="{9ADDB334-1142-A18C-313B-22176AAE0625}"/>
                </a:ext>
              </a:extLst>
            </p:cNvPr>
            <p:cNvSpPr>
              <a:spLocks noChangeArrowheads="1"/>
            </p:cNvSpPr>
            <p:nvPr/>
          </p:nvSpPr>
          <p:spPr bwMode="auto">
            <a:xfrm>
              <a:off x="4193447" y="1762460"/>
              <a:ext cx="20342"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520">
              <a:extLst>
                <a:ext uri="{FF2B5EF4-FFF2-40B4-BE49-F238E27FC236}">
                  <a16:creationId xmlns:a16="http://schemas.microsoft.com/office/drawing/2014/main" id="{021879E0-3BD5-9691-B154-AA0DD5C9ACF8}"/>
                </a:ext>
              </a:extLst>
            </p:cNvPr>
            <p:cNvSpPr>
              <a:spLocks noChangeArrowheads="1"/>
            </p:cNvSpPr>
            <p:nvPr/>
          </p:nvSpPr>
          <p:spPr bwMode="auto">
            <a:xfrm>
              <a:off x="4193474" y="1811469"/>
              <a:ext cx="20342"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Rectangle 521">
              <a:extLst>
                <a:ext uri="{FF2B5EF4-FFF2-40B4-BE49-F238E27FC236}">
                  <a16:creationId xmlns:a16="http://schemas.microsoft.com/office/drawing/2014/main" id="{A4A4E450-69C6-B31E-770F-E1CFEB512274}"/>
                </a:ext>
              </a:extLst>
            </p:cNvPr>
            <p:cNvSpPr>
              <a:spLocks noChangeArrowheads="1"/>
            </p:cNvSpPr>
            <p:nvPr/>
          </p:nvSpPr>
          <p:spPr bwMode="auto">
            <a:xfrm>
              <a:off x="4193476" y="1859552"/>
              <a:ext cx="20342"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Rectangle 522">
              <a:extLst>
                <a:ext uri="{FF2B5EF4-FFF2-40B4-BE49-F238E27FC236}">
                  <a16:creationId xmlns:a16="http://schemas.microsoft.com/office/drawing/2014/main" id="{0BDE9E01-E028-3B89-6671-95120D39463B}"/>
                </a:ext>
              </a:extLst>
            </p:cNvPr>
            <p:cNvSpPr>
              <a:spLocks noChangeArrowheads="1"/>
            </p:cNvSpPr>
            <p:nvPr/>
          </p:nvSpPr>
          <p:spPr bwMode="auto">
            <a:xfrm>
              <a:off x="4193491" y="1908560"/>
              <a:ext cx="20342"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Rectangle 523">
              <a:extLst>
                <a:ext uri="{FF2B5EF4-FFF2-40B4-BE49-F238E27FC236}">
                  <a16:creationId xmlns:a16="http://schemas.microsoft.com/office/drawing/2014/main" id="{AC70F28A-ED58-72B2-FC77-78D19F7C08BE}"/>
                </a:ext>
              </a:extLst>
            </p:cNvPr>
            <p:cNvSpPr>
              <a:spLocks noChangeArrowheads="1"/>
            </p:cNvSpPr>
            <p:nvPr/>
          </p:nvSpPr>
          <p:spPr bwMode="auto">
            <a:xfrm>
              <a:off x="4259141" y="1762460"/>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524">
              <a:extLst>
                <a:ext uri="{FF2B5EF4-FFF2-40B4-BE49-F238E27FC236}">
                  <a16:creationId xmlns:a16="http://schemas.microsoft.com/office/drawing/2014/main" id="{16AEF91C-2615-CB77-5762-B37865F8564F}"/>
                </a:ext>
              </a:extLst>
            </p:cNvPr>
            <p:cNvSpPr>
              <a:spLocks noChangeArrowheads="1"/>
            </p:cNvSpPr>
            <p:nvPr/>
          </p:nvSpPr>
          <p:spPr bwMode="auto">
            <a:xfrm>
              <a:off x="4259141" y="1811469"/>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25">
              <a:extLst>
                <a:ext uri="{FF2B5EF4-FFF2-40B4-BE49-F238E27FC236}">
                  <a16:creationId xmlns:a16="http://schemas.microsoft.com/office/drawing/2014/main" id="{70F441E1-307B-0899-B89C-D5FE2D5DE5A8}"/>
                </a:ext>
              </a:extLst>
            </p:cNvPr>
            <p:cNvSpPr>
              <a:spLocks noChangeArrowheads="1"/>
            </p:cNvSpPr>
            <p:nvPr/>
          </p:nvSpPr>
          <p:spPr bwMode="auto">
            <a:xfrm>
              <a:off x="4259141" y="1859552"/>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26">
              <a:extLst>
                <a:ext uri="{FF2B5EF4-FFF2-40B4-BE49-F238E27FC236}">
                  <a16:creationId xmlns:a16="http://schemas.microsoft.com/office/drawing/2014/main" id="{A443187B-9EB7-6FC8-244E-24D116F9A566}"/>
                </a:ext>
              </a:extLst>
            </p:cNvPr>
            <p:cNvSpPr>
              <a:spLocks noChangeArrowheads="1"/>
            </p:cNvSpPr>
            <p:nvPr/>
          </p:nvSpPr>
          <p:spPr bwMode="auto">
            <a:xfrm>
              <a:off x="4259141" y="1908560"/>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527">
              <a:extLst>
                <a:ext uri="{FF2B5EF4-FFF2-40B4-BE49-F238E27FC236}">
                  <a16:creationId xmlns:a16="http://schemas.microsoft.com/office/drawing/2014/main" id="{9D05523D-62B5-CF81-E04B-9A936604FAFD}"/>
                </a:ext>
              </a:extLst>
            </p:cNvPr>
            <p:cNvSpPr>
              <a:spLocks noChangeArrowheads="1"/>
            </p:cNvSpPr>
            <p:nvPr/>
          </p:nvSpPr>
          <p:spPr bwMode="auto">
            <a:xfrm>
              <a:off x="4322945" y="1762460"/>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528">
              <a:extLst>
                <a:ext uri="{FF2B5EF4-FFF2-40B4-BE49-F238E27FC236}">
                  <a16:creationId xmlns:a16="http://schemas.microsoft.com/office/drawing/2014/main" id="{1C218F26-22BB-07DC-21C5-968D01B826B2}"/>
                </a:ext>
              </a:extLst>
            </p:cNvPr>
            <p:cNvSpPr>
              <a:spLocks noChangeArrowheads="1"/>
            </p:cNvSpPr>
            <p:nvPr/>
          </p:nvSpPr>
          <p:spPr bwMode="auto">
            <a:xfrm>
              <a:off x="4322967" y="1811469"/>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529">
              <a:extLst>
                <a:ext uri="{FF2B5EF4-FFF2-40B4-BE49-F238E27FC236}">
                  <a16:creationId xmlns:a16="http://schemas.microsoft.com/office/drawing/2014/main" id="{D4713AA3-E5A7-0693-E418-1F817A4BDD8E}"/>
                </a:ext>
              </a:extLst>
            </p:cNvPr>
            <p:cNvSpPr>
              <a:spLocks noChangeArrowheads="1"/>
            </p:cNvSpPr>
            <p:nvPr/>
          </p:nvSpPr>
          <p:spPr bwMode="auto">
            <a:xfrm>
              <a:off x="4322959" y="1859552"/>
              <a:ext cx="19418" cy="2126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530">
              <a:extLst>
                <a:ext uri="{FF2B5EF4-FFF2-40B4-BE49-F238E27FC236}">
                  <a16:creationId xmlns:a16="http://schemas.microsoft.com/office/drawing/2014/main" id="{BCC17320-1D09-ABB4-6E57-63402D782632}"/>
                </a:ext>
              </a:extLst>
            </p:cNvPr>
            <p:cNvSpPr>
              <a:spLocks noChangeArrowheads="1"/>
            </p:cNvSpPr>
            <p:nvPr/>
          </p:nvSpPr>
          <p:spPr bwMode="auto">
            <a:xfrm>
              <a:off x="4322945" y="1908562"/>
              <a:ext cx="19418" cy="20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531">
              <a:extLst>
                <a:ext uri="{FF2B5EF4-FFF2-40B4-BE49-F238E27FC236}">
                  <a16:creationId xmlns:a16="http://schemas.microsoft.com/office/drawing/2014/main" id="{CBA233BE-2BA3-7144-F73A-4C1F2F0378E3}"/>
                </a:ext>
              </a:extLst>
            </p:cNvPr>
            <p:cNvSpPr>
              <a:spLocks noChangeArrowheads="1"/>
            </p:cNvSpPr>
            <p:nvPr/>
          </p:nvSpPr>
          <p:spPr bwMode="auto">
            <a:xfrm>
              <a:off x="4224943" y="1707886"/>
              <a:ext cx="87845" cy="194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5" name="Freeform 637">
            <a:extLst>
              <a:ext uri="{FF2B5EF4-FFF2-40B4-BE49-F238E27FC236}">
                <a16:creationId xmlns:a16="http://schemas.microsoft.com/office/drawing/2014/main" id="{5E3B0461-79FA-3786-3E5A-E13CDBA17613}"/>
              </a:ext>
            </a:extLst>
          </p:cNvPr>
          <p:cNvSpPr>
            <a:spLocks noEditPoints="1"/>
          </p:cNvSpPr>
          <p:nvPr/>
        </p:nvSpPr>
        <p:spPr bwMode="auto">
          <a:xfrm>
            <a:off x="341278" y="4744334"/>
            <a:ext cx="322823" cy="418521"/>
          </a:xfrm>
          <a:custGeom>
            <a:avLst/>
            <a:gdLst>
              <a:gd name="T0" fmla="*/ 265 w 506"/>
              <a:gd name="T1" fmla="*/ 592 h 656"/>
              <a:gd name="T2" fmla="*/ 244 w 506"/>
              <a:gd name="T3" fmla="*/ 603 h 656"/>
              <a:gd name="T4" fmla="*/ 248 w 506"/>
              <a:gd name="T5" fmla="*/ 556 h 656"/>
              <a:gd name="T6" fmla="*/ 394 w 506"/>
              <a:gd name="T7" fmla="*/ 530 h 656"/>
              <a:gd name="T8" fmla="*/ 377 w 506"/>
              <a:gd name="T9" fmla="*/ 548 h 656"/>
              <a:gd name="T10" fmla="*/ 356 w 506"/>
              <a:gd name="T11" fmla="*/ 508 h 656"/>
              <a:gd name="T12" fmla="*/ 144 w 506"/>
              <a:gd name="T13" fmla="*/ 504 h 656"/>
              <a:gd name="T14" fmla="*/ 115 w 506"/>
              <a:gd name="T15" fmla="*/ 539 h 656"/>
              <a:gd name="T16" fmla="*/ 105 w 506"/>
              <a:gd name="T17" fmla="*/ 518 h 656"/>
              <a:gd name="T18" fmla="*/ 447 w 506"/>
              <a:gd name="T19" fmla="*/ 393 h 656"/>
              <a:gd name="T20" fmla="*/ 447 w 506"/>
              <a:gd name="T21" fmla="*/ 415 h 656"/>
              <a:gd name="T22" fmla="*/ 404 w 506"/>
              <a:gd name="T23" fmla="*/ 403 h 656"/>
              <a:gd name="T24" fmla="*/ 244 w 506"/>
              <a:gd name="T25" fmla="*/ 379 h 656"/>
              <a:gd name="T26" fmla="*/ 232 w 506"/>
              <a:gd name="T27" fmla="*/ 418 h 656"/>
              <a:gd name="T28" fmla="*/ 273 w 506"/>
              <a:gd name="T29" fmla="*/ 418 h 656"/>
              <a:gd name="T30" fmla="*/ 261 w 506"/>
              <a:gd name="T31" fmla="*/ 379 h 656"/>
              <a:gd name="T32" fmla="*/ 100 w 506"/>
              <a:gd name="T33" fmla="*/ 386 h 656"/>
              <a:gd name="T34" fmla="*/ 63 w 506"/>
              <a:gd name="T35" fmla="*/ 403 h 656"/>
              <a:gd name="T36" fmla="*/ 55 w 506"/>
              <a:gd name="T37" fmla="*/ 382 h 656"/>
              <a:gd name="T38" fmla="*/ 391 w 506"/>
              <a:gd name="T39" fmla="*/ 272 h 656"/>
              <a:gd name="T40" fmla="*/ 303 w 506"/>
              <a:gd name="T41" fmla="*/ 394 h 656"/>
              <a:gd name="T42" fmla="*/ 234 w 506"/>
              <a:gd name="T43" fmla="*/ 449 h 656"/>
              <a:gd name="T44" fmla="*/ 234 w 506"/>
              <a:gd name="T45" fmla="*/ 356 h 656"/>
              <a:gd name="T46" fmla="*/ 375 w 506"/>
              <a:gd name="T47" fmla="*/ 265 h 656"/>
              <a:gd name="T48" fmla="*/ 153 w 506"/>
              <a:gd name="T49" fmla="*/ 272 h 656"/>
              <a:gd name="T50" fmla="*/ 136 w 506"/>
              <a:gd name="T51" fmla="*/ 288 h 656"/>
              <a:gd name="T52" fmla="*/ 115 w 506"/>
              <a:gd name="T53" fmla="*/ 250 h 656"/>
              <a:gd name="T54" fmla="*/ 265 w 506"/>
              <a:gd name="T55" fmla="*/ 208 h 656"/>
              <a:gd name="T56" fmla="*/ 253 w 506"/>
              <a:gd name="T57" fmla="*/ 251 h 656"/>
              <a:gd name="T58" fmla="*/ 241 w 506"/>
              <a:gd name="T59" fmla="*/ 208 h 656"/>
              <a:gd name="T60" fmla="*/ 39 w 506"/>
              <a:gd name="T61" fmla="*/ 191 h 656"/>
              <a:gd name="T62" fmla="*/ 74 w 506"/>
              <a:gd name="T63" fmla="*/ 226 h 656"/>
              <a:gd name="T64" fmla="*/ 453 w 506"/>
              <a:gd name="T65" fmla="*/ 188 h 656"/>
              <a:gd name="T66" fmla="*/ 468 w 506"/>
              <a:gd name="T67" fmla="*/ 205 h 656"/>
              <a:gd name="T68" fmla="*/ 253 w 506"/>
              <a:gd name="T69" fmla="*/ 176 h 656"/>
              <a:gd name="T70" fmla="*/ 43 w 506"/>
              <a:gd name="T71" fmla="*/ 315 h 656"/>
              <a:gd name="T72" fmla="*/ 93 w 506"/>
              <a:gd name="T73" fmla="*/ 565 h 656"/>
              <a:gd name="T74" fmla="*/ 341 w 506"/>
              <a:gd name="T75" fmla="*/ 613 h 656"/>
              <a:gd name="T76" fmla="*/ 480 w 506"/>
              <a:gd name="T77" fmla="*/ 403 h 656"/>
              <a:gd name="T78" fmla="*/ 341 w 506"/>
              <a:gd name="T79" fmla="*/ 195 h 656"/>
              <a:gd name="T80" fmla="*/ 265 w 506"/>
              <a:gd name="T81" fmla="*/ 151 h 656"/>
              <a:gd name="T82" fmla="*/ 182 w 506"/>
              <a:gd name="T83" fmla="*/ 34 h 656"/>
              <a:gd name="T84" fmla="*/ 194 w 506"/>
              <a:gd name="T85" fmla="*/ 74 h 656"/>
              <a:gd name="T86" fmla="*/ 327 w 506"/>
              <a:gd name="T87" fmla="*/ 58 h 656"/>
              <a:gd name="T88" fmla="*/ 303 w 506"/>
              <a:gd name="T89" fmla="*/ 24 h 656"/>
              <a:gd name="T90" fmla="*/ 349 w 506"/>
              <a:gd name="T91" fmla="*/ 31 h 656"/>
              <a:gd name="T92" fmla="*/ 291 w 506"/>
              <a:gd name="T93" fmla="*/ 100 h 656"/>
              <a:gd name="T94" fmla="*/ 442 w 506"/>
              <a:gd name="T95" fmla="*/ 165 h 656"/>
              <a:gd name="T96" fmla="*/ 494 w 506"/>
              <a:gd name="T97" fmla="*/ 191 h 656"/>
              <a:gd name="T98" fmla="*/ 456 w 506"/>
              <a:gd name="T99" fmla="*/ 255 h 656"/>
              <a:gd name="T100" fmla="*/ 485 w 506"/>
              <a:gd name="T101" fmla="*/ 501 h 656"/>
              <a:gd name="T102" fmla="*/ 253 w 506"/>
              <a:gd name="T103" fmla="*/ 656 h 656"/>
              <a:gd name="T104" fmla="*/ 20 w 506"/>
              <a:gd name="T105" fmla="*/ 501 h 656"/>
              <a:gd name="T106" fmla="*/ 50 w 506"/>
              <a:gd name="T107" fmla="*/ 255 h 656"/>
              <a:gd name="T108" fmla="*/ 34 w 506"/>
              <a:gd name="T109" fmla="*/ 164 h 656"/>
              <a:gd name="T110" fmla="*/ 175 w 506"/>
              <a:gd name="T111" fmla="*/ 164 h 656"/>
              <a:gd name="T112" fmla="*/ 156 w 506"/>
              <a:gd name="T113" fmla="*/ 6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6" h="656">
                <a:moveTo>
                  <a:pt x="253" y="554"/>
                </a:moveTo>
                <a:lnTo>
                  <a:pt x="258" y="556"/>
                </a:lnTo>
                <a:lnTo>
                  <a:pt x="261" y="558"/>
                </a:lnTo>
                <a:lnTo>
                  <a:pt x="265" y="563"/>
                </a:lnTo>
                <a:lnTo>
                  <a:pt x="265" y="568"/>
                </a:lnTo>
                <a:lnTo>
                  <a:pt x="265" y="592"/>
                </a:lnTo>
                <a:lnTo>
                  <a:pt x="265" y="597"/>
                </a:lnTo>
                <a:lnTo>
                  <a:pt x="261" y="603"/>
                </a:lnTo>
                <a:lnTo>
                  <a:pt x="258" y="604"/>
                </a:lnTo>
                <a:lnTo>
                  <a:pt x="253" y="606"/>
                </a:lnTo>
                <a:lnTo>
                  <a:pt x="248" y="604"/>
                </a:lnTo>
                <a:lnTo>
                  <a:pt x="244" y="603"/>
                </a:lnTo>
                <a:lnTo>
                  <a:pt x="241" y="597"/>
                </a:lnTo>
                <a:lnTo>
                  <a:pt x="241" y="592"/>
                </a:lnTo>
                <a:lnTo>
                  <a:pt x="241" y="568"/>
                </a:lnTo>
                <a:lnTo>
                  <a:pt x="241" y="563"/>
                </a:lnTo>
                <a:lnTo>
                  <a:pt x="244" y="558"/>
                </a:lnTo>
                <a:lnTo>
                  <a:pt x="248" y="556"/>
                </a:lnTo>
                <a:lnTo>
                  <a:pt x="253" y="554"/>
                </a:lnTo>
                <a:close/>
                <a:moveTo>
                  <a:pt x="365" y="504"/>
                </a:moveTo>
                <a:lnTo>
                  <a:pt x="370" y="506"/>
                </a:lnTo>
                <a:lnTo>
                  <a:pt x="373" y="508"/>
                </a:lnTo>
                <a:lnTo>
                  <a:pt x="391" y="527"/>
                </a:lnTo>
                <a:lnTo>
                  <a:pt x="394" y="530"/>
                </a:lnTo>
                <a:lnTo>
                  <a:pt x="396" y="535"/>
                </a:lnTo>
                <a:lnTo>
                  <a:pt x="394" y="541"/>
                </a:lnTo>
                <a:lnTo>
                  <a:pt x="391" y="544"/>
                </a:lnTo>
                <a:lnTo>
                  <a:pt x="387" y="548"/>
                </a:lnTo>
                <a:lnTo>
                  <a:pt x="382" y="548"/>
                </a:lnTo>
                <a:lnTo>
                  <a:pt x="377" y="548"/>
                </a:lnTo>
                <a:lnTo>
                  <a:pt x="373" y="544"/>
                </a:lnTo>
                <a:lnTo>
                  <a:pt x="356" y="527"/>
                </a:lnTo>
                <a:lnTo>
                  <a:pt x="353" y="522"/>
                </a:lnTo>
                <a:lnTo>
                  <a:pt x="351" y="518"/>
                </a:lnTo>
                <a:lnTo>
                  <a:pt x="353" y="513"/>
                </a:lnTo>
                <a:lnTo>
                  <a:pt x="356" y="508"/>
                </a:lnTo>
                <a:lnTo>
                  <a:pt x="360" y="506"/>
                </a:lnTo>
                <a:lnTo>
                  <a:pt x="365" y="504"/>
                </a:lnTo>
                <a:close/>
                <a:moveTo>
                  <a:pt x="132" y="496"/>
                </a:moveTo>
                <a:lnTo>
                  <a:pt x="137" y="498"/>
                </a:lnTo>
                <a:lnTo>
                  <a:pt x="141" y="499"/>
                </a:lnTo>
                <a:lnTo>
                  <a:pt x="144" y="504"/>
                </a:lnTo>
                <a:lnTo>
                  <a:pt x="144" y="508"/>
                </a:lnTo>
                <a:lnTo>
                  <a:pt x="144" y="513"/>
                </a:lnTo>
                <a:lnTo>
                  <a:pt x="141" y="518"/>
                </a:lnTo>
                <a:lnTo>
                  <a:pt x="124" y="535"/>
                </a:lnTo>
                <a:lnTo>
                  <a:pt x="118" y="539"/>
                </a:lnTo>
                <a:lnTo>
                  <a:pt x="115" y="539"/>
                </a:lnTo>
                <a:lnTo>
                  <a:pt x="110" y="539"/>
                </a:lnTo>
                <a:lnTo>
                  <a:pt x="105" y="535"/>
                </a:lnTo>
                <a:lnTo>
                  <a:pt x="103" y="532"/>
                </a:lnTo>
                <a:lnTo>
                  <a:pt x="101" y="527"/>
                </a:lnTo>
                <a:lnTo>
                  <a:pt x="103" y="522"/>
                </a:lnTo>
                <a:lnTo>
                  <a:pt x="105" y="518"/>
                </a:lnTo>
                <a:lnTo>
                  <a:pt x="124" y="499"/>
                </a:lnTo>
                <a:lnTo>
                  <a:pt x="127" y="498"/>
                </a:lnTo>
                <a:lnTo>
                  <a:pt x="132" y="496"/>
                </a:lnTo>
                <a:close/>
                <a:moveTo>
                  <a:pt x="416" y="391"/>
                </a:moveTo>
                <a:lnTo>
                  <a:pt x="442" y="391"/>
                </a:lnTo>
                <a:lnTo>
                  <a:pt x="447" y="393"/>
                </a:lnTo>
                <a:lnTo>
                  <a:pt x="451" y="394"/>
                </a:lnTo>
                <a:lnTo>
                  <a:pt x="454" y="398"/>
                </a:lnTo>
                <a:lnTo>
                  <a:pt x="454" y="403"/>
                </a:lnTo>
                <a:lnTo>
                  <a:pt x="454" y="408"/>
                </a:lnTo>
                <a:lnTo>
                  <a:pt x="451" y="413"/>
                </a:lnTo>
                <a:lnTo>
                  <a:pt x="447" y="415"/>
                </a:lnTo>
                <a:lnTo>
                  <a:pt x="442" y="417"/>
                </a:lnTo>
                <a:lnTo>
                  <a:pt x="416" y="417"/>
                </a:lnTo>
                <a:lnTo>
                  <a:pt x="411" y="415"/>
                </a:lnTo>
                <a:lnTo>
                  <a:pt x="408" y="413"/>
                </a:lnTo>
                <a:lnTo>
                  <a:pt x="406" y="408"/>
                </a:lnTo>
                <a:lnTo>
                  <a:pt x="404" y="403"/>
                </a:lnTo>
                <a:lnTo>
                  <a:pt x="406" y="398"/>
                </a:lnTo>
                <a:lnTo>
                  <a:pt x="408" y="394"/>
                </a:lnTo>
                <a:lnTo>
                  <a:pt x="411" y="393"/>
                </a:lnTo>
                <a:lnTo>
                  <a:pt x="416" y="391"/>
                </a:lnTo>
                <a:close/>
                <a:moveTo>
                  <a:pt x="253" y="379"/>
                </a:moveTo>
                <a:lnTo>
                  <a:pt x="244" y="379"/>
                </a:lnTo>
                <a:lnTo>
                  <a:pt x="237" y="382"/>
                </a:lnTo>
                <a:lnTo>
                  <a:pt x="232" y="389"/>
                </a:lnTo>
                <a:lnTo>
                  <a:pt x="229" y="396"/>
                </a:lnTo>
                <a:lnTo>
                  <a:pt x="227" y="403"/>
                </a:lnTo>
                <a:lnTo>
                  <a:pt x="229" y="412"/>
                </a:lnTo>
                <a:lnTo>
                  <a:pt x="232" y="418"/>
                </a:lnTo>
                <a:lnTo>
                  <a:pt x="237" y="424"/>
                </a:lnTo>
                <a:lnTo>
                  <a:pt x="244" y="427"/>
                </a:lnTo>
                <a:lnTo>
                  <a:pt x="253" y="429"/>
                </a:lnTo>
                <a:lnTo>
                  <a:pt x="261" y="427"/>
                </a:lnTo>
                <a:lnTo>
                  <a:pt x="268" y="424"/>
                </a:lnTo>
                <a:lnTo>
                  <a:pt x="273" y="418"/>
                </a:lnTo>
                <a:lnTo>
                  <a:pt x="277" y="412"/>
                </a:lnTo>
                <a:lnTo>
                  <a:pt x="279" y="403"/>
                </a:lnTo>
                <a:lnTo>
                  <a:pt x="277" y="396"/>
                </a:lnTo>
                <a:lnTo>
                  <a:pt x="273" y="389"/>
                </a:lnTo>
                <a:lnTo>
                  <a:pt x="268" y="382"/>
                </a:lnTo>
                <a:lnTo>
                  <a:pt x="261" y="379"/>
                </a:lnTo>
                <a:lnTo>
                  <a:pt x="253" y="379"/>
                </a:lnTo>
                <a:close/>
                <a:moveTo>
                  <a:pt x="63" y="379"/>
                </a:moveTo>
                <a:lnTo>
                  <a:pt x="89" y="379"/>
                </a:lnTo>
                <a:lnTo>
                  <a:pt x="94" y="379"/>
                </a:lnTo>
                <a:lnTo>
                  <a:pt x="98" y="382"/>
                </a:lnTo>
                <a:lnTo>
                  <a:pt x="100" y="386"/>
                </a:lnTo>
                <a:lnTo>
                  <a:pt x="101" y="391"/>
                </a:lnTo>
                <a:lnTo>
                  <a:pt x="100" y="396"/>
                </a:lnTo>
                <a:lnTo>
                  <a:pt x="98" y="399"/>
                </a:lnTo>
                <a:lnTo>
                  <a:pt x="94" y="403"/>
                </a:lnTo>
                <a:lnTo>
                  <a:pt x="89" y="403"/>
                </a:lnTo>
                <a:lnTo>
                  <a:pt x="63" y="403"/>
                </a:lnTo>
                <a:lnTo>
                  <a:pt x="58" y="403"/>
                </a:lnTo>
                <a:lnTo>
                  <a:pt x="55" y="399"/>
                </a:lnTo>
                <a:lnTo>
                  <a:pt x="51" y="396"/>
                </a:lnTo>
                <a:lnTo>
                  <a:pt x="51" y="391"/>
                </a:lnTo>
                <a:lnTo>
                  <a:pt x="51" y="386"/>
                </a:lnTo>
                <a:lnTo>
                  <a:pt x="55" y="382"/>
                </a:lnTo>
                <a:lnTo>
                  <a:pt x="58" y="379"/>
                </a:lnTo>
                <a:lnTo>
                  <a:pt x="63" y="379"/>
                </a:lnTo>
                <a:close/>
                <a:moveTo>
                  <a:pt x="378" y="265"/>
                </a:moveTo>
                <a:lnTo>
                  <a:pt x="384" y="265"/>
                </a:lnTo>
                <a:lnTo>
                  <a:pt x="389" y="269"/>
                </a:lnTo>
                <a:lnTo>
                  <a:pt x="391" y="272"/>
                </a:lnTo>
                <a:lnTo>
                  <a:pt x="392" y="277"/>
                </a:lnTo>
                <a:lnTo>
                  <a:pt x="391" y="282"/>
                </a:lnTo>
                <a:lnTo>
                  <a:pt x="389" y="286"/>
                </a:lnTo>
                <a:lnTo>
                  <a:pt x="296" y="379"/>
                </a:lnTo>
                <a:lnTo>
                  <a:pt x="299" y="386"/>
                </a:lnTo>
                <a:lnTo>
                  <a:pt x="303" y="394"/>
                </a:lnTo>
                <a:lnTo>
                  <a:pt x="303" y="403"/>
                </a:lnTo>
                <a:lnTo>
                  <a:pt x="299" y="424"/>
                </a:lnTo>
                <a:lnTo>
                  <a:pt x="289" y="439"/>
                </a:lnTo>
                <a:lnTo>
                  <a:pt x="272" y="449"/>
                </a:lnTo>
                <a:lnTo>
                  <a:pt x="253" y="455"/>
                </a:lnTo>
                <a:lnTo>
                  <a:pt x="234" y="449"/>
                </a:lnTo>
                <a:lnTo>
                  <a:pt x="217" y="439"/>
                </a:lnTo>
                <a:lnTo>
                  <a:pt x="206" y="424"/>
                </a:lnTo>
                <a:lnTo>
                  <a:pt x="203" y="403"/>
                </a:lnTo>
                <a:lnTo>
                  <a:pt x="206" y="384"/>
                </a:lnTo>
                <a:lnTo>
                  <a:pt x="217" y="368"/>
                </a:lnTo>
                <a:lnTo>
                  <a:pt x="234" y="356"/>
                </a:lnTo>
                <a:lnTo>
                  <a:pt x="253" y="353"/>
                </a:lnTo>
                <a:lnTo>
                  <a:pt x="261" y="355"/>
                </a:lnTo>
                <a:lnTo>
                  <a:pt x="270" y="356"/>
                </a:lnTo>
                <a:lnTo>
                  <a:pt x="279" y="360"/>
                </a:lnTo>
                <a:lnTo>
                  <a:pt x="370" y="269"/>
                </a:lnTo>
                <a:lnTo>
                  <a:pt x="375" y="265"/>
                </a:lnTo>
                <a:lnTo>
                  <a:pt x="378" y="265"/>
                </a:lnTo>
                <a:close/>
                <a:moveTo>
                  <a:pt x="124" y="246"/>
                </a:moveTo>
                <a:lnTo>
                  <a:pt x="129" y="246"/>
                </a:lnTo>
                <a:lnTo>
                  <a:pt x="132" y="250"/>
                </a:lnTo>
                <a:lnTo>
                  <a:pt x="149" y="267"/>
                </a:lnTo>
                <a:lnTo>
                  <a:pt x="153" y="272"/>
                </a:lnTo>
                <a:lnTo>
                  <a:pt x="155" y="277"/>
                </a:lnTo>
                <a:lnTo>
                  <a:pt x="153" y="281"/>
                </a:lnTo>
                <a:lnTo>
                  <a:pt x="149" y="286"/>
                </a:lnTo>
                <a:lnTo>
                  <a:pt x="146" y="288"/>
                </a:lnTo>
                <a:lnTo>
                  <a:pt x="141" y="289"/>
                </a:lnTo>
                <a:lnTo>
                  <a:pt x="136" y="288"/>
                </a:lnTo>
                <a:lnTo>
                  <a:pt x="132" y="286"/>
                </a:lnTo>
                <a:lnTo>
                  <a:pt x="115" y="267"/>
                </a:lnTo>
                <a:lnTo>
                  <a:pt x="112" y="263"/>
                </a:lnTo>
                <a:lnTo>
                  <a:pt x="110" y="258"/>
                </a:lnTo>
                <a:lnTo>
                  <a:pt x="112" y="255"/>
                </a:lnTo>
                <a:lnTo>
                  <a:pt x="115" y="250"/>
                </a:lnTo>
                <a:lnTo>
                  <a:pt x="118" y="246"/>
                </a:lnTo>
                <a:lnTo>
                  <a:pt x="124" y="246"/>
                </a:lnTo>
                <a:close/>
                <a:moveTo>
                  <a:pt x="253" y="201"/>
                </a:moveTo>
                <a:lnTo>
                  <a:pt x="258" y="203"/>
                </a:lnTo>
                <a:lnTo>
                  <a:pt x="261" y="205"/>
                </a:lnTo>
                <a:lnTo>
                  <a:pt x="265" y="208"/>
                </a:lnTo>
                <a:lnTo>
                  <a:pt x="265" y="213"/>
                </a:lnTo>
                <a:lnTo>
                  <a:pt x="265" y="239"/>
                </a:lnTo>
                <a:lnTo>
                  <a:pt x="265" y="244"/>
                </a:lnTo>
                <a:lnTo>
                  <a:pt x="261" y="248"/>
                </a:lnTo>
                <a:lnTo>
                  <a:pt x="258" y="251"/>
                </a:lnTo>
                <a:lnTo>
                  <a:pt x="253" y="251"/>
                </a:lnTo>
                <a:lnTo>
                  <a:pt x="248" y="251"/>
                </a:lnTo>
                <a:lnTo>
                  <a:pt x="244" y="248"/>
                </a:lnTo>
                <a:lnTo>
                  <a:pt x="241" y="244"/>
                </a:lnTo>
                <a:lnTo>
                  <a:pt x="241" y="239"/>
                </a:lnTo>
                <a:lnTo>
                  <a:pt x="241" y="213"/>
                </a:lnTo>
                <a:lnTo>
                  <a:pt x="241" y="208"/>
                </a:lnTo>
                <a:lnTo>
                  <a:pt x="244" y="205"/>
                </a:lnTo>
                <a:lnTo>
                  <a:pt x="248" y="203"/>
                </a:lnTo>
                <a:lnTo>
                  <a:pt x="253" y="201"/>
                </a:lnTo>
                <a:close/>
                <a:moveTo>
                  <a:pt x="48" y="186"/>
                </a:moveTo>
                <a:lnTo>
                  <a:pt x="44" y="188"/>
                </a:lnTo>
                <a:lnTo>
                  <a:pt x="39" y="191"/>
                </a:lnTo>
                <a:lnTo>
                  <a:pt x="38" y="195"/>
                </a:lnTo>
                <a:lnTo>
                  <a:pt x="36" y="200"/>
                </a:lnTo>
                <a:lnTo>
                  <a:pt x="38" y="205"/>
                </a:lnTo>
                <a:lnTo>
                  <a:pt x="39" y="208"/>
                </a:lnTo>
                <a:lnTo>
                  <a:pt x="65" y="234"/>
                </a:lnTo>
                <a:lnTo>
                  <a:pt x="74" y="226"/>
                </a:lnTo>
                <a:lnTo>
                  <a:pt x="84" y="217"/>
                </a:lnTo>
                <a:lnTo>
                  <a:pt x="58" y="191"/>
                </a:lnTo>
                <a:lnTo>
                  <a:pt x="53" y="188"/>
                </a:lnTo>
                <a:lnTo>
                  <a:pt x="48" y="186"/>
                </a:lnTo>
                <a:close/>
                <a:moveTo>
                  <a:pt x="458" y="186"/>
                </a:moveTo>
                <a:lnTo>
                  <a:pt x="453" y="188"/>
                </a:lnTo>
                <a:lnTo>
                  <a:pt x="447" y="191"/>
                </a:lnTo>
                <a:lnTo>
                  <a:pt x="422" y="217"/>
                </a:lnTo>
                <a:lnTo>
                  <a:pt x="432" y="226"/>
                </a:lnTo>
                <a:lnTo>
                  <a:pt x="440" y="234"/>
                </a:lnTo>
                <a:lnTo>
                  <a:pt x="466" y="208"/>
                </a:lnTo>
                <a:lnTo>
                  <a:pt x="468" y="205"/>
                </a:lnTo>
                <a:lnTo>
                  <a:pt x="470" y="200"/>
                </a:lnTo>
                <a:lnTo>
                  <a:pt x="468" y="195"/>
                </a:lnTo>
                <a:lnTo>
                  <a:pt x="466" y="191"/>
                </a:lnTo>
                <a:lnTo>
                  <a:pt x="461" y="188"/>
                </a:lnTo>
                <a:lnTo>
                  <a:pt x="458" y="186"/>
                </a:lnTo>
                <a:close/>
                <a:moveTo>
                  <a:pt x="253" y="176"/>
                </a:moveTo>
                <a:lnTo>
                  <a:pt x="206" y="181"/>
                </a:lnTo>
                <a:lnTo>
                  <a:pt x="165" y="195"/>
                </a:lnTo>
                <a:lnTo>
                  <a:pt x="125" y="215"/>
                </a:lnTo>
                <a:lnTo>
                  <a:pt x="93" y="243"/>
                </a:lnTo>
                <a:lnTo>
                  <a:pt x="65" y="277"/>
                </a:lnTo>
                <a:lnTo>
                  <a:pt x="43" y="315"/>
                </a:lnTo>
                <a:lnTo>
                  <a:pt x="31" y="358"/>
                </a:lnTo>
                <a:lnTo>
                  <a:pt x="26" y="403"/>
                </a:lnTo>
                <a:lnTo>
                  <a:pt x="31" y="449"/>
                </a:lnTo>
                <a:lnTo>
                  <a:pt x="43" y="492"/>
                </a:lnTo>
                <a:lnTo>
                  <a:pt x="65" y="530"/>
                </a:lnTo>
                <a:lnTo>
                  <a:pt x="93" y="565"/>
                </a:lnTo>
                <a:lnTo>
                  <a:pt x="125" y="592"/>
                </a:lnTo>
                <a:lnTo>
                  <a:pt x="165" y="613"/>
                </a:lnTo>
                <a:lnTo>
                  <a:pt x="206" y="627"/>
                </a:lnTo>
                <a:lnTo>
                  <a:pt x="253" y="630"/>
                </a:lnTo>
                <a:lnTo>
                  <a:pt x="299" y="627"/>
                </a:lnTo>
                <a:lnTo>
                  <a:pt x="341" y="613"/>
                </a:lnTo>
                <a:lnTo>
                  <a:pt x="380" y="592"/>
                </a:lnTo>
                <a:lnTo>
                  <a:pt x="413" y="565"/>
                </a:lnTo>
                <a:lnTo>
                  <a:pt x="440" y="530"/>
                </a:lnTo>
                <a:lnTo>
                  <a:pt x="463" y="492"/>
                </a:lnTo>
                <a:lnTo>
                  <a:pt x="475" y="449"/>
                </a:lnTo>
                <a:lnTo>
                  <a:pt x="480" y="403"/>
                </a:lnTo>
                <a:lnTo>
                  <a:pt x="475" y="358"/>
                </a:lnTo>
                <a:lnTo>
                  <a:pt x="463" y="315"/>
                </a:lnTo>
                <a:lnTo>
                  <a:pt x="440" y="277"/>
                </a:lnTo>
                <a:lnTo>
                  <a:pt x="413" y="243"/>
                </a:lnTo>
                <a:lnTo>
                  <a:pt x="380" y="215"/>
                </a:lnTo>
                <a:lnTo>
                  <a:pt x="341" y="195"/>
                </a:lnTo>
                <a:lnTo>
                  <a:pt x="299" y="181"/>
                </a:lnTo>
                <a:lnTo>
                  <a:pt x="253" y="176"/>
                </a:lnTo>
                <a:close/>
                <a:moveTo>
                  <a:pt x="241" y="100"/>
                </a:moveTo>
                <a:lnTo>
                  <a:pt x="241" y="151"/>
                </a:lnTo>
                <a:lnTo>
                  <a:pt x="253" y="151"/>
                </a:lnTo>
                <a:lnTo>
                  <a:pt x="265" y="151"/>
                </a:lnTo>
                <a:lnTo>
                  <a:pt x="265" y="100"/>
                </a:lnTo>
                <a:lnTo>
                  <a:pt x="241" y="100"/>
                </a:lnTo>
                <a:close/>
                <a:moveTo>
                  <a:pt x="203" y="24"/>
                </a:moveTo>
                <a:lnTo>
                  <a:pt x="194" y="26"/>
                </a:lnTo>
                <a:lnTo>
                  <a:pt x="187" y="29"/>
                </a:lnTo>
                <a:lnTo>
                  <a:pt x="182" y="34"/>
                </a:lnTo>
                <a:lnTo>
                  <a:pt x="179" y="41"/>
                </a:lnTo>
                <a:lnTo>
                  <a:pt x="177" y="50"/>
                </a:lnTo>
                <a:lnTo>
                  <a:pt x="179" y="58"/>
                </a:lnTo>
                <a:lnTo>
                  <a:pt x="182" y="65"/>
                </a:lnTo>
                <a:lnTo>
                  <a:pt x="187" y="71"/>
                </a:lnTo>
                <a:lnTo>
                  <a:pt x="194" y="74"/>
                </a:lnTo>
                <a:lnTo>
                  <a:pt x="203" y="76"/>
                </a:lnTo>
                <a:lnTo>
                  <a:pt x="303" y="76"/>
                </a:lnTo>
                <a:lnTo>
                  <a:pt x="311" y="74"/>
                </a:lnTo>
                <a:lnTo>
                  <a:pt x="318" y="71"/>
                </a:lnTo>
                <a:lnTo>
                  <a:pt x="323" y="65"/>
                </a:lnTo>
                <a:lnTo>
                  <a:pt x="327" y="58"/>
                </a:lnTo>
                <a:lnTo>
                  <a:pt x="329" y="50"/>
                </a:lnTo>
                <a:lnTo>
                  <a:pt x="327" y="41"/>
                </a:lnTo>
                <a:lnTo>
                  <a:pt x="323" y="34"/>
                </a:lnTo>
                <a:lnTo>
                  <a:pt x="318" y="29"/>
                </a:lnTo>
                <a:lnTo>
                  <a:pt x="311" y="26"/>
                </a:lnTo>
                <a:lnTo>
                  <a:pt x="303" y="24"/>
                </a:lnTo>
                <a:lnTo>
                  <a:pt x="203" y="24"/>
                </a:lnTo>
                <a:close/>
                <a:moveTo>
                  <a:pt x="203" y="0"/>
                </a:moveTo>
                <a:lnTo>
                  <a:pt x="303" y="0"/>
                </a:lnTo>
                <a:lnTo>
                  <a:pt x="323" y="3"/>
                </a:lnTo>
                <a:lnTo>
                  <a:pt x="339" y="14"/>
                </a:lnTo>
                <a:lnTo>
                  <a:pt x="349" y="31"/>
                </a:lnTo>
                <a:lnTo>
                  <a:pt x="354" y="50"/>
                </a:lnTo>
                <a:lnTo>
                  <a:pt x="349" y="69"/>
                </a:lnTo>
                <a:lnTo>
                  <a:pt x="339" y="86"/>
                </a:lnTo>
                <a:lnTo>
                  <a:pt x="323" y="96"/>
                </a:lnTo>
                <a:lnTo>
                  <a:pt x="303" y="100"/>
                </a:lnTo>
                <a:lnTo>
                  <a:pt x="291" y="100"/>
                </a:lnTo>
                <a:lnTo>
                  <a:pt x="291" y="155"/>
                </a:lnTo>
                <a:lnTo>
                  <a:pt x="330" y="164"/>
                </a:lnTo>
                <a:lnTo>
                  <a:pt x="368" y="179"/>
                </a:lnTo>
                <a:lnTo>
                  <a:pt x="403" y="200"/>
                </a:lnTo>
                <a:lnTo>
                  <a:pt x="430" y="172"/>
                </a:lnTo>
                <a:lnTo>
                  <a:pt x="442" y="165"/>
                </a:lnTo>
                <a:lnTo>
                  <a:pt x="458" y="162"/>
                </a:lnTo>
                <a:lnTo>
                  <a:pt x="471" y="165"/>
                </a:lnTo>
                <a:lnTo>
                  <a:pt x="484" y="172"/>
                </a:lnTo>
                <a:lnTo>
                  <a:pt x="489" y="179"/>
                </a:lnTo>
                <a:lnTo>
                  <a:pt x="492" y="184"/>
                </a:lnTo>
                <a:lnTo>
                  <a:pt x="494" y="191"/>
                </a:lnTo>
                <a:lnTo>
                  <a:pt x="496" y="200"/>
                </a:lnTo>
                <a:lnTo>
                  <a:pt x="494" y="207"/>
                </a:lnTo>
                <a:lnTo>
                  <a:pt x="492" y="213"/>
                </a:lnTo>
                <a:lnTo>
                  <a:pt x="489" y="220"/>
                </a:lnTo>
                <a:lnTo>
                  <a:pt x="484" y="226"/>
                </a:lnTo>
                <a:lnTo>
                  <a:pt x="456" y="255"/>
                </a:lnTo>
                <a:lnTo>
                  <a:pt x="477" y="288"/>
                </a:lnTo>
                <a:lnTo>
                  <a:pt x="492" y="324"/>
                </a:lnTo>
                <a:lnTo>
                  <a:pt x="502" y="362"/>
                </a:lnTo>
                <a:lnTo>
                  <a:pt x="506" y="403"/>
                </a:lnTo>
                <a:lnTo>
                  <a:pt x="501" y="455"/>
                </a:lnTo>
                <a:lnTo>
                  <a:pt x="485" y="501"/>
                </a:lnTo>
                <a:lnTo>
                  <a:pt x="463" y="544"/>
                </a:lnTo>
                <a:lnTo>
                  <a:pt x="432" y="582"/>
                </a:lnTo>
                <a:lnTo>
                  <a:pt x="394" y="613"/>
                </a:lnTo>
                <a:lnTo>
                  <a:pt x="351" y="635"/>
                </a:lnTo>
                <a:lnTo>
                  <a:pt x="304" y="651"/>
                </a:lnTo>
                <a:lnTo>
                  <a:pt x="253" y="656"/>
                </a:lnTo>
                <a:lnTo>
                  <a:pt x="201" y="651"/>
                </a:lnTo>
                <a:lnTo>
                  <a:pt x="155" y="635"/>
                </a:lnTo>
                <a:lnTo>
                  <a:pt x="112" y="613"/>
                </a:lnTo>
                <a:lnTo>
                  <a:pt x="74" y="582"/>
                </a:lnTo>
                <a:lnTo>
                  <a:pt x="43" y="544"/>
                </a:lnTo>
                <a:lnTo>
                  <a:pt x="20" y="501"/>
                </a:lnTo>
                <a:lnTo>
                  <a:pt x="5" y="455"/>
                </a:lnTo>
                <a:lnTo>
                  <a:pt x="0" y="403"/>
                </a:lnTo>
                <a:lnTo>
                  <a:pt x="3" y="362"/>
                </a:lnTo>
                <a:lnTo>
                  <a:pt x="13" y="324"/>
                </a:lnTo>
                <a:lnTo>
                  <a:pt x="29" y="288"/>
                </a:lnTo>
                <a:lnTo>
                  <a:pt x="50" y="255"/>
                </a:lnTo>
                <a:lnTo>
                  <a:pt x="22" y="226"/>
                </a:lnTo>
                <a:lnTo>
                  <a:pt x="13" y="213"/>
                </a:lnTo>
                <a:lnTo>
                  <a:pt x="10" y="200"/>
                </a:lnTo>
                <a:lnTo>
                  <a:pt x="13" y="184"/>
                </a:lnTo>
                <a:lnTo>
                  <a:pt x="22" y="172"/>
                </a:lnTo>
                <a:lnTo>
                  <a:pt x="34" y="164"/>
                </a:lnTo>
                <a:lnTo>
                  <a:pt x="48" y="162"/>
                </a:lnTo>
                <a:lnTo>
                  <a:pt x="63" y="164"/>
                </a:lnTo>
                <a:lnTo>
                  <a:pt x="75" y="172"/>
                </a:lnTo>
                <a:lnTo>
                  <a:pt x="103" y="200"/>
                </a:lnTo>
                <a:lnTo>
                  <a:pt x="137" y="179"/>
                </a:lnTo>
                <a:lnTo>
                  <a:pt x="175" y="164"/>
                </a:lnTo>
                <a:lnTo>
                  <a:pt x="215" y="155"/>
                </a:lnTo>
                <a:lnTo>
                  <a:pt x="215" y="100"/>
                </a:lnTo>
                <a:lnTo>
                  <a:pt x="203" y="100"/>
                </a:lnTo>
                <a:lnTo>
                  <a:pt x="182" y="96"/>
                </a:lnTo>
                <a:lnTo>
                  <a:pt x="167" y="86"/>
                </a:lnTo>
                <a:lnTo>
                  <a:pt x="156" y="69"/>
                </a:lnTo>
                <a:lnTo>
                  <a:pt x="151" y="50"/>
                </a:lnTo>
                <a:lnTo>
                  <a:pt x="156" y="31"/>
                </a:lnTo>
                <a:lnTo>
                  <a:pt x="167" y="14"/>
                </a:lnTo>
                <a:lnTo>
                  <a:pt x="182" y="3"/>
                </a:lnTo>
                <a:lnTo>
                  <a:pt x="203" y="0"/>
                </a:lnTo>
                <a:close/>
              </a:path>
            </a:pathLst>
          </a:custGeom>
          <a:solidFill>
            <a:srgbClr val="DA203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Prostokąt 11">
            <a:extLst>
              <a:ext uri="{FF2B5EF4-FFF2-40B4-BE49-F238E27FC236}">
                <a16:creationId xmlns:a16="http://schemas.microsoft.com/office/drawing/2014/main" id="{67442479-A7C3-00D2-06FC-F5C49EE21AF4}"/>
              </a:ext>
            </a:extLst>
          </p:cNvPr>
          <p:cNvSpPr/>
          <p:nvPr/>
        </p:nvSpPr>
        <p:spPr>
          <a:xfrm>
            <a:off x="466067" y="346283"/>
            <a:ext cx="9738664" cy="77798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100000"/>
              </a:lnSpc>
              <a:spcBef>
                <a:spcPct val="0"/>
              </a:spcBef>
              <a:spcAft>
                <a:spcPts val="0"/>
              </a:spcAft>
              <a:buClrTx/>
              <a:buSzTx/>
              <a:buFontTx/>
              <a:buNone/>
              <a:tabLst/>
              <a:defRPr/>
            </a:pPr>
            <a:r>
              <a:rPr kumimoji="0" lang="pl-PL" sz="2400" b="1" i="0" u="none" strike="noStrike" kern="0" cap="none" spc="0" normalizeH="0" baseline="0" noProof="0" dirty="0">
                <a:ln>
                  <a:noFill/>
                </a:ln>
                <a:solidFill>
                  <a:srgbClr val="DA2038"/>
                </a:solidFill>
                <a:effectLst/>
                <a:uLnTx/>
                <a:uFillTx/>
              </a:rPr>
              <a:t>Financial </a:t>
            </a:r>
            <a:r>
              <a:rPr kumimoji="0" lang="pl-PL" sz="2400" b="1" i="0" u="none" strike="noStrike" kern="0" cap="none" spc="0" normalizeH="0" baseline="0" noProof="0" dirty="0" err="1">
                <a:ln>
                  <a:noFill/>
                </a:ln>
                <a:solidFill>
                  <a:srgbClr val="DA2038"/>
                </a:solidFill>
                <a:effectLst/>
                <a:uLnTx/>
                <a:uFillTx/>
              </a:rPr>
              <a:t>support</a:t>
            </a:r>
            <a:r>
              <a:rPr kumimoji="0" lang="pl-PL" sz="2400" b="1" i="0" u="none" strike="noStrike" kern="0" cap="none" spc="0" normalizeH="0" baseline="0" noProof="0" dirty="0">
                <a:ln>
                  <a:noFill/>
                </a:ln>
                <a:solidFill>
                  <a:srgbClr val="DA2038"/>
                </a:solidFill>
                <a:effectLst/>
                <a:uLnTx/>
                <a:uFillTx/>
              </a:rPr>
              <a:t> for </a:t>
            </a:r>
            <a:r>
              <a:rPr kumimoji="0" lang="pl-PL" sz="2400" b="1" i="0" u="none" strike="noStrike" kern="0" cap="none" spc="0" normalizeH="0" baseline="0" noProof="0" dirty="0" err="1">
                <a:ln>
                  <a:noFill/>
                </a:ln>
                <a:solidFill>
                  <a:srgbClr val="DA2038"/>
                </a:solidFill>
                <a:effectLst/>
                <a:uLnTx/>
                <a:uFillTx/>
              </a:rPr>
              <a:t>Polish</a:t>
            </a:r>
            <a:r>
              <a:rPr kumimoji="0" lang="pl-PL" sz="2400" b="1" i="0" u="none" strike="noStrike" kern="0" cap="none" spc="0" normalizeH="0" baseline="0" noProof="0" dirty="0">
                <a:ln>
                  <a:noFill/>
                </a:ln>
                <a:solidFill>
                  <a:srgbClr val="DA2038"/>
                </a:solidFill>
                <a:effectLst/>
                <a:uLnTx/>
                <a:uFillTx/>
              </a:rPr>
              <a:t> </a:t>
            </a:r>
            <a:r>
              <a:rPr kumimoji="0" lang="pl-PL" sz="2400" b="1" i="0" u="none" strike="noStrike" kern="0" cap="none" spc="0" normalizeH="0" baseline="0" noProof="0" dirty="0" err="1">
                <a:ln>
                  <a:noFill/>
                </a:ln>
                <a:solidFill>
                  <a:srgbClr val="DA2038"/>
                </a:solidFill>
                <a:effectLst/>
                <a:uLnTx/>
                <a:uFillTx/>
              </a:rPr>
              <a:t>Exporters</a:t>
            </a:r>
            <a:r>
              <a:rPr kumimoji="0" lang="pl-PL" sz="2400" b="1" i="0" u="none" strike="noStrike" kern="0" cap="none" spc="0" normalizeH="0" baseline="0" noProof="0" dirty="0">
                <a:ln>
                  <a:noFill/>
                </a:ln>
                <a:solidFill>
                  <a:srgbClr val="DA2038"/>
                </a:solidFill>
                <a:effectLst/>
                <a:uLnTx/>
                <a:uFillTx/>
              </a:rPr>
              <a:t>/</a:t>
            </a:r>
            <a:r>
              <a:rPr kumimoji="0" lang="pl-PL" sz="2400" b="1" i="0" u="none" strike="noStrike" kern="0" cap="none" spc="0" normalizeH="0" baseline="0" noProof="0" dirty="0" err="1">
                <a:ln>
                  <a:noFill/>
                </a:ln>
                <a:solidFill>
                  <a:srgbClr val="DA2038"/>
                </a:solidFill>
                <a:effectLst/>
                <a:uLnTx/>
                <a:uFillTx/>
              </a:rPr>
              <a:t>Investors</a:t>
            </a:r>
            <a:endParaRPr kumimoji="0" lang="pl-PL" sz="2400" b="1" i="0" u="none" strike="noStrike" kern="0" cap="none" spc="0" normalizeH="0" baseline="0" noProof="0" dirty="0">
              <a:ln>
                <a:noFill/>
              </a:ln>
              <a:solidFill>
                <a:srgbClr val="DA2038"/>
              </a:solidFill>
              <a:effectLst/>
              <a:uLnTx/>
              <a:uFillTx/>
            </a:endParaRPr>
          </a:p>
          <a:p>
            <a:pPr marL="0" marR="0" lvl="0" indent="0" defTabSz="914400" eaLnBrk="1" fontAlgn="auto" latinLnBrk="0" hangingPunct="1">
              <a:lnSpc>
                <a:spcPct val="100000"/>
              </a:lnSpc>
              <a:spcBef>
                <a:spcPct val="0"/>
              </a:spcBef>
              <a:spcAft>
                <a:spcPts val="0"/>
              </a:spcAft>
              <a:buClrTx/>
              <a:buSzTx/>
              <a:buFontTx/>
              <a:buNone/>
              <a:tabLst/>
              <a:defRPr/>
            </a:pPr>
            <a:r>
              <a:rPr kumimoji="0" lang="pl-PL" sz="2000" b="1" i="0" u="none" strike="noStrike" kern="0" cap="none" spc="0" normalizeH="0" baseline="0" noProof="0" dirty="0">
                <a:ln>
                  <a:noFill/>
                </a:ln>
                <a:solidFill>
                  <a:prstClr val="black">
                    <a:lumMod val="65000"/>
                    <a:lumOff val="35000"/>
                  </a:prstClr>
                </a:solidFill>
                <a:effectLst/>
                <a:uLnTx/>
                <a:uFillTx/>
              </a:rPr>
              <a:t>Financial </a:t>
            </a:r>
            <a:r>
              <a:rPr kumimoji="0" lang="pl-PL" sz="2000" b="1" i="0" u="none" strike="noStrike" kern="0" cap="none" spc="0" normalizeH="0" baseline="0" noProof="0" dirty="0" err="1">
                <a:ln>
                  <a:noFill/>
                </a:ln>
                <a:solidFill>
                  <a:prstClr val="black">
                    <a:lumMod val="65000"/>
                    <a:lumOff val="35000"/>
                  </a:prstClr>
                </a:solidFill>
                <a:effectLst/>
                <a:uLnTx/>
                <a:uFillTx/>
              </a:rPr>
              <a:t>instruments</a:t>
            </a:r>
            <a:r>
              <a:rPr kumimoji="0" lang="pl-PL" sz="2000" b="1" i="0" u="none" strike="noStrike" kern="0" cap="none" spc="0" normalizeH="0" baseline="0" noProof="0" dirty="0">
                <a:ln>
                  <a:noFill/>
                </a:ln>
                <a:solidFill>
                  <a:prstClr val="black">
                    <a:lumMod val="65000"/>
                    <a:lumOff val="35000"/>
                  </a:prstClr>
                </a:solidFill>
                <a:effectLst/>
                <a:uLnTx/>
                <a:uFillTx/>
              </a:rPr>
              <a:t> of BGK: a </a:t>
            </a:r>
            <a:r>
              <a:rPr kumimoji="0" lang="pl-PL" sz="2000" b="1" i="0" u="none" strike="noStrike" kern="0" cap="none" spc="0" normalizeH="0" baseline="0" noProof="0" dirty="0" err="1">
                <a:ln>
                  <a:noFill/>
                </a:ln>
                <a:solidFill>
                  <a:prstClr val="black">
                    <a:lumMod val="65000"/>
                    <a:lumOff val="35000"/>
                  </a:prstClr>
                </a:solidFill>
                <a:effectLst/>
                <a:uLnTx/>
                <a:uFillTx/>
              </a:rPr>
              <a:t>unique</a:t>
            </a:r>
            <a:r>
              <a:rPr kumimoji="0" lang="pl-PL" sz="2000" b="1" i="0" u="none" strike="noStrike" kern="0" cap="none" spc="0" normalizeH="0" baseline="0" noProof="0" dirty="0">
                <a:ln>
                  <a:noFill/>
                </a:ln>
                <a:solidFill>
                  <a:prstClr val="black">
                    <a:lumMod val="65000"/>
                    <a:lumOff val="35000"/>
                  </a:prstClr>
                </a:solidFill>
                <a:effectLst/>
                <a:uLnTx/>
                <a:uFillTx/>
              </a:rPr>
              <a:t> </a:t>
            </a:r>
            <a:r>
              <a:rPr kumimoji="0" lang="pl-PL" sz="2000" b="1" i="0" u="none" strike="noStrike" kern="0" cap="none" spc="0" normalizeH="0" baseline="0" noProof="0" dirty="0" err="1">
                <a:ln>
                  <a:noFill/>
                </a:ln>
                <a:solidFill>
                  <a:prstClr val="black">
                    <a:lumMod val="65000"/>
                    <a:lumOff val="35000"/>
                  </a:prstClr>
                </a:solidFill>
                <a:effectLst/>
                <a:uLnTx/>
                <a:uFillTx/>
              </a:rPr>
              <a:t>offer</a:t>
            </a:r>
            <a:endParaRPr kumimoji="0" lang="pl-PL" sz="2000" b="1" i="0" u="none" strike="noStrike" kern="0" cap="none" spc="0" normalizeH="0" baseline="0" noProof="0" dirty="0">
              <a:ln>
                <a:noFill/>
              </a:ln>
              <a:solidFill>
                <a:prstClr val="black">
                  <a:lumMod val="65000"/>
                  <a:lumOff val="35000"/>
                </a:prstClr>
              </a:solidFill>
              <a:effectLst/>
              <a:uLnTx/>
              <a:uFillTx/>
            </a:endParaRPr>
          </a:p>
          <a:p>
            <a:pPr marL="0" marR="0" lvl="0" indent="0" defTabSz="914400" eaLnBrk="1" fontAlgn="auto" latinLnBrk="0" hangingPunct="1">
              <a:lnSpc>
                <a:spcPct val="100000"/>
              </a:lnSpc>
              <a:spcBef>
                <a:spcPct val="0"/>
              </a:spcBef>
              <a:spcAft>
                <a:spcPts val="0"/>
              </a:spcAft>
              <a:buClrTx/>
              <a:buSzTx/>
              <a:buFontTx/>
              <a:buNone/>
              <a:tabLst/>
              <a:defRPr/>
            </a:pPr>
            <a:endParaRPr kumimoji="0" lang="pl-PL" sz="2400" b="1" i="0" u="none" strike="noStrike" kern="0" cap="none" spc="0" normalizeH="0" baseline="0" noProof="0" dirty="0">
              <a:ln>
                <a:noFill/>
              </a:ln>
              <a:solidFill>
                <a:srgbClr val="DA2038"/>
              </a:solidFill>
              <a:effectLst/>
              <a:uLnTx/>
              <a:uFillTx/>
            </a:endParaRPr>
          </a:p>
        </p:txBody>
      </p:sp>
    </p:spTree>
    <p:extLst>
      <p:ext uri="{BB962C8B-B14F-4D97-AF65-F5344CB8AC3E}">
        <p14:creationId xmlns:p14="http://schemas.microsoft.com/office/powerpoint/2010/main" val="42830035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3</a:t>
            </a:fld>
            <a:endParaRPr lang="en-US"/>
          </a:p>
        </p:txBody>
      </p:sp>
      <p:pic>
        <p:nvPicPr>
          <p:cNvPr id="2" name="Picture 2">
            <a:extLst>
              <a:ext uri="{FF2B5EF4-FFF2-40B4-BE49-F238E27FC236}">
                <a16:creationId xmlns:a16="http://schemas.microsoft.com/office/drawing/2014/main" id="{5F216870-DA7D-4BC3-8E4E-933D9F5CDC2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46720" y="0"/>
            <a:ext cx="4145280" cy="6858000"/>
          </a:xfrm>
          <a:prstGeom prst="rect">
            <a:avLst/>
          </a:prstGeom>
        </p:spPr>
      </p:pic>
      <p:sp>
        <p:nvSpPr>
          <p:cNvPr id="3" name="pole tekstowe 22">
            <a:extLst>
              <a:ext uri="{FF2B5EF4-FFF2-40B4-BE49-F238E27FC236}">
                <a16:creationId xmlns:a16="http://schemas.microsoft.com/office/drawing/2014/main" id="{C80AE9C2-4E47-233F-113F-D682763DF6F6}"/>
              </a:ext>
            </a:extLst>
          </p:cNvPr>
          <p:cNvSpPr txBox="1"/>
          <p:nvPr/>
        </p:nvSpPr>
        <p:spPr>
          <a:xfrm>
            <a:off x="466067" y="1623059"/>
            <a:ext cx="8220733" cy="4532081"/>
          </a:xfrm>
          <a:prstGeom prst="rect">
            <a:avLst/>
          </a:prstGeom>
          <a:solidFill>
            <a:schemeClr val="bg1"/>
          </a:solidFill>
          <a:effectLst>
            <a:outerShdw blurRad="190500" dist="50800" dir="1800000" algn="l" rotWithShape="0">
              <a:schemeClr val="tx1">
                <a:lumMod val="40000"/>
                <a:lumOff val="60000"/>
                <a:alpha val="40000"/>
              </a:schemeClr>
            </a:outerShdw>
          </a:effectLst>
        </p:spPr>
        <p:txBody>
          <a:bodyPr wrap="square" lIns="468000" tIns="72000" rIns="108000" bIns="72000" rtlCol="0" anchor="ctr">
            <a:noAutofit/>
          </a:bodyPr>
          <a:lstStyle/>
          <a:p>
            <a:endParaRPr lang="pl-PL" sz="1600" b="1" dirty="0">
              <a:solidFill>
                <a:schemeClr val="tx2"/>
              </a:solidFill>
            </a:endParaRPr>
          </a:p>
        </p:txBody>
      </p:sp>
      <p:sp>
        <p:nvSpPr>
          <p:cNvPr id="5" name="Prostokąt 11">
            <a:extLst>
              <a:ext uri="{FF2B5EF4-FFF2-40B4-BE49-F238E27FC236}">
                <a16:creationId xmlns:a16="http://schemas.microsoft.com/office/drawing/2014/main" id="{4E861D07-C2C9-8EB5-A125-8104F1AB4876}"/>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Polish</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company</a:t>
            </a:r>
            <a:r>
              <a:rPr lang="pl-PL" sz="2000" b="1" dirty="0">
                <a:solidFill>
                  <a:srgbClr val="595959"/>
                </a:solidFill>
                <a:latin typeface="Calibri" panose="020F0502020204030204" pitchFamily="34" charset="0"/>
              </a:rPr>
              <a:t> as </a:t>
            </a:r>
            <a:r>
              <a:rPr lang="pl-PL" sz="2000" b="1" dirty="0" err="1">
                <a:solidFill>
                  <a:srgbClr val="595959"/>
                </a:solidFill>
                <a:latin typeface="Calibri" panose="020F0502020204030204" pitchFamily="34" charset="0"/>
              </a:rPr>
              <a:t>a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investor</a:t>
            </a:r>
            <a:endParaRPr lang="pl-PL" sz="2000" b="1" dirty="0">
              <a:solidFill>
                <a:srgbClr val="595959"/>
              </a:solidFill>
              <a:latin typeface="Calibri" panose="020F0502020204030204" pitchFamily="34" charset="0"/>
            </a:endParaRPr>
          </a:p>
        </p:txBody>
      </p:sp>
      <p:graphicFrame>
        <p:nvGraphicFramePr>
          <p:cNvPr id="6" name="Tabela 3">
            <a:extLst>
              <a:ext uri="{FF2B5EF4-FFF2-40B4-BE49-F238E27FC236}">
                <a16:creationId xmlns:a16="http://schemas.microsoft.com/office/drawing/2014/main" id="{ED4D8512-71B4-FAB8-BAB3-F2E89795A1D2}"/>
              </a:ext>
            </a:extLst>
          </p:cNvPr>
          <p:cNvGraphicFramePr>
            <a:graphicFrameLocks noGrp="1"/>
          </p:cNvGraphicFramePr>
          <p:nvPr/>
        </p:nvGraphicFramePr>
        <p:xfrm>
          <a:off x="686150" y="1817051"/>
          <a:ext cx="7551070" cy="3662579"/>
        </p:xfrm>
        <a:graphic>
          <a:graphicData uri="http://schemas.openxmlformats.org/drawingml/2006/table">
            <a:tbl>
              <a:tblPr firstRow="1" bandRow="1">
                <a:tableStyleId>{7DF18680-E054-41AD-8BC1-D1AEF772440D}</a:tableStyleId>
              </a:tblPr>
              <a:tblGrid>
                <a:gridCol w="2018950">
                  <a:extLst>
                    <a:ext uri="{9D8B030D-6E8A-4147-A177-3AD203B41FA5}">
                      <a16:colId xmlns:a16="http://schemas.microsoft.com/office/drawing/2014/main" val="20000"/>
                    </a:ext>
                  </a:extLst>
                </a:gridCol>
                <a:gridCol w="5532120">
                  <a:extLst>
                    <a:ext uri="{9D8B030D-6E8A-4147-A177-3AD203B41FA5}">
                      <a16:colId xmlns:a16="http://schemas.microsoft.com/office/drawing/2014/main" val="20001"/>
                    </a:ext>
                  </a:extLst>
                </a:gridCol>
              </a:tblGrid>
              <a:tr h="297735">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Credit for a Polish company financing foreign</a:t>
                      </a:r>
                      <a:r>
                        <a:rPr lang="en-AU" sz="1600" b="1" kern="1200" baseline="0" noProof="0" dirty="0">
                          <a:solidFill>
                            <a:schemeClr val="accent1"/>
                          </a:solidFill>
                          <a:latin typeface="Calibri" panose="020F0502020204030204" pitchFamily="34" charset="0"/>
                          <a:ea typeface="+mn-ea"/>
                          <a:cs typeface="+mn-cs"/>
                        </a:rPr>
                        <a:t> investments / acquisitions</a:t>
                      </a:r>
                      <a:r>
                        <a:rPr lang="en-AU" sz="1600" b="1" kern="1200" noProof="0" dirty="0">
                          <a:solidFill>
                            <a:schemeClr val="accent1"/>
                          </a:solidFill>
                          <a:latin typeface="Calibri" panose="020F0502020204030204" pitchFamily="34" charset="0"/>
                          <a:ea typeface="+mn-ea"/>
                          <a:cs typeface="+mn-cs"/>
                        </a:rPr>
                        <a:t> </a:t>
                      </a:r>
                      <a:r>
                        <a:rPr lang="en-AU" sz="1800" b="1" kern="1200" noProof="0" dirty="0">
                          <a:solidFill>
                            <a:schemeClr val="accent1"/>
                          </a:solidFill>
                          <a:latin typeface="Calibri" panose="020F0502020204030204" pitchFamily="34" charset="0"/>
                          <a:ea typeface="+mn-ea"/>
                          <a:cs typeface="+mn-cs"/>
                        </a:rPr>
                        <a:t>	</a:t>
                      </a:r>
                    </a:p>
                  </a:txBody>
                  <a:tcPr marL="36000" marR="36000" marT="36000" marB="36000" anchor="b">
                    <a:lnB w="19050" cap="flat" cmpd="sng" algn="ctr">
                      <a:solidFill>
                        <a:schemeClr val="accent1"/>
                      </a:solidFill>
                      <a:prstDash val="solid"/>
                      <a:round/>
                      <a:headEnd type="none" w="med" len="med"/>
                      <a:tailEnd type="none" w="med" len="med"/>
                    </a:lnB>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pl-PL" sz="1400" b="1" kern="1200" dirty="0">
                        <a:solidFill>
                          <a:schemeClr val="bg1"/>
                        </a:solidFill>
                        <a:latin typeface="Calibri" panose="020F0502020204030204" pitchFamily="34" charset="0"/>
                        <a:ea typeface="+mn-ea"/>
                        <a:cs typeface="+mn-cs"/>
                      </a:endParaRPr>
                    </a:p>
                  </a:txBody>
                  <a:tcPr marL="36000" marR="36000" marT="36000" marB="36000" anchor="ctr">
                    <a:solidFill>
                      <a:schemeClr val="accent1"/>
                    </a:solidFill>
                  </a:tcPr>
                </a:tc>
                <a:extLst>
                  <a:ext uri="{0D108BD9-81ED-4DB2-BD59-A6C34878D82A}">
                    <a16:rowId xmlns:a16="http://schemas.microsoft.com/office/drawing/2014/main" val="10000"/>
                  </a:ext>
                </a:extLst>
              </a:tr>
              <a:tr h="5874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Main</a:t>
                      </a:r>
                      <a:r>
                        <a:rPr lang="en-AU" sz="1600" b="1" kern="1200" baseline="0" noProof="0" dirty="0">
                          <a:solidFill>
                            <a:schemeClr val="accent1"/>
                          </a:solidFill>
                          <a:latin typeface="Calibri" panose="020F0502020204030204" pitchFamily="34" charset="0"/>
                          <a:ea typeface="+mn-ea"/>
                          <a:cs typeface="+mn-cs"/>
                        </a:rPr>
                        <a:t> characteristics</a:t>
                      </a:r>
                      <a:endParaRPr lang="en-AU" sz="1600" b="1" kern="1200" noProof="0" dirty="0">
                        <a:solidFill>
                          <a:schemeClr val="accent1"/>
                        </a:solidFill>
                        <a:latin typeface="Calibri" panose="020F0502020204030204" pitchFamily="34" charset="0"/>
                        <a:ea typeface="+mn-ea"/>
                        <a:cs typeface="+mn-cs"/>
                      </a:endParaRPr>
                    </a:p>
                  </a:txBody>
                  <a:tcPr marL="36000" marR="36000" marT="36000" marB="36000">
                    <a:lnT w="19050" cap="flat" cmpd="sng" algn="ctr">
                      <a:solidFill>
                        <a:schemeClr val="accent1"/>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171450" marR="0" lvl="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Financing of projects</a:t>
                      </a:r>
                      <a:r>
                        <a:rPr lang="en-AU" sz="1400" b="0" kern="1200" baseline="0" noProof="0" dirty="0">
                          <a:solidFill>
                            <a:srgbClr val="595959"/>
                          </a:solidFill>
                          <a:latin typeface="+mn-lt"/>
                          <a:ea typeface="+mn-ea"/>
                          <a:cs typeface="+mn-cs"/>
                        </a:rPr>
                        <a:t> such as foreign</a:t>
                      </a:r>
                      <a:r>
                        <a:rPr lang="en-AU" sz="1400" b="0" kern="1200" noProof="0" dirty="0">
                          <a:solidFill>
                            <a:srgbClr val="595959"/>
                          </a:solidFill>
                          <a:latin typeface="+mn-lt"/>
                          <a:ea typeface="+mn-ea"/>
                          <a:cs typeface="+mn-cs"/>
                        </a:rPr>
                        <a:t> investments</a:t>
                      </a:r>
                      <a:r>
                        <a:rPr lang="en-AU" sz="1400" b="0" kern="1200" baseline="0" noProof="0" dirty="0">
                          <a:solidFill>
                            <a:srgbClr val="595959"/>
                          </a:solidFill>
                          <a:latin typeface="+mn-lt"/>
                          <a:ea typeface="+mn-ea"/>
                          <a:cs typeface="+mn-cs"/>
                        </a:rPr>
                        <a:t> and acquisitions</a:t>
                      </a:r>
                      <a:r>
                        <a:rPr lang="en-AU" sz="1400" b="0" kern="1200" noProof="0" dirty="0">
                          <a:solidFill>
                            <a:srgbClr val="595959"/>
                          </a:solidFill>
                          <a:latin typeface="+mn-lt"/>
                          <a:ea typeface="+mn-ea"/>
                          <a:cs typeface="+mn-cs"/>
                        </a:rPr>
                        <a:t>.</a:t>
                      </a:r>
                    </a:p>
                    <a:p>
                      <a:pPr marL="171450" marR="0" lvl="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Polish corporate group or an</a:t>
                      </a:r>
                      <a:r>
                        <a:rPr lang="en-AU" sz="1400" b="0" kern="1200" baseline="0" noProof="0" dirty="0">
                          <a:solidFill>
                            <a:srgbClr val="595959"/>
                          </a:solidFill>
                          <a:latin typeface="+mn-lt"/>
                          <a:ea typeface="+mn-ea"/>
                          <a:cs typeface="+mn-cs"/>
                        </a:rPr>
                        <a:t> enterprise as the main foreign investor</a:t>
                      </a:r>
                      <a:r>
                        <a:rPr lang="en-AU" sz="1400" b="0" kern="1200" noProof="0" dirty="0">
                          <a:solidFill>
                            <a:srgbClr val="595959"/>
                          </a:solidFill>
                          <a:latin typeface="+mn-lt"/>
                          <a:ea typeface="+mn-ea"/>
                          <a:cs typeface="+mn-cs"/>
                        </a:rPr>
                        <a:t>.</a:t>
                      </a:r>
                    </a:p>
                    <a:p>
                      <a:pPr marL="171450" marR="0" lvl="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Possible cooperation</a:t>
                      </a:r>
                      <a:r>
                        <a:rPr lang="en-AU" sz="1400" b="0" kern="1200" baseline="0" noProof="0" dirty="0">
                          <a:solidFill>
                            <a:srgbClr val="595959"/>
                          </a:solidFill>
                          <a:latin typeface="+mn-lt"/>
                          <a:ea typeface="+mn-ea"/>
                          <a:cs typeface="+mn-cs"/>
                        </a:rPr>
                        <a:t> with Polish and foreign commercial banks.</a:t>
                      </a:r>
                      <a:endParaRPr lang="en-AU" sz="1400" b="0" kern="1200" noProof="0" dirty="0">
                        <a:solidFill>
                          <a:srgbClr val="595959"/>
                        </a:solidFill>
                        <a:latin typeface="+mn-lt"/>
                        <a:ea typeface="+mn-ea"/>
                        <a:cs typeface="+mn-cs"/>
                      </a:endParaRPr>
                    </a:p>
                  </a:txBody>
                  <a:tcPr marL="36000" marR="36000" marT="36000" marB="36000">
                    <a:lnT w="19050" cap="flat" cmpd="sng" algn="ctr">
                      <a:solidFill>
                        <a:schemeClr val="accent1"/>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10001"/>
                  </a:ext>
                </a:extLst>
              </a:tr>
              <a:tr h="659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rgbClr val="DA2038"/>
                          </a:solidFill>
                          <a:latin typeface="Calibri" panose="020F0502020204030204" pitchFamily="34" charset="0"/>
                          <a:ea typeface="+mn-ea"/>
                          <a:cs typeface="+mn-cs"/>
                        </a:rPr>
                        <a:t>Financing</a:t>
                      </a:r>
                      <a:r>
                        <a:rPr lang="en-AU" sz="1600" b="1" kern="1200" baseline="0" noProof="0" dirty="0">
                          <a:solidFill>
                            <a:srgbClr val="DA2038"/>
                          </a:solidFill>
                          <a:latin typeface="Calibri" panose="020F0502020204030204" pitchFamily="34" charset="0"/>
                          <a:ea typeface="+mn-ea"/>
                          <a:cs typeface="+mn-cs"/>
                        </a:rPr>
                        <a:t> type</a:t>
                      </a:r>
                      <a:endParaRPr lang="en-AU" sz="1600" b="1" kern="1200" noProof="0" dirty="0">
                        <a:solidFill>
                          <a:srgbClr val="DA2038"/>
                        </a:solidFill>
                        <a:latin typeface="Calibri" panose="020F0502020204030204" pitchFamily="34" charset="0"/>
                        <a:ea typeface="+mn-ea"/>
                        <a:cs typeface="+mn-cs"/>
                      </a:endParaRPr>
                    </a:p>
                  </a:txBody>
                  <a:tcPr marL="36000" marR="36000" marT="36000" marB="36000">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0" marR="0" indent="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None/>
                        <a:tabLst/>
                        <a:defRPr/>
                      </a:pPr>
                      <a:r>
                        <a:rPr lang="en-AU" sz="1400" b="0" kern="1200" noProof="0" dirty="0">
                          <a:solidFill>
                            <a:srgbClr val="595959"/>
                          </a:solidFill>
                          <a:latin typeface="+mn-lt"/>
                          <a:ea typeface="+mn-ea"/>
                          <a:cs typeface="+mn-cs"/>
                        </a:rPr>
                        <a:t>Long-term investment</a:t>
                      </a:r>
                      <a:r>
                        <a:rPr lang="en-AU" sz="1400" b="0" kern="1200" baseline="0" noProof="0" dirty="0">
                          <a:solidFill>
                            <a:srgbClr val="595959"/>
                          </a:solidFill>
                          <a:latin typeface="+mn-lt"/>
                          <a:ea typeface="+mn-ea"/>
                          <a:cs typeface="+mn-cs"/>
                        </a:rPr>
                        <a:t> financing, based on a Polish investor’s financial standing / foreign entity or the project’s assets</a:t>
                      </a:r>
                      <a:endParaRPr lang="en-AU" sz="1400" b="0" kern="1200" noProof="0" dirty="0">
                        <a:solidFill>
                          <a:srgbClr val="595959"/>
                        </a:solidFill>
                        <a:latin typeface="+mn-lt"/>
                        <a:ea typeface="+mn-ea"/>
                        <a:cs typeface="+mn-cs"/>
                      </a:endParaRP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10002"/>
                  </a:ext>
                </a:extLst>
              </a:tr>
              <a:tr h="428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Credit</a:t>
                      </a:r>
                      <a:r>
                        <a:rPr lang="en-AU" sz="1600" b="1" kern="1200" baseline="0" noProof="0" dirty="0">
                          <a:solidFill>
                            <a:schemeClr val="accent1"/>
                          </a:solidFill>
                          <a:latin typeface="Calibri" panose="020F0502020204030204" pitchFamily="34" charset="0"/>
                          <a:ea typeface="+mn-ea"/>
                          <a:cs typeface="+mn-cs"/>
                        </a:rPr>
                        <a:t> amount</a:t>
                      </a:r>
                      <a:endParaRPr lang="en-AU" sz="1600" b="1" kern="1200" noProof="0" dirty="0">
                        <a:solidFill>
                          <a:schemeClr val="accent1"/>
                        </a:solidFill>
                        <a:latin typeface="Calibri" panose="020F0502020204030204" pitchFamily="34" charset="0"/>
                        <a:ea typeface="+mn-ea"/>
                        <a:cs typeface="+mn-cs"/>
                      </a:endParaRP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AU" sz="1400" b="0" kern="1200" noProof="0" dirty="0">
                          <a:solidFill>
                            <a:srgbClr val="595959"/>
                          </a:solidFill>
                          <a:latin typeface="+mn-lt"/>
                          <a:ea typeface="+mn-ea"/>
                          <a:cs typeface="+mn-cs"/>
                        </a:rPr>
                        <a:t>Assessed</a:t>
                      </a:r>
                      <a:r>
                        <a:rPr lang="en-AU" sz="1400" b="0" kern="1200" baseline="0" noProof="0" dirty="0">
                          <a:solidFill>
                            <a:srgbClr val="595959"/>
                          </a:solidFill>
                          <a:latin typeface="+mn-lt"/>
                          <a:ea typeface="+mn-ea"/>
                          <a:cs typeface="+mn-cs"/>
                        </a:rPr>
                        <a:t> case-by-case, according to the profile of the transaction, </a:t>
                      </a:r>
                      <a:br>
                        <a:rPr lang="pl-PL" sz="1400" b="0" kern="1200" baseline="0" noProof="0" dirty="0">
                          <a:solidFill>
                            <a:srgbClr val="595959"/>
                          </a:solidFill>
                          <a:latin typeface="+mn-lt"/>
                          <a:ea typeface="+mn-ea"/>
                          <a:cs typeface="+mn-cs"/>
                        </a:rPr>
                      </a:br>
                      <a:r>
                        <a:rPr lang="en-AU" sz="1400" b="0" kern="1200" noProof="0" dirty="0">
                          <a:solidFill>
                            <a:srgbClr val="595959"/>
                          </a:solidFill>
                          <a:latin typeface="+mn-lt"/>
                          <a:ea typeface="+mn-ea"/>
                          <a:cs typeface="+mn-cs"/>
                        </a:rPr>
                        <a:t>min. 5 m</a:t>
                      </a:r>
                      <a:r>
                        <a:rPr lang="pl-PL" sz="1400" b="0" kern="1200" baseline="0" noProof="0" dirty="0">
                          <a:solidFill>
                            <a:srgbClr val="595959"/>
                          </a:solidFill>
                          <a:latin typeface="+mn-lt"/>
                          <a:ea typeface="+mn-ea"/>
                          <a:cs typeface="+mn-cs"/>
                        </a:rPr>
                        <a:t> </a:t>
                      </a:r>
                      <a:r>
                        <a:rPr lang="en-AU" sz="1400" b="0" kern="1200" noProof="0" dirty="0">
                          <a:solidFill>
                            <a:srgbClr val="595959"/>
                          </a:solidFill>
                          <a:latin typeface="+mn-lt"/>
                          <a:ea typeface="+mn-ea"/>
                          <a:cs typeface="+mn-cs"/>
                        </a:rPr>
                        <a:t>EUR</a:t>
                      </a: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10003"/>
                  </a:ext>
                </a:extLst>
              </a:tr>
              <a:tr h="734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Costs of financing</a:t>
                      </a:r>
                    </a:p>
                  </a:txBody>
                  <a:tcPr marL="36000" marR="36000" marT="36000" marB="36000">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tc>
                  <a:txBody>
                    <a:bodyPr/>
                    <a:lstStyle/>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Reference rate + margin</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AU" sz="1400" b="0" kern="1200" noProof="0" dirty="0">
                          <a:solidFill>
                            <a:srgbClr val="595959"/>
                          </a:solidFill>
                          <a:latin typeface="+mn-lt"/>
                          <a:ea typeface="+mn-ea"/>
                          <a:cs typeface="+mn-cs"/>
                        </a:rPr>
                        <a:t>Arrangement</a:t>
                      </a:r>
                      <a:r>
                        <a:rPr lang="en-AU" sz="1400" b="0" kern="1200" baseline="0" noProof="0" dirty="0">
                          <a:solidFill>
                            <a:srgbClr val="595959"/>
                          </a:solidFill>
                          <a:latin typeface="+mn-lt"/>
                          <a:ea typeface="+mn-ea"/>
                          <a:cs typeface="+mn-cs"/>
                        </a:rPr>
                        <a:t> fee</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GB" sz="1400" b="0" kern="1200" noProof="0" dirty="0">
                          <a:solidFill>
                            <a:srgbClr val="595959"/>
                          </a:solidFill>
                          <a:latin typeface="+mn-lt"/>
                          <a:ea typeface="+mn-ea"/>
                          <a:cs typeface="+mn-cs"/>
                        </a:rPr>
                        <a:t>Commitment fee</a:t>
                      </a:r>
                    </a:p>
                  </a:txBody>
                  <a:tcPr marL="36000" marR="36000" marT="36000" marB="36000" anchor="ctr">
                    <a:lnT w="9525" cap="flat" cmpd="sng" algn="ctr">
                      <a:solidFill>
                        <a:srgbClr val="E2E3E5"/>
                      </a:solidFill>
                      <a:prstDash val="solid"/>
                      <a:round/>
                      <a:headEnd type="none" w="med" len="med"/>
                      <a:tailEnd type="none" w="med" len="med"/>
                    </a:lnT>
                    <a:lnB w="9525" cap="flat" cmpd="sng" algn="ctr">
                      <a:solidFill>
                        <a:srgbClr val="E2E3E5"/>
                      </a:solidFill>
                      <a:prstDash val="solid"/>
                      <a:round/>
                      <a:headEnd type="none" w="med" len="med"/>
                      <a:tailEnd type="none" w="med" len="med"/>
                    </a:lnB>
                    <a:noFill/>
                  </a:tcPr>
                </a:tc>
                <a:extLst>
                  <a:ext uri="{0D108BD9-81ED-4DB2-BD59-A6C34878D82A}">
                    <a16:rowId xmlns:a16="http://schemas.microsoft.com/office/drawing/2014/main" val="871586798"/>
                  </a:ext>
                </a:extLst>
              </a:tr>
              <a:tr h="6880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600" b="1" kern="1200" noProof="0" dirty="0">
                          <a:solidFill>
                            <a:schemeClr val="accent1"/>
                          </a:solidFill>
                          <a:latin typeface="Calibri" panose="020F0502020204030204" pitchFamily="34" charset="0"/>
                          <a:ea typeface="+mn-ea"/>
                          <a:cs typeface="+mn-cs"/>
                        </a:rPr>
                        <a:t>Securities</a:t>
                      </a:r>
                    </a:p>
                  </a:txBody>
                  <a:tcPr marL="36000" marR="36000" marT="36000" marB="36000">
                    <a:lnT w="9525" cap="flat" cmpd="sng" algn="ctr">
                      <a:solidFill>
                        <a:srgbClr val="E2E3E5"/>
                      </a:solidFill>
                      <a:prstDash val="solid"/>
                      <a:round/>
                      <a:headEnd type="none" w="med" len="med"/>
                      <a:tailEnd type="none" w="med" len="med"/>
                    </a:lnT>
                    <a:noFill/>
                  </a:tcPr>
                </a:tc>
                <a:tc>
                  <a:txBody>
                    <a:bodyPr/>
                    <a:lstStyle/>
                    <a:p>
                      <a:pPr marL="0" marR="0" indent="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None/>
                        <a:tabLst/>
                        <a:defRPr/>
                      </a:pPr>
                      <a:r>
                        <a:rPr lang="en-GB" sz="1400" b="0" kern="1200" noProof="0" dirty="0">
                          <a:solidFill>
                            <a:srgbClr val="595959"/>
                          </a:solidFill>
                          <a:latin typeface="+mn-lt"/>
                          <a:ea typeface="+mn-ea"/>
                          <a:cs typeface="+mn-cs"/>
                        </a:rPr>
                        <a:t>Standard and according to the financing type, including:</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GB" sz="1400" b="0" kern="1200" noProof="0" dirty="0">
                          <a:solidFill>
                            <a:srgbClr val="595959"/>
                          </a:solidFill>
                          <a:latin typeface="+mn-lt"/>
                          <a:ea typeface="+mn-ea"/>
                          <a:cs typeface="+mn-cs"/>
                        </a:rPr>
                        <a:t>assets-based </a:t>
                      </a:r>
                      <a:r>
                        <a:rPr lang="pl-PL" sz="1400" b="0" kern="1200" noProof="0" dirty="0">
                          <a:solidFill>
                            <a:srgbClr val="595959"/>
                          </a:solidFill>
                          <a:latin typeface="+mn-lt"/>
                          <a:ea typeface="+mn-ea"/>
                          <a:cs typeface="+mn-cs"/>
                        </a:rPr>
                        <a:t>(of the </a:t>
                      </a:r>
                      <a:r>
                        <a:rPr lang="pl-PL" sz="1400" b="0" kern="1200" noProof="0" dirty="0" err="1">
                          <a:solidFill>
                            <a:srgbClr val="595959"/>
                          </a:solidFill>
                          <a:latin typeface="+mn-lt"/>
                          <a:ea typeface="+mn-ea"/>
                          <a:cs typeface="+mn-cs"/>
                        </a:rPr>
                        <a:t>project</a:t>
                      </a:r>
                      <a:r>
                        <a:rPr lang="pl-PL" sz="1400" b="0" kern="1200" noProof="0" dirty="0">
                          <a:solidFill>
                            <a:srgbClr val="595959"/>
                          </a:solidFill>
                          <a:latin typeface="+mn-lt"/>
                          <a:ea typeface="+mn-ea"/>
                          <a:cs typeface="+mn-cs"/>
                        </a:rPr>
                        <a:t> / </a:t>
                      </a:r>
                      <a:r>
                        <a:rPr lang="pl-PL" sz="1400" b="0" kern="1200" noProof="0" dirty="0" err="1">
                          <a:solidFill>
                            <a:srgbClr val="595959"/>
                          </a:solidFill>
                          <a:latin typeface="+mn-lt"/>
                          <a:ea typeface="+mn-ea"/>
                          <a:cs typeface="+mn-cs"/>
                        </a:rPr>
                        <a:t>acquired</a:t>
                      </a:r>
                      <a:r>
                        <a:rPr lang="pl-PL" sz="1400" b="0" kern="1200" noProof="0" dirty="0">
                          <a:solidFill>
                            <a:srgbClr val="595959"/>
                          </a:solidFill>
                          <a:latin typeface="+mn-lt"/>
                          <a:ea typeface="+mn-ea"/>
                          <a:cs typeface="+mn-cs"/>
                        </a:rPr>
                        <a:t> </a:t>
                      </a:r>
                      <a:r>
                        <a:rPr lang="pl-PL" sz="1400" b="0" kern="1200" noProof="0" dirty="0" err="1">
                          <a:solidFill>
                            <a:srgbClr val="595959"/>
                          </a:solidFill>
                          <a:latin typeface="+mn-lt"/>
                          <a:ea typeface="+mn-ea"/>
                          <a:cs typeface="+mn-cs"/>
                        </a:rPr>
                        <a:t>company</a:t>
                      </a:r>
                      <a:r>
                        <a:rPr lang="pl-PL" sz="1400" b="0" kern="1200" noProof="0" dirty="0">
                          <a:solidFill>
                            <a:srgbClr val="595959"/>
                          </a:solidFill>
                          <a:latin typeface="+mn-lt"/>
                          <a:ea typeface="+mn-ea"/>
                          <a:cs typeface="+mn-cs"/>
                        </a:rPr>
                        <a:t>) </a:t>
                      </a:r>
                      <a:r>
                        <a:rPr lang="en-GB" sz="1400" b="0" kern="1200" noProof="0" dirty="0">
                          <a:solidFill>
                            <a:srgbClr val="595959"/>
                          </a:solidFill>
                          <a:latin typeface="+mn-lt"/>
                          <a:ea typeface="+mn-ea"/>
                          <a:cs typeface="+mn-cs"/>
                        </a:rPr>
                        <a:t>collateral,</a:t>
                      </a:r>
                    </a:p>
                    <a:p>
                      <a:pPr marL="171450" marR="0" indent="-171450" algn="l" defTabSz="914400" rtl="0" eaLnBrk="1" fontAlgn="b"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GB" sz="1400" b="0" kern="1200" noProof="0" dirty="0">
                          <a:solidFill>
                            <a:srgbClr val="595959"/>
                          </a:solidFill>
                          <a:latin typeface="+mn-lt"/>
                          <a:ea typeface="+mn-ea"/>
                          <a:cs typeface="+mn-cs"/>
                        </a:rPr>
                        <a:t>KUKE insurance policy</a:t>
                      </a:r>
                      <a:r>
                        <a:rPr lang="pl-PL" sz="1400" b="0" kern="1200" noProof="0" dirty="0">
                          <a:solidFill>
                            <a:srgbClr val="595959"/>
                          </a:solidFill>
                          <a:latin typeface="+mn-lt"/>
                          <a:ea typeface="+mn-ea"/>
                          <a:cs typeface="+mn-cs"/>
                        </a:rPr>
                        <a:t>.</a:t>
                      </a:r>
                      <a:endParaRPr lang="en-AU" sz="1400" b="0" kern="1200" noProof="0" dirty="0">
                        <a:solidFill>
                          <a:srgbClr val="595959"/>
                        </a:solidFill>
                        <a:highlight>
                          <a:srgbClr val="FFFF00"/>
                        </a:highlight>
                        <a:latin typeface="+mn-lt"/>
                        <a:ea typeface="+mn-ea"/>
                        <a:cs typeface="+mn-cs"/>
                      </a:endParaRPr>
                    </a:p>
                  </a:txBody>
                  <a:tcPr marL="36000" marR="36000" marT="36000" marB="36000">
                    <a:lnT w="9525" cap="flat" cmpd="sng" algn="ctr">
                      <a:solidFill>
                        <a:srgbClr val="E2E3E5"/>
                      </a:solidFill>
                      <a:prstDash val="solid"/>
                      <a:round/>
                      <a:headEnd type="none" w="med" len="med"/>
                      <a:tailEnd type="none" w="med" len="med"/>
                    </a:lnT>
                    <a:noFill/>
                  </a:tcPr>
                </a:tc>
                <a:extLst>
                  <a:ext uri="{0D108BD9-81ED-4DB2-BD59-A6C34878D82A}">
                    <a16:rowId xmlns:a16="http://schemas.microsoft.com/office/drawing/2014/main" val="1815137662"/>
                  </a:ext>
                </a:extLst>
              </a:tr>
            </a:tbl>
          </a:graphicData>
        </a:graphic>
      </p:graphicFrame>
      <p:pic>
        <p:nvPicPr>
          <p:cNvPr id="7" name="Obraz 6">
            <a:extLst>
              <a:ext uri="{FF2B5EF4-FFF2-40B4-BE49-F238E27FC236}">
                <a16:creationId xmlns:a16="http://schemas.microsoft.com/office/drawing/2014/main" id="{D37EEEC1-6086-B4F1-E162-E8EFCA8CF1C4}"/>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32415785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4</a:t>
            </a:fld>
            <a:endParaRPr lang="en-US"/>
          </a:p>
        </p:txBody>
      </p:sp>
      <p:sp>
        <p:nvSpPr>
          <p:cNvPr id="2" name="Prostokąt 11">
            <a:extLst>
              <a:ext uri="{FF2B5EF4-FFF2-40B4-BE49-F238E27FC236}">
                <a16:creationId xmlns:a16="http://schemas.microsoft.com/office/drawing/2014/main" id="{65E9D78A-A701-88A9-3DAE-541943F19E68}"/>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Foreig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acquisitio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financing</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scheme</a:t>
            </a:r>
            <a:r>
              <a:rPr lang="pl-PL" sz="2000" b="1" dirty="0">
                <a:solidFill>
                  <a:srgbClr val="595959"/>
                </a:solidFill>
                <a:latin typeface="Calibri" panose="020F0502020204030204" pitchFamily="34" charset="0"/>
              </a:rPr>
              <a:t>  1/2</a:t>
            </a:r>
          </a:p>
        </p:txBody>
      </p:sp>
      <p:sp>
        <p:nvSpPr>
          <p:cNvPr id="3" name="pole tekstowe 5">
            <a:extLst>
              <a:ext uri="{FF2B5EF4-FFF2-40B4-BE49-F238E27FC236}">
                <a16:creationId xmlns:a16="http://schemas.microsoft.com/office/drawing/2014/main" id="{37BB6DCB-5738-5D99-5ED1-A9AFE312B416}"/>
              </a:ext>
            </a:extLst>
          </p:cNvPr>
          <p:cNvSpPr txBox="1">
            <a:spLocks noChangeArrowheads="1"/>
          </p:cNvSpPr>
          <p:nvPr/>
        </p:nvSpPr>
        <p:spPr bwMode="auto">
          <a:xfrm>
            <a:off x="8972249" y="7144"/>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 name="Prostokąt 127">
            <a:extLst>
              <a:ext uri="{FF2B5EF4-FFF2-40B4-BE49-F238E27FC236}">
                <a16:creationId xmlns:a16="http://schemas.microsoft.com/office/drawing/2014/main" id="{6B93E1CB-05AB-6FF3-D59A-60967D34E36A}"/>
              </a:ext>
            </a:extLst>
          </p:cNvPr>
          <p:cNvSpPr/>
          <p:nvPr/>
        </p:nvSpPr>
        <p:spPr>
          <a:xfrm>
            <a:off x="9321377" y="1913608"/>
            <a:ext cx="2374754" cy="2110340"/>
          </a:xfrm>
          <a:prstGeom prst="rect">
            <a:avLst/>
          </a:prstGeom>
          <a:noFill/>
          <a:ln w="12700" cap="flat" cmpd="sng" algn="ctr">
            <a:noFill/>
            <a:prstDash val="solid"/>
          </a:ln>
          <a:effectLst/>
        </p:spPr>
        <p:txBody>
          <a:bodyPr rtlCol="0" anchor="t"/>
          <a:lstStyle/>
          <a:p>
            <a:pPr lvl="0" defTabSz="914400">
              <a:defRPr/>
            </a:pPr>
            <a:r>
              <a:rPr lang="en-GB" sz="1400" b="1" kern="0" dirty="0">
                <a:solidFill>
                  <a:prstClr val="black">
                    <a:lumMod val="65000"/>
                    <a:lumOff val="35000"/>
                  </a:prstClr>
                </a:solidFill>
              </a:rPr>
              <a:t>Main characteristics: </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financing based on the balance of a Polish investor,</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collateral based mainly on the assets of the Purpose of Acquisition (after the acquisition), </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possible additional collateral on assets in Poland.</a:t>
            </a:r>
          </a:p>
        </p:txBody>
      </p:sp>
      <p:grpSp>
        <p:nvGrpSpPr>
          <p:cNvPr id="6" name="Grupa 130">
            <a:extLst>
              <a:ext uri="{FF2B5EF4-FFF2-40B4-BE49-F238E27FC236}">
                <a16:creationId xmlns:a16="http://schemas.microsoft.com/office/drawing/2014/main" id="{18EC9D3A-0001-BD3A-BCA4-1F739A0E42A2}"/>
              </a:ext>
            </a:extLst>
          </p:cNvPr>
          <p:cNvGrpSpPr/>
          <p:nvPr/>
        </p:nvGrpSpPr>
        <p:grpSpPr>
          <a:xfrm>
            <a:off x="9403368" y="1583052"/>
            <a:ext cx="346499" cy="319130"/>
            <a:chOff x="471661" y="388366"/>
            <a:chExt cx="585323" cy="539090"/>
          </a:xfrm>
        </p:grpSpPr>
        <p:sp>
          <p:nvSpPr>
            <p:cNvPr id="7" name="Freeform 431">
              <a:extLst>
                <a:ext uri="{FF2B5EF4-FFF2-40B4-BE49-F238E27FC236}">
                  <a16:creationId xmlns:a16="http://schemas.microsoft.com/office/drawing/2014/main" id="{091CA60A-C82D-2FB4-43E9-49C4EECC4A37}"/>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432">
              <a:extLst>
                <a:ext uri="{FF2B5EF4-FFF2-40B4-BE49-F238E27FC236}">
                  <a16:creationId xmlns:a16="http://schemas.microsoft.com/office/drawing/2014/main" id="{F0A89C53-D9A2-1324-7243-637105B94405}"/>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433">
              <a:extLst>
                <a:ext uri="{FF2B5EF4-FFF2-40B4-BE49-F238E27FC236}">
                  <a16:creationId xmlns:a16="http://schemas.microsoft.com/office/drawing/2014/main" id="{B24DC47E-A88B-8630-D2EC-DB0F7DD68571}"/>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434">
              <a:extLst>
                <a:ext uri="{FF2B5EF4-FFF2-40B4-BE49-F238E27FC236}">
                  <a16:creationId xmlns:a16="http://schemas.microsoft.com/office/drawing/2014/main" id="{2BF95366-41F7-13F2-6D5B-80A47996746A}"/>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435">
              <a:extLst>
                <a:ext uri="{FF2B5EF4-FFF2-40B4-BE49-F238E27FC236}">
                  <a16:creationId xmlns:a16="http://schemas.microsoft.com/office/drawing/2014/main" id="{EECEFD80-CBDD-271E-06E1-E4E055E69E11}"/>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Rectangle 436">
              <a:extLst>
                <a:ext uri="{FF2B5EF4-FFF2-40B4-BE49-F238E27FC236}">
                  <a16:creationId xmlns:a16="http://schemas.microsoft.com/office/drawing/2014/main" id="{F8B3F9D2-70E0-AD4D-57EE-FD18DD05AF48}"/>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Rectangle 437">
              <a:extLst>
                <a:ext uri="{FF2B5EF4-FFF2-40B4-BE49-F238E27FC236}">
                  <a16:creationId xmlns:a16="http://schemas.microsoft.com/office/drawing/2014/main" id="{D5336C5D-3DBD-E7C6-A6B0-9D112AD0094A}"/>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438">
              <a:extLst>
                <a:ext uri="{FF2B5EF4-FFF2-40B4-BE49-F238E27FC236}">
                  <a16:creationId xmlns:a16="http://schemas.microsoft.com/office/drawing/2014/main" id="{462D2CFE-F1DE-1C57-7444-567A94987558}"/>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Rectangle 439">
              <a:extLst>
                <a:ext uri="{FF2B5EF4-FFF2-40B4-BE49-F238E27FC236}">
                  <a16:creationId xmlns:a16="http://schemas.microsoft.com/office/drawing/2014/main" id="{89130E84-8E03-C09D-AA23-55FCC3756039}"/>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Rectangle 440">
              <a:extLst>
                <a:ext uri="{FF2B5EF4-FFF2-40B4-BE49-F238E27FC236}">
                  <a16:creationId xmlns:a16="http://schemas.microsoft.com/office/drawing/2014/main" id="{0A9859BB-4709-F8A7-544C-4E2F0F67685C}"/>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Rectangle 441">
              <a:extLst>
                <a:ext uri="{FF2B5EF4-FFF2-40B4-BE49-F238E27FC236}">
                  <a16:creationId xmlns:a16="http://schemas.microsoft.com/office/drawing/2014/main" id="{1B1859E8-2A0C-1057-656E-606F851D63C5}"/>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Rectangle 442">
              <a:extLst>
                <a:ext uri="{FF2B5EF4-FFF2-40B4-BE49-F238E27FC236}">
                  <a16:creationId xmlns:a16="http://schemas.microsoft.com/office/drawing/2014/main" id="{A8F15020-F89C-DFEF-547F-F9DCB4B239F4}"/>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443">
              <a:extLst>
                <a:ext uri="{FF2B5EF4-FFF2-40B4-BE49-F238E27FC236}">
                  <a16:creationId xmlns:a16="http://schemas.microsoft.com/office/drawing/2014/main" id="{E6E0A743-CEF7-7E60-1851-A742FA61B57B}"/>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444">
              <a:extLst>
                <a:ext uri="{FF2B5EF4-FFF2-40B4-BE49-F238E27FC236}">
                  <a16:creationId xmlns:a16="http://schemas.microsoft.com/office/drawing/2014/main" id="{DE6E5FAA-7CC9-B771-DB12-54DD5604BF6C}"/>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445">
              <a:extLst>
                <a:ext uri="{FF2B5EF4-FFF2-40B4-BE49-F238E27FC236}">
                  <a16:creationId xmlns:a16="http://schemas.microsoft.com/office/drawing/2014/main" id="{536371CF-3EA9-B644-3554-E31023EED5E9}"/>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446">
              <a:extLst>
                <a:ext uri="{FF2B5EF4-FFF2-40B4-BE49-F238E27FC236}">
                  <a16:creationId xmlns:a16="http://schemas.microsoft.com/office/drawing/2014/main" id="{970C1BF6-3679-E08C-C45B-6610A08FF900}"/>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447">
              <a:extLst>
                <a:ext uri="{FF2B5EF4-FFF2-40B4-BE49-F238E27FC236}">
                  <a16:creationId xmlns:a16="http://schemas.microsoft.com/office/drawing/2014/main" id="{BCD7EE73-0B53-5E37-E1B3-B39DFF73EBBD}"/>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448">
              <a:extLst>
                <a:ext uri="{FF2B5EF4-FFF2-40B4-BE49-F238E27FC236}">
                  <a16:creationId xmlns:a16="http://schemas.microsoft.com/office/drawing/2014/main" id="{0B5AC1E7-4C5F-7BFF-078D-30E1EDF99F13}"/>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449">
              <a:extLst>
                <a:ext uri="{FF2B5EF4-FFF2-40B4-BE49-F238E27FC236}">
                  <a16:creationId xmlns:a16="http://schemas.microsoft.com/office/drawing/2014/main" id="{CDC8A1A5-6FD9-9062-C3B4-199909F373B6}"/>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450">
              <a:extLst>
                <a:ext uri="{FF2B5EF4-FFF2-40B4-BE49-F238E27FC236}">
                  <a16:creationId xmlns:a16="http://schemas.microsoft.com/office/drawing/2014/main" id="{FB21EC81-5A89-D646-D3F5-E3A099DC9934}"/>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451">
              <a:extLst>
                <a:ext uri="{FF2B5EF4-FFF2-40B4-BE49-F238E27FC236}">
                  <a16:creationId xmlns:a16="http://schemas.microsoft.com/office/drawing/2014/main" id="{8B572434-E59B-108B-B694-DAC5152AAF2E}"/>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452">
              <a:extLst>
                <a:ext uri="{FF2B5EF4-FFF2-40B4-BE49-F238E27FC236}">
                  <a16:creationId xmlns:a16="http://schemas.microsoft.com/office/drawing/2014/main" id="{F0D7FB49-625B-DEC0-DDB8-DF109DB3358B}"/>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 name="Prostokąt 127">
            <a:extLst>
              <a:ext uri="{FF2B5EF4-FFF2-40B4-BE49-F238E27FC236}">
                <a16:creationId xmlns:a16="http://schemas.microsoft.com/office/drawing/2014/main" id="{007A6BD0-551F-F52F-5AD9-A7F4612A0041}"/>
              </a:ext>
            </a:extLst>
          </p:cNvPr>
          <p:cNvSpPr/>
          <p:nvPr/>
        </p:nvSpPr>
        <p:spPr>
          <a:xfrm>
            <a:off x="9321376" y="4274918"/>
            <a:ext cx="2429345" cy="2110340"/>
          </a:xfrm>
          <a:prstGeom prst="rect">
            <a:avLst/>
          </a:prstGeom>
          <a:noFill/>
          <a:ln w="12700" cap="flat" cmpd="sng" algn="ctr">
            <a:noFill/>
            <a:prstDash val="solid"/>
          </a:ln>
          <a:effectLst/>
        </p:spPr>
        <p:txBody>
          <a:bodyPr rtlCol="0" anchor="t"/>
          <a:lstStyle/>
          <a:p>
            <a:pPr lvl="0" defTabSz="914400">
              <a:defRPr/>
            </a:pPr>
            <a:r>
              <a:rPr lang="en-GB" sz="1400" b="1" kern="0" dirty="0">
                <a:solidFill>
                  <a:prstClr val="black">
                    <a:lumMod val="65000"/>
                    <a:lumOff val="35000"/>
                  </a:prstClr>
                </a:solidFill>
              </a:rPr>
              <a:t>Example transactions:</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Fixed assets acquisition financing in Italy by </a:t>
            </a:r>
            <a:r>
              <a:rPr lang="en-GB" sz="1200" b="1" kern="0" dirty="0" err="1">
                <a:solidFill>
                  <a:prstClr val="black">
                    <a:lumMod val="65000"/>
                    <a:lumOff val="35000"/>
                  </a:prstClr>
                </a:solidFill>
              </a:rPr>
              <a:t>Wielton</a:t>
            </a:r>
            <a:r>
              <a:rPr lang="en-GB" sz="1200" b="1" kern="0" dirty="0">
                <a:solidFill>
                  <a:prstClr val="black">
                    <a:lumMod val="65000"/>
                    <a:lumOff val="35000"/>
                  </a:prstClr>
                </a:solidFill>
              </a:rPr>
              <a:t> S.A.</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Acquisition financing in </a:t>
            </a:r>
            <a:r>
              <a:rPr lang="pl-PL" sz="1200" kern="0" dirty="0" err="1">
                <a:solidFill>
                  <a:prstClr val="black">
                    <a:lumMod val="65000"/>
                    <a:lumOff val="35000"/>
                  </a:prstClr>
                </a:solidFill>
              </a:rPr>
              <a:t>Spain</a:t>
            </a:r>
            <a:r>
              <a:rPr lang="en-GB" sz="1200" kern="0" dirty="0">
                <a:solidFill>
                  <a:prstClr val="black">
                    <a:lumMod val="65000"/>
                    <a:lumOff val="35000"/>
                  </a:prstClr>
                </a:solidFill>
              </a:rPr>
              <a:t> for </a:t>
            </a:r>
            <a:r>
              <a:rPr lang="pl-PL" sz="1200" b="1" kern="0" dirty="0">
                <a:solidFill>
                  <a:prstClr val="black">
                    <a:lumMod val="65000"/>
                    <a:lumOff val="35000"/>
                  </a:prstClr>
                </a:solidFill>
              </a:rPr>
              <a:t>BIBP Sp. z o.o.</a:t>
            </a:r>
          </a:p>
          <a:p>
            <a:pPr marL="177800" lvl="0" indent="-177800" defTabSz="914400">
              <a:buClr>
                <a:srgbClr val="DA2038"/>
              </a:buClr>
              <a:buFont typeface="Wingdings" panose="05000000000000000000" pitchFamily="2" charset="2"/>
              <a:buChar char="§"/>
              <a:defRPr/>
            </a:pPr>
            <a:r>
              <a:rPr lang="en-GB" sz="1200" kern="0" dirty="0">
                <a:solidFill>
                  <a:prstClr val="black">
                    <a:lumMod val="65000"/>
                    <a:lumOff val="35000"/>
                  </a:prstClr>
                </a:solidFill>
              </a:rPr>
              <a:t>Acquisition financing in the United Kingdom for </a:t>
            </a:r>
            <a:r>
              <a:rPr lang="en-GB" sz="1200" b="1" kern="0" dirty="0" err="1">
                <a:solidFill>
                  <a:prstClr val="black">
                    <a:lumMod val="65000"/>
                    <a:lumOff val="35000"/>
                  </a:prstClr>
                </a:solidFill>
              </a:rPr>
              <a:t>Amica</a:t>
            </a:r>
            <a:r>
              <a:rPr lang="en-GB" sz="1200" b="1" kern="0" dirty="0">
                <a:solidFill>
                  <a:prstClr val="black">
                    <a:lumMod val="65000"/>
                    <a:lumOff val="35000"/>
                  </a:prstClr>
                </a:solidFill>
              </a:rPr>
              <a:t> </a:t>
            </a:r>
            <a:r>
              <a:rPr lang="en-GB" sz="1200" b="1" kern="0" dirty="0" err="1">
                <a:solidFill>
                  <a:prstClr val="black">
                    <a:lumMod val="65000"/>
                    <a:lumOff val="35000"/>
                  </a:prstClr>
                </a:solidFill>
              </a:rPr>
              <a:t>Wronki</a:t>
            </a:r>
            <a:r>
              <a:rPr lang="en-GB" sz="1200" b="1" kern="0" dirty="0">
                <a:solidFill>
                  <a:prstClr val="black">
                    <a:lumMod val="65000"/>
                    <a:lumOff val="35000"/>
                  </a:prstClr>
                </a:solidFill>
              </a:rPr>
              <a:t> S.A.</a:t>
            </a:r>
          </a:p>
        </p:txBody>
      </p:sp>
      <p:sp>
        <p:nvSpPr>
          <p:cNvPr id="30" name="Freeform 640">
            <a:extLst>
              <a:ext uri="{FF2B5EF4-FFF2-40B4-BE49-F238E27FC236}">
                <a16:creationId xmlns:a16="http://schemas.microsoft.com/office/drawing/2014/main" id="{B6A96B1E-437C-9F84-451D-D765605BBA8C}"/>
              </a:ext>
            </a:extLst>
          </p:cNvPr>
          <p:cNvSpPr>
            <a:spLocks noEditPoints="1"/>
          </p:cNvSpPr>
          <p:nvPr/>
        </p:nvSpPr>
        <p:spPr bwMode="auto">
          <a:xfrm>
            <a:off x="9389303" y="4013191"/>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cxnSp>
        <p:nvCxnSpPr>
          <p:cNvPr id="32" name="Łącznik prosty ze strzałką 44">
            <a:extLst>
              <a:ext uri="{FF2B5EF4-FFF2-40B4-BE49-F238E27FC236}">
                <a16:creationId xmlns:a16="http://schemas.microsoft.com/office/drawing/2014/main" id="{57FE7845-DCA1-D01B-2917-53C6CD68FC63}"/>
              </a:ext>
            </a:extLst>
          </p:cNvPr>
          <p:cNvCxnSpPr/>
          <p:nvPr/>
        </p:nvCxnSpPr>
        <p:spPr>
          <a:xfrm>
            <a:off x="2622048" y="2954281"/>
            <a:ext cx="0" cy="1158159"/>
          </a:xfrm>
          <a:prstGeom prst="straightConnector1">
            <a:avLst/>
          </a:prstGeom>
          <a:noFill/>
          <a:ln w="9525" cap="flat" cmpd="sng" algn="ctr">
            <a:solidFill>
              <a:srgbClr val="B60024"/>
            </a:solidFill>
            <a:prstDash val="dash"/>
            <a:headEnd type="triangle" w="med" len="med"/>
            <a:tailEnd type="triangle" w="med" len="med"/>
          </a:ln>
          <a:effectLst/>
        </p:spPr>
      </p:cxnSp>
      <p:sp>
        <p:nvSpPr>
          <p:cNvPr id="33" name="pole tekstowe 47">
            <a:extLst>
              <a:ext uri="{FF2B5EF4-FFF2-40B4-BE49-F238E27FC236}">
                <a16:creationId xmlns:a16="http://schemas.microsoft.com/office/drawing/2014/main" id="{24832C53-EFD9-DD67-9077-D16C83042732}"/>
              </a:ext>
            </a:extLst>
          </p:cNvPr>
          <p:cNvSpPr txBox="1"/>
          <p:nvPr/>
        </p:nvSpPr>
        <p:spPr>
          <a:xfrm>
            <a:off x="442686" y="3003846"/>
            <a:ext cx="10563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6</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Repay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34" name="Łącznik prosty ze strzałką 50">
            <a:extLst>
              <a:ext uri="{FF2B5EF4-FFF2-40B4-BE49-F238E27FC236}">
                <a16:creationId xmlns:a16="http://schemas.microsoft.com/office/drawing/2014/main" id="{9FCC06FA-D500-AE75-9F34-8088C6F2DE57}"/>
              </a:ext>
            </a:extLst>
          </p:cNvPr>
          <p:cNvCxnSpPr/>
          <p:nvPr/>
        </p:nvCxnSpPr>
        <p:spPr>
          <a:xfrm>
            <a:off x="2761564" y="2846198"/>
            <a:ext cx="1044653" cy="0"/>
          </a:xfrm>
          <a:prstGeom prst="straightConnector1">
            <a:avLst/>
          </a:prstGeom>
          <a:noFill/>
          <a:ln w="9525" cap="flat" cmpd="sng" algn="ctr">
            <a:solidFill>
              <a:srgbClr val="B60024"/>
            </a:solidFill>
            <a:prstDash val="solid"/>
            <a:tailEnd type="triangle"/>
          </a:ln>
          <a:effectLst/>
        </p:spPr>
      </p:cxnSp>
      <p:sp>
        <p:nvSpPr>
          <p:cNvPr id="35" name="pole tekstowe 51">
            <a:extLst>
              <a:ext uri="{FF2B5EF4-FFF2-40B4-BE49-F238E27FC236}">
                <a16:creationId xmlns:a16="http://schemas.microsoft.com/office/drawing/2014/main" id="{A882D45B-0C57-D703-6969-61E99304A950}"/>
              </a:ext>
            </a:extLst>
          </p:cNvPr>
          <p:cNvSpPr txBox="1"/>
          <p:nvPr/>
        </p:nvSpPr>
        <p:spPr>
          <a:xfrm>
            <a:off x="2704498" y="2398479"/>
            <a:ext cx="1237363"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3</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noProof="0" dirty="0" err="1">
                <a:solidFill>
                  <a:prstClr val="black">
                    <a:lumMod val="65000"/>
                    <a:lumOff val="35000"/>
                  </a:prstClr>
                </a:solidFill>
              </a:rPr>
              <a:t>Credit</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disburs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36" name="pole tekstowe 5">
            <a:extLst>
              <a:ext uri="{FF2B5EF4-FFF2-40B4-BE49-F238E27FC236}">
                <a16:creationId xmlns:a16="http://schemas.microsoft.com/office/drawing/2014/main" id="{BD1F4B8B-A091-563B-0FC3-57A545D1AEF5}"/>
              </a:ext>
            </a:extLst>
          </p:cNvPr>
          <p:cNvSpPr txBox="1">
            <a:spLocks noChangeArrowheads="1"/>
          </p:cNvSpPr>
          <p:nvPr/>
        </p:nvSpPr>
        <p:spPr bwMode="auto">
          <a:xfrm>
            <a:off x="3803856" y="4139413"/>
            <a:ext cx="1286317" cy="900000"/>
          </a:xfrm>
          <a:prstGeom prst="rect">
            <a:avLst/>
          </a:prstGeom>
          <a:solidFill>
            <a:sysClr val="window" lastClr="FFFFFF">
              <a:lumMod val="85000"/>
            </a:sysClr>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7" name="pole tekstowe 59">
            <a:extLst>
              <a:ext uri="{FF2B5EF4-FFF2-40B4-BE49-F238E27FC236}">
                <a16:creationId xmlns:a16="http://schemas.microsoft.com/office/drawing/2014/main" id="{1C6EF748-CDE3-4618-22FE-8B07D8AEEF00}"/>
              </a:ext>
            </a:extLst>
          </p:cNvPr>
          <p:cNvSpPr txBox="1"/>
          <p:nvPr/>
        </p:nvSpPr>
        <p:spPr>
          <a:xfrm>
            <a:off x="3846693" y="4329139"/>
            <a:ext cx="1185501"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err="1">
                <a:ln>
                  <a:noFill/>
                </a:ln>
                <a:solidFill>
                  <a:prstClr val="black">
                    <a:lumMod val="65000"/>
                    <a:lumOff val="35000"/>
                  </a:prstClr>
                </a:solidFill>
                <a:effectLst/>
                <a:uLnTx/>
                <a:uFillTx/>
              </a:rPr>
              <a:t>Purpose</a:t>
            </a:r>
            <a:r>
              <a:rPr kumimoji="0" lang="pl-PL" sz="1400" b="1" i="0" u="none" strike="noStrike" kern="0" cap="none" spc="0" normalizeH="0" baseline="0" noProof="0" dirty="0">
                <a:ln>
                  <a:noFill/>
                </a:ln>
                <a:solidFill>
                  <a:prstClr val="black">
                    <a:lumMod val="65000"/>
                    <a:lumOff val="35000"/>
                  </a:prstClr>
                </a:solidFill>
                <a:effectLst/>
                <a:uLnTx/>
                <a:uFillTx/>
              </a:rPr>
              <a:t> of </a:t>
            </a:r>
            <a:r>
              <a:rPr lang="pl-PL" sz="1400" b="1" kern="0" dirty="0" err="1">
                <a:solidFill>
                  <a:prstClr val="black">
                    <a:lumMod val="65000"/>
                    <a:lumOff val="35000"/>
                  </a:prstClr>
                </a:solidFill>
              </a:rPr>
              <a:t>A</a:t>
            </a:r>
            <a:r>
              <a:rPr kumimoji="0" lang="pl-PL" sz="1400" b="1" i="0" u="none" strike="noStrike" kern="0" cap="none" spc="0" normalizeH="0" baseline="0" noProof="0" dirty="0" err="1">
                <a:ln>
                  <a:noFill/>
                </a:ln>
                <a:solidFill>
                  <a:prstClr val="black">
                    <a:lumMod val="65000"/>
                    <a:lumOff val="35000"/>
                  </a:prstClr>
                </a:solidFill>
                <a:effectLst/>
                <a:uLnTx/>
                <a:uFillTx/>
              </a:rPr>
              <a:t>cquisition</a:t>
            </a:r>
            <a:endParaRPr kumimoji="0" lang="en-US" sz="1400" b="1" i="0" u="none" strike="noStrike" kern="0" cap="none" spc="0" normalizeH="0" baseline="0" noProof="0" dirty="0">
              <a:ln>
                <a:noFill/>
              </a:ln>
              <a:solidFill>
                <a:prstClr val="black">
                  <a:lumMod val="65000"/>
                  <a:lumOff val="35000"/>
                </a:prstClr>
              </a:solidFill>
              <a:effectLst/>
              <a:uLnTx/>
              <a:uFillTx/>
            </a:endParaRPr>
          </a:p>
        </p:txBody>
      </p:sp>
      <p:cxnSp>
        <p:nvCxnSpPr>
          <p:cNvPr id="38" name="Łącznik prosty ze strzałką 62">
            <a:extLst>
              <a:ext uri="{FF2B5EF4-FFF2-40B4-BE49-F238E27FC236}">
                <a16:creationId xmlns:a16="http://schemas.microsoft.com/office/drawing/2014/main" id="{B4F3790D-C73C-3C86-62E9-D57A62A41010}"/>
              </a:ext>
            </a:extLst>
          </p:cNvPr>
          <p:cNvCxnSpPr/>
          <p:nvPr/>
        </p:nvCxnSpPr>
        <p:spPr>
          <a:xfrm flipH="1" flipV="1">
            <a:off x="2812397" y="2961183"/>
            <a:ext cx="993820" cy="1178231"/>
          </a:xfrm>
          <a:prstGeom prst="straightConnector1">
            <a:avLst/>
          </a:prstGeom>
          <a:noFill/>
          <a:ln w="9525" cap="flat" cmpd="sng" algn="ctr">
            <a:solidFill>
              <a:srgbClr val="B60024"/>
            </a:solidFill>
            <a:prstDash val="dash"/>
            <a:tailEnd type="triangle"/>
          </a:ln>
          <a:effectLst/>
        </p:spPr>
      </p:cxnSp>
      <p:sp>
        <p:nvSpPr>
          <p:cNvPr id="39" name="pole tekstowe 63">
            <a:extLst>
              <a:ext uri="{FF2B5EF4-FFF2-40B4-BE49-F238E27FC236}">
                <a16:creationId xmlns:a16="http://schemas.microsoft.com/office/drawing/2014/main" id="{858C556D-DBD3-E120-E658-6B0C12B3B481}"/>
              </a:ext>
            </a:extLst>
          </p:cNvPr>
          <p:cNvSpPr txBox="1"/>
          <p:nvPr/>
        </p:nvSpPr>
        <p:spPr>
          <a:xfrm>
            <a:off x="2812397" y="3511073"/>
            <a:ext cx="1395390" cy="461665"/>
          </a:xfrm>
          <a:prstGeom prst="rect">
            <a:avLst/>
          </a:prstGeom>
          <a:solidFill>
            <a:sysClr val="window" lastClr="FFFFFF"/>
          </a:solidFill>
        </p:spPr>
        <p:txBody>
          <a:bodyPr wrap="square" rtlCol="0">
            <a:spAutoFit/>
          </a:bodyPr>
          <a:lstStyle/>
          <a:p>
            <a:pPr lvl="0" algn="ctr" defTabSz="914400">
              <a:defRPr/>
            </a:pPr>
            <a:r>
              <a:rPr lang="pl-PL" sz="1200" b="1" kern="0" dirty="0">
                <a:solidFill>
                  <a:prstClr val="black">
                    <a:lumMod val="65000"/>
                    <a:lumOff val="35000"/>
                  </a:prstClr>
                </a:solidFill>
              </a:rPr>
              <a:t>5</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Guarantee</a:t>
            </a:r>
            <a:r>
              <a:rPr kumimoji="0" lang="pl-PL" sz="1200" b="0" i="0" u="none" strike="noStrike" kern="0" cap="none" spc="0" normalizeH="0" baseline="0" noProof="0" dirty="0">
                <a:ln>
                  <a:noFill/>
                </a:ln>
                <a:solidFill>
                  <a:prstClr val="black">
                    <a:lumMod val="65000"/>
                    <a:lumOff val="35000"/>
                  </a:prstClr>
                </a:solidFill>
                <a:effectLst/>
                <a:uLnTx/>
                <a:uFillTx/>
              </a:rPr>
              <a:t> and </a:t>
            </a:r>
            <a:r>
              <a:rPr kumimoji="0" lang="pl-PL" sz="1200" b="0" i="0" u="none" strike="noStrike" kern="0" cap="none" spc="0" normalizeH="0" baseline="0" noProof="0" dirty="0" err="1">
                <a:ln>
                  <a:noFill/>
                </a:ln>
                <a:solidFill>
                  <a:prstClr val="black">
                    <a:lumMod val="65000"/>
                    <a:lumOff val="35000"/>
                  </a:prstClr>
                </a:solidFill>
                <a:effectLst/>
                <a:uLnTx/>
                <a:uFillTx/>
              </a:rPr>
              <a:t>other</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collaterals</a:t>
            </a:r>
            <a:endParaRPr lang="en-US" sz="1200" kern="0" dirty="0">
              <a:solidFill>
                <a:prstClr val="black">
                  <a:lumMod val="65000"/>
                  <a:lumOff val="35000"/>
                </a:prstClr>
              </a:solidFill>
            </a:endParaRPr>
          </a:p>
        </p:txBody>
      </p:sp>
      <p:grpSp>
        <p:nvGrpSpPr>
          <p:cNvPr id="40" name="Grupa 69">
            <a:extLst>
              <a:ext uri="{FF2B5EF4-FFF2-40B4-BE49-F238E27FC236}">
                <a16:creationId xmlns:a16="http://schemas.microsoft.com/office/drawing/2014/main" id="{8F0065F1-F140-4A96-F611-8291ADC8D9C3}"/>
              </a:ext>
            </a:extLst>
          </p:cNvPr>
          <p:cNvGrpSpPr/>
          <p:nvPr/>
        </p:nvGrpSpPr>
        <p:grpSpPr>
          <a:xfrm>
            <a:off x="3806216" y="2441311"/>
            <a:ext cx="1286317" cy="900000"/>
            <a:chOff x="720769" y="1996025"/>
            <a:chExt cx="1457601" cy="1231280"/>
          </a:xfrm>
        </p:grpSpPr>
        <p:sp>
          <p:nvSpPr>
            <p:cNvPr id="41" name="pole tekstowe 5">
              <a:extLst>
                <a:ext uri="{FF2B5EF4-FFF2-40B4-BE49-F238E27FC236}">
                  <a16:creationId xmlns:a16="http://schemas.microsoft.com/office/drawing/2014/main" id="{E8DB0566-83FA-610C-5B67-2C1FFDE3DB5F}"/>
                </a:ext>
              </a:extLst>
            </p:cNvPr>
            <p:cNvSpPr txBox="1">
              <a:spLocks noChangeArrowheads="1"/>
            </p:cNvSpPr>
            <p:nvPr/>
          </p:nvSpPr>
          <p:spPr bwMode="auto">
            <a:xfrm>
              <a:off x="720769" y="1996025"/>
              <a:ext cx="1457601" cy="1231280"/>
            </a:xfrm>
            <a:prstGeom prst="rect">
              <a:avLst/>
            </a:prstGeom>
            <a:solidFill>
              <a:sysClr val="window" lastClr="FFFFFF">
                <a:lumMod val="85000"/>
              </a:sysClr>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42" name="pole tekstowe 73">
              <a:extLst>
                <a:ext uri="{FF2B5EF4-FFF2-40B4-BE49-F238E27FC236}">
                  <a16:creationId xmlns:a16="http://schemas.microsoft.com/office/drawing/2014/main" id="{8CBDDA00-40DF-9EB2-70F6-C61C0106A481}"/>
                </a:ext>
              </a:extLst>
            </p:cNvPr>
            <p:cNvSpPr txBox="1"/>
            <p:nvPr/>
          </p:nvSpPr>
          <p:spPr>
            <a:xfrm>
              <a:off x="720769" y="2402453"/>
              <a:ext cx="1457601" cy="42106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err="1">
                  <a:ln>
                    <a:noFill/>
                  </a:ln>
                  <a:solidFill>
                    <a:prstClr val="black">
                      <a:lumMod val="65000"/>
                      <a:lumOff val="35000"/>
                    </a:prstClr>
                  </a:solidFill>
                  <a:effectLst/>
                  <a:uLnTx/>
                  <a:uFillTx/>
                </a:rPr>
                <a:t>Seller</a:t>
              </a:r>
              <a:endParaRPr kumimoji="0" lang="en-US" sz="1400" b="1" i="0" u="none" strike="noStrike" kern="0" cap="none" spc="0" normalizeH="0" baseline="0" noProof="0" dirty="0">
                <a:ln>
                  <a:noFill/>
                </a:ln>
                <a:solidFill>
                  <a:prstClr val="black">
                    <a:lumMod val="65000"/>
                    <a:lumOff val="35000"/>
                  </a:prstClr>
                </a:solidFill>
                <a:effectLst/>
                <a:uLnTx/>
                <a:uFillTx/>
              </a:endParaRPr>
            </a:p>
          </p:txBody>
        </p:sp>
      </p:grpSp>
      <p:cxnSp>
        <p:nvCxnSpPr>
          <p:cNvPr id="43" name="Łącznik prosty ze strzałką 76">
            <a:extLst>
              <a:ext uri="{FF2B5EF4-FFF2-40B4-BE49-F238E27FC236}">
                <a16:creationId xmlns:a16="http://schemas.microsoft.com/office/drawing/2014/main" id="{95575924-8D7D-9549-4BB2-A4F751017FEE}"/>
              </a:ext>
            </a:extLst>
          </p:cNvPr>
          <p:cNvCxnSpPr>
            <a:stCxn id="41" idx="2"/>
            <a:endCxn id="36" idx="0"/>
          </p:cNvCxnSpPr>
          <p:nvPr/>
        </p:nvCxnSpPr>
        <p:spPr>
          <a:xfrm flipH="1">
            <a:off x="4447015" y="3341311"/>
            <a:ext cx="2360" cy="798102"/>
          </a:xfrm>
          <a:prstGeom prst="straightConnector1">
            <a:avLst/>
          </a:prstGeom>
          <a:noFill/>
          <a:ln w="9525" cap="flat" cmpd="sng" algn="ctr">
            <a:solidFill>
              <a:srgbClr val="B60024"/>
            </a:solidFill>
            <a:prstDash val="dash"/>
            <a:tailEnd type="triangle" w="med" len="med"/>
          </a:ln>
          <a:effectLst/>
        </p:spPr>
      </p:cxnSp>
      <p:sp>
        <p:nvSpPr>
          <p:cNvPr id="44" name="pole tekstowe 85">
            <a:extLst>
              <a:ext uri="{FF2B5EF4-FFF2-40B4-BE49-F238E27FC236}">
                <a16:creationId xmlns:a16="http://schemas.microsoft.com/office/drawing/2014/main" id="{34262765-ECAA-75C1-61D1-67C3ECFFF278}"/>
              </a:ext>
            </a:extLst>
          </p:cNvPr>
          <p:cNvSpPr txBox="1"/>
          <p:nvPr/>
        </p:nvSpPr>
        <p:spPr>
          <a:xfrm>
            <a:off x="2763535" y="4305074"/>
            <a:ext cx="111015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1" i="0" u="none" strike="noStrike" kern="0" cap="none" spc="0" normalizeH="0" baseline="0" noProof="0" dirty="0">
                <a:ln>
                  <a:noFill/>
                </a:ln>
                <a:solidFill>
                  <a:prstClr val="black">
                    <a:lumMod val="65000"/>
                    <a:lumOff val="35000"/>
                  </a:prstClr>
                </a:solidFill>
                <a:effectLst/>
                <a:uLnTx/>
                <a:uFillTx/>
              </a:rPr>
              <a:t>b </a:t>
            </a:r>
            <a:r>
              <a:rPr kumimoji="0" lang="pl-PL" sz="1200" b="0" i="0" u="none" strike="noStrike" kern="0" cap="none" spc="0" normalizeH="0" baseline="0" noProof="0" dirty="0" err="1">
                <a:ln>
                  <a:noFill/>
                </a:ln>
                <a:solidFill>
                  <a:prstClr val="black">
                    <a:lumMod val="65000"/>
                    <a:lumOff val="35000"/>
                  </a:prstClr>
                </a:solidFill>
                <a:effectLst/>
                <a:uLnTx/>
                <a:uFillTx/>
              </a:rPr>
              <a:t>Acquisition</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45" name="pole tekstowe 86">
            <a:extLst>
              <a:ext uri="{FF2B5EF4-FFF2-40B4-BE49-F238E27FC236}">
                <a16:creationId xmlns:a16="http://schemas.microsoft.com/office/drawing/2014/main" id="{96F0B34B-7D0C-1424-A9B3-EE414ED0D25A}"/>
              </a:ext>
            </a:extLst>
          </p:cNvPr>
          <p:cNvSpPr txBox="1"/>
          <p:nvPr/>
        </p:nvSpPr>
        <p:spPr>
          <a:xfrm>
            <a:off x="4576963" y="3511073"/>
            <a:ext cx="111015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1" i="0" u="none" strike="noStrike" kern="0" cap="none" spc="0" normalizeH="0" baseline="0" noProof="0" dirty="0">
                <a:ln>
                  <a:noFill/>
                </a:ln>
                <a:solidFill>
                  <a:prstClr val="black">
                    <a:lumMod val="65000"/>
                    <a:lumOff val="35000"/>
                  </a:prstClr>
                </a:solidFill>
                <a:effectLst/>
                <a:uLnTx/>
                <a:uFillTx/>
              </a:rPr>
              <a:t>a </a:t>
            </a:r>
            <a:r>
              <a:rPr kumimoji="0" lang="pl-PL" sz="1200" b="0" i="0" u="none" strike="noStrike" kern="0" cap="none" spc="0" normalizeH="0" baseline="0" noProof="0" dirty="0" err="1">
                <a:ln>
                  <a:noFill/>
                </a:ln>
                <a:solidFill>
                  <a:prstClr val="black">
                    <a:lumMod val="65000"/>
                    <a:lumOff val="35000"/>
                  </a:prstClr>
                </a:solidFill>
                <a:effectLst/>
                <a:uLnTx/>
                <a:uFillTx/>
              </a:rPr>
              <a:t>Changes</a:t>
            </a:r>
            <a:r>
              <a:rPr kumimoji="0" lang="pl-PL" sz="1200" b="0" i="0" u="none" strike="noStrike" kern="0" cap="none" spc="0" normalizeH="0" noProof="0" dirty="0">
                <a:ln>
                  <a:noFill/>
                </a:ln>
                <a:solidFill>
                  <a:prstClr val="black">
                    <a:lumMod val="65000"/>
                    <a:lumOff val="35000"/>
                  </a:prstClr>
                </a:solidFill>
                <a:effectLst/>
                <a:uLnTx/>
                <a:uFillTx/>
              </a:rPr>
              <a:t> of </a:t>
            </a:r>
            <a:r>
              <a:rPr kumimoji="0" lang="pl-PL" sz="1200" b="0" i="0" u="none" strike="noStrike" kern="0" cap="none" spc="0" normalizeH="0" noProof="0" dirty="0" err="1">
                <a:ln>
                  <a:noFill/>
                </a:ln>
                <a:solidFill>
                  <a:prstClr val="black">
                    <a:lumMod val="65000"/>
                    <a:lumOff val="35000"/>
                  </a:prstClr>
                </a:solidFill>
                <a:effectLst/>
                <a:uLnTx/>
                <a:uFillTx/>
              </a:rPr>
              <a:t>ownership</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grpSp>
        <p:nvGrpSpPr>
          <p:cNvPr id="46" name="Grupa 114">
            <a:extLst>
              <a:ext uri="{FF2B5EF4-FFF2-40B4-BE49-F238E27FC236}">
                <a16:creationId xmlns:a16="http://schemas.microsoft.com/office/drawing/2014/main" id="{5D1AD757-8126-9CD6-84DA-A2A7B7A79595}"/>
              </a:ext>
            </a:extLst>
          </p:cNvPr>
          <p:cNvGrpSpPr/>
          <p:nvPr/>
        </p:nvGrpSpPr>
        <p:grpSpPr>
          <a:xfrm>
            <a:off x="6035984" y="2083348"/>
            <a:ext cx="1258001" cy="591356"/>
            <a:chOff x="7258012" y="5531374"/>
            <a:chExt cx="2305050" cy="591356"/>
          </a:xfrm>
        </p:grpSpPr>
        <p:sp>
          <p:nvSpPr>
            <p:cNvPr id="47" name="pole tekstowe 32">
              <a:extLst>
                <a:ext uri="{FF2B5EF4-FFF2-40B4-BE49-F238E27FC236}">
                  <a16:creationId xmlns:a16="http://schemas.microsoft.com/office/drawing/2014/main" id="{DCE0D91D-FD5B-29B9-1177-EBF163036829}"/>
                </a:ext>
              </a:extLst>
            </p:cNvPr>
            <p:cNvSpPr txBox="1">
              <a:spLocks noChangeArrowheads="1"/>
            </p:cNvSpPr>
            <p:nvPr/>
          </p:nvSpPr>
          <p:spPr bwMode="auto">
            <a:xfrm>
              <a:off x="7258012" y="5531374"/>
              <a:ext cx="23050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a:solidFill>
                    <a:prstClr val="black">
                      <a:lumMod val="65000"/>
                      <a:lumOff val="35000"/>
                    </a:prstClr>
                  </a:solidFill>
                  <a:latin typeface="Calibri"/>
                </a:rPr>
                <a:t>Cash </a:t>
              </a:r>
              <a:r>
                <a:rPr lang="pl-PL" altLang="pl-PL" sz="1200" dirty="0" err="1">
                  <a:solidFill>
                    <a:prstClr val="black">
                      <a:lumMod val="65000"/>
                      <a:lumOff val="35000"/>
                    </a:prstClr>
                  </a:solidFill>
                  <a:latin typeface="Calibri"/>
                </a:rPr>
                <a:t>flow</a:t>
              </a:r>
              <a:endParaRPr lang="en-US" altLang="pl-PL" sz="1200" dirty="0">
                <a:solidFill>
                  <a:prstClr val="black">
                    <a:lumMod val="65000"/>
                    <a:lumOff val="35000"/>
                  </a:prstClr>
                </a:solidFill>
                <a:latin typeface="Calibri"/>
              </a:endParaRPr>
            </a:p>
          </p:txBody>
        </p:sp>
        <p:sp>
          <p:nvSpPr>
            <p:cNvPr id="48" name="pole tekstowe 35">
              <a:extLst>
                <a:ext uri="{FF2B5EF4-FFF2-40B4-BE49-F238E27FC236}">
                  <a16:creationId xmlns:a16="http://schemas.microsoft.com/office/drawing/2014/main" id="{857AE4F3-B11E-4DE8-951C-64429FC5283F}"/>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err="1">
                  <a:solidFill>
                    <a:prstClr val="black">
                      <a:lumMod val="65000"/>
                      <a:lumOff val="35000"/>
                    </a:prstClr>
                  </a:solidFill>
                  <a:latin typeface="Calibri"/>
                </a:rPr>
                <a:t>Documents</a:t>
              </a:r>
              <a:r>
                <a:rPr lang="pl-PL" altLang="pl-PL" sz="1200" dirty="0">
                  <a:solidFill>
                    <a:prstClr val="black">
                      <a:lumMod val="65000"/>
                      <a:lumOff val="35000"/>
                    </a:prstClr>
                  </a:solidFill>
                  <a:latin typeface="Calibri"/>
                </a:rPr>
                <a:t> </a:t>
              </a:r>
              <a:r>
                <a:rPr lang="pl-PL" altLang="pl-PL" sz="1200" dirty="0" err="1">
                  <a:solidFill>
                    <a:prstClr val="black">
                      <a:lumMod val="65000"/>
                      <a:lumOff val="35000"/>
                    </a:prstClr>
                  </a:solidFill>
                  <a:latin typeface="Calibri"/>
                </a:rPr>
                <a:t>flow</a:t>
              </a:r>
              <a:endParaRPr lang="en-US" altLang="pl-PL" sz="1200" dirty="0">
                <a:solidFill>
                  <a:prstClr val="black">
                    <a:lumMod val="65000"/>
                    <a:lumOff val="35000"/>
                  </a:prstClr>
                </a:solidFill>
                <a:latin typeface="Calibri"/>
              </a:endParaRPr>
            </a:p>
          </p:txBody>
        </p:sp>
      </p:grpSp>
      <p:cxnSp>
        <p:nvCxnSpPr>
          <p:cNvPr id="49" name="Łącznik prosty ze strzałką 117">
            <a:extLst>
              <a:ext uri="{FF2B5EF4-FFF2-40B4-BE49-F238E27FC236}">
                <a16:creationId xmlns:a16="http://schemas.microsoft.com/office/drawing/2014/main" id="{CDBF7373-3CA6-C91C-509D-9454DE69DEAD}"/>
              </a:ext>
            </a:extLst>
          </p:cNvPr>
          <p:cNvCxnSpPr/>
          <p:nvPr/>
        </p:nvCxnSpPr>
        <p:spPr>
          <a:xfrm>
            <a:off x="5516782" y="2227698"/>
            <a:ext cx="413925" cy="0"/>
          </a:xfrm>
          <a:prstGeom prst="straightConnector1">
            <a:avLst/>
          </a:prstGeom>
          <a:noFill/>
          <a:ln w="12700" cap="flat" cmpd="sng" algn="ctr">
            <a:solidFill>
              <a:srgbClr val="B60024"/>
            </a:solidFill>
            <a:prstDash val="solid"/>
            <a:tailEnd type="triangle"/>
          </a:ln>
          <a:effectLst/>
        </p:spPr>
      </p:cxnSp>
      <p:cxnSp>
        <p:nvCxnSpPr>
          <p:cNvPr id="50" name="Łącznik prosty ze strzałką 118">
            <a:extLst>
              <a:ext uri="{FF2B5EF4-FFF2-40B4-BE49-F238E27FC236}">
                <a16:creationId xmlns:a16="http://schemas.microsoft.com/office/drawing/2014/main" id="{4F557500-13BF-A80C-82DD-C2BDEDAF89C0}"/>
              </a:ext>
            </a:extLst>
          </p:cNvPr>
          <p:cNvCxnSpPr/>
          <p:nvPr/>
        </p:nvCxnSpPr>
        <p:spPr>
          <a:xfrm>
            <a:off x="5516782" y="2553949"/>
            <a:ext cx="413925" cy="0"/>
          </a:xfrm>
          <a:prstGeom prst="straightConnector1">
            <a:avLst/>
          </a:prstGeom>
          <a:noFill/>
          <a:ln w="12700" cap="flat" cmpd="sng" algn="ctr">
            <a:solidFill>
              <a:srgbClr val="B60024"/>
            </a:solidFill>
            <a:prstDash val="dash"/>
            <a:headEnd w="sm" len="sm"/>
            <a:tailEnd type="triangle" w="med" len="med"/>
          </a:ln>
          <a:effectLst/>
        </p:spPr>
      </p:cxnSp>
      <p:sp>
        <p:nvSpPr>
          <p:cNvPr id="51" name="pole tekstowe 5">
            <a:extLst>
              <a:ext uri="{FF2B5EF4-FFF2-40B4-BE49-F238E27FC236}">
                <a16:creationId xmlns:a16="http://schemas.microsoft.com/office/drawing/2014/main" id="{B8162500-09CE-84B7-5CA0-31A3B901DAEB}"/>
              </a:ext>
            </a:extLst>
          </p:cNvPr>
          <p:cNvSpPr txBox="1">
            <a:spLocks noChangeArrowheads="1"/>
          </p:cNvSpPr>
          <p:nvPr/>
        </p:nvSpPr>
        <p:spPr bwMode="auto">
          <a:xfrm>
            <a:off x="1493114" y="2022100"/>
            <a:ext cx="1286317" cy="900000"/>
          </a:xfrm>
          <a:prstGeom prst="rect">
            <a:avLst/>
          </a:prstGeom>
          <a:solidFill>
            <a:sysClr val="window" lastClr="FFFFFF"/>
          </a:solidFill>
          <a:ln w="9525" cap="flat" cmpd="sng" algn="ctr">
            <a:solidFill>
              <a:srgbClr val="B72033"/>
            </a:solid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0"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2" name="pole tekstowe 5">
            <a:extLst>
              <a:ext uri="{FF2B5EF4-FFF2-40B4-BE49-F238E27FC236}">
                <a16:creationId xmlns:a16="http://schemas.microsoft.com/office/drawing/2014/main" id="{5F04FB2F-6B15-EB7C-C22E-85018A68878E}"/>
              </a:ext>
            </a:extLst>
          </p:cNvPr>
          <p:cNvSpPr txBox="1">
            <a:spLocks noChangeArrowheads="1"/>
          </p:cNvSpPr>
          <p:nvPr/>
        </p:nvSpPr>
        <p:spPr bwMode="auto">
          <a:xfrm>
            <a:off x="1493114" y="4139413"/>
            <a:ext cx="1286317" cy="900000"/>
          </a:xfrm>
          <a:prstGeom prst="rect">
            <a:avLst/>
          </a:prstGeom>
          <a:solidFill>
            <a:srgbClr val="DA2038"/>
          </a:solidFill>
          <a:ln w="25400" cap="flat" cmpd="sng" algn="ctr">
            <a:no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err="1">
                <a:ln>
                  <a:noFill/>
                </a:ln>
                <a:solidFill>
                  <a:prstClr val="white"/>
                </a:solidFill>
                <a:effectLst/>
                <a:uLnTx/>
                <a:uFillTx/>
                <a:latin typeface="Calibri"/>
                <a:ea typeface="ＭＳ Ｐゴシック" pitchFamily="34" charset="-128"/>
                <a:cs typeface="Times New Roman" pitchFamily="18" charset="0"/>
              </a:rPr>
              <a:t>Polish</a:t>
            </a: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 </a:t>
            </a:r>
          </a:p>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Investor</a:t>
            </a:r>
            <a:endParaRPr kumimoji="0" lang="en-US"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endParaRPr>
          </a:p>
        </p:txBody>
      </p:sp>
      <p:cxnSp>
        <p:nvCxnSpPr>
          <p:cNvPr id="53" name="Łącznik prosty ze strzałką 44">
            <a:extLst>
              <a:ext uri="{FF2B5EF4-FFF2-40B4-BE49-F238E27FC236}">
                <a16:creationId xmlns:a16="http://schemas.microsoft.com/office/drawing/2014/main" id="{E3770FAD-2677-63F2-B2E6-BD1FACE9CE95}"/>
              </a:ext>
            </a:extLst>
          </p:cNvPr>
          <p:cNvCxnSpPr/>
          <p:nvPr/>
        </p:nvCxnSpPr>
        <p:spPr>
          <a:xfrm flipH="1" flipV="1">
            <a:off x="2761564" y="4306089"/>
            <a:ext cx="1042292" cy="3678"/>
          </a:xfrm>
          <a:prstGeom prst="straightConnector1">
            <a:avLst/>
          </a:prstGeom>
          <a:noFill/>
          <a:ln w="9525" cap="flat" cmpd="sng" algn="ctr">
            <a:solidFill>
              <a:srgbClr val="B60024"/>
            </a:solidFill>
            <a:prstDash val="dash"/>
            <a:headEnd type="triangle" w="med" len="med"/>
            <a:tailEnd type="triangle" w="med" len="med"/>
          </a:ln>
          <a:effectLst/>
        </p:spPr>
      </p:cxnSp>
      <p:cxnSp>
        <p:nvCxnSpPr>
          <p:cNvPr id="54" name="Łącznik prosty ze strzałką 44">
            <a:extLst>
              <a:ext uri="{FF2B5EF4-FFF2-40B4-BE49-F238E27FC236}">
                <a16:creationId xmlns:a16="http://schemas.microsoft.com/office/drawing/2014/main" id="{E100CBA0-F112-781C-3C93-AF787B26991A}"/>
              </a:ext>
            </a:extLst>
          </p:cNvPr>
          <p:cNvCxnSpPr/>
          <p:nvPr/>
        </p:nvCxnSpPr>
        <p:spPr>
          <a:xfrm flipV="1">
            <a:off x="2111583" y="5030941"/>
            <a:ext cx="0" cy="279326"/>
          </a:xfrm>
          <a:prstGeom prst="straightConnector1">
            <a:avLst/>
          </a:prstGeom>
          <a:noFill/>
          <a:ln w="9525" cap="flat" cmpd="sng" algn="ctr">
            <a:solidFill>
              <a:srgbClr val="B60024"/>
            </a:solidFill>
            <a:prstDash val="dash"/>
            <a:headEnd type="none" w="med" len="med"/>
            <a:tailEnd type="triangle" w="med" len="med"/>
          </a:ln>
          <a:effectLst/>
        </p:spPr>
      </p:cxnSp>
      <p:sp>
        <p:nvSpPr>
          <p:cNvPr id="55" name="pole tekstowe 39">
            <a:extLst>
              <a:ext uri="{FF2B5EF4-FFF2-40B4-BE49-F238E27FC236}">
                <a16:creationId xmlns:a16="http://schemas.microsoft.com/office/drawing/2014/main" id="{0A42E72E-1D17-C81C-3295-0959E092AE6F}"/>
              </a:ext>
            </a:extLst>
          </p:cNvPr>
          <p:cNvSpPr txBox="1"/>
          <p:nvPr/>
        </p:nvSpPr>
        <p:spPr>
          <a:xfrm>
            <a:off x="1717573" y="3650775"/>
            <a:ext cx="92483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2</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Credit</a:t>
            </a:r>
            <a:r>
              <a:rPr kumimoji="0" lang="pl-PL" sz="1200" b="0" i="0" u="none" strike="noStrike" kern="0" cap="none" spc="0" normalizeH="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A</a:t>
            </a:r>
            <a:r>
              <a:rPr kumimoji="0" lang="pl-PL" sz="1200" b="0" i="0" u="none" strike="noStrike" kern="0" cap="none" spc="0" normalizeH="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6" name="Łącznik prosty ze strzałką 44">
            <a:extLst>
              <a:ext uri="{FF2B5EF4-FFF2-40B4-BE49-F238E27FC236}">
                <a16:creationId xmlns:a16="http://schemas.microsoft.com/office/drawing/2014/main" id="{716678B3-41BA-548B-AC80-504551F777BA}"/>
              </a:ext>
            </a:extLst>
          </p:cNvPr>
          <p:cNvCxnSpPr/>
          <p:nvPr/>
        </p:nvCxnSpPr>
        <p:spPr>
          <a:xfrm>
            <a:off x="2125869" y="5310267"/>
            <a:ext cx="3575539" cy="1292"/>
          </a:xfrm>
          <a:prstGeom prst="straightConnector1">
            <a:avLst/>
          </a:prstGeom>
          <a:noFill/>
          <a:ln w="9525" cap="flat" cmpd="sng" algn="ctr">
            <a:solidFill>
              <a:srgbClr val="B60024"/>
            </a:solidFill>
            <a:prstDash val="dash"/>
            <a:headEnd type="none" w="med" len="med"/>
            <a:tailEnd type="none" w="med" len="med"/>
          </a:ln>
          <a:effectLst/>
        </p:spPr>
      </p:cxnSp>
      <p:cxnSp>
        <p:nvCxnSpPr>
          <p:cNvPr id="57" name="Łącznik prosty ze strzałką 44">
            <a:extLst>
              <a:ext uri="{FF2B5EF4-FFF2-40B4-BE49-F238E27FC236}">
                <a16:creationId xmlns:a16="http://schemas.microsoft.com/office/drawing/2014/main" id="{F88910D8-5163-B402-C491-9275281771EB}"/>
              </a:ext>
            </a:extLst>
          </p:cNvPr>
          <p:cNvCxnSpPr/>
          <p:nvPr/>
        </p:nvCxnSpPr>
        <p:spPr>
          <a:xfrm flipH="1">
            <a:off x="5092534" y="2846198"/>
            <a:ext cx="594588" cy="0"/>
          </a:xfrm>
          <a:prstGeom prst="straightConnector1">
            <a:avLst/>
          </a:prstGeom>
          <a:noFill/>
          <a:ln w="9525" cap="flat" cmpd="sng" algn="ctr">
            <a:solidFill>
              <a:srgbClr val="B60024"/>
            </a:solidFill>
            <a:prstDash val="dash"/>
            <a:headEnd type="none" w="med" len="med"/>
            <a:tailEnd type="triangle" w="med" len="med"/>
          </a:ln>
          <a:effectLst/>
        </p:spPr>
      </p:cxnSp>
      <p:cxnSp>
        <p:nvCxnSpPr>
          <p:cNvPr id="58" name="Łącznik prosty ze strzałką 44">
            <a:extLst>
              <a:ext uri="{FF2B5EF4-FFF2-40B4-BE49-F238E27FC236}">
                <a16:creationId xmlns:a16="http://schemas.microsoft.com/office/drawing/2014/main" id="{7397BF7B-84D8-CA8B-601C-187092A995C9}"/>
              </a:ext>
            </a:extLst>
          </p:cNvPr>
          <p:cNvCxnSpPr/>
          <p:nvPr/>
        </p:nvCxnSpPr>
        <p:spPr>
          <a:xfrm>
            <a:off x="5687122" y="2860144"/>
            <a:ext cx="0" cy="2450123"/>
          </a:xfrm>
          <a:prstGeom prst="straightConnector1">
            <a:avLst/>
          </a:prstGeom>
          <a:noFill/>
          <a:ln w="9525" cap="flat" cmpd="sng" algn="ctr">
            <a:solidFill>
              <a:srgbClr val="B60024"/>
            </a:solidFill>
            <a:prstDash val="dash"/>
            <a:headEnd type="none" w="med" len="med"/>
            <a:tailEnd type="none" w="med" len="med"/>
          </a:ln>
          <a:effectLst/>
        </p:spPr>
      </p:cxnSp>
      <p:sp>
        <p:nvSpPr>
          <p:cNvPr id="59" name="pole tekstowe 39">
            <a:extLst>
              <a:ext uri="{FF2B5EF4-FFF2-40B4-BE49-F238E27FC236}">
                <a16:creationId xmlns:a16="http://schemas.microsoft.com/office/drawing/2014/main" id="{DCBFCB27-69A6-970A-08D2-B1AE3F1D670C}"/>
              </a:ext>
            </a:extLst>
          </p:cNvPr>
          <p:cNvSpPr txBox="1"/>
          <p:nvPr/>
        </p:nvSpPr>
        <p:spPr>
          <a:xfrm>
            <a:off x="2508617" y="4848465"/>
            <a:ext cx="161999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rPr>
              <a:t>1</a:t>
            </a:r>
            <a:r>
              <a:rPr kumimoji="0" lang="pl-PL" sz="1200" b="0" i="0" u="none" strike="noStrike" kern="0" cap="none" spc="0" normalizeH="0" baseline="0" noProof="0" dirty="0">
                <a:ln>
                  <a:noFill/>
                </a:ln>
                <a:solidFill>
                  <a:prstClr val="black">
                    <a:lumMod val="65000"/>
                    <a:lumOff val="35000"/>
                  </a:prstClr>
                </a:solidFill>
                <a:effectLst/>
                <a:uLnTx/>
                <a:uFillTx/>
              </a:rPr>
              <a:t> Sale and </a:t>
            </a:r>
          </a:p>
          <a:p>
            <a:pPr marL="0" marR="0" lvl="0" indent="0" defTabSz="914400" eaLnBrk="1" fontAlgn="auto" latinLnBrk="0" hangingPunct="1">
              <a:lnSpc>
                <a:spcPct val="100000"/>
              </a:lnSpc>
              <a:spcBef>
                <a:spcPts val="0"/>
              </a:spcBef>
              <a:spcAft>
                <a:spcPts val="0"/>
              </a:spcAft>
              <a:buClrTx/>
              <a:buSzTx/>
              <a:buFontTx/>
              <a:buNone/>
              <a:tabLst/>
              <a:defRPr/>
            </a:pPr>
            <a:r>
              <a:rPr lang="pl-PL" sz="1200" kern="0" dirty="0">
                <a:solidFill>
                  <a:prstClr val="black">
                    <a:lumMod val="65000"/>
                    <a:lumOff val="35000"/>
                  </a:prstClr>
                </a:solidFill>
              </a:rPr>
              <a:t>P</a:t>
            </a:r>
            <a:r>
              <a:rPr kumimoji="0" lang="pl-PL" sz="1200" b="0" i="0" u="none" strike="noStrike" kern="0" cap="none" spc="0" normalizeH="0" baseline="0" noProof="0" dirty="0" err="1">
                <a:ln>
                  <a:noFill/>
                </a:ln>
                <a:solidFill>
                  <a:prstClr val="black">
                    <a:lumMod val="65000"/>
                    <a:lumOff val="35000"/>
                  </a:prstClr>
                </a:solidFill>
                <a:effectLst/>
                <a:uLnTx/>
                <a:uFillTx/>
              </a:rPr>
              <a:t>urchase</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A</a:t>
            </a:r>
            <a:r>
              <a:rPr kumimoji="0" lang="pl-PL" sz="1200" b="0" i="0" u="none" strike="noStrike" kern="0" cap="none" spc="0" normalizeH="0" baseline="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60" name="Łącznik prosty ze strzałką 45">
            <a:extLst>
              <a:ext uri="{FF2B5EF4-FFF2-40B4-BE49-F238E27FC236}">
                <a16:creationId xmlns:a16="http://schemas.microsoft.com/office/drawing/2014/main" id="{E286FB0C-1A5A-15C0-563E-8B5D0D9981DA}"/>
              </a:ext>
            </a:extLst>
          </p:cNvPr>
          <p:cNvCxnSpPr/>
          <p:nvPr/>
        </p:nvCxnSpPr>
        <p:spPr>
          <a:xfrm flipV="1">
            <a:off x="1626853" y="2961105"/>
            <a:ext cx="0" cy="1127477"/>
          </a:xfrm>
          <a:prstGeom prst="straightConnector1">
            <a:avLst/>
          </a:prstGeom>
          <a:noFill/>
          <a:ln w="9525" cap="flat" cmpd="sng" algn="ctr">
            <a:solidFill>
              <a:srgbClr val="B60024"/>
            </a:solidFill>
            <a:prstDash val="solid"/>
            <a:tailEnd type="triangle"/>
          </a:ln>
          <a:effectLst/>
        </p:spPr>
      </p:cxnSp>
      <p:pic>
        <p:nvPicPr>
          <p:cNvPr id="61" name="Obraz 7">
            <a:extLst>
              <a:ext uri="{FF2B5EF4-FFF2-40B4-BE49-F238E27FC236}">
                <a16:creationId xmlns:a16="http://schemas.microsoft.com/office/drawing/2014/main" id="{AAE0E6DB-1FAE-CCBC-B991-95637F699C2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47500" y="2121756"/>
            <a:ext cx="928164" cy="700687"/>
          </a:xfrm>
          <a:prstGeom prst="rect">
            <a:avLst/>
          </a:prstGeom>
        </p:spPr>
      </p:pic>
      <p:pic>
        <p:nvPicPr>
          <p:cNvPr id="31" name="Obraz 30">
            <a:extLst>
              <a:ext uri="{FF2B5EF4-FFF2-40B4-BE49-F238E27FC236}">
                <a16:creationId xmlns:a16="http://schemas.microsoft.com/office/drawing/2014/main" id="{D87117C8-B542-70E3-A689-A5760121AD3E}"/>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26966986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5</a:t>
            </a:fld>
            <a:endParaRPr lang="en-US"/>
          </a:p>
        </p:txBody>
      </p:sp>
      <p:sp>
        <p:nvSpPr>
          <p:cNvPr id="2" name="Prostokąt 11">
            <a:extLst>
              <a:ext uri="{FF2B5EF4-FFF2-40B4-BE49-F238E27FC236}">
                <a16:creationId xmlns:a16="http://schemas.microsoft.com/office/drawing/2014/main" id="{E97972CC-159E-FC26-FDA5-84D948283B22}"/>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Foreig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acquisition</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financing</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scheme</a:t>
            </a:r>
            <a:r>
              <a:rPr lang="pl-PL" sz="2000" b="1" dirty="0">
                <a:solidFill>
                  <a:srgbClr val="595959"/>
                </a:solidFill>
                <a:latin typeface="Calibri" panose="020F0502020204030204" pitchFamily="34" charset="0"/>
              </a:rPr>
              <a:t> 2/2</a:t>
            </a:r>
          </a:p>
        </p:txBody>
      </p:sp>
      <p:sp>
        <p:nvSpPr>
          <p:cNvPr id="3" name="pole tekstowe 5">
            <a:extLst>
              <a:ext uri="{FF2B5EF4-FFF2-40B4-BE49-F238E27FC236}">
                <a16:creationId xmlns:a16="http://schemas.microsoft.com/office/drawing/2014/main" id="{6A192BF9-84F8-F413-0C81-6406BE61AB35}"/>
              </a:ext>
            </a:extLst>
          </p:cNvPr>
          <p:cNvSpPr txBox="1">
            <a:spLocks noChangeArrowheads="1"/>
          </p:cNvSpPr>
          <p:nvPr/>
        </p:nvSpPr>
        <p:spPr bwMode="auto">
          <a:xfrm>
            <a:off x="8980227" y="0"/>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 name="Prostokąt 127">
            <a:extLst>
              <a:ext uri="{FF2B5EF4-FFF2-40B4-BE49-F238E27FC236}">
                <a16:creationId xmlns:a16="http://schemas.microsoft.com/office/drawing/2014/main" id="{3FAD11FE-9C66-B49B-F48A-E8762ED886EA}"/>
              </a:ext>
            </a:extLst>
          </p:cNvPr>
          <p:cNvSpPr/>
          <p:nvPr/>
        </p:nvSpPr>
        <p:spPr>
          <a:xfrm>
            <a:off x="9321377" y="1913608"/>
            <a:ext cx="2374754" cy="2110340"/>
          </a:xfrm>
          <a:prstGeom prst="rect">
            <a:avLst/>
          </a:prstGeom>
          <a:noFill/>
          <a:ln w="12700" cap="flat" cmpd="sng" algn="ctr">
            <a:noFill/>
            <a:prstDash val="solid"/>
          </a:ln>
          <a:effectLst/>
        </p:spPr>
        <p:txBody>
          <a:bodyPr rtlCol="0" anchor="t"/>
          <a:lstStyle/>
          <a:p>
            <a:pPr lvl="0" defTabSz="914400">
              <a:defRPr/>
            </a:pPr>
            <a:r>
              <a:rPr lang="en-AU" sz="1400" b="1" kern="0" dirty="0">
                <a:solidFill>
                  <a:prstClr val="black">
                    <a:lumMod val="65000"/>
                    <a:lumOff val="35000"/>
                  </a:prstClr>
                </a:solidFill>
              </a:rPr>
              <a:t>Main </a:t>
            </a:r>
            <a:r>
              <a:rPr lang="en-AU" sz="1400" b="1" kern="0" dirty="0" err="1">
                <a:solidFill>
                  <a:prstClr val="black">
                    <a:lumMod val="65000"/>
                    <a:lumOff val="35000"/>
                  </a:prstClr>
                </a:solidFill>
              </a:rPr>
              <a:t>chara</a:t>
            </a:r>
            <a:r>
              <a:rPr lang="pl-PL" sz="1400" b="1" kern="0" dirty="0">
                <a:solidFill>
                  <a:prstClr val="black">
                    <a:lumMod val="65000"/>
                    <a:lumOff val="35000"/>
                  </a:prstClr>
                </a:solidFill>
              </a:rPr>
              <a:t>c</a:t>
            </a:r>
            <a:r>
              <a:rPr lang="en-AU" sz="1400" b="1" kern="0" dirty="0" err="1">
                <a:solidFill>
                  <a:prstClr val="black">
                    <a:lumMod val="65000"/>
                    <a:lumOff val="35000"/>
                  </a:prstClr>
                </a:solidFill>
              </a:rPr>
              <a:t>teristics</a:t>
            </a:r>
            <a:r>
              <a:rPr lang="en-AU" sz="1400" b="1" kern="0" dirty="0">
                <a:solidFill>
                  <a:prstClr val="black">
                    <a:lumMod val="65000"/>
                    <a:lumOff val="35000"/>
                  </a:prstClr>
                </a:solidFill>
              </a:rPr>
              <a:t>: </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based on the balance of the Polish Investor,</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collateral based primarily on foreign assets, </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possible additional collateral on assets in Poland.</a:t>
            </a:r>
          </a:p>
        </p:txBody>
      </p:sp>
      <p:grpSp>
        <p:nvGrpSpPr>
          <p:cNvPr id="6" name="Grupa 130">
            <a:extLst>
              <a:ext uri="{FF2B5EF4-FFF2-40B4-BE49-F238E27FC236}">
                <a16:creationId xmlns:a16="http://schemas.microsoft.com/office/drawing/2014/main" id="{A4419A2C-0117-7BC8-F883-10ED26637820}"/>
              </a:ext>
            </a:extLst>
          </p:cNvPr>
          <p:cNvGrpSpPr/>
          <p:nvPr/>
        </p:nvGrpSpPr>
        <p:grpSpPr>
          <a:xfrm>
            <a:off x="9403368" y="1583052"/>
            <a:ext cx="346499" cy="319130"/>
            <a:chOff x="471661" y="388366"/>
            <a:chExt cx="585323" cy="539090"/>
          </a:xfrm>
        </p:grpSpPr>
        <p:sp>
          <p:nvSpPr>
            <p:cNvPr id="7" name="Freeform 431">
              <a:extLst>
                <a:ext uri="{FF2B5EF4-FFF2-40B4-BE49-F238E27FC236}">
                  <a16:creationId xmlns:a16="http://schemas.microsoft.com/office/drawing/2014/main" id="{D72867D4-B28E-E002-AB25-DED9DE303D9A}"/>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432">
              <a:extLst>
                <a:ext uri="{FF2B5EF4-FFF2-40B4-BE49-F238E27FC236}">
                  <a16:creationId xmlns:a16="http://schemas.microsoft.com/office/drawing/2014/main" id="{7B079F2A-F6A0-3A56-46DF-49B388514CA3}"/>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433">
              <a:extLst>
                <a:ext uri="{FF2B5EF4-FFF2-40B4-BE49-F238E27FC236}">
                  <a16:creationId xmlns:a16="http://schemas.microsoft.com/office/drawing/2014/main" id="{258D3873-9340-4AD1-20B2-03BBDB396100}"/>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434">
              <a:extLst>
                <a:ext uri="{FF2B5EF4-FFF2-40B4-BE49-F238E27FC236}">
                  <a16:creationId xmlns:a16="http://schemas.microsoft.com/office/drawing/2014/main" id="{D6ED2BAF-E357-C7BE-D793-FF3C15043524}"/>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435">
              <a:extLst>
                <a:ext uri="{FF2B5EF4-FFF2-40B4-BE49-F238E27FC236}">
                  <a16:creationId xmlns:a16="http://schemas.microsoft.com/office/drawing/2014/main" id="{6A770C35-4424-051D-CCEB-4284632FF60A}"/>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Rectangle 436">
              <a:extLst>
                <a:ext uri="{FF2B5EF4-FFF2-40B4-BE49-F238E27FC236}">
                  <a16:creationId xmlns:a16="http://schemas.microsoft.com/office/drawing/2014/main" id="{39BC189A-6398-7C40-E480-39B58BEDC9D5}"/>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Rectangle 437">
              <a:extLst>
                <a:ext uri="{FF2B5EF4-FFF2-40B4-BE49-F238E27FC236}">
                  <a16:creationId xmlns:a16="http://schemas.microsoft.com/office/drawing/2014/main" id="{3B1CD851-C868-4294-992C-5445DA18D1A3}"/>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438">
              <a:extLst>
                <a:ext uri="{FF2B5EF4-FFF2-40B4-BE49-F238E27FC236}">
                  <a16:creationId xmlns:a16="http://schemas.microsoft.com/office/drawing/2014/main" id="{92BF1BD2-AFE1-0E5B-966C-34DA7E4607FF}"/>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Rectangle 439">
              <a:extLst>
                <a:ext uri="{FF2B5EF4-FFF2-40B4-BE49-F238E27FC236}">
                  <a16:creationId xmlns:a16="http://schemas.microsoft.com/office/drawing/2014/main" id="{E7457DC4-08BB-0A57-CCE1-3F5D2BBA193A}"/>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Rectangle 440">
              <a:extLst>
                <a:ext uri="{FF2B5EF4-FFF2-40B4-BE49-F238E27FC236}">
                  <a16:creationId xmlns:a16="http://schemas.microsoft.com/office/drawing/2014/main" id="{F21A4B15-D860-93ED-463F-CFEFE8CA9DE3}"/>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Rectangle 441">
              <a:extLst>
                <a:ext uri="{FF2B5EF4-FFF2-40B4-BE49-F238E27FC236}">
                  <a16:creationId xmlns:a16="http://schemas.microsoft.com/office/drawing/2014/main" id="{8032D9CD-1CFB-95BD-80F9-8C465E4A86E6}"/>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Rectangle 442">
              <a:extLst>
                <a:ext uri="{FF2B5EF4-FFF2-40B4-BE49-F238E27FC236}">
                  <a16:creationId xmlns:a16="http://schemas.microsoft.com/office/drawing/2014/main" id="{D8F7EDC0-5D69-8BF8-D8EA-22F03AEDC3D9}"/>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443">
              <a:extLst>
                <a:ext uri="{FF2B5EF4-FFF2-40B4-BE49-F238E27FC236}">
                  <a16:creationId xmlns:a16="http://schemas.microsoft.com/office/drawing/2014/main" id="{26BCF999-DC62-F35E-A705-4303F79E405E}"/>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444">
              <a:extLst>
                <a:ext uri="{FF2B5EF4-FFF2-40B4-BE49-F238E27FC236}">
                  <a16:creationId xmlns:a16="http://schemas.microsoft.com/office/drawing/2014/main" id="{C51F2E73-B5DF-49A9-EC42-AFAF3D01682F}"/>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445">
              <a:extLst>
                <a:ext uri="{FF2B5EF4-FFF2-40B4-BE49-F238E27FC236}">
                  <a16:creationId xmlns:a16="http://schemas.microsoft.com/office/drawing/2014/main" id="{DD2219EC-2E25-0F78-B4A7-50F4628AF1AF}"/>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446">
              <a:extLst>
                <a:ext uri="{FF2B5EF4-FFF2-40B4-BE49-F238E27FC236}">
                  <a16:creationId xmlns:a16="http://schemas.microsoft.com/office/drawing/2014/main" id="{1BB475DD-2B3A-DD3F-F556-96A148184D1F}"/>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447">
              <a:extLst>
                <a:ext uri="{FF2B5EF4-FFF2-40B4-BE49-F238E27FC236}">
                  <a16:creationId xmlns:a16="http://schemas.microsoft.com/office/drawing/2014/main" id="{C15F6908-AB23-9D36-0CA2-2BBD88A5EBC3}"/>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448">
              <a:extLst>
                <a:ext uri="{FF2B5EF4-FFF2-40B4-BE49-F238E27FC236}">
                  <a16:creationId xmlns:a16="http://schemas.microsoft.com/office/drawing/2014/main" id="{5E193D00-3A1D-528A-28AD-6A250ECE41A1}"/>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449">
              <a:extLst>
                <a:ext uri="{FF2B5EF4-FFF2-40B4-BE49-F238E27FC236}">
                  <a16:creationId xmlns:a16="http://schemas.microsoft.com/office/drawing/2014/main" id="{918B033C-9237-D84A-8D51-1BACCD721DCF}"/>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450">
              <a:extLst>
                <a:ext uri="{FF2B5EF4-FFF2-40B4-BE49-F238E27FC236}">
                  <a16:creationId xmlns:a16="http://schemas.microsoft.com/office/drawing/2014/main" id="{2E4EB4C7-4EA1-2118-C6FB-EFDB371F63DF}"/>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451">
              <a:extLst>
                <a:ext uri="{FF2B5EF4-FFF2-40B4-BE49-F238E27FC236}">
                  <a16:creationId xmlns:a16="http://schemas.microsoft.com/office/drawing/2014/main" id="{0151D0A0-B3EE-F3AE-45B2-E7AB0D3825AA}"/>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452">
              <a:extLst>
                <a:ext uri="{FF2B5EF4-FFF2-40B4-BE49-F238E27FC236}">
                  <a16:creationId xmlns:a16="http://schemas.microsoft.com/office/drawing/2014/main" id="{5B89696F-282F-312B-2D33-0DD09535012A}"/>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 name="Prostokąt 127">
            <a:extLst>
              <a:ext uri="{FF2B5EF4-FFF2-40B4-BE49-F238E27FC236}">
                <a16:creationId xmlns:a16="http://schemas.microsoft.com/office/drawing/2014/main" id="{1B38D058-8B28-0BC3-86F2-BE6BC6357C1B}"/>
              </a:ext>
            </a:extLst>
          </p:cNvPr>
          <p:cNvSpPr/>
          <p:nvPr/>
        </p:nvSpPr>
        <p:spPr>
          <a:xfrm>
            <a:off x="9321376" y="4274918"/>
            <a:ext cx="2429345" cy="2110340"/>
          </a:xfrm>
          <a:prstGeom prst="rect">
            <a:avLst/>
          </a:prstGeom>
          <a:noFill/>
          <a:ln w="12700" cap="flat" cmpd="sng" algn="ctr">
            <a:noFill/>
            <a:prstDash val="solid"/>
          </a:ln>
          <a:effectLst/>
        </p:spPr>
        <p:txBody>
          <a:bodyPr rtlCol="0" anchor="t"/>
          <a:lstStyle/>
          <a:p>
            <a:pPr lvl="0" defTabSz="914400">
              <a:defRPr/>
            </a:pPr>
            <a:r>
              <a:rPr lang="pl-PL" sz="1400" b="1" kern="0" dirty="0" err="1">
                <a:solidFill>
                  <a:prstClr val="black">
                    <a:lumMod val="65000"/>
                    <a:lumOff val="35000"/>
                  </a:prstClr>
                </a:solidFill>
              </a:rPr>
              <a:t>Example</a:t>
            </a:r>
            <a:r>
              <a:rPr lang="pl-PL" sz="1400" b="1" kern="0" dirty="0">
                <a:solidFill>
                  <a:prstClr val="black">
                    <a:lumMod val="65000"/>
                    <a:lumOff val="35000"/>
                  </a:prstClr>
                </a:solidFill>
              </a:rPr>
              <a:t> </a:t>
            </a:r>
            <a:r>
              <a:rPr lang="pl-PL" sz="1400" b="1" kern="0" dirty="0" err="1">
                <a:solidFill>
                  <a:prstClr val="black">
                    <a:lumMod val="65000"/>
                    <a:lumOff val="35000"/>
                  </a:prstClr>
                </a:solidFill>
              </a:rPr>
              <a:t>transactions</a:t>
            </a:r>
            <a:r>
              <a:rPr lang="pl-PL" sz="1400" b="1" kern="0" dirty="0">
                <a:solidFill>
                  <a:prstClr val="black">
                    <a:lumMod val="65000"/>
                    <a:lumOff val="35000"/>
                  </a:prstClr>
                </a:solidFill>
              </a:rPr>
              <a:t>:</a:t>
            </a:r>
          </a:p>
          <a:p>
            <a:pPr marL="177800" lvl="0" indent="-177800" defTabSz="914400">
              <a:buClr>
                <a:srgbClr val="DA2038"/>
              </a:buClr>
              <a:buFont typeface="Wingdings" panose="05000000000000000000" pitchFamily="2" charset="2"/>
              <a:buChar char="§"/>
              <a:defRPr/>
            </a:pPr>
            <a:r>
              <a:rPr lang="pl-PL" sz="1200" kern="0" dirty="0" err="1">
                <a:solidFill>
                  <a:prstClr val="black">
                    <a:lumMod val="65000"/>
                    <a:lumOff val="35000"/>
                  </a:prstClr>
                </a:solidFill>
              </a:rPr>
              <a:t>Financing</a:t>
            </a:r>
            <a:r>
              <a:rPr lang="pl-PL" sz="1200" kern="0" dirty="0">
                <a:solidFill>
                  <a:prstClr val="black">
                    <a:lumMod val="65000"/>
                    <a:lumOff val="35000"/>
                  </a:prstClr>
                </a:solidFill>
              </a:rPr>
              <a:t> of </a:t>
            </a:r>
            <a:r>
              <a:rPr lang="pl-PL" sz="1200" kern="0" dirty="0" err="1">
                <a:solidFill>
                  <a:prstClr val="black">
                    <a:lumMod val="65000"/>
                    <a:lumOff val="35000"/>
                  </a:prstClr>
                </a:solidFill>
              </a:rPr>
              <a:t>fixed</a:t>
            </a:r>
            <a:r>
              <a:rPr lang="pl-PL" sz="1200" kern="0" dirty="0">
                <a:solidFill>
                  <a:prstClr val="black">
                    <a:lumMod val="65000"/>
                    <a:lumOff val="35000"/>
                  </a:prstClr>
                </a:solidFill>
              </a:rPr>
              <a:t> </a:t>
            </a:r>
            <a:r>
              <a:rPr lang="pl-PL" sz="1200" kern="0" dirty="0" err="1">
                <a:solidFill>
                  <a:prstClr val="black">
                    <a:lumMod val="65000"/>
                    <a:lumOff val="35000"/>
                  </a:prstClr>
                </a:solidFill>
              </a:rPr>
              <a:t>assets</a:t>
            </a:r>
            <a:r>
              <a:rPr lang="pl-PL" sz="1200" kern="0" dirty="0">
                <a:solidFill>
                  <a:prstClr val="black">
                    <a:lumMod val="65000"/>
                    <a:lumOff val="35000"/>
                  </a:prstClr>
                </a:solidFill>
              </a:rPr>
              <a:t> </a:t>
            </a:r>
            <a:r>
              <a:rPr lang="pl-PL" sz="1200" kern="0" dirty="0" err="1">
                <a:solidFill>
                  <a:prstClr val="black">
                    <a:lumMod val="65000"/>
                    <a:lumOff val="35000"/>
                  </a:prstClr>
                </a:solidFill>
              </a:rPr>
              <a:t>purchase</a:t>
            </a:r>
            <a:r>
              <a:rPr lang="pl-PL" sz="1200" kern="0" dirty="0">
                <a:solidFill>
                  <a:prstClr val="black">
                    <a:lumMod val="65000"/>
                    <a:lumOff val="35000"/>
                  </a:prstClr>
                </a:solidFill>
              </a:rPr>
              <a:t> in France.</a:t>
            </a:r>
            <a:endParaRPr lang="pl-PL" sz="1200" b="1" kern="0" dirty="0">
              <a:solidFill>
                <a:prstClr val="black">
                  <a:lumMod val="65000"/>
                  <a:lumOff val="35000"/>
                </a:prstClr>
              </a:solidFill>
            </a:endParaRPr>
          </a:p>
        </p:txBody>
      </p:sp>
      <p:sp>
        <p:nvSpPr>
          <p:cNvPr id="30" name="Freeform 640">
            <a:extLst>
              <a:ext uri="{FF2B5EF4-FFF2-40B4-BE49-F238E27FC236}">
                <a16:creationId xmlns:a16="http://schemas.microsoft.com/office/drawing/2014/main" id="{C54DCB6B-B810-AC17-EC54-F49C58E24C8A}"/>
              </a:ext>
            </a:extLst>
          </p:cNvPr>
          <p:cNvSpPr>
            <a:spLocks noEditPoints="1"/>
          </p:cNvSpPr>
          <p:nvPr/>
        </p:nvSpPr>
        <p:spPr bwMode="auto">
          <a:xfrm>
            <a:off x="9389303" y="4013191"/>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32" name="Grupa 31">
            <a:extLst>
              <a:ext uri="{FF2B5EF4-FFF2-40B4-BE49-F238E27FC236}">
                <a16:creationId xmlns:a16="http://schemas.microsoft.com/office/drawing/2014/main" id="{3FBA5F6F-B4BE-6A4B-AC55-AEC7343D9E12}"/>
              </a:ext>
            </a:extLst>
          </p:cNvPr>
          <p:cNvGrpSpPr/>
          <p:nvPr/>
        </p:nvGrpSpPr>
        <p:grpSpPr>
          <a:xfrm>
            <a:off x="5973493" y="1352316"/>
            <a:ext cx="1777203" cy="591356"/>
            <a:chOff x="6949285" y="1407528"/>
            <a:chExt cx="1777203" cy="591356"/>
          </a:xfrm>
        </p:grpSpPr>
        <p:grpSp>
          <p:nvGrpSpPr>
            <p:cNvPr id="33" name="Grupa 32">
              <a:extLst>
                <a:ext uri="{FF2B5EF4-FFF2-40B4-BE49-F238E27FC236}">
                  <a16:creationId xmlns:a16="http://schemas.microsoft.com/office/drawing/2014/main" id="{D95FC99D-CD5A-80BE-22B8-A5A8E365B20A}"/>
                </a:ext>
              </a:extLst>
            </p:cNvPr>
            <p:cNvGrpSpPr/>
            <p:nvPr/>
          </p:nvGrpSpPr>
          <p:grpSpPr>
            <a:xfrm>
              <a:off x="7468487" y="1407528"/>
              <a:ext cx="1258001" cy="591356"/>
              <a:chOff x="7258012" y="5531374"/>
              <a:chExt cx="2305050" cy="591356"/>
            </a:xfrm>
          </p:grpSpPr>
          <p:sp>
            <p:nvSpPr>
              <p:cNvPr id="36" name="pole tekstowe 32">
                <a:extLst>
                  <a:ext uri="{FF2B5EF4-FFF2-40B4-BE49-F238E27FC236}">
                    <a16:creationId xmlns:a16="http://schemas.microsoft.com/office/drawing/2014/main" id="{0F0285C9-80AF-E2EB-84D3-DF5CEAD0C61D}"/>
                  </a:ext>
                </a:extLst>
              </p:cNvPr>
              <p:cNvSpPr txBox="1">
                <a:spLocks noChangeArrowheads="1"/>
              </p:cNvSpPr>
              <p:nvPr/>
            </p:nvSpPr>
            <p:spPr bwMode="auto">
              <a:xfrm>
                <a:off x="7258012" y="5531374"/>
                <a:ext cx="23050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kern="0" dirty="0">
                    <a:solidFill>
                      <a:prstClr val="black">
                        <a:lumMod val="65000"/>
                        <a:lumOff val="35000"/>
                      </a:prstClr>
                    </a:solidFill>
                    <a:latin typeface="Calibri"/>
                  </a:rPr>
                  <a:t>Cash </a:t>
                </a:r>
                <a:r>
                  <a:rPr lang="pl-PL" altLang="pl-PL" sz="1200" kern="0" dirty="0" err="1">
                    <a:solidFill>
                      <a:prstClr val="black">
                        <a:lumMod val="65000"/>
                        <a:lumOff val="35000"/>
                      </a:prstClr>
                    </a:solidFill>
                    <a:latin typeface="Calibri"/>
                  </a:rPr>
                  <a:t>flow</a:t>
                </a:r>
                <a:endParaRPr lang="en-US" altLang="pl-PL" sz="1200" kern="0" dirty="0">
                  <a:solidFill>
                    <a:prstClr val="black">
                      <a:lumMod val="65000"/>
                      <a:lumOff val="35000"/>
                    </a:prstClr>
                  </a:solidFill>
                  <a:latin typeface="Calibri"/>
                </a:endParaRPr>
              </a:p>
            </p:txBody>
          </p:sp>
          <p:sp>
            <p:nvSpPr>
              <p:cNvPr id="37" name="pole tekstowe 35">
                <a:extLst>
                  <a:ext uri="{FF2B5EF4-FFF2-40B4-BE49-F238E27FC236}">
                    <a16:creationId xmlns:a16="http://schemas.microsoft.com/office/drawing/2014/main" id="{85E98739-0D99-E587-A6DD-A610E674E723}"/>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kern="0" dirty="0" err="1">
                    <a:solidFill>
                      <a:prstClr val="black">
                        <a:lumMod val="65000"/>
                        <a:lumOff val="35000"/>
                      </a:prstClr>
                    </a:solidFill>
                    <a:latin typeface="Calibri"/>
                  </a:rPr>
                  <a:t>Document</a:t>
                </a:r>
                <a:r>
                  <a:rPr lang="pl-PL" altLang="pl-PL" sz="1200" kern="0" dirty="0">
                    <a:solidFill>
                      <a:prstClr val="black">
                        <a:lumMod val="65000"/>
                        <a:lumOff val="35000"/>
                      </a:prstClr>
                    </a:solidFill>
                    <a:latin typeface="Calibri"/>
                  </a:rPr>
                  <a:t> </a:t>
                </a:r>
                <a:r>
                  <a:rPr lang="pl-PL" altLang="pl-PL" sz="1200" kern="0" dirty="0" err="1">
                    <a:solidFill>
                      <a:prstClr val="black">
                        <a:lumMod val="65000"/>
                        <a:lumOff val="35000"/>
                      </a:prstClr>
                    </a:solidFill>
                    <a:latin typeface="Calibri"/>
                  </a:rPr>
                  <a:t>flow</a:t>
                </a:r>
                <a:endParaRPr lang="en-US" altLang="pl-PL" sz="1200" kern="0" dirty="0">
                  <a:solidFill>
                    <a:prstClr val="black">
                      <a:lumMod val="65000"/>
                      <a:lumOff val="35000"/>
                    </a:prstClr>
                  </a:solidFill>
                  <a:latin typeface="Calibri"/>
                </a:endParaRPr>
              </a:p>
            </p:txBody>
          </p:sp>
        </p:grpSp>
        <p:cxnSp>
          <p:nvCxnSpPr>
            <p:cNvPr id="34" name="Łącznik prosty ze strzałką 33">
              <a:extLst>
                <a:ext uri="{FF2B5EF4-FFF2-40B4-BE49-F238E27FC236}">
                  <a16:creationId xmlns:a16="http://schemas.microsoft.com/office/drawing/2014/main" id="{D22EDDAE-2C36-3A88-E750-E5432B5CF1B4}"/>
                </a:ext>
              </a:extLst>
            </p:cNvPr>
            <p:cNvCxnSpPr/>
            <p:nvPr/>
          </p:nvCxnSpPr>
          <p:spPr>
            <a:xfrm>
              <a:off x="6949285" y="1551878"/>
              <a:ext cx="413925" cy="0"/>
            </a:xfrm>
            <a:prstGeom prst="straightConnector1">
              <a:avLst/>
            </a:prstGeom>
            <a:noFill/>
            <a:ln w="12700" cap="flat" cmpd="sng" algn="ctr">
              <a:solidFill>
                <a:srgbClr val="B60024"/>
              </a:solidFill>
              <a:prstDash val="solid"/>
              <a:tailEnd type="triangle"/>
            </a:ln>
            <a:effectLst/>
          </p:spPr>
        </p:cxnSp>
        <p:cxnSp>
          <p:nvCxnSpPr>
            <p:cNvPr id="35" name="Łącznik prosty ze strzałką 34">
              <a:extLst>
                <a:ext uri="{FF2B5EF4-FFF2-40B4-BE49-F238E27FC236}">
                  <a16:creationId xmlns:a16="http://schemas.microsoft.com/office/drawing/2014/main" id="{29D793CA-AEBF-5227-4565-444A4B795218}"/>
                </a:ext>
              </a:extLst>
            </p:cNvPr>
            <p:cNvCxnSpPr/>
            <p:nvPr/>
          </p:nvCxnSpPr>
          <p:spPr>
            <a:xfrm>
              <a:off x="6949285" y="1878129"/>
              <a:ext cx="413925" cy="0"/>
            </a:xfrm>
            <a:prstGeom prst="straightConnector1">
              <a:avLst/>
            </a:prstGeom>
            <a:noFill/>
            <a:ln w="12700" cap="flat" cmpd="sng" algn="ctr">
              <a:solidFill>
                <a:srgbClr val="B60024"/>
              </a:solidFill>
              <a:prstDash val="dash"/>
              <a:headEnd w="sm" len="sm"/>
              <a:tailEnd type="triangle" w="med" len="med"/>
            </a:ln>
            <a:effectLst/>
          </p:spPr>
        </p:cxnSp>
      </p:grpSp>
      <p:grpSp>
        <p:nvGrpSpPr>
          <p:cNvPr id="38" name="Grupa 37">
            <a:extLst>
              <a:ext uri="{FF2B5EF4-FFF2-40B4-BE49-F238E27FC236}">
                <a16:creationId xmlns:a16="http://schemas.microsoft.com/office/drawing/2014/main" id="{F6FB8B57-B6B1-A50C-149B-6224330A972A}"/>
              </a:ext>
            </a:extLst>
          </p:cNvPr>
          <p:cNvGrpSpPr/>
          <p:nvPr/>
        </p:nvGrpSpPr>
        <p:grpSpPr>
          <a:xfrm>
            <a:off x="879560" y="2394043"/>
            <a:ext cx="7006752" cy="3018019"/>
            <a:chOff x="821971" y="2005504"/>
            <a:chExt cx="7006752" cy="3018019"/>
          </a:xfrm>
        </p:grpSpPr>
        <p:sp>
          <p:nvSpPr>
            <p:cNvPr id="39" name="pole tekstowe 38">
              <a:extLst>
                <a:ext uri="{FF2B5EF4-FFF2-40B4-BE49-F238E27FC236}">
                  <a16:creationId xmlns:a16="http://schemas.microsoft.com/office/drawing/2014/main" id="{A76ACB94-116A-8A61-A6BA-DE50C2FD2C29}"/>
                </a:ext>
              </a:extLst>
            </p:cNvPr>
            <p:cNvSpPr txBox="1"/>
            <p:nvPr/>
          </p:nvSpPr>
          <p:spPr>
            <a:xfrm>
              <a:off x="5550553" y="3248465"/>
              <a:ext cx="924839" cy="461665"/>
            </a:xfrm>
            <a:prstGeom prst="rect">
              <a:avLst/>
            </a:prstGeom>
            <a:noFill/>
          </p:spPr>
          <p:txBody>
            <a:bodyPr wrap="square" rtlCol="0">
              <a:spAutoFit/>
            </a:bodyPr>
            <a:lstStyle/>
            <a:p>
              <a:pPr>
                <a:defRPr/>
              </a:pPr>
              <a:r>
                <a:rPr lang="pl-PL" sz="1200" b="1" kern="0" dirty="0">
                  <a:solidFill>
                    <a:prstClr val="black">
                      <a:lumMod val="65000"/>
                      <a:lumOff val="35000"/>
                    </a:prstClr>
                  </a:solidFill>
                </a:rPr>
                <a:t>2 </a:t>
              </a:r>
              <a:r>
                <a:rPr lang="pl-PL" sz="1200" kern="0" dirty="0" err="1">
                  <a:solidFill>
                    <a:prstClr val="black">
                      <a:lumMod val="65000"/>
                      <a:lumOff val="35000"/>
                    </a:prstClr>
                  </a:solidFill>
                </a:rPr>
                <a:t>Credit</a:t>
              </a:r>
              <a:r>
                <a:rPr lang="pl-PL" sz="1200" kern="0" dirty="0">
                  <a:solidFill>
                    <a:prstClr val="black">
                      <a:lumMod val="65000"/>
                      <a:lumOff val="35000"/>
                    </a:prstClr>
                  </a:solidFill>
                </a:rPr>
                <a:t> Agreement</a:t>
              </a:r>
              <a:endParaRPr lang="en-US" sz="1200" kern="0" dirty="0">
                <a:solidFill>
                  <a:prstClr val="black">
                    <a:lumMod val="65000"/>
                    <a:lumOff val="35000"/>
                  </a:prstClr>
                </a:solidFill>
              </a:endParaRPr>
            </a:p>
          </p:txBody>
        </p:sp>
        <p:sp>
          <p:nvSpPr>
            <p:cNvPr id="40" name="pole tekstowe 39">
              <a:extLst>
                <a:ext uri="{FF2B5EF4-FFF2-40B4-BE49-F238E27FC236}">
                  <a16:creationId xmlns:a16="http://schemas.microsoft.com/office/drawing/2014/main" id="{4F67CCE3-13F1-C649-63A4-ECACD12C9651}"/>
                </a:ext>
              </a:extLst>
            </p:cNvPr>
            <p:cNvSpPr txBox="1"/>
            <p:nvPr/>
          </p:nvSpPr>
          <p:spPr>
            <a:xfrm>
              <a:off x="4376991" y="2979631"/>
              <a:ext cx="899039" cy="461665"/>
            </a:xfrm>
            <a:prstGeom prst="rect">
              <a:avLst/>
            </a:prstGeom>
            <a:noFill/>
          </p:spPr>
          <p:txBody>
            <a:bodyPr wrap="square" rtlCol="0">
              <a:spAutoFit/>
            </a:bodyPr>
            <a:lstStyle/>
            <a:p>
              <a:pPr>
                <a:defRPr/>
              </a:pPr>
              <a:r>
                <a:rPr lang="pl-PL" sz="1200" b="1" kern="0" dirty="0">
                  <a:solidFill>
                    <a:prstClr val="black">
                      <a:lumMod val="65000"/>
                      <a:lumOff val="35000"/>
                    </a:prstClr>
                  </a:solidFill>
                </a:rPr>
                <a:t>6 </a:t>
              </a:r>
              <a:r>
                <a:rPr lang="pl-PL" sz="1200" kern="0" dirty="0" err="1">
                  <a:solidFill>
                    <a:prstClr val="black">
                      <a:lumMod val="65000"/>
                      <a:lumOff val="35000"/>
                    </a:prstClr>
                  </a:solidFill>
                </a:rPr>
                <a:t>Repayment</a:t>
              </a:r>
              <a:endParaRPr lang="en-US" sz="1200" kern="0" dirty="0">
                <a:solidFill>
                  <a:prstClr val="black">
                    <a:lumMod val="65000"/>
                    <a:lumOff val="35000"/>
                  </a:prstClr>
                </a:solidFill>
              </a:endParaRPr>
            </a:p>
          </p:txBody>
        </p:sp>
        <p:sp>
          <p:nvSpPr>
            <p:cNvPr id="41" name="pole tekstowe 40">
              <a:extLst>
                <a:ext uri="{FF2B5EF4-FFF2-40B4-BE49-F238E27FC236}">
                  <a16:creationId xmlns:a16="http://schemas.microsoft.com/office/drawing/2014/main" id="{A29FFA06-4B2E-ED5C-9F59-523452012273}"/>
                </a:ext>
              </a:extLst>
            </p:cNvPr>
            <p:cNvSpPr txBox="1"/>
            <p:nvPr/>
          </p:nvSpPr>
          <p:spPr>
            <a:xfrm>
              <a:off x="6425694" y="3617157"/>
              <a:ext cx="1403029" cy="461665"/>
            </a:xfrm>
            <a:prstGeom prst="rect">
              <a:avLst/>
            </a:prstGeom>
            <a:noFill/>
          </p:spPr>
          <p:txBody>
            <a:bodyPr wrap="square" rtlCol="0">
              <a:spAutoFit/>
            </a:bodyPr>
            <a:lstStyle/>
            <a:p>
              <a:pPr>
                <a:defRPr/>
              </a:pPr>
              <a:r>
                <a:rPr lang="pl-PL" sz="1200" b="1" kern="0" dirty="0">
                  <a:solidFill>
                    <a:prstClr val="black">
                      <a:lumMod val="65000"/>
                      <a:lumOff val="35000"/>
                    </a:prstClr>
                  </a:solidFill>
                </a:rPr>
                <a:t>3a </a:t>
              </a:r>
              <a:r>
                <a:rPr lang="pl-PL" sz="1200" kern="0" dirty="0" err="1">
                  <a:solidFill>
                    <a:prstClr val="black">
                      <a:lumMod val="65000"/>
                      <a:lumOff val="35000"/>
                    </a:prstClr>
                  </a:solidFill>
                </a:rPr>
                <a:t>Credit</a:t>
              </a:r>
              <a:r>
                <a:rPr lang="pl-PL" sz="1200" kern="0" dirty="0">
                  <a:solidFill>
                    <a:prstClr val="black">
                      <a:lumMod val="65000"/>
                      <a:lumOff val="35000"/>
                    </a:prstClr>
                  </a:solidFill>
                </a:rPr>
                <a:t> </a:t>
              </a:r>
              <a:r>
                <a:rPr lang="pl-PL" sz="1200" kern="0" dirty="0" err="1">
                  <a:solidFill>
                    <a:prstClr val="black">
                      <a:lumMod val="65000"/>
                      <a:lumOff val="35000"/>
                    </a:prstClr>
                  </a:solidFill>
                </a:rPr>
                <a:t>disbursement</a:t>
              </a:r>
              <a:r>
                <a:rPr lang="pl-PL" sz="1200" kern="0" dirty="0">
                  <a:solidFill>
                    <a:prstClr val="black">
                      <a:lumMod val="65000"/>
                      <a:lumOff val="35000"/>
                    </a:prstClr>
                  </a:solidFill>
                </a:rPr>
                <a:t>)</a:t>
              </a:r>
              <a:endParaRPr lang="en-US" sz="1200" kern="0" dirty="0">
                <a:solidFill>
                  <a:prstClr val="black">
                    <a:lumMod val="65000"/>
                    <a:lumOff val="35000"/>
                  </a:prstClr>
                </a:solidFill>
              </a:endParaRPr>
            </a:p>
          </p:txBody>
        </p:sp>
        <p:sp>
          <p:nvSpPr>
            <p:cNvPr id="42" name="pole tekstowe 5">
              <a:extLst>
                <a:ext uri="{FF2B5EF4-FFF2-40B4-BE49-F238E27FC236}">
                  <a16:creationId xmlns:a16="http://schemas.microsoft.com/office/drawing/2014/main" id="{69209721-6B10-B8F7-1E9C-409D101F7BEA}"/>
                </a:ext>
              </a:extLst>
            </p:cNvPr>
            <p:cNvSpPr txBox="1">
              <a:spLocks noChangeArrowheads="1"/>
            </p:cNvSpPr>
            <p:nvPr/>
          </p:nvSpPr>
          <p:spPr bwMode="auto">
            <a:xfrm>
              <a:off x="2185689" y="2005504"/>
              <a:ext cx="1332000" cy="900000"/>
            </a:xfrm>
            <a:prstGeom prst="rect">
              <a:avLst/>
            </a:prstGeom>
            <a:solidFill>
              <a:srgbClr val="F2F2F2"/>
            </a:solidFill>
            <a:ln w="25400" cap="flat" cmpd="sng" algn="ctr">
              <a:no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lgn="ctr" eaLnBrk="1" hangingPunct="1">
                <a:spcBef>
                  <a:spcPct val="0"/>
                </a:spcBef>
                <a:defRPr/>
              </a:pPr>
              <a:r>
                <a:rPr lang="pl-PL" altLang="pl-PL" sz="1400" b="1" kern="0" dirty="0" err="1">
                  <a:solidFill>
                    <a:prstClr val="black">
                      <a:lumMod val="65000"/>
                      <a:lumOff val="35000"/>
                    </a:prstClr>
                  </a:solidFill>
                  <a:latin typeface="Calibri"/>
                </a:rPr>
                <a:t>Purpose</a:t>
              </a:r>
              <a:r>
                <a:rPr lang="pl-PL" altLang="pl-PL" sz="1400" b="1" kern="0" dirty="0">
                  <a:solidFill>
                    <a:prstClr val="black">
                      <a:lumMod val="65000"/>
                      <a:lumOff val="35000"/>
                    </a:prstClr>
                  </a:solidFill>
                  <a:latin typeface="Calibri"/>
                </a:rPr>
                <a:t> of the </a:t>
              </a:r>
              <a:r>
                <a:rPr lang="pl-PL" altLang="pl-PL" sz="1400" b="1" kern="0" dirty="0" err="1">
                  <a:solidFill>
                    <a:prstClr val="black">
                      <a:lumMod val="65000"/>
                      <a:lumOff val="35000"/>
                    </a:prstClr>
                  </a:solidFill>
                  <a:latin typeface="Calibri"/>
                </a:rPr>
                <a:t>Acquistion</a:t>
              </a:r>
              <a:endParaRPr lang="en-US" altLang="pl-PL" sz="1400" b="1" kern="0" dirty="0">
                <a:solidFill>
                  <a:prstClr val="black">
                    <a:lumMod val="65000"/>
                    <a:lumOff val="35000"/>
                  </a:prstClr>
                </a:solidFill>
                <a:latin typeface="Calibri"/>
              </a:endParaRPr>
            </a:p>
          </p:txBody>
        </p:sp>
        <p:cxnSp>
          <p:nvCxnSpPr>
            <p:cNvPr id="43" name="Łącznik prosty ze strzałką 42">
              <a:extLst>
                <a:ext uri="{FF2B5EF4-FFF2-40B4-BE49-F238E27FC236}">
                  <a16:creationId xmlns:a16="http://schemas.microsoft.com/office/drawing/2014/main" id="{D18C7604-3A45-7A01-C4BD-05E1592A3EDB}"/>
                </a:ext>
              </a:extLst>
            </p:cNvPr>
            <p:cNvCxnSpPr>
              <a:stCxn id="45" idx="1"/>
            </p:cNvCxnSpPr>
            <p:nvPr/>
          </p:nvCxnSpPr>
          <p:spPr>
            <a:xfrm flipH="1" flipV="1">
              <a:off x="3552825" y="4563103"/>
              <a:ext cx="1558009" cy="9714"/>
            </a:xfrm>
            <a:prstGeom prst="straightConnector1">
              <a:avLst/>
            </a:prstGeom>
            <a:noFill/>
            <a:ln w="9525" cap="flat" cmpd="sng" algn="ctr">
              <a:solidFill>
                <a:srgbClr val="B60024"/>
              </a:solidFill>
              <a:prstDash val="solid"/>
              <a:tailEnd type="triangle"/>
            </a:ln>
            <a:effectLst/>
          </p:spPr>
        </p:cxnSp>
        <p:sp>
          <p:nvSpPr>
            <p:cNvPr id="44" name="pole tekstowe 43">
              <a:extLst>
                <a:ext uri="{FF2B5EF4-FFF2-40B4-BE49-F238E27FC236}">
                  <a16:creationId xmlns:a16="http://schemas.microsoft.com/office/drawing/2014/main" id="{FB7913FC-779D-E6BF-C93D-2E49C4D9FDCD}"/>
                </a:ext>
              </a:extLst>
            </p:cNvPr>
            <p:cNvSpPr txBox="1"/>
            <p:nvPr/>
          </p:nvSpPr>
          <p:spPr>
            <a:xfrm>
              <a:off x="3308592" y="4618354"/>
              <a:ext cx="2150997" cy="276999"/>
            </a:xfrm>
            <a:prstGeom prst="rect">
              <a:avLst/>
            </a:prstGeom>
            <a:noFill/>
          </p:spPr>
          <p:txBody>
            <a:bodyPr wrap="square" rtlCol="0">
              <a:spAutoFit/>
            </a:bodyPr>
            <a:lstStyle/>
            <a:p>
              <a:pPr algn="ctr">
                <a:defRPr/>
              </a:pPr>
              <a:r>
                <a:rPr lang="pl-PL" sz="1200" b="1" kern="0" dirty="0">
                  <a:solidFill>
                    <a:prstClr val="black">
                      <a:lumMod val="65000"/>
                      <a:lumOff val="35000"/>
                    </a:prstClr>
                  </a:solidFill>
                </a:rPr>
                <a:t>3b </a:t>
              </a:r>
              <a:r>
                <a:rPr lang="pl-PL" sz="1200" kern="0" dirty="0">
                  <a:solidFill>
                    <a:prstClr val="black">
                      <a:lumMod val="65000"/>
                      <a:lumOff val="35000"/>
                    </a:prstClr>
                  </a:solidFill>
                </a:rPr>
                <a:t>Cash </a:t>
              </a:r>
              <a:r>
                <a:rPr lang="pl-PL" sz="1200" kern="0" dirty="0" err="1">
                  <a:solidFill>
                    <a:prstClr val="black">
                      <a:lumMod val="65000"/>
                      <a:lumOff val="35000"/>
                    </a:prstClr>
                  </a:solidFill>
                </a:rPr>
                <a:t>flow</a:t>
              </a:r>
              <a:endParaRPr lang="en-US" sz="1200" kern="0" dirty="0">
                <a:solidFill>
                  <a:prstClr val="black">
                    <a:lumMod val="65000"/>
                    <a:lumOff val="35000"/>
                  </a:prstClr>
                </a:solidFill>
              </a:endParaRPr>
            </a:p>
          </p:txBody>
        </p:sp>
        <p:sp>
          <p:nvSpPr>
            <p:cNvPr id="45" name="pole tekstowe 5">
              <a:extLst>
                <a:ext uri="{FF2B5EF4-FFF2-40B4-BE49-F238E27FC236}">
                  <a16:creationId xmlns:a16="http://schemas.microsoft.com/office/drawing/2014/main" id="{354B5DEE-B600-9C52-11ED-724EACDE14AC}"/>
                </a:ext>
              </a:extLst>
            </p:cNvPr>
            <p:cNvSpPr txBox="1">
              <a:spLocks noChangeArrowheads="1"/>
            </p:cNvSpPr>
            <p:nvPr/>
          </p:nvSpPr>
          <p:spPr bwMode="auto">
            <a:xfrm>
              <a:off x="5110834" y="4122817"/>
              <a:ext cx="1332000" cy="900000"/>
            </a:xfrm>
            <a:prstGeom prst="rect">
              <a:avLst/>
            </a:prstGeom>
            <a:solidFill>
              <a:srgbClr val="DA2038"/>
            </a:solidFill>
            <a:ln w="15875"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chemeClr val="bg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defRPr/>
              </a:pPr>
              <a:r>
                <a:rPr lang="pl-PL" altLang="pl-PL" kern="0" dirty="0" err="1">
                  <a:solidFill>
                    <a:prstClr val="white"/>
                  </a:solidFill>
                  <a:latin typeface="Calibri"/>
                </a:rPr>
                <a:t>Polish</a:t>
              </a:r>
              <a:r>
                <a:rPr lang="pl-PL" altLang="pl-PL" kern="0" dirty="0">
                  <a:solidFill>
                    <a:prstClr val="white"/>
                  </a:solidFill>
                  <a:latin typeface="Calibri"/>
                </a:rPr>
                <a:t> </a:t>
              </a:r>
            </a:p>
            <a:p>
              <a:pPr>
                <a:defRPr/>
              </a:pPr>
              <a:r>
                <a:rPr lang="pl-PL" altLang="pl-PL" kern="0" dirty="0">
                  <a:solidFill>
                    <a:prstClr val="white"/>
                  </a:solidFill>
                  <a:latin typeface="Calibri"/>
                </a:rPr>
                <a:t>Investor</a:t>
              </a:r>
              <a:endParaRPr lang="en-US" altLang="pl-PL" kern="0" dirty="0">
                <a:solidFill>
                  <a:prstClr val="white"/>
                </a:solidFill>
                <a:latin typeface="Calibri"/>
              </a:endParaRPr>
            </a:p>
          </p:txBody>
        </p:sp>
        <p:grpSp>
          <p:nvGrpSpPr>
            <p:cNvPr id="46" name="Grupa 45">
              <a:extLst>
                <a:ext uri="{FF2B5EF4-FFF2-40B4-BE49-F238E27FC236}">
                  <a16:creationId xmlns:a16="http://schemas.microsoft.com/office/drawing/2014/main" id="{818F20A9-DE5E-D69A-0DD9-743A493161BE}"/>
                </a:ext>
              </a:extLst>
            </p:cNvPr>
            <p:cNvGrpSpPr/>
            <p:nvPr/>
          </p:nvGrpSpPr>
          <p:grpSpPr>
            <a:xfrm>
              <a:off x="5276030" y="2937408"/>
              <a:ext cx="1087750" cy="1150817"/>
              <a:chOff x="4027096" y="2246280"/>
              <a:chExt cx="1087750" cy="1258765"/>
            </a:xfrm>
          </p:grpSpPr>
          <p:cxnSp>
            <p:nvCxnSpPr>
              <p:cNvPr id="56" name="Łącznik prosty ze strzałką 55">
                <a:extLst>
                  <a:ext uri="{FF2B5EF4-FFF2-40B4-BE49-F238E27FC236}">
                    <a16:creationId xmlns:a16="http://schemas.microsoft.com/office/drawing/2014/main" id="{97703CE1-0D4D-DB03-7A34-18198F85D662}"/>
                  </a:ext>
                </a:extLst>
              </p:cNvPr>
              <p:cNvCxnSpPr/>
              <p:nvPr/>
            </p:nvCxnSpPr>
            <p:spPr>
              <a:xfrm>
                <a:off x="4338709" y="2246281"/>
                <a:ext cx="0" cy="1253304"/>
              </a:xfrm>
              <a:prstGeom prst="straightConnector1">
                <a:avLst/>
              </a:prstGeom>
              <a:noFill/>
              <a:ln w="9525" cap="flat" cmpd="sng" algn="ctr">
                <a:solidFill>
                  <a:srgbClr val="B60024"/>
                </a:solidFill>
                <a:prstDash val="dash"/>
                <a:headEnd type="triangle" w="med" len="med"/>
                <a:tailEnd type="triangle" w="med" len="med"/>
              </a:ln>
              <a:effectLst/>
            </p:spPr>
          </p:cxnSp>
          <p:cxnSp>
            <p:nvCxnSpPr>
              <p:cNvPr id="57" name="Łącznik prosty ze strzałką 56">
                <a:extLst>
                  <a:ext uri="{FF2B5EF4-FFF2-40B4-BE49-F238E27FC236}">
                    <a16:creationId xmlns:a16="http://schemas.microsoft.com/office/drawing/2014/main" id="{AF8B2041-0CF0-B5DB-E931-11C081416CC0}"/>
                  </a:ext>
                </a:extLst>
              </p:cNvPr>
              <p:cNvCxnSpPr/>
              <p:nvPr/>
            </p:nvCxnSpPr>
            <p:spPr>
              <a:xfrm flipV="1">
                <a:off x="4027096" y="2246281"/>
                <a:ext cx="0" cy="1258764"/>
              </a:xfrm>
              <a:prstGeom prst="straightConnector1">
                <a:avLst/>
              </a:prstGeom>
              <a:noFill/>
              <a:ln w="9525" cap="flat" cmpd="sng" algn="ctr">
                <a:solidFill>
                  <a:srgbClr val="B60024"/>
                </a:solidFill>
                <a:prstDash val="solid"/>
                <a:tailEnd type="triangle"/>
              </a:ln>
              <a:effectLst/>
            </p:spPr>
          </p:cxnSp>
          <p:cxnSp>
            <p:nvCxnSpPr>
              <p:cNvPr id="58" name="Łącznik prosty ze strzałką 57">
                <a:extLst>
                  <a:ext uri="{FF2B5EF4-FFF2-40B4-BE49-F238E27FC236}">
                    <a16:creationId xmlns:a16="http://schemas.microsoft.com/office/drawing/2014/main" id="{40642D5E-1799-5D56-BF53-322FC6547EBF}"/>
                  </a:ext>
                </a:extLst>
              </p:cNvPr>
              <p:cNvCxnSpPr/>
              <p:nvPr/>
            </p:nvCxnSpPr>
            <p:spPr>
              <a:xfrm>
                <a:off x="5114846" y="2246280"/>
                <a:ext cx="0" cy="1258765"/>
              </a:xfrm>
              <a:prstGeom prst="straightConnector1">
                <a:avLst/>
              </a:prstGeom>
              <a:noFill/>
              <a:ln w="9525" cap="flat" cmpd="sng" algn="ctr">
                <a:solidFill>
                  <a:srgbClr val="B60024"/>
                </a:solidFill>
                <a:prstDash val="solid"/>
                <a:tailEnd type="triangle"/>
              </a:ln>
              <a:effectLst/>
            </p:spPr>
          </p:cxnSp>
        </p:grpSp>
        <p:grpSp>
          <p:nvGrpSpPr>
            <p:cNvPr id="47" name="Grupa 46">
              <a:extLst>
                <a:ext uri="{FF2B5EF4-FFF2-40B4-BE49-F238E27FC236}">
                  <a16:creationId xmlns:a16="http://schemas.microsoft.com/office/drawing/2014/main" id="{8B484CCA-A36C-F214-6723-F189F929C5E0}"/>
                </a:ext>
              </a:extLst>
            </p:cNvPr>
            <p:cNvGrpSpPr/>
            <p:nvPr/>
          </p:nvGrpSpPr>
          <p:grpSpPr>
            <a:xfrm>
              <a:off x="5110834" y="2005504"/>
              <a:ext cx="1332000" cy="900000"/>
              <a:chOff x="3861900" y="1346280"/>
              <a:chExt cx="1332000" cy="900000"/>
            </a:xfrm>
          </p:grpSpPr>
          <p:sp>
            <p:nvSpPr>
              <p:cNvPr id="54" name="pole tekstowe 5">
                <a:extLst>
                  <a:ext uri="{FF2B5EF4-FFF2-40B4-BE49-F238E27FC236}">
                    <a16:creationId xmlns:a16="http://schemas.microsoft.com/office/drawing/2014/main" id="{7CED458D-97CD-916A-1852-69D8B3B3326A}"/>
                  </a:ext>
                </a:extLst>
              </p:cNvPr>
              <p:cNvSpPr txBox="1">
                <a:spLocks noChangeArrowheads="1"/>
              </p:cNvSpPr>
              <p:nvPr/>
            </p:nvSpPr>
            <p:spPr bwMode="auto">
              <a:xfrm>
                <a:off x="3861900" y="1346280"/>
                <a:ext cx="1332000" cy="900000"/>
              </a:xfrm>
              <a:prstGeom prst="rect">
                <a:avLst/>
              </a:prstGeom>
              <a:solidFill>
                <a:sysClr val="window" lastClr="FFFFFF"/>
              </a:solidFill>
              <a:ln w="9525" cap="flat" cmpd="sng" algn="ctr">
                <a:solidFill>
                  <a:srgbClr val="B72033"/>
                </a:solid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0"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defRPr/>
                </a:pPr>
                <a:endParaRPr lang="en-US" altLang="pl-PL" kern="0" dirty="0">
                  <a:latin typeface="Calibri"/>
                </a:endParaRPr>
              </a:p>
            </p:txBody>
          </p:sp>
          <p:pic>
            <p:nvPicPr>
              <p:cNvPr id="55" name="Obraz 7">
                <a:extLst>
                  <a:ext uri="{FF2B5EF4-FFF2-40B4-BE49-F238E27FC236}">
                    <a16:creationId xmlns:a16="http://schemas.microsoft.com/office/drawing/2014/main" id="{8F29A613-B190-7584-9C47-E0E283E6A2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63818" y="1440601"/>
                <a:ext cx="928164" cy="700687"/>
              </a:xfrm>
              <a:prstGeom prst="rect">
                <a:avLst/>
              </a:prstGeom>
            </p:spPr>
          </p:pic>
        </p:grpSp>
        <p:sp>
          <p:nvSpPr>
            <p:cNvPr id="48" name="pole tekstowe 5">
              <a:extLst>
                <a:ext uri="{FF2B5EF4-FFF2-40B4-BE49-F238E27FC236}">
                  <a16:creationId xmlns:a16="http://schemas.microsoft.com/office/drawing/2014/main" id="{36DBA743-BD43-7B68-8396-FBF252095C29}"/>
                </a:ext>
              </a:extLst>
            </p:cNvPr>
            <p:cNvSpPr txBox="1">
              <a:spLocks noChangeArrowheads="1"/>
            </p:cNvSpPr>
            <p:nvPr/>
          </p:nvSpPr>
          <p:spPr bwMode="auto">
            <a:xfrm>
              <a:off x="2200638" y="4123523"/>
              <a:ext cx="1341245" cy="900000"/>
            </a:xfrm>
            <a:prstGeom prst="rect">
              <a:avLst/>
            </a:prstGeom>
            <a:solidFill>
              <a:srgbClr val="D9D9D9"/>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lvl="0" defTabSz="914400">
                <a:spcBef>
                  <a:spcPts val="0"/>
                </a:spcBef>
                <a:defRPr/>
              </a:pPr>
              <a:r>
                <a:rPr lang="pl-PL" dirty="0" err="1">
                  <a:solidFill>
                    <a:prstClr val="black">
                      <a:lumMod val="65000"/>
                      <a:lumOff val="35000"/>
                    </a:prstClr>
                  </a:solidFill>
                  <a:latin typeface="Calibri"/>
                </a:rPr>
                <a:t>Foreign</a:t>
              </a:r>
              <a:r>
                <a:rPr lang="pl-PL" dirty="0">
                  <a:solidFill>
                    <a:prstClr val="black">
                      <a:lumMod val="65000"/>
                      <a:lumOff val="35000"/>
                    </a:prstClr>
                  </a:solidFill>
                  <a:latin typeface="Calibri"/>
                </a:rPr>
                <a:t> </a:t>
              </a:r>
              <a:r>
                <a:rPr lang="pl-PL" dirty="0" err="1">
                  <a:solidFill>
                    <a:prstClr val="black">
                      <a:lumMod val="65000"/>
                      <a:lumOff val="35000"/>
                    </a:prstClr>
                  </a:solidFill>
                  <a:latin typeface="Calibri"/>
                </a:rPr>
                <a:t>Subisdiary</a:t>
              </a:r>
              <a:endParaRPr lang="en-US" dirty="0">
                <a:solidFill>
                  <a:prstClr val="black">
                    <a:lumMod val="65000"/>
                    <a:lumOff val="35000"/>
                  </a:prstClr>
                </a:solidFill>
                <a:latin typeface="Calibri"/>
              </a:endParaRPr>
            </a:p>
          </p:txBody>
        </p:sp>
        <p:sp>
          <p:nvSpPr>
            <p:cNvPr id="49" name="pole tekstowe 48">
              <a:extLst>
                <a:ext uri="{FF2B5EF4-FFF2-40B4-BE49-F238E27FC236}">
                  <a16:creationId xmlns:a16="http://schemas.microsoft.com/office/drawing/2014/main" id="{970AD325-9DDE-FA42-61F6-09A3B9BB1136}"/>
                </a:ext>
              </a:extLst>
            </p:cNvPr>
            <p:cNvSpPr txBox="1"/>
            <p:nvPr/>
          </p:nvSpPr>
          <p:spPr>
            <a:xfrm>
              <a:off x="1363973" y="3354052"/>
              <a:ext cx="2150997" cy="461665"/>
            </a:xfrm>
            <a:prstGeom prst="rect">
              <a:avLst/>
            </a:prstGeom>
            <a:noFill/>
          </p:spPr>
          <p:txBody>
            <a:bodyPr wrap="square" rtlCol="0">
              <a:spAutoFit/>
            </a:bodyPr>
            <a:lstStyle/>
            <a:p>
              <a:pPr algn="ctr">
                <a:defRPr/>
              </a:pPr>
              <a:r>
                <a:rPr lang="pl-PL" sz="1200" b="1" kern="0" dirty="0">
                  <a:solidFill>
                    <a:prstClr val="black">
                      <a:lumMod val="65000"/>
                      <a:lumOff val="35000"/>
                    </a:prstClr>
                  </a:solidFill>
                </a:rPr>
                <a:t>4b </a:t>
              </a:r>
              <a:r>
                <a:rPr lang="pl-PL" sz="1200" kern="0" dirty="0" err="1">
                  <a:solidFill>
                    <a:prstClr val="black">
                      <a:lumMod val="65000"/>
                      <a:lumOff val="35000"/>
                    </a:prstClr>
                  </a:solidFill>
                </a:rPr>
                <a:t>Asset</a:t>
              </a:r>
              <a:r>
                <a:rPr lang="pl-PL" sz="1200" kern="0" dirty="0">
                  <a:solidFill>
                    <a:prstClr val="black">
                      <a:lumMod val="65000"/>
                      <a:lumOff val="35000"/>
                    </a:prstClr>
                  </a:solidFill>
                </a:rPr>
                <a:t> </a:t>
              </a:r>
            </a:p>
            <a:p>
              <a:pPr algn="ctr">
                <a:defRPr/>
              </a:pPr>
              <a:r>
                <a:rPr lang="pl-PL" sz="1200" kern="0" dirty="0" err="1">
                  <a:solidFill>
                    <a:prstClr val="black">
                      <a:lumMod val="65000"/>
                      <a:lumOff val="35000"/>
                    </a:prstClr>
                  </a:solidFill>
                </a:rPr>
                <a:t>acquistion</a:t>
              </a:r>
              <a:endParaRPr lang="en-US" sz="1200" kern="0" dirty="0">
                <a:solidFill>
                  <a:prstClr val="black">
                    <a:lumMod val="65000"/>
                    <a:lumOff val="35000"/>
                  </a:prstClr>
                </a:solidFill>
              </a:endParaRPr>
            </a:p>
          </p:txBody>
        </p:sp>
        <p:cxnSp>
          <p:nvCxnSpPr>
            <p:cNvPr id="50" name="Łącznik prosty ze strzałką 44">
              <a:extLst>
                <a:ext uri="{FF2B5EF4-FFF2-40B4-BE49-F238E27FC236}">
                  <a16:creationId xmlns:a16="http://schemas.microsoft.com/office/drawing/2014/main" id="{611C1B39-263F-6F19-C35C-5C0B081C3096}"/>
                </a:ext>
              </a:extLst>
            </p:cNvPr>
            <p:cNvCxnSpPr/>
            <p:nvPr/>
          </p:nvCxnSpPr>
          <p:spPr>
            <a:xfrm flipV="1">
              <a:off x="2871261" y="2893862"/>
              <a:ext cx="0" cy="1258281"/>
            </a:xfrm>
            <a:prstGeom prst="straightConnector1">
              <a:avLst/>
            </a:prstGeom>
            <a:noFill/>
            <a:ln w="9525" cap="flat" cmpd="sng" algn="ctr">
              <a:solidFill>
                <a:srgbClr val="B60024"/>
              </a:solidFill>
              <a:prstDash val="dash"/>
              <a:headEnd type="triangle" w="med" len="med"/>
              <a:tailEnd type="triangle" w="med" len="med"/>
            </a:ln>
            <a:effectLst/>
          </p:spPr>
        </p:cxnSp>
        <p:cxnSp>
          <p:nvCxnSpPr>
            <p:cNvPr id="51" name="Łącznik prosty ze strzałką 62">
              <a:extLst>
                <a:ext uri="{FF2B5EF4-FFF2-40B4-BE49-F238E27FC236}">
                  <a16:creationId xmlns:a16="http://schemas.microsoft.com/office/drawing/2014/main" id="{84906749-C29F-C1B2-86F5-2EED5521ADB8}"/>
                </a:ext>
              </a:extLst>
            </p:cNvPr>
            <p:cNvCxnSpPr/>
            <p:nvPr/>
          </p:nvCxnSpPr>
          <p:spPr>
            <a:xfrm flipV="1">
              <a:off x="3509385" y="2216909"/>
              <a:ext cx="1563594" cy="1906615"/>
            </a:xfrm>
            <a:prstGeom prst="straightConnector1">
              <a:avLst/>
            </a:prstGeom>
            <a:noFill/>
            <a:ln w="9525" cap="flat" cmpd="sng" algn="ctr">
              <a:solidFill>
                <a:srgbClr val="B60024"/>
              </a:solidFill>
              <a:prstDash val="dash"/>
              <a:tailEnd type="triangle"/>
            </a:ln>
            <a:effectLst/>
          </p:spPr>
        </p:cxnSp>
        <p:sp>
          <p:nvSpPr>
            <p:cNvPr id="52" name="pole tekstowe 63">
              <a:extLst>
                <a:ext uri="{FF2B5EF4-FFF2-40B4-BE49-F238E27FC236}">
                  <a16:creationId xmlns:a16="http://schemas.microsoft.com/office/drawing/2014/main" id="{A5F9AE39-D43E-5ABA-1C34-8BDC9C834CEC}"/>
                </a:ext>
              </a:extLst>
            </p:cNvPr>
            <p:cNvSpPr txBox="1"/>
            <p:nvPr/>
          </p:nvSpPr>
          <p:spPr>
            <a:xfrm>
              <a:off x="3098339" y="3510321"/>
              <a:ext cx="1395390" cy="461665"/>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5</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Guarantee</a:t>
              </a:r>
              <a:r>
                <a:rPr lang="pl-PL" sz="1200" kern="0" dirty="0">
                  <a:solidFill>
                    <a:prstClr val="black">
                      <a:lumMod val="65000"/>
                      <a:lumOff val="35000"/>
                    </a:prstClr>
                  </a:solidFill>
                </a:rPr>
                <a:t> and </a:t>
              </a:r>
              <a:r>
                <a:rPr lang="pl-PL" sz="1200" kern="0" dirty="0" err="1">
                  <a:solidFill>
                    <a:prstClr val="black">
                      <a:lumMod val="65000"/>
                      <a:lumOff val="35000"/>
                    </a:prstClr>
                  </a:solidFill>
                </a:rPr>
                <a:t>other</a:t>
              </a:r>
              <a:r>
                <a:rPr lang="pl-PL" sz="1200" kern="0" dirty="0">
                  <a:solidFill>
                    <a:prstClr val="black">
                      <a:lumMod val="65000"/>
                      <a:lumOff val="35000"/>
                    </a:prstClr>
                  </a:solidFill>
                </a:rPr>
                <a:t> </a:t>
              </a:r>
              <a:r>
                <a:rPr lang="pl-PL" sz="1200" kern="0" dirty="0" err="1">
                  <a:solidFill>
                    <a:prstClr val="black">
                      <a:lumMod val="65000"/>
                      <a:lumOff val="35000"/>
                    </a:prstClr>
                  </a:solidFill>
                </a:rPr>
                <a:t>collaterals</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3" name="Łącznik prosty ze strzałką 52">
              <a:extLst>
                <a:ext uri="{FF2B5EF4-FFF2-40B4-BE49-F238E27FC236}">
                  <a16:creationId xmlns:a16="http://schemas.microsoft.com/office/drawing/2014/main" id="{4EDB0D61-5E26-5104-0A7D-FECEE57EA6CE}"/>
                </a:ext>
              </a:extLst>
            </p:cNvPr>
            <p:cNvCxnSpPr/>
            <p:nvPr/>
          </p:nvCxnSpPr>
          <p:spPr>
            <a:xfrm flipH="1" flipV="1">
              <a:off x="821971" y="2986257"/>
              <a:ext cx="1341343" cy="1136207"/>
            </a:xfrm>
            <a:prstGeom prst="straightConnector1">
              <a:avLst/>
            </a:prstGeom>
            <a:noFill/>
            <a:ln w="9525" cap="flat" cmpd="sng" algn="ctr">
              <a:solidFill>
                <a:srgbClr val="B60024"/>
              </a:solidFill>
              <a:prstDash val="solid"/>
              <a:tailEnd type="triangle"/>
            </a:ln>
            <a:effectLst/>
          </p:spPr>
        </p:cxnSp>
      </p:grpSp>
      <p:cxnSp>
        <p:nvCxnSpPr>
          <p:cNvPr id="59" name="Łącznik prosty ze strzałką 44">
            <a:extLst>
              <a:ext uri="{FF2B5EF4-FFF2-40B4-BE49-F238E27FC236}">
                <a16:creationId xmlns:a16="http://schemas.microsoft.com/office/drawing/2014/main" id="{E75855D3-73F0-6626-1F91-9CBC1989E0DB}"/>
              </a:ext>
            </a:extLst>
          </p:cNvPr>
          <p:cNvCxnSpPr/>
          <p:nvPr/>
        </p:nvCxnSpPr>
        <p:spPr>
          <a:xfrm flipV="1">
            <a:off x="833120" y="5543485"/>
            <a:ext cx="6280239" cy="3222"/>
          </a:xfrm>
          <a:prstGeom prst="straightConnector1">
            <a:avLst/>
          </a:prstGeom>
          <a:noFill/>
          <a:ln w="9525" cap="flat" cmpd="sng" algn="ctr">
            <a:solidFill>
              <a:srgbClr val="B60024"/>
            </a:solidFill>
            <a:prstDash val="dash"/>
            <a:headEnd type="none" w="med" len="med"/>
            <a:tailEnd type="none" w="med" len="med"/>
          </a:ln>
          <a:effectLst/>
        </p:spPr>
      </p:cxnSp>
      <p:cxnSp>
        <p:nvCxnSpPr>
          <p:cNvPr id="60" name="Łącznik prosty ze strzałką 44">
            <a:extLst>
              <a:ext uri="{FF2B5EF4-FFF2-40B4-BE49-F238E27FC236}">
                <a16:creationId xmlns:a16="http://schemas.microsoft.com/office/drawing/2014/main" id="{59D85938-11F4-0507-A007-4D82DE6BD61D}"/>
              </a:ext>
            </a:extLst>
          </p:cNvPr>
          <p:cNvCxnSpPr/>
          <p:nvPr/>
        </p:nvCxnSpPr>
        <p:spPr>
          <a:xfrm flipH="1">
            <a:off x="6533057" y="4954965"/>
            <a:ext cx="594588" cy="0"/>
          </a:xfrm>
          <a:prstGeom prst="straightConnector1">
            <a:avLst/>
          </a:prstGeom>
          <a:noFill/>
          <a:ln w="9525" cap="flat" cmpd="sng" algn="ctr">
            <a:solidFill>
              <a:srgbClr val="B60024"/>
            </a:solidFill>
            <a:prstDash val="dash"/>
            <a:headEnd type="none" w="med" len="med"/>
            <a:tailEnd type="triangle" w="med" len="med"/>
          </a:ln>
          <a:effectLst/>
        </p:spPr>
      </p:cxnSp>
      <p:cxnSp>
        <p:nvCxnSpPr>
          <p:cNvPr id="61" name="Łącznik prosty ze strzałką 44">
            <a:extLst>
              <a:ext uri="{FF2B5EF4-FFF2-40B4-BE49-F238E27FC236}">
                <a16:creationId xmlns:a16="http://schemas.microsoft.com/office/drawing/2014/main" id="{148BFCEA-96A2-5043-AC3D-6DB550119746}"/>
              </a:ext>
            </a:extLst>
          </p:cNvPr>
          <p:cNvCxnSpPr/>
          <p:nvPr/>
        </p:nvCxnSpPr>
        <p:spPr>
          <a:xfrm>
            <a:off x="7127645" y="4961356"/>
            <a:ext cx="0" cy="582128"/>
          </a:xfrm>
          <a:prstGeom prst="straightConnector1">
            <a:avLst/>
          </a:prstGeom>
          <a:noFill/>
          <a:ln w="9525" cap="flat" cmpd="sng" algn="ctr">
            <a:solidFill>
              <a:srgbClr val="B60024"/>
            </a:solidFill>
            <a:prstDash val="dash"/>
            <a:headEnd type="none" w="med" len="med"/>
            <a:tailEnd type="none" w="med" len="med"/>
          </a:ln>
          <a:effectLst/>
        </p:spPr>
      </p:cxnSp>
      <p:grpSp>
        <p:nvGrpSpPr>
          <p:cNvPr id="62" name="Grupa 69">
            <a:extLst>
              <a:ext uri="{FF2B5EF4-FFF2-40B4-BE49-F238E27FC236}">
                <a16:creationId xmlns:a16="http://schemas.microsoft.com/office/drawing/2014/main" id="{6A9ABEE3-8448-7124-F5A3-9EA1D0EF4245}"/>
              </a:ext>
            </a:extLst>
          </p:cNvPr>
          <p:cNvGrpSpPr/>
          <p:nvPr/>
        </p:nvGrpSpPr>
        <p:grpSpPr>
          <a:xfrm>
            <a:off x="265590" y="2417969"/>
            <a:ext cx="1286317" cy="900000"/>
            <a:chOff x="720769" y="1996025"/>
            <a:chExt cx="1457601" cy="1231280"/>
          </a:xfrm>
        </p:grpSpPr>
        <p:sp>
          <p:nvSpPr>
            <p:cNvPr id="63" name="pole tekstowe 5">
              <a:extLst>
                <a:ext uri="{FF2B5EF4-FFF2-40B4-BE49-F238E27FC236}">
                  <a16:creationId xmlns:a16="http://schemas.microsoft.com/office/drawing/2014/main" id="{CD0A5E6B-80E7-3B45-970B-203680EFC369}"/>
                </a:ext>
              </a:extLst>
            </p:cNvPr>
            <p:cNvSpPr txBox="1">
              <a:spLocks noChangeArrowheads="1"/>
            </p:cNvSpPr>
            <p:nvPr/>
          </p:nvSpPr>
          <p:spPr bwMode="auto">
            <a:xfrm>
              <a:off x="720769" y="1996025"/>
              <a:ext cx="1457601" cy="1231280"/>
            </a:xfrm>
            <a:prstGeom prst="rect">
              <a:avLst/>
            </a:prstGeom>
            <a:solidFill>
              <a:srgbClr val="F2F2F2"/>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64" name="pole tekstowe 73">
              <a:extLst>
                <a:ext uri="{FF2B5EF4-FFF2-40B4-BE49-F238E27FC236}">
                  <a16:creationId xmlns:a16="http://schemas.microsoft.com/office/drawing/2014/main" id="{B362A65A-AFF8-BFFD-5369-185DAC341F79}"/>
                </a:ext>
              </a:extLst>
            </p:cNvPr>
            <p:cNvSpPr txBox="1"/>
            <p:nvPr/>
          </p:nvSpPr>
          <p:spPr>
            <a:xfrm>
              <a:off x="720769" y="2402453"/>
              <a:ext cx="1457601" cy="42106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err="1">
                  <a:ln>
                    <a:noFill/>
                  </a:ln>
                  <a:solidFill>
                    <a:prstClr val="black">
                      <a:lumMod val="65000"/>
                      <a:lumOff val="35000"/>
                    </a:prstClr>
                  </a:solidFill>
                  <a:effectLst/>
                  <a:uLnTx/>
                  <a:uFillTx/>
                </a:rPr>
                <a:t>Seller</a:t>
              </a:r>
              <a:endParaRPr kumimoji="0" lang="en-US" sz="1400" b="1" i="0" u="none" strike="noStrike" kern="0" cap="none" spc="0" normalizeH="0" baseline="0" noProof="0" dirty="0">
                <a:ln>
                  <a:noFill/>
                </a:ln>
                <a:solidFill>
                  <a:prstClr val="black">
                    <a:lumMod val="65000"/>
                    <a:lumOff val="35000"/>
                  </a:prstClr>
                </a:solidFill>
                <a:effectLst/>
                <a:uLnTx/>
                <a:uFillTx/>
              </a:endParaRPr>
            </a:p>
          </p:txBody>
        </p:sp>
      </p:grpSp>
      <p:cxnSp>
        <p:nvCxnSpPr>
          <p:cNvPr id="65" name="Łącznik prosty ze strzałką 44">
            <a:extLst>
              <a:ext uri="{FF2B5EF4-FFF2-40B4-BE49-F238E27FC236}">
                <a16:creationId xmlns:a16="http://schemas.microsoft.com/office/drawing/2014/main" id="{FDA172FB-1C03-7595-E175-799BF5F35C97}"/>
              </a:ext>
            </a:extLst>
          </p:cNvPr>
          <p:cNvCxnSpPr/>
          <p:nvPr/>
        </p:nvCxnSpPr>
        <p:spPr>
          <a:xfrm flipH="1" flipV="1">
            <a:off x="826974" y="3368170"/>
            <a:ext cx="6146" cy="2178537"/>
          </a:xfrm>
          <a:prstGeom prst="straightConnector1">
            <a:avLst/>
          </a:prstGeom>
          <a:noFill/>
          <a:ln w="9525" cap="flat" cmpd="sng" algn="ctr">
            <a:solidFill>
              <a:srgbClr val="B60024"/>
            </a:solidFill>
            <a:prstDash val="dash"/>
            <a:headEnd type="none" w="med" len="med"/>
            <a:tailEnd type="triangle" w="med" len="med"/>
          </a:ln>
          <a:effectLst/>
        </p:spPr>
      </p:cxnSp>
      <p:sp>
        <p:nvSpPr>
          <p:cNvPr id="66" name="pole tekstowe 39">
            <a:extLst>
              <a:ext uri="{FF2B5EF4-FFF2-40B4-BE49-F238E27FC236}">
                <a16:creationId xmlns:a16="http://schemas.microsoft.com/office/drawing/2014/main" id="{8EE8BE2A-79DC-89D7-DDD4-5CCD67558FD6}"/>
              </a:ext>
            </a:extLst>
          </p:cNvPr>
          <p:cNvSpPr txBox="1"/>
          <p:nvPr/>
        </p:nvSpPr>
        <p:spPr>
          <a:xfrm>
            <a:off x="813065" y="5056719"/>
            <a:ext cx="147433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rPr>
              <a:t>1</a:t>
            </a:r>
            <a:r>
              <a:rPr kumimoji="0" lang="pl-PL" sz="1200" b="0" i="0" u="none" strike="noStrike" kern="0" cap="none" spc="0" normalizeH="0" baseline="0" noProof="0" dirty="0">
                <a:ln>
                  <a:noFill/>
                </a:ln>
                <a:solidFill>
                  <a:prstClr val="black">
                    <a:lumMod val="65000"/>
                    <a:lumOff val="35000"/>
                  </a:prstClr>
                </a:solidFill>
                <a:effectLst/>
                <a:uLnTx/>
                <a:uFillTx/>
              </a:rPr>
              <a:t> Sale and </a:t>
            </a:r>
            <a:r>
              <a:rPr lang="pl-PL" sz="1200" kern="0" dirty="0">
                <a:solidFill>
                  <a:prstClr val="black">
                    <a:lumMod val="65000"/>
                    <a:lumOff val="35000"/>
                  </a:prstClr>
                </a:solidFill>
              </a:rPr>
              <a:t>P</a:t>
            </a:r>
            <a:r>
              <a:rPr kumimoji="0" lang="pl-PL" sz="1200" b="0" i="0" u="none" strike="noStrike" kern="0" cap="none" spc="0" normalizeH="0" baseline="0" noProof="0" dirty="0" err="1">
                <a:ln>
                  <a:noFill/>
                </a:ln>
                <a:solidFill>
                  <a:prstClr val="black">
                    <a:lumMod val="65000"/>
                    <a:lumOff val="35000"/>
                  </a:prstClr>
                </a:solidFill>
                <a:effectLst/>
                <a:uLnTx/>
                <a:uFillTx/>
              </a:rPr>
              <a:t>urchase</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A</a:t>
            </a:r>
            <a:r>
              <a:rPr kumimoji="0" lang="pl-PL" sz="1200" b="0" i="0" u="none" strike="noStrike" kern="0" cap="none" spc="0" normalizeH="0" baseline="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67" name="pole tekstowe 66">
            <a:extLst>
              <a:ext uri="{FF2B5EF4-FFF2-40B4-BE49-F238E27FC236}">
                <a16:creationId xmlns:a16="http://schemas.microsoft.com/office/drawing/2014/main" id="{830E4250-7F5E-A51C-96D5-F9B5DF93173D}"/>
              </a:ext>
            </a:extLst>
          </p:cNvPr>
          <p:cNvSpPr txBox="1"/>
          <p:nvPr/>
        </p:nvSpPr>
        <p:spPr>
          <a:xfrm>
            <a:off x="332263" y="4215165"/>
            <a:ext cx="2150997" cy="461665"/>
          </a:xfrm>
          <a:prstGeom prst="rect">
            <a:avLst/>
          </a:prstGeom>
          <a:noFill/>
        </p:spPr>
        <p:txBody>
          <a:bodyPr wrap="square" rtlCol="0">
            <a:spAutoFit/>
          </a:bodyPr>
          <a:lstStyle/>
          <a:p>
            <a:pPr algn="ctr">
              <a:defRPr/>
            </a:pPr>
            <a:r>
              <a:rPr lang="pl-PL" sz="1200" b="1" kern="0" dirty="0">
                <a:solidFill>
                  <a:prstClr val="black">
                    <a:lumMod val="65000"/>
                    <a:lumOff val="35000"/>
                  </a:prstClr>
                </a:solidFill>
              </a:rPr>
              <a:t>3c </a:t>
            </a:r>
            <a:r>
              <a:rPr lang="pl-PL" sz="1200" kern="0" dirty="0" err="1">
                <a:solidFill>
                  <a:prstClr val="black">
                    <a:lumMod val="65000"/>
                    <a:lumOff val="35000"/>
                  </a:prstClr>
                </a:solidFill>
              </a:rPr>
              <a:t>Settlement</a:t>
            </a:r>
            <a:r>
              <a:rPr lang="pl-PL" sz="1200" kern="0" dirty="0">
                <a:solidFill>
                  <a:prstClr val="black">
                    <a:lumMod val="65000"/>
                    <a:lumOff val="35000"/>
                  </a:prstClr>
                </a:solidFill>
              </a:rPr>
              <a:t> of </a:t>
            </a:r>
          </a:p>
          <a:p>
            <a:pPr algn="ctr">
              <a:defRPr/>
            </a:pPr>
            <a:r>
              <a:rPr lang="pl-PL" sz="1200" kern="0" dirty="0">
                <a:solidFill>
                  <a:prstClr val="black">
                    <a:lumMod val="65000"/>
                    <a:lumOff val="35000"/>
                  </a:prstClr>
                </a:solidFill>
              </a:rPr>
              <a:t>the </a:t>
            </a:r>
            <a:r>
              <a:rPr lang="pl-PL" sz="1200" kern="0" dirty="0" err="1">
                <a:solidFill>
                  <a:prstClr val="black">
                    <a:lumMod val="65000"/>
                    <a:lumOff val="35000"/>
                  </a:prstClr>
                </a:solidFill>
              </a:rPr>
              <a:t>Acquisition</a:t>
            </a:r>
            <a:endParaRPr lang="en-US" sz="1200" kern="0" dirty="0">
              <a:solidFill>
                <a:prstClr val="black">
                  <a:lumMod val="65000"/>
                  <a:lumOff val="35000"/>
                </a:prstClr>
              </a:solidFill>
            </a:endParaRPr>
          </a:p>
        </p:txBody>
      </p:sp>
      <p:sp>
        <p:nvSpPr>
          <p:cNvPr id="68" name="pole tekstowe 86">
            <a:extLst>
              <a:ext uri="{FF2B5EF4-FFF2-40B4-BE49-F238E27FC236}">
                <a16:creationId xmlns:a16="http://schemas.microsoft.com/office/drawing/2014/main" id="{E282A44E-D732-C6E7-FF27-9D3B479CEDBF}"/>
              </a:ext>
            </a:extLst>
          </p:cNvPr>
          <p:cNvSpPr txBox="1"/>
          <p:nvPr/>
        </p:nvSpPr>
        <p:spPr>
          <a:xfrm>
            <a:off x="908748" y="2011516"/>
            <a:ext cx="174753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1" i="0" u="none" strike="noStrike" kern="0" cap="none" spc="0" normalizeH="0" baseline="0" noProof="0" dirty="0">
                <a:ln>
                  <a:noFill/>
                </a:ln>
                <a:solidFill>
                  <a:prstClr val="black">
                    <a:lumMod val="65000"/>
                    <a:lumOff val="35000"/>
                  </a:prstClr>
                </a:solidFill>
                <a:effectLst/>
                <a:uLnTx/>
                <a:uFillTx/>
              </a:rPr>
              <a:t>a </a:t>
            </a:r>
            <a:r>
              <a:rPr kumimoji="0" lang="pl-PL" sz="1200" b="0" i="0" u="none" strike="noStrike" kern="0" cap="none" spc="0" normalizeH="0" baseline="0" noProof="0" dirty="0" err="1">
                <a:ln>
                  <a:noFill/>
                </a:ln>
                <a:solidFill>
                  <a:prstClr val="black">
                    <a:lumMod val="65000"/>
                    <a:lumOff val="35000"/>
                  </a:prstClr>
                </a:solidFill>
                <a:effectLst/>
                <a:uLnTx/>
                <a:uFillTx/>
              </a:rPr>
              <a:t>Changes</a:t>
            </a:r>
            <a:r>
              <a:rPr kumimoji="0" lang="pl-PL" sz="1200" b="0" i="0" u="none" strike="noStrike" kern="0" cap="none" spc="0" normalizeH="0" baseline="0" noProof="0" dirty="0">
                <a:ln>
                  <a:noFill/>
                </a:ln>
                <a:solidFill>
                  <a:prstClr val="black">
                    <a:lumMod val="65000"/>
                    <a:lumOff val="35000"/>
                  </a:prstClr>
                </a:solidFill>
                <a:effectLst/>
                <a:uLnTx/>
                <a:uFillTx/>
              </a:rPr>
              <a:t> of </a:t>
            </a:r>
            <a:r>
              <a:rPr kumimoji="0" lang="pl-PL" sz="1200" b="0" i="0" u="none" strike="noStrike" kern="0" cap="none" spc="0" normalizeH="0" baseline="0" noProof="0" dirty="0" err="1">
                <a:ln>
                  <a:noFill/>
                </a:ln>
                <a:solidFill>
                  <a:prstClr val="black">
                    <a:lumMod val="65000"/>
                    <a:lumOff val="35000"/>
                  </a:prstClr>
                </a:solidFill>
                <a:effectLst/>
                <a:uLnTx/>
                <a:uFillTx/>
              </a:rPr>
              <a:t>ownership</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69" name="Łącznik prosty ze strzałką 76">
            <a:extLst>
              <a:ext uri="{FF2B5EF4-FFF2-40B4-BE49-F238E27FC236}">
                <a16:creationId xmlns:a16="http://schemas.microsoft.com/office/drawing/2014/main" id="{94D626F2-15EE-16EB-0647-48D99C19EFDD}"/>
              </a:ext>
            </a:extLst>
          </p:cNvPr>
          <p:cNvCxnSpPr/>
          <p:nvPr/>
        </p:nvCxnSpPr>
        <p:spPr>
          <a:xfrm>
            <a:off x="1591884" y="2844043"/>
            <a:ext cx="619500" cy="3142"/>
          </a:xfrm>
          <a:prstGeom prst="straightConnector1">
            <a:avLst/>
          </a:prstGeom>
          <a:noFill/>
          <a:ln w="9525" cap="flat" cmpd="sng" algn="ctr">
            <a:solidFill>
              <a:srgbClr val="B60024"/>
            </a:solidFill>
            <a:prstDash val="dash"/>
            <a:tailEnd type="triangle" w="med" len="med"/>
          </a:ln>
          <a:effectLst/>
        </p:spPr>
      </p:cxnSp>
      <p:pic>
        <p:nvPicPr>
          <p:cNvPr id="31" name="Obraz 30">
            <a:extLst>
              <a:ext uri="{FF2B5EF4-FFF2-40B4-BE49-F238E27FC236}">
                <a16:creationId xmlns:a16="http://schemas.microsoft.com/office/drawing/2014/main" id="{395C74E2-329E-9909-52D0-F97D118DBBDC}"/>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37155740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6</a:t>
            </a:fld>
            <a:endParaRPr lang="en-US"/>
          </a:p>
        </p:txBody>
      </p:sp>
      <p:sp>
        <p:nvSpPr>
          <p:cNvPr id="2" name="Prostokąt 11">
            <a:extLst>
              <a:ext uri="{FF2B5EF4-FFF2-40B4-BE49-F238E27FC236}">
                <a16:creationId xmlns:a16="http://schemas.microsoft.com/office/drawing/2014/main" id="{354ABD49-E3F4-1219-31C7-E323D3565266}"/>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lang="pl-PL" sz="2400" b="1" dirty="0">
                <a:solidFill>
                  <a:schemeClr val="accent1"/>
                </a:solidFill>
                <a:latin typeface="Calibri" panose="020F0502020204030204" pitchFamily="34" charset="0"/>
              </a:rPr>
            </a:br>
            <a:r>
              <a:rPr lang="pl-PL" sz="2000" b="1" dirty="0" err="1">
                <a:solidFill>
                  <a:srgbClr val="595959"/>
                </a:solidFill>
                <a:latin typeface="Calibri" panose="020F0502020204030204" pitchFamily="34" charset="0"/>
              </a:rPr>
              <a:t>Financing</a:t>
            </a:r>
            <a:r>
              <a:rPr lang="pl-PL" sz="2000" b="1" dirty="0">
                <a:solidFill>
                  <a:srgbClr val="595959"/>
                </a:solidFill>
                <a:latin typeface="Calibri" panose="020F0502020204030204" pitchFamily="34" charset="0"/>
              </a:rPr>
              <a:t> </a:t>
            </a:r>
            <a:r>
              <a:rPr lang="pl-PL" sz="2000" b="1" dirty="0" err="1">
                <a:solidFill>
                  <a:srgbClr val="595959"/>
                </a:solidFill>
                <a:latin typeface="Calibri" panose="020F0502020204030204" pitchFamily="34" charset="0"/>
              </a:rPr>
              <a:t>scheme</a:t>
            </a:r>
            <a:r>
              <a:rPr lang="pl-PL" sz="2000" b="1" dirty="0">
                <a:solidFill>
                  <a:srgbClr val="595959"/>
                </a:solidFill>
                <a:latin typeface="Calibri" panose="020F0502020204030204" pitchFamily="34" charset="0"/>
              </a:rPr>
              <a:t> of a </a:t>
            </a:r>
            <a:r>
              <a:rPr lang="pl-PL" sz="2000" b="1" dirty="0" err="1">
                <a:solidFill>
                  <a:srgbClr val="595959"/>
                </a:solidFill>
                <a:latin typeface="Calibri" panose="020F0502020204030204" pitchFamily="34" charset="0"/>
              </a:rPr>
              <a:t>foreign</a:t>
            </a:r>
            <a:r>
              <a:rPr lang="pl-PL" sz="2000" b="1" dirty="0">
                <a:solidFill>
                  <a:srgbClr val="595959"/>
                </a:solidFill>
                <a:latin typeface="Calibri" panose="020F0502020204030204" pitchFamily="34" charset="0"/>
              </a:rPr>
              <a:t> investment 1/2</a:t>
            </a:r>
          </a:p>
        </p:txBody>
      </p:sp>
      <p:sp>
        <p:nvSpPr>
          <p:cNvPr id="3" name="pole tekstowe 5">
            <a:extLst>
              <a:ext uri="{FF2B5EF4-FFF2-40B4-BE49-F238E27FC236}">
                <a16:creationId xmlns:a16="http://schemas.microsoft.com/office/drawing/2014/main" id="{4BBE3365-A4F9-1207-BEE3-08140003DB0D}"/>
              </a:ext>
            </a:extLst>
          </p:cNvPr>
          <p:cNvSpPr txBox="1">
            <a:spLocks noChangeArrowheads="1"/>
          </p:cNvSpPr>
          <p:nvPr/>
        </p:nvSpPr>
        <p:spPr bwMode="auto">
          <a:xfrm>
            <a:off x="8980227" y="0"/>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5" name="Prostokąt 127">
            <a:extLst>
              <a:ext uri="{FF2B5EF4-FFF2-40B4-BE49-F238E27FC236}">
                <a16:creationId xmlns:a16="http://schemas.microsoft.com/office/drawing/2014/main" id="{43DF559D-82FF-1FF5-6908-AEB3D901EACF}"/>
              </a:ext>
            </a:extLst>
          </p:cNvPr>
          <p:cNvSpPr/>
          <p:nvPr/>
        </p:nvSpPr>
        <p:spPr>
          <a:xfrm>
            <a:off x="9321377" y="1913608"/>
            <a:ext cx="2374754" cy="2110340"/>
          </a:xfrm>
          <a:prstGeom prst="rect">
            <a:avLst/>
          </a:prstGeom>
          <a:noFill/>
          <a:ln w="12700" cap="flat" cmpd="sng" algn="ctr">
            <a:noFill/>
            <a:prstDash val="solid"/>
          </a:ln>
          <a:effectLst/>
        </p:spPr>
        <p:txBody>
          <a:bodyPr rtlCol="0" anchor="t"/>
          <a:lstStyle/>
          <a:p>
            <a:pPr lvl="0" defTabSz="914400">
              <a:defRPr/>
            </a:pPr>
            <a:r>
              <a:rPr lang="en-AU" sz="1400" b="1" kern="0" dirty="0">
                <a:solidFill>
                  <a:prstClr val="black">
                    <a:lumMod val="65000"/>
                    <a:lumOff val="35000"/>
                  </a:prstClr>
                </a:solidFill>
              </a:rPr>
              <a:t>Main characteristics: </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project financing (collaterals based on the assets of the SPV),</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SPV as a borrower,</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recourse to a Polish entity,</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dedicated for investments.</a:t>
            </a:r>
          </a:p>
        </p:txBody>
      </p:sp>
      <p:grpSp>
        <p:nvGrpSpPr>
          <p:cNvPr id="6" name="Grupa 130">
            <a:extLst>
              <a:ext uri="{FF2B5EF4-FFF2-40B4-BE49-F238E27FC236}">
                <a16:creationId xmlns:a16="http://schemas.microsoft.com/office/drawing/2014/main" id="{232A4B38-F035-B8DA-C312-2F4FA70BEFF5}"/>
              </a:ext>
            </a:extLst>
          </p:cNvPr>
          <p:cNvGrpSpPr/>
          <p:nvPr/>
        </p:nvGrpSpPr>
        <p:grpSpPr>
          <a:xfrm>
            <a:off x="9403368" y="1583052"/>
            <a:ext cx="346499" cy="319130"/>
            <a:chOff x="471661" y="388366"/>
            <a:chExt cx="585323" cy="539090"/>
          </a:xfrm>
        </p:grpSpPr>
        <p:sp>
          <p:nvSpPr>
            <p:cNvPr id="7" name="Freeform 431">
              <a:extLst>
                <a:ext uri="{FF2B5EF4-FFF2-40B4-BE49-F238E27FC236}">
                  <a16:creationId xmlns:a16="http://schemas.microsoft.com/office/drawing/2014/main" id="{D6A649A3-9A16-8BBE-92B5-AD5D703ABCB1}"/>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432">
              <a:extLst>
                <a:ext uri="{FF2B5EF4-FFF2-40B4-BE49-F238E27FC236}">
                  <a16:creationId xmlns:a16="http://schemas.microsoft.com/office/drawing/2014/main" id="{FC6BF3A0-3FCE-E67F-06D4-8CC480C5299B}"/>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433">
              <a:extLst>
                <a:ext uri="{FF2B5EF4-FFF2-40B4-BE49-F238E27FC236}">
                  <a16:creationId xmlns:a16="http://schemas.microsoft.com/office/drawing/2014/main" id="{8E5B6E6F-E519-C848-E2FF-728B039A4415}"/>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434">
              <a:extLst>
                <a:ext uri="{FF2B5EF4-FFF2-40B4-BE49-F238E27FC236}">
                  <a16:creationId xmlns:a16="http://schemas.microsoft.com/office/drawing/2014/main" id="{A2499C3D-FAB5-B8AE-53C6-E740D3C1E531}"/>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435">
              <a:extLst>
                <a:ext uri="{FF2B5EF4-FFF2-40B4-BE49-F238E27FC236}">
                  <a16:creationId xmlns:a16="http://schemas.microsoft.com/office/drawing/2014/main" id="{42CB8EF0-B04F-59AE-53E6-6E17EC9F4AD6}"/>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Rectangle 436">
              <a:extLst>
                <a:ext uri="{FF2B5EF4-FFF2-40B4-BE49-F238E27FC236}">
                  <a16:creationId xmlns:a16="http://schemas.microsoft.com/office/drawing/2014/main" id="{5EC1742E-D2B1-BD32-90A7-47F070EDD7D9}"/>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Rectangle 437">
              <a:extLst>
                <a:ext uri="{FF2B5EF4-FFF2-40B4-BE49-F238E27FC236}">
                  <a16:creationId xmlns:a16="http://schemas.microsoft.com/office/drawing/2014/main" id="{9DBF154C-02F5-96AE-4B15-9F2255856DF4}"/>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438">
              <a:extLst>
                <a:ext uri="{FF2B5EF4-FFF2-40B4-BE49-F238E27FC236}">
                  <a16:creationId xmlns:a16="http://schemas.microsoft.com/office/drawing/2014/main" id="{EA45E83C-3701-540B-8374-73BABD18438E}"/>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Rectangle 439">
              <a:extLst>
                <a:ext uri="{FF2B5EF4-FFF2-40B4-BE49-F238E27FC236}">
                  <a16:creationId xmlns:a16="http://schemas.microsoft.com/office/drawing/2014/main" id="{FE1658E4-E838-3ED5-301A-0BC2068B7C48}"/>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Rectangle 440">
              <a:extLst>
                <a:ext uri="{FF2B5EF4-FFF2-40B4-BE49-F238E27FC236}">
                  <a16:creationId xmlns:a16="http://schemas.microsoft.com/office/drawing/2014/main" id="{7978D1B0-E630-E8B2-3822-8DFCA37081D7}"/>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Rectangle 441">
              <a:extLst>
                <a:ext uri="{FF2B5EF4-FFF2-40B4-BE49-F238E27FC236}">
                  <a16:creationId xmlns:a16="http://schemas.microsoft.com/office/drawing/2014/main" id="{07F1D0E2-16E1-C5B4-E30B-93F15B9F9183}"/>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Rectangle 442">
              <a:extLst>
                <a:ext uri="{FF2B5EF4-FFF2-40B4-BE49-F238E27FC236}">
                  <a16:creationId xmlns:a16="http://schemas.microsoft.com/office/drawing/2014/main" id="{52BC546B-710E-4667-7753-2C48068B7969}"/>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443">
              <a:extLst>
                <a:ext uri="{FF2B5EF4-FFF2-40B4-BE49-F238E27FC236}">
                  <a16:creationId xmlns:a16="http://schemas.microsoft.com/office/drawing/2014/main" id="{D4C257AA-3493-266A-265F-102C62E9F9D3}"/>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444">
              <a:extLst>
                <a:ext uri="{FF2B5EF4-FFF2-40B4-BE49-F238E27FC236}">
                  <a16:creationId xmlns:a16="http://schemas.microsoft.com/office/drawing/2014/main" id="{2F624BE1-18D6-F2DD-8977-44852860FD9A}"/>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445">
              <a:extLst>
                <a:ext uri="{FF2B5EF4-FFF2-40B4-BE49-F238E27FC236}">
                  <a16:creationId xmlns:a16="http://schemas.microsoft.com/office/drawing/2014/main" id="{55D546AB-A167-DF94-0D33-63DD8B41BB25}"/>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446">
              <a:extLst>
                <a:ext uri="{FF2B5EF4-FFF2-40B4-BE49-F238E27FC236}">
                  <a16:creationId xmlns:a16="http://schemas.microsoft.com/office/drawing/2014/main" id="{E6296537-9B9E-C51A-9EA7-08B50E8666E1}"/>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447">
              <a:extLst>
                <a:ext uri="{FF2B5EF4-FFF2-40B4-BE49-F238E27FC236}">
                  <a16:creationId xmlns:a16="http://schemas.microsoft.com/office/drawing/2014/main" id="{484AF6F6-2ADD-DC27-F5CC-BC949FBBA379}"/>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448">
              <a:extLst>
                <a:ext uri="{FF2B5EF4-FFF2-40B4-BE49-F238E27FC236}">
                  <a16:creationId xmlns:a16="http://schemas.microsoft.com/office/drawing/2014/main" id="{9A4733EA-4068-C96E-8E9F-254F698B9A38}"/>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449">
              <a:extLst>
                <a:ext uri="{FF2B5EF4-FFF2-40B4-BE49-F238E27FC236}">
                  <a16:creationId xmlns:a16="http://schemas.microsoft.com/office/drawing/2014/main" id="{B3CCA26B-F729-8DE6-B469-193A7B842992}"/>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450">
              <a:extLst>
                <a:ext uri="{FF2B5EF4-FFF2-40B4-BE49-F238E27FC236}">
                  <a16:creationId xmlns:a16="http://schemas.microsoft.com/office/drawing/2014/main" id="{9440B377-1A36-116E-8B25-00C4AA1ADA77}"/>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451">
              <a:extLst>
                <a:ext uri="{FF2B5EF4-FFF2-40B4-BE49-F238E27FC236}">
                  <a16:creationId xmlns:a16="http://schemas.microsoft.com/office/drawing/2014/main" id="{CB63654D-EE91-C973-A96E-A40452CC3E21}"/>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452">
              <a:extLst>
                <a:ext uri="{FF2B5EF4-FFF2-40B4-BE49-F238E27FC236}">
                  <a16:creationId xmlns:a16="http://schemas.microsoft.com/office/drawing/2014/main" id="{5B80801B-3952-FF3D-30A0-7548998C3E97}"/>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 name="Prostokąt 127">
            <a:extLst>
              <a:ext uri="{FF2B5EF4-FFF2-40B4-BE49-F238E27FC236}">
                <a16:creationId xmlns:a16="http://schemas.microsoft.com/office/drawing/2014/main" id="{8EB9B089-F984-7214-6460-DED36807BB90}"/>
              </a:ext>
            </a:extLst>
          </p:cNvPr>
          <p:cNvSpPr/>
          <p:nvPr/>
        </p:nvSpPr>
        <p:spPr>
          <a:xfrm>
            <a:off x="9321376" y="3995135"/>
            <a:ext cx="2429345" cy="2110340"/>
          </a:xfrm>
          <a:prstGeom prst="rect">
            <a:avLst/>
          </a:prstGeom>
          <a:noFill/>
          <a:ln w="12700" cap="flat" cmpd="sng" algn="ctr">
            <a:noFill/>
            <a:prstDash val="solid"/>
          </a:ln>
          <a:effectLst/>
        </p:spPr>
        <p:txBody>
          <a:bodyPr rtlCol="0" anchor="t"/>
          <a:lstStyle/>
          <a:p>
            <a:pPr lvl="0" defTabSz="914400">
              <a:defRPr/>
            </a:pPr>
            <a:r>
              <a:rPr lang="en-AU" sz="1400" b="1" kern="0" dirty="0">
                <a:solidFill>
                  <a:prstClr val="black">
                    <a:lumMod val="65000"/>
                    <a:lumOff val="35000"/>
                  </a:prstClr>
                </a:solidFill>
              </a:rPr>
              <a:t>Example transactions:</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of a galvanised products factory in Germany for  </a:t>
            </a:r>
            <a:r>
              <a:rPr lang="en-AU" sz="1200" b="1" kern="0" dirty="0" err="1">
                <a:solidFill>
                  <a:prstClr val="black">
                    <a:lumMod val="65000"/>
                    <a:lumOff val="35000"/>
                  </a:prstClr>
                </a:solidFill>
              </a:rPr>
              <a:t>Boryszew</a:t>
            </a:r>
            <a:r>
              <a:rPr lang="en-AU" sz="1200" b="1" kern="0" dirty="0">
                <a:solidFill>
                  <a:prstClr val="black">
                    <a:lumMod val="65000"/>
                    <a:lumOff val="35000"/>
                  </a:prstClr>
                </a:solidFill>
              </a:rPr>
              <a:t> </a:t>
            </a:r>
            <a:r>
              <a:rPr lang="en-AU" sz="1200" b="1" kern="0" dirty="0" err="1">
                <a:solidFill>
                  <a:prstClr val="black">
                    <a:lumMod val="65000"/>
                    <a:lumOff val="35000"/>
                  </a:prstClr>
                </a:solidFill>
              </a:rPr>
              <a:t>Oberflächentechnik</a:t>
            </a:r>
            <a:r>
              <a:rPr lang="en-AU" sz="1200" b="1" kern="0" dirty="0">
                <a:solidFill>
                  <a:prstClr val="black">
                    <a:lumMod val="65000"/>
                    <a:lumOff val="35000"/>
                  </a:prstClr>
                </a:solidFill>
              </a:rPr>
              <a:t> Deutschland GmbH.</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of hydrocarbon exploration project in Canada by  </a:t>
            </a:r>
            <a:r>
              <a:rPr lang="en-AU" sz="1200" b="1" kern="0" dirty="0">
                <a:solidFill>
                  <a:prstClr val="black">
                    <a:lumMod val="65000"/>
                    <a:lumOff val="35000"/>
                  </a:prstClr>
                </a:solidFill>
              </a:rPr>
              <a:t>ORLEN Upstream Canada Ltd.</a:t>
            </a:r>
          </a:p>
          <a:p>
            <a:pPr marL="177800" lvl="0" indent="-177800" defTabSz="914400">
              <a:buClr>
                <a:srgbClr val="DA2038"/>
              </a:buClr>
              <a:buFont typeface="Wingdings" panose="05000000000000000000" pitchFamily="2" charset="2"/>
              <a:buChar char="§"/>
              <a:defRPr/>
            </a:pPr>
            <a:r>
              <a:rPr lang="en-AU" sz="1200" kern="0" dirty="0">
                <a:solidFill>
                  <a:prstClr val="black">
                    <a:lumMod val="65000"/>
                    <a:lumOff val="35000"/>
                  </a:prstClr>
                </a:solidFill>
              </a:rPr>
              <a:t>Financing of hotel construction projects by a Polish investor.</a:t>
            </a:r>
          </a:p>
        </p:txBody>
      </p:sp>
      <p:sp>
        <p:nvSpPr>
          <p:cNvPr id="30" name="Freeform 640">
            <a:extLst>
              <a:ext uri="{FF2B5EF4-FFF2-40B4-BE49-F238E27FC236}">
                <a16:creationId xmlns:a16="http://schemas.microsoft.com/office/drawing/2014/main" id="{99FDC476-02DC-2716-1EA3-4CF93D2563A3}"/>
              </a:ext>
            </a:extLst>
          </p:cNvPr>
          <p:cNvSpPr>
            <a:spLocks noEditPoints="1"/>
          </p:cNvSpPr>
          <p:nvPr/>
        </p:nvSpPr>
        <p:spPr bwMode="auto">
          <a:xfrm>
            <a:off x="9389303" y="3733408"/>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32" name="Grupa 31">
            <a:extLst>
              <a:ext uri="{FF2B5EF4-FFF2-40B4-BE49-F238E27FC236}">
                <a16:creationId xmlns:a16="http://schemas.microsoft.com/office/drawing/2014/main" id="{855FBE38-31EE-F36F-E1D1-AADB48F76B5F}"/>
              </a:ext>
            </a:extLst>
          </p:cNvPr>
          <p:cNvGrpSpPr/>
          <p:nvPr/>
        </p:nvGrpSpPr>
        <p:grpSpPr>
          <a:xfrm>
            <a:off x="1697098" y="2126888"/>
            <a:ext cx="5800871" cy="3017313"/>
            <a:chOff x="1697098" y="2126888"/>
            <a:chExt cx="5800871" cy="3017313"/>
          </a:xfrm>
        </p:grpSpPr>
        <p:sp>
          <p:nvSpPr>
            <p:cNvPr id="33" name="pole tekstowe 5">
              <a:extLst>
                <a:ext uri="{FF2B5EF4-FFF2-40B4-BE49-F238E27FC236}">
                  <a16:creationId xmlns:a16="http://schemas.microsoft.com/office/drawing/2014/main" id="{568F85DD-8137-7D08-5CD7-81C0BB286691}"/>
                </a:ext>
              </a:extLst>
            </p:cNvPr>
            <p:cNvSpPr txBox="1">
              <a:spLocks noChangeArrowheads="1"/>
            </p:cNvSpPr>
            <p:nvPr/>
          </p:nvSpPr>
          <p:spPr bwMode="auto">
            <a:xfrm>
              <a:off x="4007840" y="4244201"/>
              <a:ext cx="1286317" cy="900000"/>
            </a:xfrm>
            <a:prstGeom prst="rect">
              <a:avLst/>
            </a:prstGeom>
            <a:solidFill>
              <a:srgbClr val="DA2038"/>
            </a:solidFill>
            <a:ln w="25400" cap="flat" cmpd="sng" algn="ctr">
              <a:no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err="1">
                  <a:ln>
                    <a:noFill/>
                  </a:ln>
                  <a:solidFill>
                    <a:prstClr val="white"/>
                  </a:solidFill>
                  <a:effectLst/>
                  <a:uLnTx/>
                  <a:uFillTx/>
                  <a:latin typeface="Calibri"/>
                  <a:ea typeface="ＭＳ Ｐゴシック" pitchFamily="34" charset="-128"/>
                  <a:cs typeface="Times New Roman" pitchFamily="18" charset="0"/>
                </a:rPr>
                <a:t>Polish</a:t>
              </a: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 </a:t>
              </a:r>
            </a:p>
            <a:p>
              <a:pPr marL="0" marR="0" lvl="0" indent="0" algn="ctr" defTabSz="91440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Investor</a:t>
              </a:r>
              <a:endParaRPr kumimoji="0" lang="en-US" altLang="pl-PL" sz="1400" b="1"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endParaRPr>
            </a:p>
          </p:txBody>
        </p:sp>
        <p:sp>
          <p:nvSpPr>
            <p:cNvPr id="34" name="pole tekstowe 39">
              <a:extLst>
                <a:ext uri="{FF2B5EF4-FFF2-40B4-BE49-F238E27FC236}">
                  <a16:creationId xmlns:a16="http://schemas.microsoft.com/office/drawing/2014/main" id="{19B62CEF-5135-4001-26CA-AFC7D0C933B4}"/>
                </a:ext>
              </a:extLst>
            </p:cNvPr>
            <p:cNvSpPr txBox="1"/>
            <p:nvPr/>
          </p:nvSpPr>
          <p:spPr>
            <a:xfrm>
              <a:off x="2848179" y="3615861"/>
              <a:ext cx="92483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2</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Credit</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a:solidFill>
                    <a:prstClr val="black">
                      <a:lumMod val="65000"/>
                      <a:lumOff val="35000"/>
                    </a:prstClr>
                  </a:solidFill>
                </a:rPr>
                <a:t>A</a:t>
              </a:r>
              <a:r>
                <a:rPr kumimoji="0" lang="pl-PL" sz="1200" b="0" i="0" u="none" strike="noStrike" kern="0" cap="none" spc="0" normalizeH="0" baseline="0" noProof="0" dirty="0" err="1">
                  <a:ln>
                    <a:noFill/>
                  </a:ln>
                  <a:solidFill>
                    <a:prstClr val="black">
                      <a:lumMod val="65000"/>
                      <a:lumOff val="35000"/>
                    </a:prstClr>
                  </a:solidFill>
                  <a:effectLst/>
                  <a:uLnTx/>
                  <a:uFillTx/>
                </a:rPr>
                <a:t>gre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35" name="Łącznik prosty ze strzałką 34">
              <a:extLst>
                <a:ext uri="{FF2B5EF4-FFF2-40B4-BE49-F238E27FC236}">
                  <a16:creationId xmlns:a16="http://schemas.microsoft.com/office/drawing/2014/main" id="{F3480AE2-8A96-F1B5-7B0F-FD464459F3F2}"/>
                </a:ext>
              </a:extLst>
            </p:cNvPr>
            <p:cNvCxnSpPr/>
            <p:nvPr/>
          </p:nvCxnSpPr>
          <p:spPr>
            <a:xfrm>
              <a:off x="2887185" y="3066824"/>
              <a:ext cx="0" cy="1158159"/>
            </a:xfrm>
            <a:prstGeom prst="straightConnector1">
              <a:avLst/>
            </a:prstGeom>
            <a:noFill/>
            <a:ln w="9525" cap="flat" cmpd="sng" algn="ctr">
              <a:solidFill>
                <a:srgbClr val="B60024"/>
              </a:solidFill>
              <a:prstDash val="dash"/>
              <a:headEnd type="triangle" w="med" len="med"/>
              <a:tailEnd type="triangle" w="med" len="med"/>
            </a:ln>
            <a:effectLst/>
          </p:spPr>
        </p:cxnSp>
        <p:sp>
          <p:nvSpPr>
            <p:cNvPr id="36" name="pole tekstowe 5">
              <a:extLst>
                <a:ext uri="{FF2B5EF4-FFF2-40B4-BE49-F238E27FC236}">
                  <a16:creationId xmlns:a16="http://schemas.microsoft.com/office/drawing/2014/main" id="{A7BA6445-9D20-0B0F-EC75-DD5D8A9179FB}"/>
                </a:ext>
              </a:extLst>
            </p:cNvPr>
            <p:cNvSpPr txBox="1">
              <a:spLocks noChangeArrowheads="1"/>
            </p:cNvSpPr>
            <p:nvPr/>
          </p:nvSpPr>
          <p:spPr bwMode="auto">
            <a:xfrm>
              <a:off x="1697098" y="4244201"/>
              <a:ext cx="1286317" cy="900000"/>
            </a:xfrm>
            <a:prstGeom prst="rect">
              <a:avLst/>
            </a:prstGeom>
            <a:solidFill>
              <a:srgbClr val="D9D9D9"/>
            </a:solidFill>
            <a:ln w="25400" cap="flat" cmpd="sng" algn="ctr">
              <a:noFill/>
              <a:prstDash val="solid"/>
              <a:headEnd/>
              <a:tailEnd/>
            </a:ln>
            <a:effectLst/>
          </p:spPr>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lvl="0" defTabSz="914400">
                <a:spcBef>
                  <a:spcPts val="0"/>
                </a:spcBef>
                <a:defRPr/>
              </a:pPr>
              <a:r>
                <a:rPr lang="pl-PL" dirty="0">
                  <a:solidFill>
                    <a:prstClr val="black">
                      <a:lumMod val="65000"/>
                      <a:lumOff val="35000"/>
                    </a:prstClr>
                  </a:solidFill>
                  <a:latin typeface="Calibri"/>
                </a:rPr>
                <a:t>SPV/</a:t>
              </a:r>
              <a:r>
                <a:rPr lang="pl-PL" dirty="0" err="1">
                  <a:solidFill>
                    <a:prstClr val="black">
                      <a:lumMod val="65000"/>
                      <a:lumOff val="35000"/>
                    </a:prstClr>
                  </a:solidFill>
                  <a:latin typeface="Calibri"/>
                </a:rPr>
                <a:t>Foreign</a:t>
              </a:r>
              <a:r>
                <a:rPr lang="pl-PL" dirty="0">
                  <a:solidFill>
                    <a:prstClr val="black">
                      <a:lumMod val="65000"/>
                      <a:lumOff val="35000"/>
                    </a:prstClr>
                  </a:solidFill>
                  <a:latin typeface="Calibri"/>
                </a:rPr>
                <a:t> </a:t>
              </a:r>
              <a:r>
                <a:rPr lang="pl-PL" dirty="0" err="1">
                  <a:solidFill>
                    <a:prstClr val="black">
                      <a:lumMod val="65000"/>
                      <a:lumOff val="35000"/>
                    </a:prstClr>
                  </a:solidFill>
                  <a:latin typeface="Calibri"/>
                </a:rPr>
                <a:t>subsidiary</a:t>
              </a:r>
              <a:endParaRPr lang="en-US" dirty="0">
                <a:solidFill>
                  <a:prstClr val="black">
                    <a:lumMod val="65000"/>
                    <a:lumOff val="35000"/>
                  </a:prstClr>
                </a:solidFill>
                <a:latin typeface="Calibri"/>
              </a:endParaRPr>
            </a:p>
          </p:txBody>
        </p:sp>
        <p:cxnSp>
          <p:nvCxnSpPr>
            <p:cNvPr id="37" name="Łącznik prosty ze strzałką 76">
              <a:extLst>
                <a:ext uri="{FF2B5EF4-FFF2-40B4-BE49-F238E27FC236}">
                  <a16:creationId xmlns:a16="http://schemas.microsoft.com/office/drawing/2014/main" id="{C2008FDF-A888-6E2B-B9D9-CD1D859B09BA}"/>
                </a:ext>
              </a:extLst>
            </p:cNvPr>
            <p:cNvCxnSpPr>
              <a:stCxn id="33" idx="0"/>
            </p:cNvCxnSpPr>
            <p:nvPr/>
          </p:nvCxnSpPr>
          <p:spPr>
            <a:xfrm flipH="1" flipV="1">
              <a:off x="2977679" y="2572123"/>
              <a:ext cx="1673320" cy="1672078"/>
            </a:xfrm>
            <a:prstGeom prst="straightConnector1">
              <a:avLst/>
            </a:prstGeom>
            <a:noFill/>
            <a:ln w="9525" cap="flat" cmpd="sng" algn="ctr">
              <a:solidFill>
                <a:srgbClr val="B60024"/>
              </a:solidFill>
              <a:prstDash val="dash"/>
              <a:tailEnd type="triangle" w="med" len="med"/>
            </a:ln>
            <a:effectLst/>
          </p:spPr>
        </p:cxnSp>
        <p:cxnSp>
          <p:nvCxnSpPr>
            <p:cNvPr id="38" name="Łącznik prosty ze strzałką 78">
              <a:extLst>
                <a:ext uri="{FF2B5EF4-FFF2-40B4-BE49-F238E27FC236}">
                  <a16:creationId xmlns:a16="http://schemas.microsoft.com/office/drawing/2014/main" id="{218C7313-88FB-4FA5-6275-985BE0100142}"/>
                </a:ext>
              </a:extLst>
            </p:cNvPr>
            <p:cNvCxnSpPr>
              <a:stCxn id="36" idx="1"/>
              <a:endCxn id="33" idx="3"/>
            </p:cNvCxnSpPr>
            <p:nvPr/>
          </p:nvCxnSpPr>
          <p:spPr>
            <a:xfrm flipH="1">
              <a:off x="2983415" y="4694201"/>
              <a:ext cx="1024425" cy="0"/>
            </a:xfrm>
            <a:prstGeom prst="straightConnector1">
              <a:avLst/>
            </a:prstGeom>
            <a:noFill/>
            <a:ln w="9525" cap="flat" cmpd="sng" algn="ctr">
              <a:solidFill>
                <a:srgbClr val="B60024"/>
              </a:solidFill>
              <a:prstDash val="solid"/>
              <a:tailEnd type="triangle" w="med" len="med"/>
            </a:ln>
            <a:effectLst/>
          </p:spPr>
        </p:cxnSp>
        <p:sp>
          <p:nvSpPr>
            <p:cNvPr id="39" name="pole tekstowe 85">
              <a:extLst>
                <a:ext uri="{FF2B5EF4-FFF2-40B4-BE49-F238E27FC236}">
                  <a16:creationId xmlns:a16="http://schemas.microsoft.com/office/drawing/2014/main" id="{9F0EA47F-4F39-F540-9848-5A35F1951B8C}"/>
                </a:ext>
              </a:extLst>
            </p:cNvPr>
            <p:cNvSpPr txBox="1"/>
            <p:nvPr/>
          </p:nvSpPr>
          <p:spPr>
            <a:xfrm>
              <a:off x="3128938" y="4794769"/>
              <a:ext cx="111015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1</a:t>
              </a:r>
              <a:r>
                <a:rPr kumimoji="0" lang="pl-PL" sz="1200" b="1"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Shares</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sp>
          <p:nvSpPr>
            <p:cNvPr id="40" name="pole tekstowe 86">
              <a:extLst>
                <a:ext uri="{FF2B5EF4-FFF2-40B4-BE49-F238E27FC236}">
                  <a16:creationId xmlns:a16="http://schemas.microsoft.com/office/drawing/2014/main" id="{2799219E-E67A-889F-40DC-CDBF0B993406}"/>
                </a:ext>
              </a:extLst>
            </p:cNvPr>
            <p:cNvSpPr txBox="1"/>
            <p:nvPr/>
          </p:nvSpPr>
          <p:spPr>
            <a:xfrm>
              <a:off x="4007840" y="3108634"/>
              <a:ext cx="111015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rPr>
                <a:t>3</a:t>
              </a:r>
              <a:r>
                <a:rPr kumimoji="0" lang="pl-PL" sz="1200" b="1" i="0" u="none" strike="noStrike" kern="0" cap="none" spc="0" normalizeH="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Guarantee</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grpSp>
          <p:nvGrpSpPr>
            <p:cNvPr id="41" name="Grupa 114">
              <a:extLst>
                <a:ext uri="{FF2B5EF4-FFF2-40B4-BE49-F238E27FC236}">
                  <a16:creationId xmlns:a16="http://schemas.microsoft.com/office/drawing/2014/main" id="{57C4970D-E5C0-4893-5DD6-88FE408B932C}"/>
                </a:ext>
              </a:extLst>
            </p:cNvPr>
            <p:cNvGrpSpPr/>
            <p:nvPr/>
          </p:nvGrpSpPr>
          <p:grpSpPr>
            <a:xfrm>
              <a:off x="6239968" y="2188136"/>
              <a:ext cx="1258001" cy="591356"/>
              <a:chOff x="7258012" y="5531374"/>
              <a:chExt cx="2305050" cy="591356"/>
            </a:xfrm>
          </p:grpSpPr>
          <p:sp>
            <p:nvSpPr>
              <p:cNvPr id="46" name="pole tekstowe 32">
                <a:extLst>
                  <a:ext uri="{FF2B5EF4-FFF2-40B4-BE49-F238E27FC236}">
                    <a16:creationId xmlns:a16="http://schemas.microsoft.com/office/drawing/2014/main" id="{0765A341-8311-6653-4575-B38FE0C42C57}"/>
                  </a:ext>
                </a:extLst>
              </p:cNvPr>
              <p:cNvSpPr txBox="1">
                <a:spLocks noChangeArrowheads="1"/>
              </p:cNvSpPr>
              <p:nvPr/>
            </p:nvSpPr>
            <p:spPr bwMode="auto">
              <a:xfrm>
                <a:off x="7258012" y="5531374"/>
                <a:ext cx="23050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a:solidFill>
                      <a:prstClr val="black">
                        <a:lumMod val="65000"/>
                        <a:lumOff val="35000"/>
                      </a:prstClr>
                    </a:solidFill>
                    <a:latin typeface="Calibri"/>
                  </a:rPr>
                  <a:t>Cash </a:t>
                </a:r>
                <a:r>
                  <a:rPr lang="pl-PL" altLang="pl-PL" sz="1200" dirty="0" err="1">
                    <a:solidFill>
                      <a:prstClr val="black">
                        <a:lumMod val="65000"/>
                        <a:lumOff val="35000"/>
                      </a:prstClr>
                    </a:solidFill>
                    <a:latin typeface="Calibri"/>
                  </a:rPr>
                  <a:t>flows</a:t>
                </a:r>
                <a:endParaRPr lang="en-US" altLang="pl-PL" sz="1200" dirty="0">
                  <a:solidFill>
                    <a:prstClr val="black">
                      <a:lumMod val="65000"/>
                      <a:lumOff val="35000"/>
                    </a:prstClr>
                  </a:solidFill>
                  <a:latin typeface="Calibri"/>
                </a:endParaRPr>
              </a:p>
            </p:txBody>
          </p:sp>
          <p:sp>
            <p:nvSpPr>
              <p:cNvPr id="47" name="pole tekstowe 35">
                <a:extLst>
                  <a:ext uri="{FF2B5EF4-FFF2-40B4-BE49-F238E27FC236}">
                    <a16:creationId xmlns:a16="http://schemas.microsoft.com/office/drawing/2014/main" id="{FA137E20-79FD-D018-CF56-55DD5463C43C}"/>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eaLnBrk="1" hangingPunct="1">
                  <a:spcBef>
                    <a:spcPct val="0"/>
                  </a:spcBef>
                  <a:defRPr/>
                </a:pPr>
                <a:r>
                  <a:rPr lang="pl-PL" altLang="pl-PL" sz="1200" dirty="0" err="1">
                    <a:solidFill>
                      <a:prstClr val="black">
                        <a:lumMod val="65000"/>
                        <a:lumOff val="35000"/>
                      </a:prstClr>
                    </a:solidFill>
                    <a:latin typeface="Calibri"/>
                  </a:rPr>
                  <a:t>Documents</a:t>
                </a:r>
                <a:endParaRPr lang="en-US" altLang="pl-PL" sz="1200" dirty="0">
                  <a:solidFill>
                    <a:prstClr val="black">
                      <a:lumMod val="65000"/>
                      <a:lumOff val="35000"/>
                    </a:prstClr>
                  </a:solidFill>
                  <a:latin typeface="Calibri"/>
                </a:endParaRPr>
              </a:p>
            </p:txBody>
          </p:sp>
        </p:grpSp>
        <p:cxnSp>
          <p:nvCxnSpPr>
            <p:cNvPr id="42" name="Łącznik prosty ze strzałką 117">
              <a:extLst>
                <a:ext uri="{FF2B5EF4-FFF2-40B4-BE49-F238E27FC236}">
                  <a16:creationId xmlns:a16="http://schemas.microsoft.com/office/drawing/2014/main" id="{29ECB9B5-2DAB-22DB-F155-885BD0CCF874}"/>
                </a:ext>
              </a:extLst>
            </p:cNvPr>
            <p:cNvCxnSpPr/>
            <p:nvPr/>
          </p:nvCxnSpPr>
          <p:spPr>
            <a:xfrm>
              <a:off x="5720766" y="2332486"/>
              <a:ext cx="413925" cy="0"/>
            </a:xfrm>
            <a:prstGeom prst="straightConnector1">
              <a:avLst/>
            </a:prstGeom>
            <a:noFill/>
            <a:ln w="12700" cap="flat" cmpd="sng" algn="ctr">
              <a:solidFill>
                <a:srgbClr val="B60024"/>
              </a:solidFill>
              <a:prstDash val="solid"/>
              <a:tailEnd type="triangle"/>
            </a:ln>
            <a:effectLst/>
          </p:spPr>
        </p:cxnSp>
        <p:cxnSp>
          <p:nvCxnSpPr>
            <p:cNvPr id="43" name="Łącznik prosty ze strzałką 118">
              <a:extLst>
                <a:ext uri="{FF2B5EF4-FFF2-40B4-BE49-F238E27FC236}">
                  <a16:creationId xmlns:a16="http://schemas.microsoft.com/office/drawing/2014/main" id="{B366314B-82A5-01D3-3FEF-B5C24727F845}"/>
                </a:ext>
              </a:extLst>
            </p:cNvPr>
            <p:cNvCxnSpPr/>
            <p:nvPr/>
          </p:nvCxnSpPr>
          <p:spPr>
            <a:xfrm>
              <a:off x="5720766" y="2658737"/>
              <a:ext cx="413925" cy="0"/>
            </a:xfrm>
            <a:prstGeom prst="straightConnector1">
              <a:avLst/>
            </a:prstGeom>
            <a:noFill/>
            <a:ln w="12700" cap="flat" cmpd="sng" algn="ctr">
              <a:solidFill>
                <a:srgbClr val="B60024"/>
              </a:solidFill>
              <a:prstDash val="dash"/>
              <a:headEnd w="sm" len="sm"/>
              <a:tailEnd type="triangle" w="med" len="med"/>
            </a:ln>
            <a:effectLst/>
          </p:spPr>
        </p:cxnSp>
        <p:sp>
          <p:nvSpPr>
            <p:cNvPr id="44" name="pole tekstowe 5">
              <a:extLst>
                <a:ext uri="{FF2B5EF4-FFF2-40B4-BE49-F238E27FC236}">
                  <a16:creationId xmlns:a16="http://schemas.microsoft.com/office/drawing/2014/main" id="{F01ECE02-C53F-CB63-5BEF-3796443B0B03}"/>
                </a:ext>
              </a:extLst>
            </p:cNvPr>
            <p:cNvSpPr txBox="1">
              <a:spLocks noChangeArrowheads="1"/>
            </p:cNvSpPr>
            <p:nvPr/>
          </p:nvSpPr>
          <p:spPr bwMode="auto">
            <a:xfrm>
              <a:off x="1697098" y="2126888"/>
              <a:ext cx="1286317" cy="900000"/>
            </a:xfrm>
            <a:prstGeom prst="rect">
              <a:avLst/>
            </a:prstGeom>
            <a:solidFill>
              <a:sysClr val="window" lastClr="FFFFFF"/>
            </a:solidFill>
            <a:ln w="9525" cap="flat" cmpd="sng" algn="ctr">
              <a:solidFill>
                <a:srgbClr val="B72033"/>
              </a:solidFill>
              <a:prstDash val="solid"/>
              <a:headEnd/>
              <a:tailEnd/>
            </a:ln>
            <a:effec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0"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pic>
          <p:nvPicPr>
            <p:cNvPr id="45" name="Obraz 7">
              <a:extLst>
                <a:ext uri="{FF2B5EF4-FFF2-40B4-BE49-F238E27FC236}">
                  <a16:creationId xmlns:a16="http://schemas.microsoft.com/office/drawing/2014/main" id="{4DA9BF25-31EF-0D9D-4F52-422B0B1087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51484" y="2226544"/>
              <a:ext cx="928164" cy="700687"/>
            </a:xfrm>
            <a:prstGeom prst="rect">
              <a:avLst/>
            </a:prstGeom>
          </p:spPr>
        </p:pic>
      </p:grpSp>
      <p:sp>
        <p:nvSpPr>
          <p:cNvPr id="48" name="pole tekstowe 47">
            <a:extLst>
              <a:ext uri="{FF2B5EF4-FFF2-40B4-BE49-F238E27FC236}">
                <a16:creationId xmlns:a16="http://schemas.microsoft.com/office/drawing/2014/main" id="{95DBFF55-1381-769B-514E-B441B2E5EEBC}"/>
              </a:ext>
            </a:extLst>
          </p:cNvPr>
          <p:cNvSpPr txBox="1"/>
          <p:nvPr/>
        </p:nvSpPr>
        <p:spPr>
          <a:xfrm>
            <a:off x="594732" y="3930031"/>
            <a:ext cx="117160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5</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Credit</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err="1">
                <a:solidFill>
                  <a:prstClr val="black">
                    <a:lumMod val="65000"/>
                    <a:lumOff val="35000"/>
                  </a:prstClr>
                </a:solidFill>
              </a:rPr>
              <a:t>d</a:t>
            </a:r>
            <a:r>
              <a:rPr kumimoji="0" lang="pl-PL" sz="1200" b="0" i="0" u="none" strike="noStrike" kern="0" cap="none" spc="0" normalizeH="0" baseline="0" noProof="0" dirty="0" err="1">
                <a:ln>
                  <a:noFill/>
                </a:ln>
                <a:solidFill>
                  <a:prstClr val="black">
                    <a:lumMod val="65000"/>
                    <a:lumOff val="35000"/>
                  </a:prstClr>
                </a:solidFill>
                <a:effectLst/>
                <a:uLnTx/>
                <a:uFillTx/>
              </a:rPr>
              <a:t>isburse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49" name="Łącznik prosty ze strzałką 45">
            <a:extLst>
              <a:ext uri="{FF2B5EF4-FFF2-40B4-BE49-F238E27FC236}">
                <a16:creationId xmlns:a16="http://schemas.microsoft.com/office/drawing/2014/main" id="{3E60AF08-8A43-3B84-FD1A-9935D68ADA67}"/>
              </a:ext>
            </a:extLst>
          </p:cNvPr>
          <p:cNvCxnSpPr/>
          <p:nvPr/>
        </p:nvCxnSpPr>
        <p:spPr>
          <a:xfrm>
            <a:off x="1697097" y="3108634"/>
            <a:ext cx="9064" cy="1116349"/>
          </a:xfrm>
          <a:prstGeom prst="straightConnector1">
            <a:avLst/>
          </a:prstGeom>
          <a:noFill/>
          <a:ln w="9525" cap="flat" cmpd="sng" algn="ctr">
            <a:solidFill>
              <a:srgbClr val="B60024"/>
            </a:solidFill>
            <a:prstDash val="solid"/>
            <a:tailEnd type="triangle"/>
          </a:ln>
          <a:effectLst/>
        </p:spPr>
      </p:cxnSp>
      <p:sp>
        <p:nvSpPr>
          <p:cNvPr id="50" name="pole tekstowe 47">
            <a:extLst>
              <a:ext uri="{FF2B5EF4-FFF2-40B4-BE49-F238E27FC236}">
                <a16:creationId xmlns:a16="http://schemas.microsoft.com/office/drawing/2014/main" id="{63F858CD-D517-E00C-2450-D2BDBE00C2EC}"/>
              </a:ext>
            </a:extLst>
          </p:cNvPr>
          <p:cNvSpPr txBox="1"/>
          <p:nvPr/>
        </p:nvSpPr>
        <p:spPr>
          <a:xfrm>
            <a:off x="1835633" y="3394638"/>
            <a:ext cx="1185147"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dirty="0">
                <a:solidFill>
                  <a:prstClr val="black">
                    <a:lumMod val="65000"/>
                    <a:lumOff val="35000"/>
                  </a:prstClr>
                </a:solidFill>
              </a:rPr>
              <a:t>4</a:t>
            </a:r>
            <a:r>
              <a:rPr kumimoji="0" lang="pl-PL" sz="1200" b="0" i="0" u="none" strike="noStrike" kern="0" cap="none" spc="0" normalizeH="0" baseline="0" noProof="0" dirty="0">
                <a:ln>
                  <a:noFill/>
                </a:ln>
                <a:solidFill>
                  <a:prstClr val="black">
                    <a:lumMod val="65000"/>
                    <a:lumOff val="35000"/>
                  </a:prstClr>
                </a:solidFill>
                <a:effectLst/>
                <a:uLnTx/>
                <a:uFillTx/>
              </a:rPr>
              <a:t> </a:t>
            </a:r>
            <a:r>
              <a:rPr lang="pl-PL" sz="1200" kern="0" dirty="0">
                <a:solidFill>
                  <a:prstClr val="black">
                    <a:lumMod val="65000"/>
                    <a:lumOff val="35000"/>
                  </a:prstClr>
                </a:solidFill>
              </a:rPr>
              <a:t>Securities</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1" name="Łącznik prosty ze strzałką 76">
            <a:extLst>
              <a:ext uri="{FF2B5EF4-FFF2-40B4-BE49-F238E27FC236}">
                <a16:creationId xmlns:a16="http://schemas.microsoft.com/office/drawing/2014/main" id="{0EEB43FA-36F6-CE19-190E-18346F6A6335}"/>
              </a:ext>
            </a:extLst>
          </p:cNvPr>
          <p:cNvCxnSpPr/>
          <p:nvPr/>
        </p:nvCxnSpPr>
        <p:spPr>
          <a:xfrm flipV="1">
            <a:off x="1856832" y="3077044"/>
            <a:ext cx="0" cy="1191068"/>
          </a:xfrm>
          <a:prstGeom prst="straightConnector1">
            <a:avLst/>
          </a:prstGeom>
          <a:noFill/>
          <a:ln w="9525" cap="flat" cmpd="sng" algn="ctr">
            <a:solidFill>
              <a:srgbClr val="B60024"/>
            </a:solidFill>
            <a:prstDash val="dash"/>
            <a:tailEnd type="triangle" w="med" len="med"/>
          </a:ln>
          <a:effectLst/>
        </p:spPr>
      </p:cxnSp>
      <p:cxnSp>
        <p:nvCxnSpPr>
          <p:cNvPr id="52" name="Łącznik prosty ze strzałką 78">
            <a:extLst>
              <a:ext uri="{FF2B5EF4-FFF2-40B4-BE49-F238E27FC236}">
                <a16:creationId xmlns:a16="http://schemas.microsoft.com/office/drawing/2014/main" id="{06455C30-2D2B-2DCB-08D5-4E0F8DB978E4}"/>
              </a:ext>
            </a:extLst>
          </p:cNvPr>
          <p:cNvCxnSpPr/>
          <p:nvPr/>
        </p:nvCxnSpPr>
        <p:spPr>
          <a:xfrm flipV="1">
            <a:off x="341294" y="2572123"/>
            <a:ext cx="3199" cy="2122078"/>
          </a:xfrm>
          <a:prstGeom prst="straightConnector1">
            <a:avLst/>
          </a:prstGeom>
          <a:noFill/>
          <a:ln w="9525" cap="flat" cmpd="sng" algn="ctr">
            <a:solidFill>
              <a:srgbClr val="B60024"/>
            </a:solidFill>
            <a:prstDash val="solid"/>
            <a:headEnd type="none" w="med" len="med"/>
            <a:tailEnd type="none" w="med" len="med"/>
          </a:ln>
          <a:effectLst/>
        </p:spPr>
      </p:cxnSp>
      <p:sp>
        <p:nvSpPr>
          <p:cNvPr id="53" name="pole tekstowe 47">
            <a:extLst>
              <a:ext uri="{FF2B5EF4-FFF2-40B4-BE49-F238E27FC236}">
                <a16:creationId xmlns:a16="http://schemas.microsoft.com/office/drawing/2014/main" id="{6D6203EE-1344-1AE8-66BC-EB347F0AF43A}"/>
              </a:ext>
            </a:extLst>
          </p:cNvPr>
          <p:cNvSpPr txBox="1"/>
          <p:nvPr/>
        </p:nvSpPr>
        <p:spPr>
          <a:xfrm>
            <a:off x="426857" y="2605159"/>
            <a:ext cx="106647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pl-PL" sz="1200" b="1" kern="0" noProof="0" dirty="0">
                <a:solidFill>
                  <a:prstClr val="black">
                    <a:lumMod val="65000"/>
                    <a:lumOff val="35000"/>
                  </a:prstClr>
                </a:solidFill>
              </a:rPr>
              <a:t>6</a:t>
            </a:r>
            <a:r>
              <a:rPr kumimoji="0" lang="pl-PL" sz="1200" b="0" i="0" u="none" strike="noStrike" kern="0" cap="none" spc="0" normalizeH="0" baseline="0" noProof="0" dirty="0">
                <a:ln>
                  <a:noFill/>
                </a:ln>
                <a:solidFill>
                  <a:prstClr val="black">
                    <a:lumMod val="65000"/>
                    <a:lumOff val="35000"/>
                  </a:prstClr>
                </a:solidFill>
                <a:effectLst/>
                <a:uLnTx/>
                <a:uFillTx/>
              </a:rPr>
              <a:t> </a:t>
            </a:r>
            <a:r>
              <a:rPr kumimoji="0" lang="pl-PL" sz="1200" b="0" i="0" u="none" strike="noStrike" kern="0" cap="none" spc="0" normalizeH="0" baseline="0" noProof="0" dirty="0" err="1">
                <a:ln>
                  <a:noFill/>
                </a:ln>
                <a:solidFill>
                  <a:prstClr val="black">
                    <a:lumMod val="65000"/>
                    <a:lumOff val="35000"/>
                  </a:prstClr>
                </a:solidFill>
                <a:effectLst/>
                <a:uLnTx/>
                <a:uFillTx/>
              </a:rPr>
              <a:t>Repayment</a:t>
            </a:r>
            <a:endParaRPr kumimoji="0" lang="en-US" sz="1200" b="0" i="0" u="none" strike="noStrike" kern="0" cap="none" spc="0" normalizeH="0" baseline="0" noProof="0" dirty="0">
              <a:ln>
                <a:noFill/>
              </a:ln>
              <a:solidFill>
                <a:prstClr val="black">
                  <a:lumMod val="65000"/>
                  <a:lumOff val="35000"/>
                </a:prstClr>
              </a:solidFill>
              <a:effectLst/>
              <a:uLnTx/>
              <a:uFillTx/>
            </a:endParaRPr>
          </a:p>
        </p:txBody>
      </p:sp>
      <p:cxnSp>
        <p:nvCxnSpPr>
          <p:cNvPr id="54" name="Łącznik prosty ze strzałką 78">
            <a:extLst>
              <a:ext uri="{FF2B5EF4-FFF2-40B4-BE49-F238E27FC236}">
                <a16:creationId xmlns:a16="http://schemas.microsoft.com/office/drawing/2014/main" id="{E201490B-E729-CC26-A6FF-7AEAB9CACC8E}"/>
              </a:ext>
            </a:extLst>
          </p:cNvPr>
          <p:cNvCxnSpPr/>
          <p:nvPr/>
        </p:nvCxnSpPr>
        <p:spPr>
          <a:xfrm flipH="1">
            <a:off x="320040" y="4694201"/>
            <a:ext cx="1377059" cy="0"/>
          </a:xfrm>
          <a:prstGeom prst="straightConnector1">
            <a:avLst/>
          </a:prstGeom>
          <a:noFill/>
          <a:ln w="9525" cap="flat" cmpd="sng" algn="ctr">
            <a:solidFill>
              <a:srgbClr val="B60024"/>
            </a:solidFill>
            <a:prstDash val="solid"/>
            <a:headEnd type="none" w="med" len="med"/>
            <a:tailEnd type="none" w="med" len="med"/>
          </a:ln>
          <a:effectLst/>
        </p:spPr>
      </p:cxnSp>
      <p:cxnSp>
        <p:nvCxnSpPr>
          <p:cNvPr id="55" name="Łącznik prosty ze strzałką 45">
            <a:extLst>
              <a:ext uri="{FF2B5EF4-FFF2-40B4-BE49-F238E27FC236}">
                <a16:creationId xmlns:a16="http://schemas.microsoft.com/office/drawing/2014/main" id="{0DC7C3DB-9B8B-C1BC-0F9F-4C818E6E04CF}"/>
              </a:ext>
            </a:extLst>
          </p:cNvPr>
          <p:cNvCxnSpPr/>
          <p:nvPr/>
        </p:nvCxnSpPr>
        <p:spPr>
          <a:xfrm>
            <a:off x="344493" y="2575513"/>
            <a:ext cx="1319414" cy="0"/>
          </a:xfrm>
          <a:prstGeom prst="straightConnector1">
            <a:avLst/>
          </a:prstGeom>
          <a:noFill/>
          <a:ln w="9525" cap="flat" cmpd="sng" algn="ctr">
            <a:solidFill>
              <a:srgbClr val="B60024"/>
            </a:solidFill>
            <a:prstDash val="solid"/>
            <a:tailEnd type="triangle"/>
          </a:ln>
          <a:effectLst/>
        </p:spPr>
      </p:cxnSp>
      <p:pic>
        <p:nvPicPr>
          <p:cNvPr id="31" name="Obraz 30">
            <a:extLst>
              <a:ext uri="{FF2B5EF4-FFF2-40B4-BE49-F238E27FC236}">
                <a16:creationId xmlns:a16="http://schemas.microsoft.com/office/drawing/2014/main" id="{1385A397-1422-2180-B9E2-8621CF608BC9}"/>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17266501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7</a:t>
            </a:fld>
            <a:endParaRPr lang="en-US"/>
          </a:p>
        </p:txBody>
      </p:sp>
      <p:sp>
        <p:nvSpPr>
          <p:cNvPr id="2" name="pole tekstowe 5">
            <a:extLst>
              <a:ext uri="{FF2B5EF4-FFF2-40B4-BE49-F238E27FC236}">
                <a16:creationId xmlns:a16="http://schemas.microsoft.com/office/drawing/2014/main" id="{1B11A315-886E-A51A-8601-A0B450C01A73}"/>
              </a:ext>
            </a:extLst>
          </p:cNvPr>
          <p:cNvSpPr txBox="1">
            <a:spLocks noChangeArrowheads="1"/>
          </p:cNvSpPr>
          <p:nvPr/>
        </p:nvSpPr>
        <p:spPr bwMode="auto">
          <a:xfrm>
            <a:off x="8969842" y="-18303"/>
            <a:ext cx="3211774" cy="6858000"/>
          </a:xfrm>
          <a:prstGeom prst="rect">
            <a:avLst/>
          </a:prstGeom>
          <a:solidFill>
            <a:sysClr val="window" lastClr="FFFFFF">
              <a:lumMod val="95000"/>
            </a:sysClr>
          </a:solidFill>
          <a:ln w="25400" cap="flat" cmpd="sng" algn="ctr">
            <a:noFill/>
            <a:prstDash val="solid"/>
            <a:headEnd/>
            <a:tailEnd/>
          </a:ln>
          <a:effectLst/>
          <a:extLst>
            <a:ext uri="{91240B29-F687-4F45-9708-019B960494DF}">
              <a14:hiddenLine xmlns:a14="http://schemas.microsoft.com/office/drawing/2010/main" w="25400" cap="flat" cmpd="sng" algn="ctr">
                <a:solidFill>
                  <a:schemeClr val="tx1"/>
                </a:solidFill>
                <a:prstDash val="solid"/>
                <a:headEnd/>
                <a:tailEnd/>
              </a14:hiddenLine>
            </a:ext>
          </a:extLst>
        </p:spPr>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pl-PL" sz="1400" b="1" i="0" u="none" strike="noStrike" kern="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3" name="Prostokąt 11">
            <a:extLst>
              <a:ext uri="{FF2B5EF4-FFF2-40B4-BE49-F238E27FC236}">
                <a16:creationId xmlns:a16="http://schemas.microsoft.com/office/drawing/2014/main" id="{ACCE2D1D-24B1-386B-D915-792A04459E68}"/>
              </a:ext>
            </a:extLst>
          </p:cNvPr>
          <p:cNvSpPr/>
          <p:nvPr/>
        </p:nvSpPr>
        <p:spPr>
          <a:xfrm>
            <a:off x="466067" y="346283"/>
            <a:ext cx="9738664"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R="0" indent="0" fontAlgn="auto">
              <a:lnSpc>
                <a:spcPct val="100000"/>
              </a:lnSpc>
              <a:spcBef>
                <a:spcPct val="0"/>
              </a:spcBef>
              <a:spcAft>
                <a:spcPts val="0"/>
              </a:spcAft>
              <a:buClrTx/>
              <a:buSzTx/>
              <a:buFontTx/>
              <a:buNone/>
              <a:tabLst/>
              <a:defRPr/>
            </a:pPr>
            <a:r>
              <a:rPr lang="pl-PL" sz="2400" b="1" dirty="0" err="1">
                <a:solidFill>
                  <a:schemeClr val="accent1"/>
                </a:solidFill>
                <a:latin typeface="Calibri" panose="020F0502020204030204" pitchFamily="34" charset="0"/>
              </a:rPr>
              <a:t>Foreign</a:t>
            </a:r>
            <a:r>
              <a:rPr lang="pl-PL" sz="2400" b="1" dirty="0">
                <a:solidFill>
                  <a:schemeClr val="accent1"/>
                </a:solidFill>
                <a:latin typeface="Calibri" panose="020F0502020204030204" pitchFamily="34" charset="0"/>
              </a:rPr>
              <a:t> </a:t>
            </a:r>
            <a:r>
              <a:rPr lang="pl-PL" sz="2400" b="1" dirty="0" err="1">
                <a:solidFill>
                  <a:schemeClr val="accent1"/>
                </a:solidFill>
                <a:latin typeface="Calibri" panose="020F0502020204030204" pitchFamily="34" charset="0"/>
              </a:rPr>
              <a:t>investments</a:t>
            </a:r>
            <a:r>
              <a:rPr lang="pl-PL" sz="2400" b="1" dirty="0">
                <a:solidFill>
                  <a:schemeClr val="accent1"/>
                </a:solidFill>
                <a:latin typeface="Calibri" panose="020F0502020204030204" pitchFamily="34" charset="0"/>
              </a:rPr>
              <a:t> and </a:t>
            </a:r>
            <a:r>
              <a:rPr lang="pl-PL" sz="2400" b="1" dirty="0" err="1">
                <a:solidFill>
                  <a:schemeClr val="accent1"/>
                </a:solidFill>
                <a:latin typeface="Calibri" panose="020F0502020204030204" pitchFamily="34" charset="0"/>
              </a:rPr>
              <a:t>expansion</a:t>
            </a:r>
            <a:br>
              <a:rPr kumimoji="0" lang="pl-PL" sz="2400" b="1" i="0" u="none" strike="noStrike" kern="1200" cap="none" spc="0" normalizeH="0" baseline="0" noProof="0" dirty="0">
                <a:ln>
                  <a:noFill/>
                </a:ln>
                <a:solidFill>
                  <a:srgbClr val="CF002B"/>
                </a:solidFill>
                <a:effectLst/>
                <a:uLnTx/>
                <a:uFillTx/>
                <a:latin typeface="Calibri" panose="020F0502020204030204" pitchFamily="34" charset="0"/>
                <a:ea typeface="+mn-ea"/>
                <a:cs typeface="+mn-cs"/>
              </a:rPr>
            </a:br>
            <a:r>
              <a:rPr lang="pl-PL" b="1" dirty="0" err="1">
                <a:solidFill>
                  <a:srgbClr val="595959"/>
                </a:solidFill>
                <a:latin typeface="Calibri" panose="020F0502020204030204" pitchFamily="34" charset="0"/>
              </a:rPr>
              <a:t>Financing</a:t>
            </a:r>
            <a:r>
              <a:rPr lang="pl-PL" b="1" dirty="0">
                <a:solidFill>
                  <a:srgbClr val="595959"/>
                </a:solidFill>
                <a:latin typeface="Calibri" panose="020F0502020204030204" pitchFamily="34" charset="0"/>
              </a:rPr>
              <a:t> </a:t>
            </a:r>
            <a:r>
              <a:rPr lang="pl-PL" b="1" dirty="0" err="1">
                <a:solidFill>
                  <a:srgbClr val="595959"/>
                </a:solidFill>
                <a:latin typeface="Calibri" panose="020F0502020204030204" pitchFamily="34" charset="0"/>
              </a:rPr>
              <a:t>scheme</a:t>
            </a:r>
            <a:r>
              <a:rPr lang="pl-PL" b="1" dirty="0">
                <a:solidFill>
                  <a:srgbClr val="595959"/>
                </a:solidFill>
                <a:latin typeface="Calibri" panose="020F0502020204030204" pitchFamily="34" charset="0"/>
              </a:rPr>
              <a:t> of a </a:t>
            </a:r>
            <a:r>
              <a:rPr lang="pl-PL" b="1" dirty="0" err="1">
                <a:solidFill>
                  <a:srgbClr val="595959"/>
                </a:solidFill>
                <a:latin typeface="Calibri" panose="020F0502020204030204" pitchFamily="34" charset="0"/>
              </a:rPr>
              <a:t>foreign</a:t>
            </a:r>
            <a:r>
              <a:rPr lang="pl-PL" b="1" dirty="0">
                <a:solidFill>
                  <a:srgbClr val="595959"/>
                </a:solidFill>
                <a:latin typeface="Calibri" panose="020F0502020204030204" pitchFamily="34" charset="0"/>
              </a:rPr>
              <a:t> investment 2/2</a:t>
            </a:r>
          </a:p>
        </p:txBody>
      </p:sp>
      <p:sp>
        <p:nvSpPr>
          <p:cNvPr id="5" name="Prostokąt 127">
            <a:extLst>
              <a:ext uri="{FF2B5EF4-FFF2-40B4-BE49-F238E27FC236}">
                <a16:creationId xmlns:a16="http://schemas.microsoft.com/office/drawing/2014/main" id="{4BA260DA-4955-1B51-1947-BCC976E16E52}"/>
              </a:ext>
            </a:extLst>
          </p:cNvPr>
          <p:cNvSpPr/>
          <p:nvPr/>
        </p:nvSpPr>
        <p:spPr>
          <a:xfrm>
            <a:off x="9056529" y="2065407"/>
            <a:ext cx="3282285" cy="2110340"/>
          </a:xfrm>
          <a:prstGeom prst="rect">
            <a:avLst/>
          </a:prstGeom>
          <a:noFill/>
          <a:ln w="127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0" dirty="0">
                <a:solidFill>
                  <a:prstClr val="black">
                    <a:lumMod val="65000"/>
                    <a:lumOff val="35000"/>
                  </a:prstClr>
                </a:solidFill>
                <a:latin typeface="Calibri"/>
              </a:rPr>
              <a:t>Main c</a:t>
            </a:r>
            <a:r>
              <a:rPr kumimoji="0" lang="en-GB" sz="1400" b="1" i="0" u="none" strike="noStrike" kern="0" cap="none" spc="0" normalizeH="0" baseline="0" noProof="0" dirty="0" err="1">
                <a:ln>
                  <a:noFill/>
                </a:ln>
                <a:solidFill>
                  <a:prstClr val="black">
                    <a:lumMod val="65000"/>
                    <a:lumOff val="35000"/>
                  </a:prstClr>
                </a:solidFill>
                <a:effectLst/>
                <a:uLnTx/>
                <a:uFillTx/>
                <a:latin typeface="Calibri"/>
              </a:rPr>
              <a:t>haracteristics</a:t>
            </a:r>
            <a:r>
              <a:rPr kumimoji="0" lang="en-GB" sz="1400" b="1" i="0" u="none" strike="noStrike" kern="0" cap="none" spc="0" normalizeH="0" baseline="0" noProof="0" dirty="0">
                <a:ln>
                  <a:noFill/>
                </a:ln>
                <a:solidFill>
                  <a:prstClr val="black">
                    <a:lumMod val="65000"/>
                    <a:lumOff val="35000"/>
                  </a:prstClr>
                </a:solidFill>
                <a:effectLst/>
                <a:uLnTx/>
                <a:uFillTx/>
                <a:latin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black">
                    <a:lumMod val="65000"/>
                    <a:lumOff val="35000"/>
                  </a:prstClr>
                </a:solidFill>
                <a:effectLst/>
                <a:uLnTx/>
                <a:uFillTx/>
                <a:latin typeface="Calibri"/>
              </a:rPr>
              <a:t> </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lang="en-GB" sz="1200" kern="0" dirty="0">
                <a:solidFill>
                  <a:prstClr val="black">
                    <a:lumMod val="65000"/>
                    <a:lumOff val="35000"/>
                  </a:prstClr>
                </a:solidFill>
                <a:latin typeface="Calibri"/>
              </a:rPr>
              <a:t>p</a:t>
            </a:r>
            <a:r>
              <a:rPr kumimoji="0" lang="en-GB" sz="1200" b="0" i="0" u="none" strike="noStrike" kern="0" cap="none" spc="0" normalizeH="0" baseline="0" noProof="0" dirty="0" err="1">
                <a:ln>
                  <a:noFill/>
                </a:ln>
                <a:solidFill>
                  <a:prstClr val="black">
                    <a:lumMod val="65000"/>
                    <a:lumOff val="35000"/>
                  </a:prstClr>
                </a:solidFill>
                <a:effectLst/>
                <a:uLnTx/>
                <a:uFillTx/>
                <a:latin typeface="Calibri"/>
              </a:rPr>
              <a:t>roject</a:t>
            </a:r>
            <a:r>
              <a:rPr kumimoji="0" lang="en-GB" sz="1200" b="0" i="0" u="none" strike="noStrike" kern="0" cap="none" spc="0" normalizeH="0" noProof="0" dirty="0">
                <a:ln>
                  <a:noFill/>
                </a:ln>
                <a:solidFill>
                  <a:prstClr val="black">
                    <a:lumMod val="65000"/>
                    <a:lumOff val="35000"/>
                  </a:prstClr>
                </a:solidFill>
                <a:effectLst/>
                <a:uLnTx/>
                <a:uFillTx/>
                <a:latin typeface="Calibri"/>
              </a:rPr>
              <a:t> financing</a:t>
            </a:r>
            <a:r>
              <a:rPr kumimoji="0" lang="en-GB" sz="1200" b="0" i="0" u="none" strike="noStrike" kern="0" cap="none" spc="0" normalizeH="0" baseline="0" noProof="0" dirty="0">
                <a:ln>
                  <a:noFill/>
                </a:ln>
                <a:solidFill>
                  <a:prstClr val="black">
                    <a:lumMod val="65000"/>
                    <a:lumOff val="35000"/>
                  </a:prstClr>
                </a:solidFill>
                <a:effectLst/>
                <a:uLnTx/>
                <a:uFillTx/>
                <a:latin typeface="Calibri"/>
              </a:rPr>
              <a:t>,</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kumimoji="0" lang="en-GB" sz="1200" b="0" i="0" u="none" strike="noStrike" kern="0" cap="none" spc="0" normalizeH="0" baseline="0" noProof="0" dirty="0">
                <a:ln>
                  <a:noFill/>
                </a:ln>
                <a:solidFill>
                  <a:prstClr val="black">
                    <a:lumMod val="65000"/>
                    <a:lumOff val="35000"/>
                  </a:prstClr>
                </a:solidFill>
                <a:effectLst/>
                <a:uLnTx/>
                <a:uFillTx/>
                <a:latin typeface="Calibri"/>
              </a:rPr>
              <a:t>SPV as a borrower,</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lang="en-GB" sz="1200" kern="0" dirty="0">
                <a:solidFill>
                  <a:prstClr val="black">
                    <a:lumMod val="65000"/>
                    <a:lumOff val="35000"/>
                  </a:prstClr>
                </a:solidFill>
                <a:latin typeface="Calibri"/>
              </a:rPr>
              <a:t>r</a:t>
            </a:r>
            <a:r>
              <a:rPr kumimoji="0" lang="en-GB" sz="1200" b="0" i="0" u="none" strike="noStrike" kern="0" cap="none" spc="0" normalizeH="0" baseline="0" noProof="0" dirty="0" err="1">
                <a:ln>
                  <a:noFill/>
                </a:ln>
                <a:solidFill>
                  <a:prstClr val="black">
                    <a:lumMod val="65000"/>
                    <a:lumOff val="35000"/>
                  </a:prstClr>
                </a:solidFill>
                <a:effectLst/>
                <a:uLnTx/>
                <a:uFillTx/>
                <a:latin typeface="Calibri"/>
              </a:rPr>
              <a:t>ecourse</a:t>
            </a:r>
            <a:r>
              <a:rPr kumimoji="0" lang="en-GB" sz="1200" b="0" i="0" u="none" strike="noStrike" kern="0" cap="none" spc="0" normalizeH="0" baseline="0" noProof="0" dirty="0">
                <a:ln>
                  <a:noFill/>
                </a:ln>
                <a:solidFill>
                  <a:prstClr val="black">
                    <a:lumMod val="65000"/>
                    <a:lumOff val="35000"/>
                  </a:prstClr>
                </a:solidFill>
                <a:effectLst/>
                <a:uLnTx/>
                <a:uFillTx/>
                <a:latin typeface="Calibri"/>
              </a:rPr>
              <a:t> to the Polish entity,</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lang="en-GB" sz="1200" kern="0" dirty="0">
                <a:solidFill>
                  <a:prstClr val="black">
                    <a:lumMod val="65000"/>
                    <a:lumOff val="35000"/>
                  </a:prstClr>
                </a:solidFill>
                <a:latin typeface="Calibri"/>
              </a:rPr>
              <a:t>financing dedicated for investments</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mn-ea"/>
                <a:cs typeface="+mn-cs"/>
              </a:rPr>
              <a:t>.</a:t>
            </a:r>
          </a:p>
        </p:txBody>
      </p:sp>
      <p:sp>
        <p:nvSpPr>
          <p:cNvPr id="6" name="Prostokąt 127">
            <a:extLst>
              <a:ext uri="{FF2B5EF4-FFF2-40B4-BE49-F238E27FC236}">
                <a16:creationId xmlns:a16="http://schemas.microsoft.com/office/drawing/2014/main" id="{5EDF64E7-56D0-0649-B37B-B7196A8EEA6F}"/>
              </a:ext>
            </a:extLst>
          </p:cNvPr>
          <p:cNvSpPr/>
          <p:nvPr/>
        </p:nvSpPr>
        <p:spPr>
          <a:xfrm>
            <a:off x="9022456" y="4348063"/>
            <a:ext cx="3282284" cy="2110340"/>
          </a:xfrm>
          <a:prstGeom prst="rect">
            <a:avLst/>
          </a:prstGeom>
          <a:noFill/>
          <a:ln w="127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solidFill>
                  <a:prstClr val="black">
                    <a:lumMod val="65000"/>
                    <a:lumOff val="35000"/>
                  </a:prstClr>
                </a:solidFill>
                <a:effectLst/>
                <a:uLnTx/>
                <a:uFillTx/>
                <a:latin typeface="Calibri"/>
                <a:ea typeface="+mn-ea"/>
                <a:cs typeface="+mn-cs"/>
              </a:rPr>
              <a:t>Example transactions:</a:t>
            </a:r>
          </a:p>
          <a:p>
            <a:pPr marL="177800" marR="0" lvl="0" indent="-177800" algn="l" defTabSz="914400" rtl="0" eaLnBrk="1" fontAlgn="auto" latinLnBrk="0" hangingPunct="1">
              <a:lnSpc>
                <a:spcPct val="100000"/>
              </a:lnSpc>
              <a:spcBef>
                <a:spcPts val="0"/>
              </a:spcBef>
              <a:spcAft>
                <a:spcPts val="0"/>
              </a:spcAft>
              <a:buClr>
                <a:srgbClr val="DA2038"/>
              </a:buClr>
              <a:buSzTx/>
              <a:buFont typeface="Wingdings" panose="05000000000000000000" pitchFamily="2" charset="2"/>
              <a:buChar char="§"/>
              <a:tabLst/>
              <a:defRPr/>
            </a:pPr>
            <a:r>
              <a:rPr kumimoji="0" lang="en-GB" sz="1200" b="0" i="0" u="none" strike="noStrike" kern="0" cap="none" spc="0" normalizeH="0" baseline="0" dirty="0">
                <a:ln>
                  <a:noFill/>
                </a:ln>
                <a:solidFill>
                  <a:prstClr val="black">
                    <a:lumMod val="65000"/>
                    <a:lumOff val="35000"/>
                  </a:prstClr>
                </a:solidFill>
                <a:effectLst/>
                <a:uLnTx/>
                <a:uFillTx/>
                <a:latin typeface="Calibri"/>
                <a:ea typeface="+mn-ea"/>
                <a:cs typeface="+mn-cs"/>
              </a:rPr>
              <a:t>Financing of production facilities development by </a:t>
            </a:r>
            <a:r>
              <a:rPr kumimoji="0" lang="en-GB" sz="1200" b="1" i="0" u="none" strike="noStrike" kern="0" cap="none" spc="0" normalizeH="0" baseline="0" dirty="0" err="1">
                <a:ln>
                  <a:noFill/>
                </a:ln>
                <a:solidFill>
                  <a:prstClr val="black">
                    <a:lumMod val="65000"/>
                    <a:lumOff val="35000"/>
                  </a:prstClr>
                </a:solidFill>
                <a:effectLst/>
                <a:uLnTx/>
                <a:uFillTx/>
                <a:latin typeface="Calibri"/>
                <a:ea typeface="+mn-ea"/>
                <a:cs typeface="+mn-cs"/>
              </a:rPr>
              <a:t>Boryszew</a:t>
            </a:r>
            <a:r>
              <a:rPr kumimoji="0" lang="en-GB" sz="1200" b="1" i="0" u="none" strike="noStrike" kern="0" cap="none" spc="0" normalizeH="0" baseline="0" dirty="0">
                <a:ln>
                  <a:noFill/>
                </a:ln>
                <a:solidFill>
                  <a:prstClr val="black">
                    <a:lumMod val="65000"/>
                    <a:lumOff val="35000"/>
                  </a:prstClr>
                </a:solidFill>
                <a:effectLst/>
                <a:uLnTx/>
                <a:uFillTx/>
                <a:latin typeface="Calibri"/>
                <a:ea typeface="+mn-ea"/>
                <a:cs typeface="+mn-cs"/>
              </a:rPr>
              <a:t> S.A. </a:t>
            </a:r>
            <a:r>
              <a:rPr kumimoji="0" lang="en-GB" sz="1200" b="0" i="0" u="none" strike="noStrike" kern="0" cap="none" spc="0" normalizeH="0" baseline="0" dirty="0">
                <a:ln>
                  <a:noFill/>
                </a:ln>
                <a:solidFill>
                  <a:prstClr val="black">
                    <a:lumMod val="65000"/>
                    <a:lumOff val="35000"/>
                  </a:prstClr>
                </a:solidFill>
                <a:effectLst/>
                <a:uLnTx/>
                <a:uFillTx/>
                <a:latin typeface="Calibri"/>
                <a:ea typeface="+mn-ea"/>
                <a:cs typeface="+mn-cs"/>
              </a:rPr>
              <a:t>in China,</a:t>
            </a:r>
            <a:r>
              <a:rPr kumimoji="0" lang="en-GB" sz="1200" b="0" i="0" u="none" strike="noStrike" kern="0" cap="none" spc="0" normalizeH="0" dirty="0">
                <a:ln>
                  <a:noFill/>
                </a:ln>
                <a:solidFill>
                  <a:prstClr val="black">
                    <a:lumMod val="65000"/>
                    <a:lumOff val="35000"/>
                  </a:prstClr>
                </a:solidFill>
                <a:effectLst/>
                <a:uLnTx/>
                <a:uFillTx/>
                <a:latin typeface="Calibri"/>
                <a:ea typeface="+mn-ea"/>
                <a:cs typeface="+mn-cs"/>
              </a:rPr>
              <a:t> India and Mexico</a:t>
            </a:r>
            <a:r>
              <a:rPr kumimoji="0" lang="en-GB" sz="1200" b="0" i="0" u="none" strike="noStrike" kern="0" cap="none" spc="0" normalizeH="0" baseline="0" dirty="0">
                <a:ln>
                  <a:noFill/>
                </a:ln>
                <a:solidFill>
                  <a:prstClr val="black">
                    <a:lumMod val="65000"/>
                    <a:lumOff val="35000"/>
                  </a:prstClr>
                </a:solidFill>
                <a:effectLst/>
                <a:uLnTx/>
                <a:uFillTx/>
                <a:latin typeface="Calibri"/>
                <a:ea typeface="+mn-ea"/>
                <a:cs typeface="+mn-cs"/>
              </a:rPr>
              <a:t>.</a:t>
            </a:r>
          </a:p>
        </p:txBody>
      </p:sp>
      <p:grpSp>
        <p:nvGrpSpPr>
          <p:cNvPr id="7" name="Grupa 130">
            <a:extLst>
              <a:ext uri="{FF2B5EF4-FFF2-40B4-BE49-F238E27FC236}">
                <a16:creationId xmlns:a16="http://schemas.microsoft.com/office/drawing/2014/main" id="{EC9CA507-96F0-E848-1028-542A771988C1}"/>
              </a:ext>
            </a:extLst>
          </p:cNvPr>
          <p:cNvGrpSpPr/>
          <p:nvPr/>
        </p:nvGrpSpPr>
        <p:grpSpPr>
          <a:xfrm>
            <a:off x="9148526" y="1640568"/>
            <a:ext cx="410116" cy="394061"/>
            <a:chOff x="471661" y="388366"/>
            <a:chExt cx="585323" cy="539090"/>
          </a:xfrm>
        </p:grpSpPr>
        <p:sp>
          <p:nvSpPr>
            <p:cNvPr id="8" name="Freeform 431">
              <a:extLst>
                <a:ext uri="{FF2B5EF4-FFF2-40B4-BE49-F238E27FC236}">
                  <a16:creationId xmlns:a16="http://schemas.microsoft.com/office/drawing/2014/main" id="{A4672BE4-82E2-BDC2-A87A-AB86D6866975}"/>
                </a:ext>
              </a:extLst>
            </p:cNvPr>
            <p:cNvSpPr>
              <a:spLocks/>
            </p:cNvSpPr>
            <p:nvPr/>
          </p:nvSpPr>
          <p:spPr bwMode="auto">
            <a:xfrm>
              <a:off x="471661" y="495629"/>
              <a:ext cx="137778" cy="337509"/>
            </a:xfrm>
            <a:custGeom>
              <a:avLst/>
              <a:gdLst>
                <a:gd name="T0" fmla="*/ 129 w 149"/>
                <a:gd name="T1" fmla="*/ 0 h 365"/>
                <a:gd name="T2" fmla="*/ 149 w 149"/>
                <a:gd name="T3" fmla="*/ 7 h 365"/>
                <a:gd name="T4" fmla="*/ 26 w 149"/>
                <a:gd name="T5" fmla="*/ 344 h 365"/>
                <a:gd name="T6" fmla="*/ 139 w 149"/>
                <a:gd name="T7" fmla="*/ 344 h 365"/>
                <a:gd name="T8" fmla="*/ 139 w 149"/>
                <a:gd name="T9" fmla="*/ 365 h 365"/>
                <a:gd name="T10" fmla="*/ 10 w 149"/>
                <a:gd name="T11" fmla="*/ 365 h 365"/>
                <a:gd name="T12" fmla="*/ 7 w 149"/>
                <a:gd name="T13" fmla="*/ 364 h 365"/>
                <a:gd name="T14" fmla="*/ 5 w 149"/>
                <a:gd name="T15" fmla="*/ 362 h 365"/>
                <a:gd name="T16" fmla="*/ 3 w 149"/>
                <a:gd name="T17" fmla="*/ 361 h 365"/>
                <a:gd name="T18" fmla="*/ 2 w 149"/>
                <a:gd name="T19" fmla="*/ 358 h 365"/>
                <a:gd name="T20" fmla="*/ 0 w 149"/>
                <a:gd name="T21" fmla="*/ 354 h 365"/>
                <a:gd name="T22" fmla="*/ 2 w 149"/>
                <a:gd name="T23" fmla="*/ 351 h 365"/>
                <a:gd name="T24" fmla="*/ 129 w 149"/>
                <a:gd name="T2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365">
                  <a:moveTo>
                    <a:pt x="129" y="0"/>
                  </a:moveTo>
                  <a:lnTo>
                    <a:pt x="149" y="7"/>
                  </a:lnTo>
                  <a:lnTo>
                    <a:pt x="26" y="344"/>
                  </a:lnTo>
                  <a:lnTo>
                    <a:pt x="139" y="344"/>
                  </a:lnTo>
                  <a:lnTo>
                    <a:pt x="139" y="365"/>
                  </a:lnTo>
                  <a:lnTo>
                    <a:pt x="10" y="365"/>
                  </a:lnTo>
                  <a:lnTo>
                    <a:pt x="7" y="364"/>
                  </a:lnTo>
                  <a:lnTo>
                    <a:pt x="5" y="362"/>
                  </a:lnTo>
                  <a:lnTo>
                    <a:pt x="3" y="361"/>
                  </a:lnTo>
                  <a:lnTo>
                    <a:pt x="2" y="358"/>
                  </a:lnTo>
                  <a:lnTo>
                    <a:pt x="0" y="354"/>
                  </a:lnTo>
                  <a:lnTo>
                    <a:pt x="2" y="351"/>
                  </a:lnTo>
                  <a:lnTo>
                    <a:pt x="12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9" name="Freeform 432">
              <a:extLst>
                <a:ext uri="{FF2B5EF4-FFF2-40B4-BE49-F238E27FC236}">
                  <a16:creationId xmlns:a16="http://schemas.microsoft.com/office/drawing/2014/main" id="{5D0C31D0-3344-5BBC-B66E-DDCC712BF621}"/>
                </a:ext>
              </a:extLst>
            </p:cNvPr>
            <p:cNvSpPr>
              <a:spLocks noEditPoints="1"/>
            </p:cNvSpPr>
            <p:nvPr/>
          </p:nvSpPr>
          <p:spPr bwMode="auto">
            <a:xfrm>
              <a:off x="630706" y="489157"/>
              <a:ext cx="303296" cy="356927"/>
            </a:xfrm>
            <a:custGeom>
              <a:avLst/>
              <a:gdLst>
                <a:gd name="T0" fmla="*/ 19 w 328"/>
                <a:gd name="T1" fmla="*/ 21 h 386"/>
                <a:gd name="T2" fmla="*/ 19 w 328"/>
                <a:gd name="T3" fmla="*/ 313 h 386"/>
                <a:gd name="T4" fmla="*/ 24 w 328"/>
                <a:gd name="T5" fmla="*/ 332 h 386"/>
                <a:gd name="T6" fmla="*/ 35 w 328"/>
                <a:gd name="T7" fmla="*/ 351 h 386"/>
                <a:gd name="T8" fmla="*/ 52 w 328"/>
                <a:gd name="T9" fmla="*/ 362 h 386"/>
                <a:gd name="T10" fmla="*/ 73 w 328"/>
                <a:gd name="T11" fmla="*/ 366 h 386"/>
                <a:gd name="T12" fmla="*/ 94 w 328"/>
                <a:gd name="T13" fmla="*/ 362 h 386"/>
                <a:gd name="T14" fmla="*/ 111 w 328"/>
                <a:gd name="T15" fmla="*/ 351 h 386"/>
                <a:gd name="T16" fmla="*/ 123 w 328"/>
                <a:gd name="T17" fmla="*/ 332 h 386"/>
                <a:gd name="T18" fmla="*/ 127 w 328"/>
                <a:gd name="T19" fmla="*/ 313 h 386"/>
                <a:gd name="T20" fmla="*/ 128 w 328"/>
                <a:gd name="T21" fmla="*/ 308 h 386"/>
                <a:gd name="T22" fmla="*/ 131 w 328"/>
                <a:gd name="T23" fmla="*/ 305 h 386"/>
                <a:gd name="T24" fmla="*/ 134 w 328"/>
                <a:gd name="T25" fmla="*/ 303 h 386"/>
                <a:gd name="T26" fmla="*/ 138 w 328"/>
                <a:gd name="T27" fmla="*/ 301 h 386"/>
                <a:gd name="T28" fmla="*/ 308 w 328"/>
                <a:gd name="T29" fmla="*/ 301 h 386"/>
                <a:gd name="T30" fmla="*/ 308 w 328"/>
                <a:gd name="T31" fmla="*/ 21 h 386"/>
                <a:gd name="T32" fmla="*/ 19 w 328"/>
                <a:gd name="T33" fmla="*/ 21 h 386"/>
                <a:gd name="T34" fmla="*/ 10 w 328"/>
                <a:gd name="T35" fmla="*/ 0 h 386"/>
                <a:gd name="T36" fmla="*/ 318 w 328"/>
                <a:gd name="T37" fmla="*/ 0 h 386"/>
                <a:gd name="T38" fmla="*/ 321 w 328"/>
                <a:gd name="T39" fmla="*/ 1 h 386"/>
                <a:gd name="T40" fmla="*/ 325 w 328"/>
                <a:gd name="T41" fmla="*/ 2 h 386"/>
                <a:gd name="T42" fmla="*/ 327 w 328"/>
                <a:gd name="T43" fmla="*/ 7 h 386"/>
                <a:gd name="T44" fmla="*/ 328 w 328"/>
                <a:gd name="T45" fmla="*/ 10 h 386"/>
                <a:gd name="T46" fmla="*/ 328 w 328"/>
                <a:gd name="T47" fmla="*/ 313 h 386"/>
                <a:gd name="T48" fmla="*/ 327 w 328"/>
                <a:gd name="T49" fmla="*/ 315 h 386"/>
                <a:gd name="T50" fmla="*/ 325 w 328"/>
                <a:gd name="T51" fmla="*/ 320 h 386"/>
                <a:gd name="T52" fmla="*/ 321 w 328"/>
                <a:gd name="T53" fmla="*/ 321 h 386"/>
                <a:gd name="T54" fmla="*/ 318 w 328"/>
                <a:gd name="T55" fmla="*/ 322 h 386"/>
                <a:gd name="T56" fmla="*/ 147 w 328"/>
                <a:gd name="T57" fmla="*/ 322 h 386"/>
                <a:gd name="T58" fmla="*/ 141 w 328"/>
                <a:gd name="T59" fmla="*/ 342 h 386"/>
                <a:gd name="T60" fmla="*/ 130 w 328"/>
                <a:gd name="T61" fmla="*/ 361 h 386"/>
                <a:gd name="T62" fmla="*/ 114 w 328"/>
                <a:gd name="T63" fmla="*/ 375 h 386"/>
                <a:gd name="T64" fmla="*/ 96 w 328"/>
                <a:gd name="T65" fmla="*/ 383 h 386"/>
                <a:gd name="T66" fmla="*/ 73 w 328"/>
                <a:gd name="T67" fmla="*/ 386 h 386"/>
                <a:gd name="T68" fmla="*/ 51 w 328"/>
                <a:gd name="T69" fmla="*/ 383 h 386"/>
                <a:gd name="T70" fmla="*/ 29 w 328"/>
                <a:gd name="T71" fmla="*/ 372 h 386"/>
                <a:gd name="T72" fmla="*/ 14 w 328"/>
                <a:gd name="T73" fmla="*/ 356 h 386"/>
                <a:gd name="T74" fmla="*/ 2 w 328"/>
                <a:gd name="T75" fmla="*/ 335 h 386"/>
                <a:gd name="T76" fmla="*/ 0 w 328"/>
                <a:gd name="T77" fmla="*/ 313 h 386"/>
                <a:gd name="T78" fmla="*/ 0 w 328"/>
                <a:gd name="T79" fmla="*/ 10 h 386"/>
                <a:gd name="T80" fmla="*/ 0 w 328"/>
                <a:gd name="T81" fmla="*/ 7 h 386"/>
                <a:gd name="T82" fmla="*/ 2 w 328"/>
                <a:gd name="T83" fmla="*/ 2 h 386"/>
                <a:gd name="T84" fmla="*/ 5 w 328"/>
                <a:gd name="T85" fmla="*/ 1 h 386"/>
                <a:gd name="T86" fmla="*/ 10 w 328"/>
                <a:gd name="T8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386">
                  <a:moveTo>
                    <a:pt x="19" y="21"/>
                  </a:moveTo>
                  <a:lnTo>
                    <a:pt x="19" y="313"/>
                  </a:lnTo>
                  <a:lnTo>
                    <a:pt x="24" y="332"/>
                  </a:lnTo>
                  <a:lnTo>
                    <a:pt x="35" y="351"/>
                  </a:lnTo>
                  <a:lnTo>
                    <a:pt x="52" y="362"/>
                  </a:lnTo>
                  <a:lnTo>
                    <a:pt x="73" y="366"/>
                  </a:lnTo>
                  <a:lnTo>
                    <a:pt x="94" y="362"/>
                  </a:lnTo>
                  <a:lnTo>
                    <a:pt x="111" y="351"/>
                  </a:lnTo>
                  <a:lnTo>
                    <a:pt x="123" y="332"/>
                  </a:lnTo>
                  <a:lnTo>
                    <a:pt x="127" y="313"/>
                  </a:lnTo>
                  <a:lnTo>
                    <a:pt x="128" y="308"/>
                  </a:lnTo>
                  <a:lnTo>
                    <a:pt x="131" y="305"/>
                  </a:lnTo>
                  <a:lnTo>
                    <a:pt x="134" y="303"/>
                  </a:lnTo>
                  <a:lnTo>
                    <a:pt x="138" y="301"/>
                  </a:lnTo>
                  <a:lnTo>
                    <a:pt x="308" y="301"/>
                  </a:lnTo>
                  <a:lnTo>
                    <a:pt x="308" y="21"/>
                  </a:lnTo>
                  <a:lnTo>
                    <a:pt x="19" y="21"/>
                  </a:lnTo>
                  <a:close/>
                  <a:moveTo>
                    <a:pt x="10" y="0"/>
                  </a:moveTo>
                  <a:lnTo>
                    <a:pt x="318" y="0"/>
                  </a:lnTo>
                  <a:lnTo>
                    <a:pt x="321" y="1"/>
                  </a:lnTo>
                  <a:lnTo>
                    <a:pt x="325" y="2"/>
                  </a:lnTo>
                  <a:lnTo>
                    <a:pt x="327" y="7"/>
                  </a:lnTo>
                  <a:lnTo>
                    <a:pt x="328" y="10"/>
                  </a:lnTo>
                  <a:lnTo>
                    <a:pt x="328" y="313"/>
                  </a:lnTo>
                  <a:lnTo>
                    <a:pt x="327" y="315"/>
                  </a:lnTo>
                  <a:lnTo>
                    <a:pt x="325" y="320"/>
                  </a:lnTo>
                  <a:lnTo>
                    <a:pt x="321" y="321"/>
                  </a:lnTo>
                  <a:lnTo>
                    <a:pt x="318" y="322"/>
                  </a:lnTo>
                  <a:lnTo>
                    <a:pt x="147" y="322"/>
                  </a:lnTo>
                  <a:lnTo>
                    <a:pt x="141" y="342"/>
                  </a:lnTo>
                  <a:lnTo>
                    <a:pt x="130" y="361"/>
                  </a:lnTo>
                  <a:lnTo>
                    <a:pt x="114" y="375"/>
                  </a:lnTo>
                  <a:lnTo>
                    <a:pt x="96" y="383"/>
                  </a:lnTo>
                  <a:lnTo>
                    <a:pt x="73" y="386"/>
                  </a:lnTo>
                  <a:lnTo>
                    <a:pt x="51" y="383"/>
                  </a:lnTo>
                  <a:lnTo>
                    <a:pt x="29" y="372"/>
                  </a:lnTo>
                  <a:lnTo>
                    <a:pt x="14" y="356"/>
                  </a:lnTo>
                  <a:lnTo>
                    <a:pt x="2" y="335"/>
                  </a:lnTo>
                  <a:lnTo>
                    <a:pt x="0" y="313"/>
                  </a:lnTo>
                  <a:lnTo>
                    <a:pt x="0" y="10"/>
                  </a:lnTo>
                  <a:lnTo>
                    <a:pt x="0" y="7"/>
                  </a:lnTo>
                  <a:lnTo>
                    <a:pt x="2"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reeform 433">
              <a:extLst>
                <a:ext uri="{FF2B5EF4-FFF2-40B4-BE49-F238E27FC236}">
                  <a16:creationId xmlns:a16="http://schemas.microsoft.com/office/drawing/2014/main" id="{2521DD5E-C807-E01C-F4E2-08B9BC52A964}"/>
                </a:ext>
              </a:extLst>
            </p:cNvPr>
            <p:cNvSpPr>
              <a:spLocks/>
            </p:cNvSpPr>
            <p:nvPr/>
          </p:nvSpPr>
          <p:spPr bwMode="auto">
            <a:xfrm>
              <a:off x="590945" y="489157"/>
              <a:ext cx="321789" cy="438299"/>
            </a:xfrm>
            <a:custGeom>
              <a:avLst/>
              <a:gdLst>
                <a:gd name="T0" fmla="*/ 10 w 348"/>
                <a:gd name="T1" fmla="*/ 0 h 474"/>
                <a:gd name="T2" fmla="*/ 47 w 348"/>
                <a:gd name="T3" fmla="*/ 0 h 474"/>
                <a:gd name="T4" fmla="*/ 47 w 348"/>
                <a:gd name="T5" fmla="*/ 21 h 474"/>
                <a:gd name="T6" fmla="*/ 20 w 348"/>
                <a:gd name="T7" fmla="*/ 21 h 474"/>
                <a:gd name="T8" fmla="*/ 20 w 348"/>
                <a:gd name="T9" fmla="*/ 454 h 474"/>
                <a:gd name="T10" fmla="*/ 329 w 348"/>
                <a:gd name="T11" fmla="*/ 454 h 474"/>
                <a:gd name="T12" fmla="*/ 329 w 348"/>
                <a:gd name="T13" fmla="*/ 376 h 474"/>
                <a:gd name="T14" fmla="*/ 348 w 348"/>
                <a:gd name="T15" fmla="*/ 376 h 474"/>
                <a:gd name="T16" fmla="*/ 348 w 348"/>
                <a:gd name="T17" fmla="*/ 464 h 474"/>
                <a:gd name="T18" fmla="*/ 347 w 348"/>
                <a:gd name="T19" fmla="*/ 468 h 474"/>
                <a:gd name="T20" fmla="*/ 346 w 348"/>
                <a:gd name="T21" fmla="*/ 471 h 474"/>
                <a:gd name="T22" fmla="*/ 343 w 348"/>
                <a:gd name="T23" fmla="*/ 473 h 474"/>
                <a:gd name="T24" fmla="*/ 338 w 348"/>
                <a:gd name="T25" fmla="*/ 474 h 474"/>
                <a:gd name="T26" fmla="*/ 10 w 348"/>
                <a:gd name="T27" fmla="*/ 474 h 474"/>
                <a:gd name="T28" fmla="*/ 6 w 348"/>
                <a:gd name="T29" fmla="*/ 473 h 474"/>
                <a:gd name="T30" fmla="*/ 3 w 348"/>
                <a:gd name="T31" fmla="*/ 471 h 474"/>
                <a:gd name="T32" fmla="*/ 2 w 348"/>
                <a:gd name="T33" fmla="*/ 468 h 474"/>
                <a:gd name="T34" fmla="*/ 0 w 348"/>
                <a:gd name="T35" fmla="*/ 464 h 474"/>
                <a:gd name="T36" fmla="*/ 0 w 348"/>
                <a:gd name="T37" fmla="*/ 10 h 474"/>
                <a:gd name="T38" fmla="*/ 2 w 348"/>
                <a:gd name="T39" fmla="*/ 7 h 474"/>
                <a:gd name="T40" fmla="*/ 3 w 348"/>
                <a:gd name="T41" fmla="*/ 2 h 474"/>
                <a:gd name="T42" fmla="*/ 6 w 348"/>
                <a:gd name="T43" fmla="*/ 1 h 474"/>
                <a:gd name="T44" fmla="*/ 10 w 348"/>
                <a:gd name="T45"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474">
                  <a:moveTo>
                    <a:pt x="10" y="0"/>
                  </a:moveTo>
                  <a:lnTo>
                    <a:pt x="47" y="0"/>
                  </a:lnTo>
                  <a:lnTo>
                    <a:pt x="47" y="21"/>
                  </a:lnTo>
                  <a:lnTo>
                    <a:pt x="20" y="21"/>
                  </a:lnTo>
                  <a:lnTo>
                    <a:pt x="20" y="454"/>
                  </a:lnTo>
                  <a:lnTo>
                    <a:pt x="329" y="454"/>
                  </a:lnTo>
                  <a:lnTo>
                    <a:pt x="329" y="376"/>
                  </a:lnTo>
                  <a:lnTo>
                    <a:pt x="348" y="376"/>
                  </a:lnTo>
                  <a:lnTo>
                    <a:pt x="348" y="464"/>
                  </a:lnTo>
                  <a:lnTo>
                    <a:pt x="347" y="468"/>
                  </a:lnTo>
                  <a:lnTo>
                    <a:pt x="346" y="471"/>
                  </a:lnTo>
                  <a:lnTo>
                    <a:pt x="343" y="473"/>
                  </a:lnTo>
                  <a:lnTo>
                    <a:pt x="338" y="474"/>
                  </a:lnTo>
                  <a:lnTo>
                    <a:pt x="10" y="474"/>
                  </a:lnTo>
                  <a:lnTo>
                    <a:pt x="6" y="473"/>
                  </a:lnTo>
                  <a:lnTo>
                    <a:pt x="3" y="471"/>
                  </a:lnTo>
                  <a:lnTo>
                    <a:pt x="2" y="468"/>
                  </a:lnTo>
                  <a:lnTo>
                    <a:pt x="0" y="464"/>
                  </a:lnTo>
                  <a:lnTo>
                    <a:pt x="0" y="10"/>
                  </a:lnTo>
                  <a:lnTo>
                    <a:pt x="2" y="7"/>
                  </a:lnTo>
                  <a:lnTo>
                    <a:pt x="3" y="2"/>
                  </a:lnTo>
                  <a:lnTo>
                    <a:pt x="6"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1" name="Freeform 434">
              <a:extLst>
                <a:ext uri="{FF2B5EF4-FFF2-40B4-BE49-F238E27FC236}">
                  <a16:creationId xmlns:a16="http://schemas.microsoft.com/office/drawing/2014/main" id="{D0A9C856-7F0B-F818-9035-97D555D4E878}"/>
                </a:ext>
              </a:extLst>
            </p:cNvPr>
            <p:cNvSpPr>
              <a:spLocks/>
            </p:cNvSpPr>
            <p:nvPr/>
          </p:nvSpPr>
          <p:spPr bwMode="auto">
            <a:xfrm>
              <a:off x="694509" y="767486"/>
              <a:ext cx="362475" cy="78598"/>
            </a:xfrm>
            <a:custGeom>
              <a:avLst/>
              <a:gdLst>
                <a:gd name="T0" fmla="*/ 249 w 392"/>
                <a:gd name="T1" fmla="*/ 0 h 85"/>
                <a:gd name="T2" fmla="*/ 382 w 392"/>
                <a:gd name="T3" fmla="*/ 0 h 85"/>
                <a:gd name="T4" fmla="*/ 385 w 392"/>
                <a:gd name="T5" fmla="*/ 2 h 85"/>
                <a:gd name="T6" fmla="*/ 389 w 392"/>
                <a:gd name="T7" fmla="*/ 4 h 85"/>
                <a:gd name="T8" fmla="*/ 391 w 392"/>
                <a:gd name="T9" fmla="*/ 7 h 85"/>
                <a:gd name="T10" fmla="*/ 392 w 392"/>
                <a:gd name="T11" fmla="*/ 12 h 85"/>
                <a:gd name="T12" fmla="*/ 388 w 392"/>
                <a:gd name="T13" fmla="*/ 34 h 85"/>
                <a:gd name="T14" fmla="*/ 378 w 392"/>
                <a:gd name="T15" fmla="*/ 55 h 85"/>
                <a:gd name="T16" fmla="*/ 361 w 392"/>
                <a:gd name="T17" fmla="*/ 71 h 85"/>
                <a:gd name="T18" fmla="*/ 341 w 392"/>
                <a:gd name="T19" fmla="*/ 82 h 85"/>
                <a:gd name="T20" fmla="*/ 317 w 392"/>
                <a:gd name="T21" fmla="*/ 85 h 85"/>
                <a:gd name="T22" fmla="*/ 0 w 392"/>
                <a:gd name="T23" fmla="*/ 85 h 85"/>
                <a:gd name="T24" fmla="*/ 0 w 392"/>
                <a:gd name="T25" fmla="*/ 65 h 85"/>
                <a:gd name="T26" fmla="*/ 317 w 392"/>
                <a:gd name="T27" fmla="*/ 65 h 85"/>
                <a:gd name="T28" fmla="*/ 335 w 392"/>
                <a:gd name="T29" fmla="*/ 61 h 85"/>
                <a:gd name="T30" fmla="*/ 352 w 392"/>
                <a:gd name="T31" fmla="*/ 53 h 85"/>
                <a:gd name="T32" fmla="*/ 364 w 392"/>
                <a:gd name="T33" fmla="*/ 38 h 85"/>
                <a:gd name="T34" fmla="*/ 371 w 392"/>
                <a:gd name="T35" fmla="*/ 21 h 85"/>
                <a:gd name="T36" fmla="*/ 249 w 392"/>
                <a:gd name="T37" fmla="*/ 21 h 85"/>
                <a:gd name="T38" fmla="*/ 249 w 392"/>
                <a:gd name="T3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2" h="85">
                  <a:moveTo>
                    <a:pt x="249" y="0"/>
                  </a:moveTo>
                  <a:lnTo>
                    <a:pt x="382" y="0"/>
                  </a:lnTo>
                  <a:lnTo>
                    <a:pt x="385" y="2"/>
                  </a:lnTo>
                  <a:lnTo>
                    <a:pt x="389" y="4"/>
                  </a:lnTo>
                  <a:lnTo>
                    <a:pt x="391" y="7"/>
                  </a:lnTo>
                  <a:lnTo>
                    <a:pt x="392" y="12"/>
                  </a:lnTo>
                  <a:lnTo>
                    <a:pt x="388" y="34"/>
                  </a:lnTo>
                  <a:lnTo>
                    <a:pt x="378" y="55"/>
                  </a:lnTo>
                  <a:lnTo>
                    <a:pt x="361" y="71"/>
                  </a:lnTo>
                  <a:lnTo>
                    <a:pt x="341" y="82"/>
                  </a:lnTo>
                  <a:lnTo>
                    <a:pt x="317" y="85"/>
                  </a:lnTo>
                  <a:lnTo>
                    <a:pt x="0" y="85"/>
                  </a:lnTo>
                  <a:lnTo>
                    <a:pt x="0" y="65"/>
                  </a:lnTo>
                  <a:lnTo>
                    <a:pt x="317" y="65"/>
                  </a:lnTo>
                  <a:lnTo>
                    <a:pt x="335" y="61"/>
                  </a:lnTo>
                  <a:lnTo>
                    <a:pt x="352" y="53"/>
                  </a:lnTo>
                  <a:lnTo>
                    <a:pt x="364" y="38"/>
                  </a:lnTo>
                  <a:lnTo>
                    <a:pt x="371" y="21"/>
                  </a:lnTo>
                  <a:lnTo>
                    <a:pt x="249" y="21"/>
                  </a:lnTo>
                  <a:lnTo>
                    <a:pt x="249"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2" name="Rectangle 435">
              <a:extLst>
                <a:ext uri="{FF2B5EF4-FFF2-40B4-BE49-F238E27FC236}">
                  <a16:creationId xmlns:a16="http://schemas.microsoft.com/office/drawing/2014/main" id="{77122D90-EE16-8D2B-D9D2-98357ACBEFBA}"/>
                </a:ext>
              </a:extLst>
            </p:cNvPr>
            <p:cNvSpPr>
              <a:spLocks noChangeArrowheads="1"/>
            </p:cNvSpPr>
            <p:nvPr/>
          </p:nvSpPr>
          <p:spPr bwMode="auto">
            <a:xfrm>
              <a:off x="859102" y="716628"/>
              <a:ext cx="24966"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3" name="Rectangle 436">
              <a:extLst>
                <a:ext uri="{FF2B5EF4-FFF2-40B4-BE49-F238E27FC236}">
                  <a16:creationId xmlns:a16="http://schemas.microsoft.com/office/drawing/2014/main" id="{F2FD4E92-0A49-2A8D-05FC-79DDF1DB0DB4}"/>
                </a:ext>
              </a:extLst>
            </p:cNvPr>
            <p:cNvSpPr>
              <a:spLocks noChangeArrowheads="1"/>
            </p:cNvSpPr>
            <p:nvPr/>
          </p:nvSpPr>
          <p:spPr bwMode="auto">
            <a:xfrm>
              <a:off x="679714" y="716628"/>
              <a:ext cx="159970" cy="19418"/>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4" name="Rectangle 437">
              <a:extLst>
                <a:ext uri="{FF2B5EF4-FFF2-40B4-BE49-F238E27FC236}">
                  <a16:creationId xmlns:a16="http://schemas.microsoft.com/office/drawing/2014/main" id="{B0A1BC30-DFF7-6058-4793-E40449F42494}"/>
                </a:ext>
              </a:extLst>
            </p:cNvPr>
            <p:cNvSpPr>
              <a:spLocks noChangeArrowheads="1"/>
            </p:cNvSpPr>
            <p:nvPr/>
          </p:nvSpPr>
          <p:spPr bwMode="auto">
            <a:xfrm>
              <a:off x="859102" y="558508"/>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5" name="Rectangle 438">
              <a:extLst>
                <a:ext uri="{FF2B5EF4-FFF2-40B4-BE49-F238E27FC236}">
                  <a16:creationId xmlns:a16="http://schemas.microsoft.com/office/drawing/2014/main" id="{7FA8ED6C-E19B-671F-3EFE-2CAACA018C71}"/>
                </a:ext>
              </a:extLst>
            </p:cNvPr>
            <p:cNvSpPr>
              <a:spLocks noChangeArrowheads="1"/>
            </p:cNvSpPr>
            <p:nvPr/>
          </p:nvSpPr>
          <p:spPr bwMode="auto">
            <a:xfrm>
              <a:off x="679714" y="558508"/>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6" name="Rectangle 439">
              <a:extLst>
                <a:ext uri="{FF2B5EF4-FFF2-40B4-BE49-F238E27FC236}">
                  <a16:creationId xmlns:a16="http://schemas.microsoft.com/office/drawing/2014/main" id="{7D29D476-F273-375C-B349-DF2561AEAAED}"/>
                </a:ext>
              </a:extLst>
            </p:cNvPr>
            <p:cNvSpPr>
              <a:spLocks noChangeArrowheads="1"/>
            </p:cNvSpPr>
            <p:nvPr/>
          </p:nvSpPr>
          <p:spPr bwMode="auto">
            <a:xfrm>
              <a:off x="859102" y="610290"/>
              <a:ext cx="24966"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7" name="Rectangle 440">
              <a:extLst>
                <a:ext uri="{FF2B5EF4-FFF2-40B4-BE49-F238E27FC236}">
                  <a16:creationId xmlns:a16="http://schemas.microsoft.com/office/drawing/2014/main" id="{667B9DF4-3A19-440E-E526-D1A33B96344F}"/>
                </a:ext>
              </a:extLst>
            </p:cNvPr>
            <p:cNvSpPr>
              <a:spLocks noChangeArrowheads="1"/>
            </p:cNvSpPr>
            <p:nvPr/>
          </p:nvSpPr>
          <p:spPr bwMode="auto">
            <a:xfrm>
              <a:off x="679714" y="610290"/>
              <a:ext cx="159970" cy="20343"/>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8" name="Rectangle 441">
              <a:extLst>
                <a:ext uri="{FF2B5EF4-FFF2-40B4-BE49-F238E27FC236}">
                  <a16:creationId xmlns:a16="http://schemas.microsoft.com/office/drawing/2014/main" id="{C57FABB6-4225-C12F-86A7-CC5A7CC1A157}"/>
                </a:ext>
              </a:extLst>
            </p:cNvPr>
            <p:cNvSpPr>
              <a:spLocks noChangeArrowheads="1"/>
            </p:cNvSpPr>
            <p:nvPr/>
          </p:nvSpPr>
          <p:spPr bwMode="auto">
            <a:xfrm>
              <a:off x="859102" y="663921"/>
              <a:ext cx="24966"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Rectangle 442">
              <a:extLst>
                <a:ext uri="{FF2B5EF4-FFF2-40B4-BE49-F238E27FC236}">
                  <a16:creationId xmlns:a16="http://schemas.microsoft.com/office/drawing/2014/main" id="{72D9264C-943D-69B3-D42B-06FDFFAE064D}"/>
                </a:ext>
              </a:extLst>
            </p:cNvPr>
            <p:cNvSpPr>
              <a:spLocks noChangeArrowheads="1"/>
            </p:cNvSpPr>
            <p:nvPr/>
          </p:nvSpPr>
          <p:spPr bwMode="auto">
            <a:xfrm>
              <a:off x="679714" y="663921"/>
              <a:ext cx="159970"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0" name="Freeform 443">
              <a:extLst>
                <a:ext uri="{FF2B5EF4-FFF2-40B4-BE49-F238E27FC236}">
                  <a16:creationId xmlns:a16="http://schemas.microsoft.com/office/drawing/2014/main" id="{A094FEF4-1E4A-2816-207E-E75FFE1290C9}"/>
                </a:ext>
              </a:extLst>
            </p:cNvPr>
            <p:cNvSpPr>
              <a:spLocks/>
            </p:cNvSpPr>
            <p:nvPr/>
          </p:nvSpPr>
          <p:spPr bwMode="auto">
            <a:xfrm>
              <a:off x="625158" y="444772"/>
              <a:ext cx="57330" cy="86920"/>
            </a:xfrm>
            <a:custGeom>
              <a:avLst/>
              <a:gdLst>
                <a:gd name="T0" fmla="*/ 31 w 62"/>
                <a:gd name="T1" fmla="*/ 0 h 94"/>
                <a:gd name="T2" fmla="*/ 42 w 62"/>
                <a:gd name="T3" fmla="*/ 2 h 94"/>
                <a:gd name="T4" fmla="*/ 52 w 62"/>
                <a:gd name="T5" fmla="*/ 9 h 94"/>
                <a:gd name="T6" fmla="*/ 59 w 62"/>
                <a:gd name="T7" fmla="*/ 19 h 94"/>
                <a:gd name="T8" fmla="*/ 62 w 62"/>
                <a:gd name="T9" fmla="*/ 31 h 94"/>
                <a:gd name="T10" fmla="*/ 62 w 62"/>
                <a:gd name="T11" fmla="*/ 84 h 94"/>
                <a:gd name="T12" fmla="*/ 61 w 62"/>
                <a:gd name="T13" fmla="*/ 87 h 94"/>
                <a:gd name="T14" fmla="*/ 58 w 62"/>
                <a:gd name="T15" fmla="*/ 92 h 94"/>
                <a:gd name="T16" fmla="*/ 55 w 62"/>
                <a:gd name="T17" fmla="*/ 93 h 94"/>
                <a:gd name="T18" fmla="*/ 51 w 62"/>
                <a:gd name="T19" fmla="*/ 94 h 94"/>
                <a:gd name="T20" fmla="*/ 48 w 62"/>
                <a:gd name="T21" fmla="*/ 93 h 94"/>
                <a:gd name="T22" fmla="*/ 44 w 62"/>
                <a:gd name="T23" fmla="*/ 92 h 94"/>
                <a:gd name="T24" fmla="*/ 42 w 62"/>
                <a:gd name="T25" fmla="*/ 87 h 94"/>
                <a:gd name="T26" fmla="*/ 41 w 62"/>
                <a:gd name="T27" fmla="*/ 84 h 94"/>
                <a:gd name="T28" fmla="*/ 41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3 w 62"/>
                <a:gd name="T41" fmla="*/ 24 h 94"/>
                <a:gd name="T42" fmla="*/ 21 w 62"/>
                <a:gd name="T43" fmla="*/ 26 h 94"/>
                <a:gd name="T44" fmla="*/ 20 w 62"/>
                <a:gd name="T45" fmla="*/ 31 h 94"/>
                <a:gd name="T46" fmla="*/ 20 w 62"/>
                <a:gd name="T47" fmla="*/ 58 h 94"/>
                <a:gd name="T48" fmla="*/ 18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0 w 62"/>
                <a:gd name="T61" fmla="*/ 62 h 94"/>
                <a:gd name="T62" fmla="*/ 0 w 62"/>
                <a:gd name="T63" fmla="*/ 58 h 94"/>
                <a:gd name="T64" fmla="*/ 0 w 62"/>
                <a:gd name="T65" fmla="*/ 31 h 94"/>
                <a:gd name="T66" fmla="*/ 1 w 62"/>
                <a:gd name="T67" fmla="*/ 19 h 94"/>
                <a:gd name="T68" fmla="*/ 8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2" y="2"/>
                  </a:lnTo>
                  <a:lnTo>
                    <a:pt x="52" y="9"/>
                  </a:lnTo>
                  <a:lnTo>
                    <a:pt x="59" y="19"/>
                  </a:lnTo>
                  <a:lnTo>
                    <a:pt x="62" y="31"/>
                  </a:lnTo>
                  <a:lnTo>
                    <a:pt x="62" y="84"/>
                  </a:lnTo>
                  <a:lnTo>
                    <a:pt x="61" y="87"/>
                  </a:lnTo>
                  <a:lnTo>
                    <a:pt x="58" y="92"/>
                  </a:lnTo>
                  <a:lnTo>
                    <a:pt x="55" y="93"/>
                  </a:lnTo>
                  <a:lnTo>
                    <a:pt x="51" y="94"/>
                  </a:lnTo>
                  <a:lnTo>
                    <a:pt x="48" y="93"/>
                  </a:lnTo>
                  <a:lnTo>
                    <a:pt x="44" y="92"/>
                  </a:lnTo>
                  <a:lnTo>
                    <a:pt x="42" y="87"/>
                  </a:lnTo>
                  <a:lnTo>
                    <a:pt x="41" y="84"/>
                  </a:lnTo>
                  <a:lnTo>
                    <a:pt x="41" y="31"/>
                  </a:lnTo>
                  <a:lnTo>
                    <a:pt x="41" y="26"/>
                  </a:lnTo>
                  <a:lnTo>
                    <a:pt x="38" y="24"/>
                  </a:lnTo>
                  <a:lnTo>
                    <a:pt x="35" y="21"/>
                  </a:lnTo>
                  <a:lnTo>
                    <a:pt x="31" y="21"/>
                  </a:lnTo>
                  <a:lnTo>
                    <a:pt x="27" y="21"/>
                  </a:lnTo>
                  <a:lnTo>
                    <a:pt x="23" y="24"/>
                  </a:lnTo>
                  <a:lnTo>
                    <a:pt x="21" y="26"/>
                  </a:lnTo>
                  <a:lnTo>
                    <a:pt x="20" y="31"/>
                  </a:lnTo>
                  <a:lnTo>
                    <a:pt x="20" y="58"/>
                  </a:lnTo>
                  <a:lnTo>
                    <a:pt x="18" y="62"/>
                  </a:lnTo>
                  <a:lnTo>
                    <a:pt x="17" y="65"/>
                  </a:lnTo>
                  <a:lnTo>
                    <a:pt x="14" y="67"/>
                  </a:lnTo>
                  <a:lnTo>
                    <a:pt x="10" y="69"/>
                  </a:lnTo>
                  <a:lnTo>
                    <a:pt x="6" y="67"/>
                  </a:lnTo>
                  <a:lnTo>
                    <a:pt x="3" y="65"/>
                  </a:lnTo>
                  <a:lnTo>
                    <a:pt x="0" y="62"/>
                  </a:lnTo>
                  <a:lnTo>
                    <a:pt x="0" y="58"/>
                  </a:lnTo>
                  <a:lnTo>
                    <a:pt x="0" y="31"/>
                  </a:lnTo>
                  <a:lnTo>
                    <a:pt x="1" y="19"/>
                  </a:lnTo>
                  <a:lnTo>
                    <a:pt x="8"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Freeform 444">
              <a:extLst>
                <a:ext uri="{FF2B5EF4-FFF2-40B4-BE49-F238E27FC236}">
                  <a16:creationId xmlns:a16="http://schemas.microsoft.com/office/drawing/2014/main" id="{EB35E7AD-A1EB-83BB-D637-4D3F7072C958}"/>
                </a:ext>
              </a:extLst>
            </p:cNvPr>
            <p:cNvSpPr>
              <a:spLocks/>
            </p:cNvSpPr>
            <p:nvPr/>
          </p:nvSpPr>
          <p:spPr bwMode="auto">
            <a:xfrm>
              <a:off x="700982" y="444772"/>
              <a:ext cx="57330" cy="86920"/>
            </a:xfrm>
            <a:custGeom>
              <a:avLst/>
              <a:gdLst>
                <a:gd name="T0" fmla="*/ 31 w 62"/>
                <a:gd name="T1" fmla="*/ 0 h 94"/>
                <a:gd name="T2" fmla="*/ 44 w 62"/>
                <a:gd name="T3" fmla="*/ 2 h 94"/>
                <a:gd name="T4" fmla="*/ 54 w 62"/>
                <a:gd name="T5" fmla="*/ 9 h 94"/>
                <a:gd name="T6" fmla="*/ 61 w 62"/>
                <a:gd name="T7" fmla="*/ 19 h 94"/>
                <a:gd name="T8" fmla="*/ 62 w 62"/>
                <a:gd name="T9" fmla="*/ 31 h 94"/>
                <a:gd name="T10" fmla="*/ 62 w 62"/>
                <a:gd name="T11" fmla="*/ 84 h 94"/>
                <a:gd name="T12" fmla="*/ 62 w 62"/>
                <a:gd name="T13" fmla="*/ 87 h 94"/>
                <a:gd name="T14" fmla="*/ 59 w 62"/>
                <a:gd name="T15" fmla="*/ 92 h 94"/>
                <a:gd name="T16" fmla="*/ 57 w 62"/>
                <a:gd name="T17" fmla="*/ 93 h 94"/>
                <a:gd name="T18" fmla="*/ 52 w 62"/>
                <a:gd name="T19" fmla="*/ 94 h 94"/>
                <a:gd name="T20" fmla="*/ 48 w 62"/>
                <a:gd name="T21" fmla="*/ 93 h 94"/>
                <a:gd name="T22" fmla="*/ 45 w 62"/>
                <a:gd name="T23" fmla="*/ 92 h 94"/>
                <a:gd name="T24" fmla="*/ 44 w 62"/>
                <a:gd name="T25" fmla="*/ 87 h 94"/>
                <a:gd name="T26" fmla="*/ 43 w 62"/>
                <a:gd name="T27" fmla="*/ 84 h 94"/>
                <a:gd name="T28" fmla="*/ 43 w 62"/>
                <a:gd name="T29" fmla="*/ 31 h 94"/>
                <a:gd name="T30" fmla="*/ 41 w 62"/>
                <a:gd name="T31" fmla="*/ 26 h 94"/>
                <a:gd name="T32" fmla="*/ 40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1 w 62"/>
                <a:gd name="T45" fmla="*/ 31 h 94"/>
                <a:gd name="T46" fmla="*/ 21 w 62"/>
                <a:gd name="T47" fmla="*/ 58 h 94"/>
                <a:gd name="T48" fmla="*/ 20 w 62"/>
                <a:gd name="T49" fmla="*/ 62 h 94"/>
                <a:gd name="T50" fmla="*/ 18 w 62"/>
                <a:gd name="T51" fmla="*/ 65 h 94"/>
                <a:gd name="T52" fmla="*/ 14 w 62"/>
                <a:gd name="T53" fmla="*/ 67 h 94"/>
                <a:gd name="T54" fmla="*/ 11 w 62"/>
                <a:gd name="T55" fmla="*/ 69 h 94"/>
                <a:gd name="T56" fmla="*/ 7 w 62"/>
                <a:gd name="T57" fmla="*/ 67 h 94"/>
                <a:gd name="T58" fmla="*/ 4 w 62"/>
                <a:gd name="T59" fmla="*/ 65 h 94"/>
                <a:gd name="T60" fmla="*/ 1 w 62"/>
                <a:gd name="T61" fmla="*/ 62 h 94"/>
                <a:gd name="T62" fmla="*/ 0 w 62"/>
                <a:gd name="T63" fmla="*/ 58 h 94"/>
                <a:gd name="T64" fmla="*/ 0 w 62"/>
                <a:gd name="T65" fmla="*/ 31 h 94"/>
                <a:gd name="T66" fmla="*/ 3 w 62"/>
                <a:gd name="T67" fmla="*/ 19 h 94"/>
                <a:gd name="T68" fmla="*/ 10 w 62"/>
                <a:gd name="T69" fmla="*/ 9 h 94"/>
                <a:gd name="T70" fmla="*/ 20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1" y="19"/>
                  </a:lnTo>
                  <a:lnTo>
                    <a:pt x="62" y="31"/>
                  </a:lnTo>
                  <a:lnTo>
                    <a:pt x="62" y="84"/>
                  </a:lnTo>
                  <a:lnTo>
                    <a:pt x="62" y="87"/>
                  </a:lnTo>
                  <a:lnTo>
                    <a:pt x="59" y="92"/>
                  </a:lnTo>
                  <a:lnTo>
                    <a:pt x="57" y="93"/>
                  </a:lnTo>
                  <a:lnTo>
                    <a:pt x="52" y="94"/>
                  </a:lnTo>
                  <a:lnTo>
                    <a:pt x="48" y="93"/>
                  </a:lnTo>
                  <a:lnTo>
                    <a:pt x="45" y="92"/>
                  </a:lnTo>
                  <a:lnTo>
                    <a:pt x="44" y="87"/>
                  </a:lnTo>
                  <a:lnTo>
                    <a:pt x="43" y="84"/>
                  </a:lnTo>
                  <a:lnTo>
                    <a:pt x="43" y="31"/>
                  </a:lnTo>
                  <a:lnTo>
                    <a:pt x="41" y="26"/>
                  </a:lnTo>
                  <a:lnTo>
                    <a:pt x="40" y="24"/>
                  </a:lnTo>
                  <a:lnTo>
                    <a:pt x="35" y="21"/>
                  </a:lnTo>
                  <a:lnTo>
                    <a:pt x="31" y="21"/>
                  </a:lnTo>
                  <a:lnTo>
                    <a:pt x="27" y="21"/>
                  </a:lnTo>
                  <a:lnTo>
                    <a:pt x="24" y="24"/>
                  </a:lnTo>
                  <a:lnTo>
                    <a:pt x="21" y="26"/>
                  </a:lnTo>
                  <a:lnTo>
                    <a:pt x="21" y="31"/>
                  </a:lnTo>
                  <a:lnTo>
                    <a:pt x="21" y="58"/>
                  </a:lnTo>
                  <a:lnTo>
                    <a:pt x="20" y="62"/>
                  </a:lnTo>
                  <a:lnTo>
                    <a:pt x="18" y="65"/>
                  </a:lnTo>
                  <a:lnTo>
                    <a:pt x="14" y="67"/>
                  </a:lnTo>
                  <a:lnTo>
                    <a:pt x="11" y="69"/>
                  </a:lnTo>
                  <a:lnTo>
                    <a:pt x="7" y="67"/>
                  </a:lnTo>
                  <a:lnTo>
                    <a:pt x="4" y="65"/>
                  </a:lnTo>
                  <a:lnTo>
                    <a:pt x="1" y="62"/>
                  </a:lnTo>
                  <a:lnTo>
                    <a:pt x="0" y="58"/>
                  </a:lnTo>
                  <a:lnTo>
                    <a:pt x="0" y="31"/>
                  </a:lnTo>
                  <a:lnTo>
                    <a:pt x="3" y="19"/>
                  </a:lnTo>
                  <a:lnTo>
                    <a:pt x="10" y="9"/>
                  </a:lnTo>
                  <a:lnTo>
                    <a:pt x="20"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445">
              <a:extLst>
                <a:ext uri="{FF2B5EF4-FFF2-40B4-BE49-F238E27FC236}">
                  <a16:creationId xmlns:a16="http://schemas.microsoft.com/office/drawing/2014/main" id="{D6A8316F-445C-B4D7-C62E-2E1FB8107272}"/>
                </a:ext>
              </a:extLst>
            </p:cNvPr>
            <p:cNvSpPr>
              <a:spLocks/>
            </p:cNvSpPr>
            <p:nvPr/>
          </p:nvSpPr>
          <p:spPr bwMode="auto">
            <a:xfrm>
              <a:off x="778655" y="444772"/>
              <a:ext cx="57330" cy="86920"/>
            </a:xfrm>
            <a:custGeom>
              <a:avLst/>
              <a:gdLst>
                <a:gd name="T0" fmla="*/ 31 w 62"/>
                <a:gd name="T1" fmla="*/ 0 h 94"/>
                <a:gd name="T2" fmla="*/ 43 w 62"/>
                <a:gd name="T3" fmla="*/ 2 h 94"/>
                <a:gd name="T4" fmla="*/ 53 w 62"/>
                <a:gd name="T5" fmla="*/ 9 h 94"/>
                <a:gd name="T6" fmla="*/ 59 w 62"/>
                <a:gd name="T7" fmla="*/ 19 h 94"/>
                <a:gd name="T8" fmla="*/ 62 w 62"/>
                <a:gd name="T9" fmla="*/ 31 h 94"/>
                <a:gd name="T10" fmla="*/ 62 w 62"/>
                <a:gd name="T11" fmla="*/ 84 h 94"/>
                <a:gd name="T12" fmla="*/ 62 w 62"/>
                <a:gd name="T13" fmla="*/ 87 h 94"/>
                <a:gd name="T14" fmla="*/ 59 w 62"/>
                <a:gd name="T15" fmla="*/ 92 h 94"/>
                <a:gd name="T16" fmla="*/ 56 w 62"/>
                <a:gd name="T17" fmla="*/ 93 h 94"/>
                <a:gd name="T18" fmla="*/ 52 w 62"/>
                <a:gd name="T19" fmla="*/ 94 h 94"/>
                <a:gd name="T20" fmla="*/ 48 w 62"/>
                <a:gd name="T21" fmla="*/ 93 h 94"/>
                <a:gd name="T22" fmla="*/ 45 w 62"/>
                <a:gd name="T23" fmla="*/ 92 h 94"/>
                <a:gd name="T24" fmla="*/ 42 w 62"/>
                <a:gd name="T25" fmla="*/ 87 h 94"/>
                <a:gd name="T26" fmla="*/ 42 w 62"/>
                <a:gd name="T27" fmla="*/ 84 h 94"/>
                <a:gd name="T28" fmla="*/ 42 w 62"/>
                <a:gd name="T29" fmla="*/ 31 h 94"/>
                <a:gd name="T30" fmla="*/ 41 w 62"/>
                <a:gd name="T31" fmla="*/ 26 h 94"/>
                <a:gd name="T32" fmla="*/ 39 w 62"/>
                <a:gd name="T33" fmla="*/ 24 h 94"/>
                <a:gd name="T34" fmla="*/ 35 w 62"/>
                <a:gd name="T35" fmla="*/ 21 h 94"/>
                <a:gd name="T36" fmla="*/ 31 w 62"/>
                <a:gd name="T37" fmla="*/ 21 h 94"/>
                <a:gd name="T38" fmla="*/ 26 w 62"/>
                <a:gd name="T39" fmla="*/ 21 h 94"/>
                <a:gd name="T40" fmla="*/ 24 w 62"/>
                <a:gd name="T41" fmla="*/ 24 h 94"/>
                <a:gd name="T42" fmla="*/ 21 w 62"/>
                <a:gd name="T43" fmla="*/ 26 h 94"/>
                <a:gd name="T44" fmla="*/ 21 w 62"/>
                <a:gd name="T45" fmla="*/ 31 h 94"/>
                <a:gd name="T46" fmla="*/ 21 w 62"/>
                <a:gd name="T47" fmla="*/ 58 h 94"/>
                <a:gd name="T48" fmla="*/ 19 w 62"/>
                <a:gd name="T49" fmla="*/ 62 h 94"/>
                <a:gd name="T50" fmla="*/ 18 w 62"/>
                <a:gd name="T51" fmla="*/ 65 h 94"/>
                <a:gd name="T52" fmla="*/ 14 w 62"/>
                <a:gd name="T53" fmla="*/ 67 h 94"/>
                <a:gd name="T54" fmla="*/ 9 w 62"/>
                <a:gd name="T55" fmla="*/ 69 h 94"/>
                <a:gd name="T56" fmla="*/ 7 w 62"/>
                <a:gd name="T57" fmla="*/ 67 h 94"/>
                <a:gd name="T58" fmla="*/ 2 w 62"/>
                <a:gd name="T59" fmla="*/ 65 h 94"/>
                <a:gd name="T60" fmla="*/ 1 w 62"/>
                <a:gd name="T61" fmla="*/ 62 h 94"/>
                <a:gd name="T62" fmla="*/ 0 w 62"/>
                <a:gd name="T63" fmla="*/ 58 h 94"/>
                <a:gd name="T64" fmla="*/ 0 w 62"/>
                <a:gd name="T65" fmla="*/ 31 h 94"/>
                <a:gd name="T66" fmla="*/ 2 w 62"/>
                <a:gd name="T67" fmla="*/ 19 h 94"/>
                <a:gd name="T68" fmla="*/ 9 w 62"/>
                <a:gd name="T69" fmla="*/ 9 h 94"/>
                <a:gd name="T70" fmla="*/ 19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3" y="2"/>
                  </a:lnTo>
                  <a:lnTo>
                    <a:pt x="53" y="9"/>
                  </a:lnTo>
                  <a:lnTo>
                    <a:pt x="59" y="19"/>
                  </a:lnTo>
                  <a:lnTo>
                    <a:pt x="62" y="31"/>
                  </a:lnTo>
                  <a:lnTo>
                    <a:pt x="62" y="84"/>
                  </a:lnTo>
                  <a:lnTo>
                    <a:pt x="62" y="87"/>
                  </a:lnTo>
                  <a:lnTo>
                    <a:pt x="59" y="92"/>
                  </a:lnTo>
                  <a:lnTo>
                    <a:pt x="56" y="93"/>
                  </a:lnTo>
                  <a:lnTo>
                    <a:pt x="52" y="94"/>
                  </a:lnTo>
                  <a:lnTo>
                    <a:pt x="48" y="93"/>
                  </a:lnTo>
                  <a:lnTo>
                    <a:pt x="45" y="92"/>
                  </a:lnTo>
                  <a:lnTo>
                    <a:pt x="42" y="87"/>
                  </a:lnTo>
                  <a:lnTo>
                    <a:pt x="42" y="84"/>
                  </a:lnTo>
                  <a:lnTo>
                    <a:pt x="42" y="31"/>
                  </a:lnTo>
                  <a:lnTo>
                    <a:pt x="41" y="26"/>
                  </a:lnTo>
                  <a:lnTo>
                    <a:pt x="39" y="24"/>
                  </a:lnTo>
                  <a:lnTo>
                    <a:pt x="35" y="21"/>
                  </a:lnTo>
                  <a:lnTo>
                    <a:pt x="31" y="21"/>
                  </a:lnTo>
                  <a:lnTo>
                    <a:pt x="26" y="21"/>
                  </a:lnTo>
                  <a:lnTo>
                    <a:pt x="24" y="24"/>
                  </a:lnTo>
                  <a:lnTo>
                    <a:pt x="21" y="26"/>
                  </a:lnTo>
                  <a:lnTo>
                    <a:pt x="21" y="31"/>
                  </a:lnTo>
                  <a:lnTo>
                    <a:pt x="21" y="58"/>
                  </a:lnTo>
                  <a:lnTo>
                    <a:pt x="19" y="62"/>
                  </a:lnTo>
                  <a:lnTo>
                    <a:pt x="18" y="65"/>
                  </a:lnTo>
                  <a:lnTo>
                    <a:pt x="14" y="67"/>
                  </a:lnTo>
                  <a:lnTo>
                    <a:pt x="9" y="69"/>
                  </a:lnTo>
                  <a:lnTo>
                    <a:pt x="7" y="67"/>
                  </a:lnTo>
                  <a:lnTo>
                    <a:pt x="2" y="65"/>
                  </a:lnTo>
                  <a:lnTo>
                    <a:pt x="1" y="62"/>
                  </a:lnTo>
                  <a:lnTo>
                    <a:pt x="0" y="58"/>
                  </a:lnTo>
                  <a:lnTo>
                    <a:pt x="0" y="31"/>
                  </a:lnTo>
                  <a:lnTo>
                    <a:pt x="2" y="19"/>
                  </a:lnTo>
                  <a:lnTo>
                    <a:pt x="9" y="9"/>
                  </a:lnTo>
                  <a:lnTo>
                    <a:pt x="19"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446">
              <a:extLst>
                <a:ext uri="{FF2B5EF4-FFF2-40B4-BE49-F238E27FC236}">
                  <a16:creationId xmlns:a16="http://schemas.microsoft.com/office/drawing/2014/main" id="{728A8E77-A01C-A3E9-733D-1B9F5DFF2CB8}"/>
                </a:ext>
              </a:extLst>
            </p:cNvPr>
            <p:cNvSpPr>
              <a:spLocks/>
            </p:cNvSpPr>
            <p:nvPr/>
          </p:nvSpPr>
          <p:spPr bwMode="auto">
            <a:xfrm>
              <a:off x="855404" y="444772"/>
              <a:ext cx="57330" cy="86920"/>
            </a:xfrm>
            <a:custGeom>
              <a:avLst/>
              <a:gdLst>
                <a:gd name="T0" fmla="*/ 31 w 62"/>
                <a:gd name="T1" fmla="*/ 0 h 94"/>
                <a:gd name="T2" fmla="*/ 44 w 62"/>
                <a:gd name="T3" fmla="*/ 2 h 94"/>
                <a:gd name="T4" fmla="*/ 54 w 62"/>
                <a:gd name="T5" fmla="*/ 9 h 94"/>
                <a:gd name="T6" fmla="*/ 60 w 62"/>
                <a:gd name="T7" fmla="*/ 19 h 94"/>
                <a:gd name="T8" fmla="*/ 62 w 62"/>
                <a:gd name="T9" fmla="*/ 31 h 94"/>
                <a:gd name="T10" fmla="*/ 62 w 62"/>
                <a:gd name="T11" fmla="*/ 84 h 94"/>
                <a:gd name="T12" fmla="*/ 61 w 62"/>
                <a:gd name="T13" fmla="*/ 87 h 94"/>
                <a:gd name="T14" fmla="*/ 60 w 62"/>
                <a:gd name="T15" fmla="*/ 92 h 94"/>
                <a:gd name="T16" fmla="*/ 57 w 62"/>
                <a:gd name="T17" fmla="*/ 93 h 94"/>
                <a:gd name="T18" fmla="*/ 52 w 62"/>
                <a:gd name="T19" fmla="*/ 94 h 94"/>
                <a:gd name="T20" fmla="*/ 48 w 62"/>
                <a:gd name="T21" fmla="*/ 93 h 94"/>
                <a:gd name="T22" fmla="*/ 45 w 62"/>
                <a:gd name="T23" fmla="*/ 92 h 94"/>
                <a:gd name="T24" fmla="*/ 43 w 62"/>
                <a:gd name="T25" fmla="*/ 87 h 94"/>
                <a:gd name="T26" fmla="*/ 43 w 62"/>
                <a:gd name="T27" fmla="*/ 84 h 94"/>
                <a:gd name="T28" fmla="*/ 43 w 62"/>
                <a:gd name="T29" fmla="*/ 31 h 94"/>
                <a:gd name="T30" fmla="*/ 41 w 62"/>
                <a:gd name="T31" fmla="*/ 26 h 94"/>
                <a:gd name="T32" fmla="*/ 38 w 62"/>
                <a:gd name="T33" fmla="*/ 24 h 94"/>
                <a:gd name="T34" fmla="*/ 35 w 62"/>
                <a:gd name="T35" fmla="*/ 21 h 94"/>
                <a:gd name="T36" fmla="*/ 31 w 62"/>
                <a:gd name="T37" fmla="*/ 21 h 94"/>
                <a:gd name="T38" fmla="*/ 27 w 62"/>
                <a:gd name="T39" fmla="*/ 21 h 94"/>
                <a:gd name="T40" fmla="*/ 24 w 62"/>
                <a:gd name="T41" fmla="*/ 24 h 94"/>
                <a:gd name="T42" fmla="*/ 21 w 62"/>
                <a:gd name="T43" fmla="*/ 26 h 94"/>
                <a:gd name="T44" fmla="*/ 20 w 62"/>
                <a:gd name="T45" fmla="*/ 31 h 94"/>
                <a:gd name="T46" fmla="*/ 20 w 62"/>
                <a:gd name="T47" fmla="*/ 58 h 94"/>
                <a:gd name="T48" fmla="*/ 20 w 62"/>
                <a:gd name="T49" fmla="*/ 62 h 94"/>
                <a:gd name="T50" fmla="*/ 17 w 62"/>
                <a:gd name="T51" fmla="*/ 65 h 94"/>
                <a:gd name="T52" fmla="*/ 14 w 62"/>
                <a:gd name="T53" fmla="*/ 67 h 94"/>
                <a:gd name="T54" fmla="*/ 10 w 62"/>
                <a:gd name="T55" fmla="*/ 69 h 94"/>
                <a:gd name="T56" fmla="*/ 6 w 62"/>
                <a:gd name="T57" fmla="*/ 67 h 94"/>
                <a:gd name="T58" fmla="*/ 3 w 62"/>
                <a:gd name="T59" fmla="*/ 65 h 94"/>
                <a:gd name="T60" fmla="*/ 1 w 62"/>
                <a:gd name="T61" fmla="*/ 62 h 94"/>
                <a:gd name="T62" fmla="*/ 0 w 62"/>
                <a:gd name="T63" fmla="*/ 58 h 94"/>
                <a:gd name="T64" fmla="*/ 0 w 62"/>
                <a:gd name="T65" fmla="*/ 31 h 94"/>
                <a:gd name="T66" fmla="*/ 3 w 62"/>
                <a:gd name="T67" fmla="*/ 19 h 94"/>
                <a:gd name="T68" fmla="*/ 9 w 62"/>
                <a:gd name="T69" fmla="*/ 9 h 94"/>
                <a:gd name="T70" fmla="*/ 18 w 62"/>
                <a:gd name="T71" fmla="*/ 2 h 94"/>
                <a:gd name="T72" fmla="*/ 31 w 62"/>
                <a:gd name="T7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94">
                  <a:moveTo>
                    <a:pt x="31" y="0"/>
                  </a:moveTo>
                  <a:lnTo>
                    <a:pt x="44" y="2"/>
                  </a:lnTo>
                  <a:lnTo>
                    <a:pt x="54" y="9"/>
                  </a:lnTo>
                  <a:lnTo>
                    <a:pt x="60" y="19"/>
                  </a:lnTo>
                  <a:lnTo>
                    <a:pt x="62" y="31"/>
                  </a:lnTo>
                  <a:lnTo>
                    <a:pt x="62" y="84"/>
                  </a:lnTo>
                  <a:lnTo>
                    <a:pt x="61" y="87"/>
                  </a:lnTo>
                  <a:lnTo>
                    <a:pt x="60" y="92"/>
                  </a:lnTo>
                  <a:lnTo>
                    <a:pt x="57" y="93"/>
                  </a:lnTo>
                  <a:lnTo>
                    <a:pt x="52" y="94"/>
                  </a:lnTo>
                  <a:lnTo>
                    <a:pt x="48" y="93"/>
                  </a:lnTo>
                  <a:lnTo>
                    <a:pt x="45" y="92"/>
                  </a:lnTo>
                  <a:lnTo>
                    <a:pt x="43" y="87"/>
                  </a:lnTo>
                  <a:lnTo>
                    <a:pt x="43" y="84"/>
                  </a:lnTo>
                  <a:lnTo>
                    <a:pt x="43" y="31"/>
                  </a:lnTo>
                  <a:lnTo>
                    <a:pt x="41" y="26"/>
                  </a:lnTo>
                  <a:lnTo>
                    <a:pt x="38" y="24"/>
                  </a:lnTo>
                  <a:lnTo>
                    <a:pt x="35" y="21"/>
                  </a:lnTo>
                  <a:lnTo>
                    <a:pt x="31" y="21"/>
                  </a:lnTo>
                  <a:lnTo>
                    <a:pt x="27" y="21"/>
                  </a:lnTo>
                  <a:lnTo>
                    <a:pt x="24" y="24"/>
                  </a:lnTo>
                  <a:lnTo>
                    <a:pt x="21" y="26"/>
                  </a:lnTo>
                  <a:lnTo>
                    <a:pt x="20" y="31"/>
                  </a:lnTo>
                  <a:lnTo>
                    <a:pt x="20" y="58"/>
                  </a:lnTo>
                  <a:lnTo>
                    <a:pt x="20" y="62"/>
                  </a:lnTo>
                  <a:lnTo>
                    <a:pt x="17" y="65"/>
                  </a:lnTo>
                  <a:lnTo>
                    <a:pt x="14" y="67"/>
                  </a:lnTo>
                  <a:lnTo>
                    <a:pt x="10" y="69"/>
                  </a:lnTo>
                  <a:lnTo>
                    <a:pt x="6" y="67"/>
                  </a:lnTo>
                  <a:lnTo>
                    <a:pt x="3" y="65"/>
                  </a:lnTo>
                  <a:lnTo>
                    <a:pt x="1" y="62"/>
                  </a:lnTo>
                  <a:lnTo>
                    <a:pt x="0" y="58"/>
                  </a:lnTo>
                  <a:lnTo>
                    <a:pt x="0" y="31"/>
                  </a:lnTo>
                  <a:lnTo>
                    <a:pt x="3" y="19"/>
                  </a:lnTo>
                  <a:lnTo>
                    <a:pt x="9" y="9"/>
                  </a:lnTo>
                  <a:lnTo>
                    <a:pt x="18" y="2"/>
                  </a:lnTo>
                  <a:lnTo>
                    <a:pt x="31"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4" name="Freeform 447">
              <a:extLst>
                <a:ext uri="{FF2B5EF4-FFF2-40B4-BE49-F238E27FC236}">
                  <a16:creationId xmlns:a16="http://schemas.microsoft.com/office/drawing/2014/main" id="{D05EADA3-BBED-CBFB-93E1-6032882155AA}"/>
                </a:ext>
              </a:extLst>
            </p:cNvPr>
            <p:cNvSpPr>
              <a:spLocks noEditPoints="1"/>
            </p:cNvSpPr>
            <p:nvPr/>
          </p:nvSpPr>
          <p:spPr bwMode="auto">
            <a:xfrm>
              <a:off x="968215" y="389291"/>
              <a:ext cx="69351" cy="312542"/>
            </a:xfrm>
            <a:custGeom>
              <a:avLst/>
              <a:gdLst>
                <a:gd name="T0" fmla="*/ 37 w 75"/>
                <a:gd name="T1" fmla="*/ 58 h 338"/>
                <a:gd name="T2" fmla="*/ 20 w 75"/>
                <a:gd name="T3" fmla="*/ 103 h 338"/>
                <a:gd name="T4" fmla="*/ 20 w 75"/>
                <a:gd name="T5" fmla="*/ 319 h 338"/>
                <a:gd name="T6" fmla="*/ 54 w 75"/>
                <a:gd name="T7" fmla="*/ 319 h 338"/>
                <a:gd name="T8" fmla="*/ 54 w 75"/>
                <a:gd name="T9" fmla="*/ 103 h 338"/>
                <a:gd name="T10" fmla="*/ 37 w 75"/>
                <a:gd name="T11" fmla="*/ 58 h 338"/>
                <a:gd name="T12" fmla="*/ 37 w 75"/>
                <a:gd name="T13" fmla="*/ 0 h 338"/>
                <a:gd name="T14" fmla="*/ 75 w 75"/>
                <a:gd name="T15" fmla="*/ 101 h 338"/>
                <a:gd name="T16" fmla="*/ 75 w 75"/>
                <a:gd name="T17" fmla="*/ 338 h 338"/>
                <a:gd name="T18" fmla="*/ 0 w 75"/>
                <a:gd name="T19" fmla="*/ 338 h 338"/>
                <a:gd name="T20" fmla="*/ 0 w 75"/>
                <a:gd name="T21" fmla="*/ 101 h 338"/>
                <a:gd name="T22" fmla="*/ 37 w 75"/>
                <a:gd name="T2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38">
                  <a:moveTo>
                    <a:pt x="37" y="58"/>
                  </a:moveTo>
                  <a:lnTo>
                    <a:pt x="20" y="103"/>
                  </a:lnTo>
                  <a:lnTo>
                    <a:pt x="20" y="319"/>
                  </a:lnTo>
                  <a:lnTo>
                    <a:pt x="54" y="319"/>
                  </a:lnTo>
                  <a:lnTo>
                    <a:pt x="54" y="103"/>
                  </a:lnTo>
                  <a:lnTo>
                    <a:pt x="37" y="58"/>
                  </a:lnTo>
                  <a:close/>
                  <a:moveTo>
                    <a:pt x="37" y="0"/>
                  </a:moveTo>
                  <a:lnTo>
                    <a:pt x="75" y="101"/>
                  </a:lnTo>
                  <a:lnTo>
                    <a:pt x="75" y="338"/>
                  </a:lnTo>
                  <a:lnTo>
                    <a:pt x="0" y="338"/>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 name="Freeform 448">
              <a:extLst>
                <a:ext uri="{FF2B5EF4-FFF2-40B4-BE49-F238E27FC236}">
                  <a16:creationId xmlns:a16="http://schemas.microsoft.com/office/drawing/2014/main" id="{2BF66031-C9D1-F522-101D-40FBE97984C6}"/>
                </a:ext>
              </a:extLst>
            </p:cNvPr>
            <p:cNvSpPr>
              <a:spLocks/>
            </p:cNvSpPr>
            <p:nvPr/>
          </p:nvSpPr>
          <p:spPr bwMode="auto">
            <a:xfrm>
              <a:off x="968215" y="389291"/>
              <a:ext cx="69351" cy="304220"/>
            </a:xfrm>
            <a:custGeom>
              <a:avLst/>
              <a:gdLst>
                <a:gd name="T0" fmla="*/ 37 w 75"/>
                <a:gd name="T1" fmla="*/ 0 h 329"/>
                <a:gd name="T2" fmla="*/ 75 w 75"/>
                <a:gd name="T3" fmla="*/ 101 h 329"/>
                <a:gd name="T4" fmla="*/ 75 w 75"/>
                <a:gd name="T5" fmla="*/ 329 h 329"/>
                <a:gd name="T6" fmla="*/ 54 w 75"/>
                <a:gd name="T7" fmla="*/ 329 h 329"/>
                <a:gd name="T8" fmla="*/ 54 w 75"/>
                <a:gd name="T9" fmla="*/ 103 h 329"/>
                <a:gd name="T10" fmla="*/ 37 w 75"/>
                <a:gd name="T11" fmla="*/ 58 h 329"/>
                <a:gd name="T12" fmla="*/ 20 w 75"/>
                <a:gd name="T13" fmla="*/ 103 h 329"/>
                <a:gd name="T14" fmla="*/ 20 w 75"/>
                <a:gd name="T15" fmla="*/ 329 h 329"/>
                <a:gd name="T16" fmla="*/ 0 w 75"/>
                <a:gd name="T17" fmla="*/ 329 h 329"/>
                <a:gd name="T18" fmla="*/ 0 w 75"/>
                <a:gd name="T19" fmla="*/ 101 h 329"/>
                <a:gd name="T20" fmla="*/ 37 w 75"/>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9">
                  <a:moveTo>
                    <a:pt x="37" y="0"/>
                  </a:moveTo>
                  <a:lnTo>
                    <a:pt x="75" y="101"/>
                  </a:lnTo>
                  <a:lnTo>
                    <a:pt x="75" y="329"/>
                  </a:lnTo>
                  <a:lnTo>
                    <a:pt x="54" y="329"/>
                  </a:lnTo>
                  <a:lnTo>
                    <a:pt x="54" y="103"/>
                  </a:lnTo>
                  <a:lnTo>
                    <a:pt x="37" y="58"/>
                  </a:lnTo>
                  <a:lnTo>
                    <a:pt x="20" y="103"/>
                  </a:lnTo>
                  <a:lnTo>
                    <a:pt x="20" y="329"/>
                  </a:lnTo>
                  <a:lnTo>
                    <a:pt x="0" y="329"/>
                  </a:lnTo>
                  <a:lnTo>
                    <a:pt x="0" y="101"/>
                  </a:lnTo>
                  <a:lnTo>
                    <a:pt x="37"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449">
              <a:extLst>
                <a:ext uri="{FF2B5EF4-FFF2-40B4-BE49-F238E27FC236}">
                  <a16:creationId xmlns:a16="http://schemas.microsoft.com/office/drawing/2014/main" id="{307E38D7-48FC-7EDA-0CC9-7AF335C76F64}"/>
                </a:ext>
              </a:extLst>
            </p:cNvPr>
            <p:cNvSpPr>
              <a:spLocks/>
            </p:cNvSpPr>
            <p:nvPr/>
          </p:nvSpPr>
          <p:spPr bwMode="auto">
            <a:xfrm>
              <a:off x="993181" y="388366"/>
              <a:ext cx="18494" cy="37912"/>
            </a:xfrm>
            <a:custGeom>
              <a:avLst/>
              <a:gdLst>
                <a:gd name="T0" fmla="*/ 10 w 20"/>
                <a:gd name="T1" fmla="*/ 0 h 41"/>
                <a:gd name="T2" fmla="*/ 14 w 20"/>
                <a:gd name="T3" fmla="*/ 1 h 41"/>
                <a:gd name="T4" fmla="*/ 17 w 20"/>
                <a:gd name="T5" fmla="*/ 2 h 41"/>
                <a:gd name="T6" fmla="*/ 20 w 20"/>
                <a:gd name="T7" fmla="*/ 5 h 41"/>
                <a:gd name="T8" fmla="*/ 20 w 20"/>
                <a:gd name="T9" fmla="*/ 10 h 41"/>
                <a:gd name="T10" fmla="*/ 20 w 20"/>
                <a:gd name="T11" fmla="*/ 31 h 41"/>
                <a:gd name="T12" fmla="*/ 20 w 20"/>
                <a:gd name="T13" fmla="*/ 35 h 41"/>
                <a:gd name="T14" fmla="*/ 17 w 20"/>
                <a:gd name="T15" fmla="*/ 38 h 41"/>
                <a:gd name="T16" fmla="*/ 14 w 20"/>
                <a:gd name="T17" fmla="*/ 39 h 41"/>
                <a:gd name="T18" fmla="*/ 10 w 20"/>
                <a:gd name="T19" fmla="*/ 41 h 41"/>
                <a:gd name="T20" fmla="*/ 5 w 20"/>
                <a:gd name="T21" fmla="*/ 39 h 41"/>
                <a:gd name="T22" fmla="*/ 3 w 20"/>
                <a:gd name="T23" fmla="*/ 38 h 41"/>
                <a:gd name="T24" fmla="*/ 1 w 20"/>
                <a:gd name="T25" fmla="*/ 35 h 41"/>
                <a:gd name="T26" fmla="*/ 0 w 20"/>
                <a:gd name="T27" fmla="*/ 31 h 41"/>
                <a:gd name="T28" fmla="*/ 0 w 20"/>
                <a:gd name="T29" fmla="*/ 10 h 41"/>
                <a:gd name="T30" fmla="*/ 1 w 20"/>
                <a:gd name="T31" fmla="*/ 5 h 41"/>
                <a:gd name="T32" fmla="*/ 3 w 20"/>
                <a:gd name="T33" fmla="*/ 2 h 41"/>
                <a:gd name="T34" fmla="*/ 5 w 20"/>
                <a:gd name="T35" fmla="*/ 1 h 41"/>
                <a:gd name="T36" fmla="*/ 10 w 20"/>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41">
                  <a:moveTo>
                    <a:pt x="10" y="0"/>
                  </a:moveTo>
                  <a:lnTo>
                    <a:pt x="14" y="1"/>
                  </a:lnTo>
                  <a:lnTo>
                    <a:pt x="17" y="2"/>
                  </a:lnTo>
                  <a:lnTo>
                    <a:pt x="20" y="5"/>
                  </a:lnTo>
                  <a:lnTo>
                    <a:pt x="20" y="10"/>
                  </a:lnTo>
                  <a:lnTo>
                    <a:pt x="20" y="31"/>
                  </a:lnTo>
                  <a:lnTo>
                    <a:pt x="20" y="35"/>
                  </a:lnTo>
                  <a:lnTo>
                    <a:pt x="17" y="38"/>
                  </a:lnTo>
                  <a:lnTo>
                    <a:pt x="14" y="39"/>
                  </a:lnTo>
                  <a:lnTo>
                    <a:pt x="10" y="41"/>
                  </a:lnTo>
                  <a:lnTo>
                    <a:pt x="5" y="39"/>
                  </a:lnTo>
                  <a:lnTo>
                    <a:pt x="3" y="38"/>
                  </a:lnTo>
                  <a:lnTo>
                    <a:pt x="1" y="35"/>
                  </a:lnTo>
                  <a:lnTo>
                    <a:pt x="0" y="31"/>
                  </a:lnTo>
                  <a:lnTo>
                    <a:pt x="0" y="10"/>
                  </a:lnTo>
                  <a:lnTo>
                    <a:pt x="1" y="5"/>
                  </a:lnTo>
                  <a:lnTo>
                    <a:pt x="3" y="2"/>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450">
              <a:extLst>
                <a:ext uri="{FF2B5EF4-FFF2-40B4-BE49-F238E27FC236}">
                  <a16:creationId xmlns:a16="http://schemas.microsoft.com/office/drawing/2014/main" id="{7E8992EE-B365-D2C4-F791-DD46B6990F0C}"/>
                </a:ext>
              </a:extLst>
            </p:cNvPr>
            <p:cNvSpPr>
              <a:spLocks noEditPoints="1"/>
            </p:cNvSpPr>
            <p:nvPr/>
          </p:nvSpPr>
          <p:spPr bwMode="auto">
            <a:xfrm>
              <a:off x="968215" y="684264"/>
              <a:ext cx="69351" cy="62878"/>
            </a:xfrm>
            <a:custGeom>
              <a:avLst/>
              <a:gdLst>
                <a:gd name="T0" fmla="*/ 20 w 75"/>
                <a:gd name="T1" fmla="*/ 19 h 68"/>
                <a:gd name="T2" fmla="*/ 20 w 75"/>
                <a:gd name="T3" fmla="*/ 48 h 68"/>
                <a:gd name="T4" fmla="*/ 54 w 75"/>
                <a:gd name="T5" fmla="*/ 48 h 68"/>
                <a:gd name="T6" fmla="*/ 54 w 75"/>
                <a:gd name="T7" fmla="*/ 19 h 68"/>
                <a:gd name="T8" fmla="*/ 20 w 75"/>
                <a:gd name="T9" fmla="*/ 19 h 68"/>
                <a:gd name="T10" fmla="*/ 10 w 75"/>
                <a:gd name="T11" fmla="*/ 0 h 68"/>
                <a:gd name="T12" fmla="*/ 64 w 75"/>
                <a:gd name="T13" fmla="*/ 0 h 68"/>
                <a:gd name="T14" fmla="*/ 68 w 75"/>
                <a:gd name="T15" fmla="*/ 0 h 68"/>
                <a:gd name="T16" fmla="*/ 72 w 75"/>
                <a:gd name="T17" fmla="*/ 2 h 68"/>
                <a:gd name="T18" fmla="*/ 73 w 75"/>
                <a:gd name="T19" fmla="*/ 5 h 68"/>
                <a:gd name="T20" fmla="*/ 75 w 75"/>
                <a:gd name="T21" fmla="*/ 10 h 68"/>
                <a:gd name="T22" fmla="*/ 75 w 75"/>
                <a:gd name="T23" fmla="*/ 58 h 68"/>
                <a:gd name="T24" fmla="*/ 73 w 75"/>
                <a:gd name="T25" fmla="*/ 62 h 68"/>
                <a:gd name="T26" fmla="*/ 72 w 75"/>
                <a:gd name="T27" fmla="*/ 65 h 68"/>
                <a:gd name="T28" fmla="*/ 68 w 75"/>
                <a:gd name="T29" fmla="*/ 68 h 68"/>
                <a:gd name="T30" fmla="*/ 64 w 75"/>
                <a:gd name="T31" fmla="*/ 68 h 68"/>
                <a:gd name="T32" fmla="*/ 10 w 75"/>
                <a:gd name="T33" fmla="*/ 68 h 68"/>
                <a:gd name="T34" fmla="*/ 5 w 75"/>
                <a:gd name="T35" fmla="*/ 68 h 68"/>
                <a:gd name="T36" fmla="*/ 3 w 75"/>
                <a:gd name="T37" fmla="*/ 65 h 68"/>
                <a:gd name="T38" fmla="*/ 0 w 75"/>
                <a:gd name="T39" fmla="*/ 62 h 68"/>
                <a:gd name="T40" fmla="*/ 0 w 75"/>
                <a:gd name="T41" fmla="*/ 58 h 68"/>
                <a:gd name="T42" fmla="*/ 0 w 75"/>
                <a:gd name="T43" fmla="*/ 10 h 68"/>
                <a:gd name="T44" fmla="*/ 0 w 75"/>
                <a:gd name="T45" fmla="*/ 5 h 68"/>
                <a:gd name="T46" fmla="*/ 3 w 75"/>
                <a:gd name="T47" fmla="*/ 2 h 68"/>
                <a:gd name="T48" fmla="*/ 5 w 75"/>
                <a:gd name="T49" fmla="*/ 0 h 68"/>
                <a:gd name="T50" fmla="*/ 10 w 75"/>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8">
                  <a:moveTo>
                    <a:pt x="20" y="19"/>
                  </a:moveTo>
                  <a:lnTo>
                    <a:pt x="20" y="48"/>
                  </a:lnTo>
                  <a:lnTo>
                    <a:pt x="54" y="48"/>
                  </a:lnTo>
                  <a:lnTo>
                    <a:pt x="54" y="19"/>
                  </a:lnTo>
                  <a:lnTo>
                    <a:pt x="20" y="19"/>
                  </a:lnTo>
                  <a:close/>
                  <a:moveTo>
                    <a:pt x="10" y="0"/>
                  </a:moveTo>
                  <a:lnTo>
                    <a:pt x="64" y="0"/>
                  </a:lnTo>
                  <a:lnTo>
                    <a:pt x="68" y="0"/>
                  </a:lnTo>
                  <a:lnTo>
                    <a:pt x="72" y="2"/>
                  </a:lnTo>
                  <a:lnTo>
                    <a:pt x="73" y="5"/>
                  </a:lnTo>
                  <a:lnTo>
                    <a:pt x="75" y="10"/>
                  </a:lnTo>
                  <a:lnTo>
                    <a:pt x="75" y="58"/>
                  </a:lnTo>
                  <a:lnTo>
                    <a:pt x="73" y="62"/>
                  </a:lnTo>
                  <a:lnTo>
                    <a:pt x="72" y="65"/>
                  </a:lnTo>
                  <a:lnTo>
                    <a:pt x="68" y="68"/>
                  </a:lnTo>
                  <a:lnTo>
                    <a:pt x="64" y="68"/>
                  </a:lnTo>
                  <a:lnTo>
                    <a:pt x="10" y="68"/>
                  </a:lnTo>
                  <a:lnTo>
                    <a:pt x="5" y="68"/>
                  </a:lnTo>
                  <a:lnTo>
                    <a:pt x="3" y="65"/>
                  </a:lnTo>
                  <a:lnTo>
                    <a:pt x="0" y="62"/>
                  </a:lnTo>
                  <a:lnTo>
                    <a:pt x="0" y="58"/>
                  </a:lnTo>
                  <a:lnTo>
                    <a:pt x="0" y="10"/>
                  </a:lnTo>
                  <a:lnTo>
                    <a:pt x="0" y="5"/>
                  </a:lnTo>
                  <a:lnTo>
                    <a:pt x="3" y="2"/>
                  </a:lnTo>
                  <a:lnTo>
                    <a:pt x="5" y="0"/>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451">
              <a:extLst>
                <a:ext uri="{FF2B5EF4-FFF2-40B4-BE49-F238E27FC236}">
                  <a16:creationId xmlns:a16="http://schemas.microsoft.com/office/drawing/2014/main" id="{3F9FEDB4-4E7F-3921-3895-B27D11AE70A1}"/>
                </a:ext>
              </a:extLst>
            </p:cNvPr>
            <p:cNvSpPr>
              <a:spLocks/>
            </p:cNvSpPr>
            <p:nvPr/>
          </p:nvSpPr>
          <p:spPr bwMode="auto">
            <a:xfrm>
              <a:off x="968215" y="646352"/>
              <a:ext cx="69351" cy="19418"/>
            </a:xfrm>
            <a:custGeom>
              <a:avLst/>
              <a:gdLst>
                <a:gd name="T0" fmla="*/ 10 w 75"/>
                <a:gd name="T1" fmla="*/ 0 h 21"/>
                <a:gd name="T2" fmla="*/ 64 w 75"/>
                <a:gd name="T3" fmla="*/ 0 h 21"/>
                <a:gd name="T4" fmla="*/ 68 w 75"/>
                <a:gd name="T5" fmla="*/ 1 h 21"/>
                <a:gd name="T6" fmla="*/ 72 w 75"/>
                <a:gd name="T7" fmla="*/ 4 h 21"/>
                <a:gd name="T8" fmla="*/ 73 w 75"/>
                <a:gd name="T9" fmla="*/ 7 h 21"/>
                <a:gd name="T10" fmla="*/ 75 w 75"/>
                <a:gd name="T11" fmla="*/ 11 h 21"/>
                <a:gd name="T12" fmla="*/ 73 w 75"/>
                <a:gd name="T13" fmla="*/ 14 h 21"/>
                <a:gd name="T14" fmla="*/ 72 w 75"/>
                <a:gd name="T15" fmla="*/ 18 h 21"/>
                <a:gd name="T16" fmla="*/ 68 w 75"/>
                <a:gd name="T17" fmla="*/ 19 h 21"/>
                <a:gd name="T18" fmla="*/ 64 w 75"/>
                <a:gd name="T19" fmla="*/ 21 h 21"/>
                <a:gd name="T20" fmla="*/ 10 w 75"/>
                <a:gd name="T21" fmla="*/ 21 h 21"/>
                <a:gd name="T22" fmla="*/ 5 w 75"/>
                <a:gd name="T23" fmla="*/ 19 h 21"/>
                <a:gd name="T24" fmla="*/ 3 w 75"/>
                <a:gd name="T25" fmla="*/ 18 h 21"/>
                <a:gd name="T26" fmla="*/ 0 w 75"/>
                <a:gd name="T27" fmla="*/ 14 h 21"/>
                <a:gd name="T28" fmla="*/ 0 w 75"/>
                <a:gd name="T29" fmla="*/ 11 h 21"/>
                <a:gd name="T30" fmla="*/ 0 w 75"/>
                <a:gd name="T31" fmla="*/ 7 h 21"/>
                <a:gd name="T32" fmla="*/ 3 w 75"/>
                <a:gd name="T33" fmla="*/ 4 h 21"/>
                <a:gd name="T34" fmla="*/ 5 w 75"/>
                <a:gd name="T35" fmla="*/ 1 h 21"/>
                <a:gd name="T36" fmla="*/ 10 w 75"/>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10" y="0"/>
                  </a:moveTo>
                  <a:lnTo>
                    <a:pt x="64" y="0"/>
                  </a:lnTo>
                  <a:lnTo>
                    <a:pt x="68" y="1"/>
                  </a:lnTo>
                  <a:lnTo>
                    <a:pt x="72" y="4"/>
                  </a:lnTo>
                  <a:lnTo>
                    <a:pt x="73" y="7"/>
                  </a:lnTo>
                  <a:lnTo>
                    <a:pt x="75" y="11"/>
                  </a:lnTo>
                  <a:lnTo>
                    <a:pt x="73" y="14"/>
                  </a:lnTo>
                  <a:lnTo>
                    <a:pt x="72" y="18"/>
                  </a:lnTo>
                  <a:lnTo>
                    <a:pt x="68" y="19"/>
                  </a:lnTo>
                  <a:lnTo>
                    <a:pt x="64" y="21"/>
                  </a:lnTo>
                  <a:lnTo>
                    <a:pt x="10" y="21"/>
                  </a:lnTo>
                  <a:lnTo>
                    <a:pt x="5" y="19"/>
                  </a:lnTo>
                  <a:lnTo>
                    <a:pt x="3" y="18"/>
                  </a:lnTo>
                  <a:lnTo>
                    <a:pt x="0" y="14"/>
                  </a:lnTo>
                  <a:lnTo>
                    <a:pt x="0" y="11"/>
                  </a:lnTo>
                  <a:lnTo>
                    <a:pt x="0" y="7"/>
                  </a:lnTo>
                  <a:lnTo>
                    <a:pt x="3" y="4"/>
                  </a:lnTo>
                  <a:lnTo>
                    <a:pt x="5" y="1"/>
                  </a:lnTo>
                  <a:lnTo>
                    <a:pt x="10"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Rectangle 452">
              <a:extLst>
                <a:ext uri="{FF2B5EF4-FFF2-40B4-BE49-F238E27FC236}">
                  <a16:creationId xmlns:a16="http://schemas.microsoft.com/office/drawing/2014/main" id="{FF6BE1A5-2C86-4969-6AD0-4C1C454A2DC8}"/>
                </a:ext>
              </a:extLst>
            </p:cNvPr>
            <p:cNvSpPr>
              <a:spLocks noChangeArrowheads="1"/>
            </p:cNvSpPr>
            <p:nvPr/>
          </p:nvSpPr>
          <p:spPr bwMode="auto">
            <a:xfrm>
              <a:off x="977462" y="474362"/>
              <a:ext cx="49933" cy="18494"/>
            </a:xfrm>
            <a:prstGeom prst="rect">
              <a:avLst/>
            </a:prstGeom>
            <a:solidFill>
              <a:srgbClr val="CF002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Grupa 29">
            <a:extLst>
              <a:ext uri="{FF2B5EF4-FFF2-40B4-BE49-F238E27FC236}">
                <a16:creationId xmlns:a16="http://schemas.microsoft.com/office/drawing/2014/main" id="{E7DF3692-56ED-553E-7FEA-238512A71294}"/>
              </a:ext>
            </a:extLst>
          </p:cNvPr>
          <p:cNvGrpSpPr/>
          <p:nvPr/>
        </p:nvGrpSpPr>
        <p:grpSpPr>
          <a:xfrm>
            <a:off x="1121943" y="2188674"/>
            <a:ext cx="5790028" cy="3017313"/>
            <a:chOff x="430822" y="1683775"/>
            <a:chExt cx="5790028" cy="3017313"/>
          </a:xfrm>
        </p:grpSpPr>
        <p:sp>
          <p:nvSpPr>
            <p:cNvPr id="31" name="pole tekstowe 5">
              <a:extLst>
                <a:ext uri="{FF2B5EF4-FFF2-40B4-BE49-F238E27FC236}">
                  <a16:creationId xmlns:a16="http://schemas.microsoft.com/office/drawing/2014/main" id="{DDADEDF7-5BB3-17B5-E2A3-28336A83BE34}"/>
                </a:ext>
              </a:extLst>
            </p:cNvPr>
            <p:cNvSpPr txBox="1">
              <a:spLocks noChangeArrowheads="1"/>
            </p:cNvSpPr>
            <p:nvPr/>
          </p:nvSpPr>
          <p:spPr bwMode="auto">
            <a:xfrm>
              <a:off x="3787410" y="1683775"/>
              <a:ext cx="1332000" cy="900000"/>
            </a:xfrm>
            <a:prstGeom prst="rect">
              <a:avLst/>
            </a:prstGeom>
            <a:solidFill>
              <a:schemeClr val="bg1"/>
            </a:solidFill>
            <a:ln w="9525">
              <a:headEnd/>
              <a:tailEnd/>
            </a:ln>
          </p:spPr>
          <p:style>
            <a:lnRef idx="2">
              <a:schemeClr val="accent1"/>
            </a:lnRef>
            <a:fillRef idx="1">
              <a:schemeClr val="lt1"/>
            </a:fillRef>
            <a:effectRef idx="0">
              <a:schemeClr val="accent1"/>
            </a:effectRef>
            <a:fontRef idx="minor">
              <a:schemeClr val="dk1"/>
            </a:fontRef>
          </p:style>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0" i="0" u="none" strike="noStrike" cap="none" spc="0" normalizeH="0" baseline="0">
                  <a:ln>
                    <a:noFill/>
                  </a:ln>
                  <a:solidFill>
                    <a:srgbClr val="636B7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pl-PL" sz="1400" b="0" i="0" u="none" strike="noStrike" kern="1200" cap="none" spc="0" normalizeH="0" baseline="0" noProof="0" dirty="0">
                <a:ln>
                  <a:noFill/>
                </a:ln>
                <a:solidFill>
                  <a:srgbClr val="636B71"/>
                </a:solidFill>
                <a:effectLst/>
                <a:uLnTx/>
                <a:uFillTx/>
                <a:latin typeface="Calibri"/>
                <a:ea typeface="ＭＳ Ｐゴシック" pitchFamily="34" charset="-128"/>
                <a:cs typeface="Times New Roman" pitchFamily="18" charset="0"/>
              </a:endParaRPr>
            </a:p>
          </p:txBody>
        </p:sp>
        <p:sp>
          <p:nvSpPr>
            <p:cNvPr id="32" name="pole tekstowe 31">
              <a:extLst>
                <a:ext uri="{FF2B5EF4-FFF2-40B4-BE49-F238E27FC236}">
                  <a16:creationId xmlns:a16="http://schemas.microsoft.com/office/drawing/2014/main" id="{CDFD816F-9A38-8828-FF2D-293042E01991}"/>
                </a:ext>
              </a:extLst>
            </p:cNvPr>
            <p:cNvSpPr txBox="1"/>
            <p:nvPr/>
          </p:nvSpPr>
          <p:spPr>
            <a:xfrm>
              <a:off x="4227078" y="2926735"/>
              <a:ext cx="92483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1</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lang="pl-PL" sz="1200" kern="0" dirty="0" err="1">
                  <a:solidFill>
                    <a:prstClr val="black">
                      <a:lumMod val="65000"/>
                      <a:lumOff val="35000"/>
                    </a:prstClr>
                  </a:solidFill>
                  <a:latin typeface="Calibri"/>
                  <a:ea typeface="ＭＳ Ｐゴシック" pitchFamily="34" charset="-128"/>
                  <a:cs typeface="Times New Roman" pitchFamily="18" charset="0"/>
                </a:rPr>
                <a:t>Credit</a:t>
              </a:r>
              <a:r>
                <a:rPr lang="pl-PL" sz="1200" kern="0" dirty="0">
                  <a:solidFill>
                    <a:prstClr val="black">
                      <a:lumMod val="65000"/>
                      <a:lumOff val="35000"/>
                    </a:prstClr>
                  </a:solidFill>
                  <a:latin typeface="Calibri"/>
                  <a:ea typeface="ＭＳ Ｐゴシック" pitchFamily="34" charset="-128"/>
                  <a:cs typeface="Times New Roman" pitchFamily="18" charset="0"/>
                </a:rPr>
                <a:t> Agreement</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3" name="pole tekstowe 32">
              <a:extLst>
                <a:ext uri="{FF2B5EF4-FFF2-40B4-BE49-F238E27FC236}">
                  <a16:creationId xmlns:a16="http://schemas.microsoft.com/office/drawing/2014/main" id="{24076735-A916-19B0-0660-1ABB34033558}"/>
                </a:ext>
              </a:extLst>
            </p:cNvPr>
            <p:cNvSpPr txBox="1"/>
            <p:nvPr/>
          </p:nvSpPr>
          <p:spPr>
            <a:xfrm>
              <a:off x="3023472" y="2736497"/>
              <a:ext cx="92913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1200" b="1" kern="0" dirty="0">
                  <a:solidFill>
                    <a:prstClr val="black">
                      <a:lumMod val="65000"/>
                      <a:lumOff val="35000"/>
                    </a:prstClr>
                  </a:solidFill>
                  <a:latin typeface="Calibri"/>
                  <a:ea typeface="ＭＳ Ｐゴシック" pitchFamily="34" charset="-128"/>
                  <a:cs typeface="Times New Roman" pitchFamily="18" charset="0"/>
                </a:rPr>
                <a:t>5</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Credi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repaymen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4" name="pole tekstowe 33">
              <a:extLst>
                <a:ext uri="{FF2B5EF4-FFF2-40B4-BE49-F238E27FC236}">
                  <a16:creationId xmlns:a16="http://schemas.microsoft.com/office/drawing/2014/main" id="{3FB8DA8B-FD47-2C39-B901-B56703819956}"/>
                </a:ext>
              </a:extLst>
            </p:cNvPr>
            <p:cNvSpPr txBox="1"/>
            <p:nvPr/>
          </p:nvSpPr>
          <p:spPr>
            <a:xfrm>
              <a:off x="5102269" y="3295427"/>
              <a:ext cx="111858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1200" b="1" kern="0" dirty="0">
                  <a:solidFill>
                    <a:prstClr val="black">
                      <a:lumMod val="65000"/>
                      <a:lumOff val="35000"/>
                    </a:prstClr>
                  </a:solidFill>
                  <a:latin typeface="Calibri"/>
                  <a:ea typeface="ＭＳ Ｐゴシック" pitchFamily="34" charset="-128"/>
                  <a:cs typeface="Times New Roman" pitchFamily="18" charset="0"/>
                </a:rPr>
                <a:t>3</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Credi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dsibursement</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35" name="pole tekstowe 5">
              <a:extLst>
                <a:ext uri="{FF2B5EF4-FFF2-40B4-BE49-F238E27FC236}">
                  <a16:creationId xmlns:a16="http://schemas.microsoft.com/office/drawing/2014/main" id="{04F191DE-1D7B-DF45-E2E4-6E575A0A315C}"/>
                </a:ext>
              </a:extLst>
            </p:cNvPr>
            <p:cNvSpPr txBox="1">
              <a:spLocks noChangeArrowheads="1"/>
            </p:cNvSpPr>
            <p:nvPr/>
          </p:nvSpPr>
          <p:spPr bwMode="auto">
            <a:xfrm>
              <a:off x="438525" y="2780505"/>
              <a:ext cx="1332000" cy="900003"/>
            </a:xfrm>
            <a:prstGeom prst="rect">
              <a:avLst/>
            </a:prstGeom>
            <a:solidFill>
              <a:srgbClr val="D9D9D9"/>
            </a:solidFill>
            <a:ln w="25400" cap="flat" cmpd="sng" algn="ctr">
              <a:noFill/>
              <a:prstDash val="solid"/>
              <a:headEnd/>
              <a:tailEnd/>
            </a:ln>
            <a:effectLst/>
          </p:spPr>
          <p:style>
            <a:lnRef idx="2">
              <a:schemeClr val="accent1"/>
            </a:lnRef>
            <a:fillRef idx="1">
              <a:schemeClr val="lt1"/>
            </a:fillRef>
            <a:effectRef idx="0">
              <a:schemeClr val="accent1"/>
            </a:effectRef>
            <a:fontRef idx="minor">
              <a:schemeClr val="dk1"/>
            </a:fontRef>
          </p:style>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algn="ctr" defTabSz="914400" eaLnBrk="1" hangingPunct="1">
                <a:spcBef>
                  <a:spcPct val="0"/>
                </a:spcBef>
                <a:defRPr/>
              </a:pPr>
              <a:r>
                <a:rPr lang="pl-PL" altLang="pl-PL" sz="1400" b="1" kern="0" dirty="0" err="1">
                  <a:solidFill>
                    <a:prstClr val="black">
                      <a:lumMod val="65000"/>
                      <a:lumOff val="35000"/>
                    </a:prstClr>
                  </a:solidFill>
                  <a:latin typeface="Calibri"/>
                </a:rPr>
                <a:t>Foreign</a:t>
              </a:r>
              <a:r>
                <a:rPr lang="pl-PL" altLang="pl-PL" sz="1400" b="1" kern="0" dirty="0">
                  <a:solidFill>
                    <a:prstClr val="black">
                      <a:lumMod val="65000"/>
                      <a:lumOff val="35000"/>
                    </a:prstClr>
                  </a:solidFill>
                  <a:latin typeface="Calibri"/>
                </a:rPr>
                <a:t> </a:t>
              </a:r>
              <a:r>
                <a:rPr lang="pl-PL" altLang="pl-PL" sz="1400" b="1" kern="0" dirty="0" err="1">
                  <a:solidFill>
                    <a:prstClr val="black">
                      <a:lumMod val="65000"/>
                      <a:lumOff val="35000"/>
                    </a:prstClr>
                  </a:solidFill>
                  <a:latin typeface="Calibri"/>
                </a:rPr>
                <a:t>subsidiary</a:t>
              </a:r>
              <a:endParaRPr lang="en-US" altLang="pl-PL" sz="1400" b="1" kern="0" dirty="0">
                <a:solidFill>
                  <a:prstClr val="black">
                    <a:lumMod val="65000"/>
                    <a:lumOff val="35000"/>
                  </a:prstClr>
                </a:solidFill>
                <a:latin typeface="Calibri"/>
              </a:endParaRPr>
            </a:p>
          </p:txBody>
        </p:sp>
        <p:sp>
          <p:nvSpPr>
            <p:cNvPr id="36" name="pole tekstowe 5">
              <a:extLst>
                <a:ext uri="{FF2B5EF4-FFF2-40B4-BE49-F238E27FC236}">
                  <a16:creationId xmlns:a16="http://schemas.microsoft.com/office/drawing/2014/main" id="{C282443D-A85C-20C6-16A3-E9FECBAFBFCB}"/>
                </a:ext>
              </a:extLst>
            </p:cNvPr>
            <p:cNvSpPr txBox="1">
              <a:spLocks noChangeArrowheads="1"/>
            </p:cNvSpPr>
            <p:nvPr/>
          </p:nvSpPr>
          <p:spPr bwMode="auto">
            <a:xfrm>
              <a:off x="438525" y="1731905"/>
              <a:ext cx="1332000" cy="900003"/>
            </a:xfrm>
            <a:prstGeom prst="rect">
              <a:avLst/>
            </a:prstGeom>
            <a:solidFill>
              <a:srgbClr val="D9D9D9"/>
            </a:solidFill>
            <a:ln w="25400" cap="flat" cmpd="sng" algn="ctr">
              <a:noFill/>
              <a:prstDash val="solid"/>
              <a:headEnd/>
              <a:tailEnd/>
            </a:ln>
            <a:effectLst/>
          </p:spPr>
          <p:style>
            <a:lnRef idx="2">
              <a:schemeClr val="accent1"/>
            </a:lnRef>
            <a:fillRef idx="1">
              <a:schemeClr val="lt1"/>
            </a:fillRef>
            <a:effectRef idx="0">
              <a:schemeClr val="accent1"/>
            </a:effectRef>
            <a:fontRef idx="minor">
              <a:schemeClr val="dk1"/>
            </a:fontRef>
          </p:style>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pl-PL" sz="1400" b="1"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Foreign</a:t>
              </a:r>
              <a:r>
                <a:rPr kumimoji="0" lang="pl-PL" altLang="pl-PL" sz="1400" b="1" i="0" u="none" strike="noStrike" kern="0" cap="none" spc="0" normalizeH="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altLang="pl-PL" sz="1400" b="1" i="0" u="none" strike="noStrike" kern="0" cap="none" spc="0" normalizeH="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subsidiary</a:t>
              </a:r>
              <a:endParaRPr kumimoji="0" lang="en-US" altLang="pl-PL" sz="14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cxnSp>
          <p:nvCxnSpPr>
            <p:cNvPr id="37" name="Łącznik prosty ze strzałką 36">
              <a:extLst>
                <a:ext uri="{FF2B5EF4-FFF2-40B4-BE49-F238E27FC236}">
                  <a16:creationId xmlns:a16="http://schemas.microsoft.com/office/drawing/2014/main" id="{99F29E0E-EED6-39E6-54D3-8BB96B97413F}"/>
                </a:ext>
              </a:extLst>
            </p:cNvPr>
            <p:cNvCxnSpPr>
              <a:stCxn id="41" idx="1"/>
            </p:cNvCxnSpPr>
            <p:nvPr/>
          </p:nvCxnSpPr>
          <p:spPr>
            <a:xfrm flipH="1">
              <a:off x="1757197" y="4251088"/>
              <a:ext cx="2030213" cy="0"/>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Łącznik prosty ze strzałką 37">
              <a:extLst>
                <a:ext uri="{FF2B5EF4-FFF2-40B4-BE49-F238E27FC236}">
                  <a16:creationId xmlns:a16="http://schemas.microsoft.com/office/drawing/2014/main" id="{C9CD4ECD-F8D7-CD19-FB86-2E2227AC36CB}"/>
                </a:ext>
              </a:extLst>
            </p:cNvPr>
            <p:cNvCxnSpPr/>
            <p:nvPr/>
          </p:nvCxnSpPr>
          <p:spPr>
            <a:xfrm flipH="1" flipV="1">
              <a:off x="1824161" y="3245249"/>
              <a:ext cx="1963249" cy="994264"/>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cxnSp>
          <p:nvCxnSpPr>
            <p:cNvPr id="39" name="Łącznik prosty ze strzałką 38">
              <a:extLst>
                <a:ext uri="{FF2B5EF4-FFF2-40B4-BE49-F238E27FC236}">
                  <a16:creationId xmlns:a16="http://schemas.microsoft.com/office/drawing/2014/main" id="{A0AF2D13-B113-65C8-769A-53C3A7FC56CC}"/>
                </a:ext>
              </a:extLst>
            </p:cNvPr>
            <p:cNvCxnSpPr/>
            <p:nvPr/>
          </p:nvCxnSpPr>
          <p:spPr>
            <a:xfrm flipH="1" flipV="1">
              <a:off x="1824161" y="2292523"/>
              <a:ext cx="1963249" cy="1946990"/>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sp>
          <p:nvSpPr>
            <p:cNvPr id="40" name="pole tekstowe 39">
              <a:extLst>
                <a:ext uri="{FF2B5EF4-FFF2-40B4-BE49-F238E27FC236}">
                  <a16:creationId xmlns:a16="http://schemas.microsoft.com/office/drawing/2014/main" id="{5970FE9C-4E3E-6814-B1CF-704A7D04712F}"/>
                </a:ext>
              </a:extLst>
            </p:cNvPr>
            <p:cNvSpPr txBox="1"/>
            <p:nvPr/>
          </p:nvSpPr>
          <p:spPr>
            <a:xfrm>
              <a:off x="1699469" y="4340659"/>
              <a:ext cx="21509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pl-PL" sz="1200" b="1" kern="0" dirty="0">
                  <a:solidFill>
                    <a:prstClr val="black">
                      <a:lumMod val="65000"/>
                      <a:lumOff val="35000"/>
                    </a:prstClr>
                  </a:solidFill>
                  <a:latin typeface="Calibri"/>
                  <a:ea typeface="ＭＳ Ｐゴシック" pitchFamily="34" charset="-128"/>
                  <a:cs typeface="Times New Roman" pitchFamily="18" charset="0"/>
                </a:rPr>
                <a:t>4</a:t>
              </a:r>
              <a:r>
                <a:rPr kumimoji="0" lang="pl-PL" sz="12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Cash </a:t>
              </a:r>
              <a:r>
                <a:rPr kumimoji="0" 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flow</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41" name="pole tekstowe 5">
              <a:extLst>
                <a:ext uri="{FF2B5EF4-FFF2-40B4-BE49-F238E27FC236}">
                  <a16:creationId xmlns:a16="http://schemas.microsoft.com/office/drawing/2014/main" id="{C6C0926A-C943-7858-56FB-E5927D355A9A}"/>
                </a:ext>
              </a:extLst>
            </p:cNvPr>
            <p:cNvSpPr txBox="1">
              <a:spLocks noChangeArrowheads="1"/>
            </p:cNvSpPr>
            <p:nvPr/>
          </p:nvSpPr>
          <p:spPr bwMode="auto">
            <a:xfrm>
              <a:off x="3787410" y="3801088"/>
              <a:ext cx="1332000" cy="900000"/>
            </a:xfrm>
            <a:prstGeom prst="rect">
              <a:avLst/>
            </a:prstGeom>
            <a:solidFill>
              <a:schemeClr val="tx2"/>
            </a:solidFill>
            <a:ln w="15875">
              <a:noFill/>
              <a:headEnd/>
              <a:tailEnd/>
            </a:ln>
          </p:spPr>
          <p:style>
            <a:lnRef idx="2">
              <a:schemeClr val="accent1"/>
            </a:lnRef>
            <a:fillRef idx="1">
              <a:schemeClr val="lt1"/>
            </a:fillRef>
            <a:effectRef idx="0">
              <a:schemeClr val="accent1"/>
            </a:effectRef>
            <a:fontRef idx="minor">
              <a:schemeClr val="dk1"/>
            </a:fontRef>
          </p:style>
          <p:txBody>
            <a:bodyPr wrap="square" anchor="ctr">
              <a:noAutofit/>
            </a:bodyPr>
            <a:lstStyle>
              <a:defPPr>
                <a:defRPr lang="en-US"/>
              </a:defPPr>
              <a:lvl1pPr marR="0" lvl="0" indent="0" algn="ctr" fontAlgn="auto">
                <a:lnSpc>
                  <a:spcPct val="100000"/>
                </a:lnSpc>
                <a:spcBef>
                  <a:spcPct val="0"/>
                </a:spcBef>
                <a:spcAft>
                  <a:spcPts val="0"/>
                </a:spcAft>
                <a:buClrTx/>
                <a:buSzTx/>
                <a:buFontTx/>
                <a:buNone/>
                <a:tabLst/>
                <a:defRPr kumimoji="0" sz="1400" b="1" i="0" u="none" strike="noStrike" cap="none" spc="0" normalizeH="0" baseline="0">
                  <a:ln>
                    <a:noFill/>
                  </a:ln>
                  <a:solidFill>
                    <a:schemeClr val="bg1"/>
                  </a:solidFill>
                  <a:effectLst/>
                  <a:uLnTx/>
                  <a:uFillTx/>
                  <a:latin typeface="+mj-lt"/>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pl-PL" sz="1400" b="1" i="0" u="none" strike="noStrike" kern="1200" cap="none" spc="0" normalizeH="0" baseline="0" noProof="0" dirty="0" err="1">
                  <a:ln>
                    <a:noFill/>
                  </a:ln>
                  <a:solidFill>
                    <a:srgbClr val="FFFFFF"/>
                  </a:solidFill>
                  <a:effectLst/>
                  <a:uLnTx/>
                  <a:uFillTx/>
                  <a:latin typeface="Calibri"/>
                  <a:ea typeface="ＭＳ Ｐゴシック" pitchFamily="34" charset="-128"/>
                  <a:cs typeface="Times New Roman" pitchFamily="18" charset="0"/>
                </a:rPr>
                <a:t>Polish</a:t>
              </a:r>
              <a:r>
                <a:rPr kumimoji="0" lang="pl-PL" altLang="pl-PL" sz="1400" b="1" i="0" u="none" strike="noStrike" kern="1200" cap="none" spc="0" normalizeH="0" baseline="0" noProof="0" dirty="0">
                  <a:ln>
                    <a:noFill/>
                  </a:ln>
                  <a:solidFill>
                    <a:srgbClr val="FFFFFF"/>
                  </a:solidFill>
                  <a:effectLst/>
                  <a:uLnTx/>
                  <a:uFillTx/>
                  <a:latin typeface="Calibri"/>
                  <a:ea typeface="ＭＳ Ｐゴシック" pitchFamily="34" charset="-128"/>
                  <a:cs typeface="Times New Roman" pitchFamily="18" charset="0"/>
                </a:rPr>
                <a: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pl-PL" sz="1400" b="1" i="0" u="none" strike="noStrike" kern="1200" cap="none" spc="0" normalizeH="0" baseline="0" noProof="0" dirty="0">
                  <a:ln>
                    <a:noFill/>
                  </a:ln>
                  <a:solidFill>
                    <a:srgbClr val="FFFFFF"/>
                  </a:solidFill>
                  <a:effectLst/>
                  <a:uLnTx/>
                  <a:uFillTx/>
                  <a:latin typeface="Calibri"/>
                  <a:ea typeface="ＭＳ Ｐゴシック" pitchFamily="34" charset="-128"/>
                  <a:cs typeface="Times New Roman" pitchFamily="18" charset="0"/>
                </a:rPr>
                <a:t>Investor</a:t>
              </a:r>
              <a:endParaRPr kumimoji="0" lang="en-US" altLang="pl-PL" sz="1400" b="1" i="0" u="none" strike="noStrike" kern="1200" cap="none" spc="0" normalizeH="0" baseline="0" noProof="0" dirty="0">
                <a:ln>
                  <a:noFill/>
                </a:ln>
                <a:solidFill>
                  <a:srgbClr val="FFFFFF"/>
                </a:solidFill>
                <a:effectLst/>
                <a:uLnTx/>
                <a:uFillTx/>
                <a:latin typeface="Calibri"/>
                <a:ea typeface="ＭＳ Ｐゴシック" pitchFamily="34" charset="-128"/>
                <a:cs typeface="Times New Roman" pitchFamily="18" charset="0"/>
              </a:endParaRPr>
            </a:p>
          </p:txBody>
        </p:sp>
        <p:grpSp>
          <p:nvGrpSpPr>
            <p:cNvPr id="42" name="Grupa 41">
              <a:extLst>
                <a:ext uri="{FF2B5EF4-FFF2-40B4-BE49-F238E27FC236}">
                  <a16:creationId xmlns:a16="http://schemas.microsoft.com/office/drawing/2014/main" id="{07156A13-F2E8-405E-44CB-20B6AB801A45}"/>
                </a:ext>
              </a:extLst>
            </p:cNvPr>
            <p:cNvGrpSpPr/>
            <p:nvPr/>
          </p:nvGrpSpPr>
          <p:grpSpPr>
            <a:xfrm>
              <a:off x="3952606" y="2615678"/>
              <a:ext cx="1087750" cy="1150817"/>
              <a:chOff x="4027096" y="2246280"/>
              <a:chExt cx="1087750" cy="1258765"/>
            </a:xfrm>
          </p:grpSpPr>
          <p:cxnSp>
            <p:nvCxnSpPr>
              <p:cNvPr id="45" name="Łącznik prosty ze strzałką 44">
                <a:extLst>
                  <a:ext uri="{FF2B5EF4-FFF2-40B4-BE49-F238E27FC236}">
                    <a16:creationId xmlns:a16="http://schemas.microsoft.com/office/drawing/2014/main" id="{55DA2BD2-DB2D-552D-DD0B-F8CB4264BCD7}"/>
                  </a:ext>
                </a:extLst>
              </p:cNvPr>
              <p:cNvCxnSpPr/>
              <p:nvPr/>
            </p:nvCxnSpPr>
            <p:spPr>
              <a:xfrm>
                <a:off x="4338709" y="2246281"/>
                <a:ext cx="0" cy="1253304"/>
              </a:xfrm>
              <a:prstGeom prst="straightConnector1">
                <a:avLst/>
              </a:prstGeom>
              <a:ln w="9525">
                <a:solidFill>
                  <a:srgbClr val="B60024"/>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Łącznik prosty ze strzałką 45">
                <a:extLst>
                  <a:ext uri="{FF2B5EF4-FFF2-40B4-BE49-F238E27FC236}">
                    <a16:creationId xmlns:a16="http://schemas.microsoft.com/office/drawing/2014/main" id="{982390E1-4D5B-7A58-2EF4-A1E9317959DB}"/>
                  </a:ext>
                </a:extLst>
              </p:cNvPr>
              <p:cNvCxnSpPr/>
              <p:nvPr/>
            </p:nvCxnSpPr>
            <p:spPr>
              <a:xfrm flipV="1">
                <a:off x="4027096" y="2246281"/>
                <a:ext cx="0" cy="1258764"/>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Łącznik prosty ze strzałką 46">
                <a:extLst>
                  <a:ext uri="{FF2B5EF4-FFF2-40B4-BE49-F238E27FC236}">
                    <a16:creationId xmlns:a16="http://schemas.microsoft.com/office/drawing/2014/main" id="{B22E2BAD-D5A5-6296-D05B-08CA0BCCB5CE}"/>
                  </a:ext>
                </a:extLst>
              </p:cNvPr>
              <p:cNvCxnSpPr/>
              <p:nvPr/>
            </p:nvCxnSpPr>
            <p:spPr>
              <a:xfrm>
                <a:off x="5114846" y="2246280"/>
                <a:ext cx="0" cy="1258765"/>
              </a:xfrm>
              <a:prstGeom prst="straightConnector1">
                <a:avLst/>
              </a:prstGeom>
              <a:ln w="9525">
                <a:solidFill>
                  <a:srgbClr val="B60024"/>
                </a:solidFill>
                <a:tailEnd type="triangle"/>
              </a:ln>
            </p:spPr>
            <p:style>
              <a:lnRef idx="1">
                <a:schemeClr val="accent1"/>
              </a:lnRef>
              <a:fillRef idx="0">
                <a:schemeClr val="accent1"/>
              </a:fillRef>
              <a:effectRef idx="0">
                <a:schemeClr val="accent1"/>
              </a:effectRef>
              <a:fontRef idx="minor">
                <a:schemeClr val="tx1"/>
              </a:fontRef>
            </p:style>
          </p:cxnSp>
        </p:grpSp>
        <p:pic>
          <p:nvPicPr>
            <p:cNvPr id="43" name="Picture 2" descr="N:\BANK\DK\Nowa identyfikacja final\Znaki\05 RGB\BGK_Logo-RGB.jpg">
              <a:extLst>
                <a:ext uri="{FF2B5EF4-FFF2-40B4-BE49-F238E27FC236}">
                  <a16:creationId xmlns:a16="http://schemas.microsoft.com/office/drawing/2014/main" id="{62C2D8E5-758F-0D10-F80A-1EBFCC9FD3F2}"/>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20086" y="1751502"/>
              <a:ext cx="1059626" cy="799733"/>
            </a:xfrm>
            <a:prstGeom prst="rect">
              <a:avLst/>
            </a:prstGeom>
            <a:noFill/>
            <a:extLst>
              <a:ext uri="{909E8E84-426E-40DD-AFC4-6F175D3DCCD1}">
                <a14:hiddenFill xmlns:a14="http://schemas.microsoft.com/office/drawing/2010/main">
                  <a:solidFill>
                    <a:srgbClr val="FFFFFF"/>
                  </a:solidFill>
                </a14:hiddenFill>
              </a:ext>
            </a:extLst>
          </p:spPr>
        </p:pic>
        <p:sp>
          <p:nvSpPr>
            <p:cNvPr id="44" name="pole tekstowe 5">
              <a:extLst>
                <a:ext uri="{FF2B5EF4-FFF2-40B4-BE49-F238E27FC236}">
                  <a16:creationId xmlns:a16="http://schemas.microsoft.com/office/drawing/2014/main" id="{9DE41F0F-12A9-6373-3201-4ED30C24600E}"/>
                </a:ext>
              </a:extLst>
            </p:cNvPr>
            <p:cNvSpPr txBox="1">
              <a:spLocks noChangeArrowheads="1"/>
            </p:cNvSpPr>
            <p:nvPr/>
          </p:nvSpPr>
          <p:spPr bwMode="auto">
            <a:xfrm>
              <a:off x="430822" y="3781103"/>
              <a:ext cx="1332000" cy="900003"/>
            </a:xfrm>
            <a:prstGeom prst="rect">
              <a:avLst/>
            </a:prstGeom>
            <a:solidFill>
              <a:srgbClr val="D9D9D9"/>
            </a:solidFill>
            <a:ln w="25400" cap="flat" cmpd="sng" algn="ctr">
              <a:noFill/>
              <a:prstDash val="solid"/>
              <a:headEnd/>
              <a:tailEnd/>
            </a:ln>
            <a:effectLst/>
          </p:spPr>
          <p:style>
            <a:lnRef idx="2">
              <a:schemeClr val="accent1"/>
            </a:lnRef>
            <a:fillRef idx="1">
              <a:schemeClr val="lt1"/>
            </a:fillRef>
            <a:effectRef idx="0">
              <a:schemeClr val="accent1"/>
            </a:effectRef>
            <a:fontRef idx="minor">
              <a:schemeClr val="dk1"/>
            </a:fontRef>
          </p:style>
          <p:txBody>
            <a:bodyPr wrap="square" anchor="ctr">
              <a:no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lvl="0" algn="ctr" defTabSz="914400" eaLnBrk="1" hangingPunct="1">
                <a:spcBef>
                  <a:spcPct val="0"/>
                </a:spcBef>
                <a:defRPr/>
              </a:pPr>
              <a:r>
                <a:rPr lang="pl-PL" altLang="pl-PL" sz="1400" b="1" kern="0" dirty="0" err="1">
                  <a:solidFill>
                    <a:prstClr val="black">
                      <a:lumMod val="65000"/>
                      <a:lumOff val="35000"/>
                    </a:prstClr>
                  </a:solidFill>
                  <a:latin typeface="Calibri"/>
                </a:rPr>
                <a:t>Foreign</a:t>
              </a:r>
              <a:r>
                <a:rPr lang="pl-PL" altLang="pl-PL" sz="1400" b="1" kern="0" dirty="0">
                  <a:solidFill>
                    <a:prstClr val="black">
                      <a:lumMod val="65000"/>
                      <a:lumOff val="35000"/>
                    </a:prstClr>
                  </a:solidFill>
                  <a:latin typeface="Calibri"/>
                </a:rPr>
                <a:t> </a:t>
              </a:r>
              <a:r>
                <a:rPr lang="pl-PL" altLang="pl-PL" sz="1400" b="1" kern="0" dirty="0" err="1">
                  <a:solidFill>
                    <a:prstClr val="black">
                      <a:lumMod val="65000"/>
                      <a:lumOff val="35000"/>
                    </a:prstClr>
                  </a:solidFill>
                  <a:latin typeface="Calibri"/>
                </a:rPr>
                <a:t>subsidiary</a:t>
              </a:r>
              <a:endParaRPr lang="en-US" altLang="pl-PL" sz="1400" b="1" kern="0" dirty="0">
                <a:solidFill>
                  <a:prstClr val="black">
                    <a:lumMod val="65000"/>
                    <a:lumOff val="35000"/>
                  </a:prstClr>
                </a:solidFill>
                <a:latin typeface="Calibri"/>
              </a:endParaRPr>
            </a:p>
          </p:txBody>
        </p:sp>
      </p:grpSp>
      <p:grpSp>
        <p:nvGrpSpPr>
          <p:cNvPr id="48" name="Grupa 47">
            <a:extLst>
              <a:ext uri="{FF2B5EF4-FFF2-40B4-BE49-F238E27FC236}">
                <a16:creationId xmlns:a16="http://schemas.microsoft.com/office/drawing/2014/main" id="{6923D053-65B7-5549-278C-B213B9263846}"/>
              </a:ext>
            </a:extLst>
          </p:cNvPr>
          <p:cNvGrpSpPr/>
          <p:nvPr/>
        </p:nvGrpSpPr>
        <p:grpSpPr>
          <a:xfrm>
            <a:off x="6038078" y="1480254"/>
            <a:ext cx="1777203" cy="591356"/>
            <a:chOff x="6949285" y="1407528"/>
            <a:chExt cx="1777203" cy="591356"/>
          </a:xfrm>
        </p:grpSpPr>
        <p:grpSp>
          <p:nvGrpSpPr>
            <p:cNvPr id="49" name="Grupa 48">
              <a:extLst>
                <a:ext uri="{FF2B5EF4-FFF2-40B4-BE49-F238E27FC236}">
                  <a16:creationId xmlns:a16="http://schemas.microsoft.com/office/drawing/2014/main" id="{E66357D8-BFB7-3445-6EC7-B7C189053936}"/>
                </a:ext>
              </a:extLst>
            </p:cNvPr>
            <p:cNvGrpSpPr/>
            <p:nvPr/>
          </p:nvGrpSpPr>
          <p:grpSpPr>
            <a:xfrm>
              <a:off x="7468487" y="1407528"/>
              <a:ext cx="1258001" cy="591356"/>
              <a:chOff x="7258012" y="5531374"/>
              <a:chExt cx="2305050" cy="591356"/>
            </a:xfrm>
          </p:grpSpPr>
          <p:sp>
            <p:nvSpPr>
              <p:cNvPr id="52" name="pole tekstowe 32">
                <a:extLst>
                  <a:ext uri="{FF2B5EF4-FFF2-40B4-BE49-F238E27FC236}">
                    <a16:creationId xmlns:a16="http://schemas.microsoft.com/office/drawing/2014/main" id="{742BC329-1411-FFBE-7E3B-107677E8BDF3}"/>
                  </a:ext>
                </a:extLst>
              </p:cNvPr>
              <p:cNvSpPr txBox="1">
                <a:spLocks noChangeArrowheads="1"/>
              </p:cNvSpPr>
              <p:nvPr/>
            </p:nvSpPr>
            <p:spPr bwMode="auto">
              <a:xfrm>
                <a:off x="7258012" y="5531374"/>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alt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Cash </a:t>
                </a:r>
                <a:r>
                  <a:rPr kumimoji="0" lang="pl-PL" altLang="pl-PL" sz="1200" b="0" i="0" u="none" strike="noStrike" kern="0" cap="none" spc="0" normalizeH="0" baseline="0" noProof="0" dirty="0" err="1">
                    <a:ln>
                      <a:noFill/>
                    </a:ln>
                    <a:solidFill>
                      <a:prstClr val="black">
                        <a:lumMod val="65000"/>
                        <a:lumOff val="35000"/>
                      </a:prstClr>
                    </a:solidFill>
                    <a:effectLst/>
                    <a:uLnTx/>
                    <a:uFillTx/>
                    <a:latin typeface="Calibri"/>
                    <a:ea typeface="ＭＳ Ｐゴシック" pitchFamily="34" charset="-128"/>
                    <a:cs typeface="Times New Roman" pitchFamily="18" charset="0"/>
                  </a:rPr>
                  <a:t>flow</a:t>
                </a:r>
                <a:endParaRPr kumimoji="0" lang="en-US" alt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sp>
            <p:nvSpPr>
              <p:cNvPr id="53" name="pole tekstowe 35">
                <a:extLst>
                  <a:ext uri="{FF2B5EF4-FFF2-40B4-BE49-F238E27FC236}">
                    <a16:creationId xmlns:a16="http://schemas.microsoft.com/office/drawing/2014/main" id="{9F0F5681-D9CB-B15B-5A33-0970ED23004F}"/>
                  </a:ext>
                </a:extLst>
              </p:cNvPr>
              <p:cNvSpPr txBox="1">
                <a:spLocks noChangeArrowheads="1"/>
              </p:cNvSpPr>
              <p:nvPr/>
            </p:nvSpPr>
            <p:spPr bwMode="auto">
              <a:xfrm>
                <a:off x="7258012" y="5846505"/>
                <a:ext cx="230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000">
                    <a:solidFill>
                      <a:srgbClr val="58595A"/>
                    </a:solidFill>
                    <a:latin typeface="Arial" charset="0"/>
                    <a:ea typeface="ＭＳ Ｐゴシック" pitchFamily="34" charset="-128"/>
                    <a:cs typeface="Times New Roman" pitchFamily="18" charset="0"/>
                  </a:defRPr>
                </a:lvl1pPr>
                <a:lvl2pPr marL="742950" indent="-28575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2pPr>
                <a:lvl3pPr marL="11430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3pPr>
                <a:lvl4pPr marL="16002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4pPr>
                <a:lvl5pPr marL="2057400" indent="-228600" eaLnBrk="0" hangingPunct="0">
                  <a:spcBef>
                    <a:spcPct val="20000"/>
                  </a:spcBef>
                  <a:buClr>
                    <a:srgbClr val="B60024"/>
                  </a:buClr>
                  <a:buChar char="»"/>
                  <a:defRPr sz="1400">
                    <a:solidFill>
                      <a:srgbClr val="58595A"/>
                    </a:solidFill>
                    <a:latin typeface="Arial" charset="0"/>
                    <a:ea typeface="Times New Roman" pitchFamily="18" charset="0"/>
                    <a:cs typeface="Times New Roman" pitchFamily="18" charset="0"/>
                  </a:defRPr>
                </a:lvl5pPr>
                <a:lvl6pPr marL="25146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6pPr>
                <a:lvl7pPr marL="29718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7pPr>
                <a:lvl8pPr marL="34290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8pPr>
                <a:lvl9pPr marL="3886200" indent="-228600" eaLnBrk="0" fontAlgn="base" hangingPunct="0">
                  <a:spcBef>
                    <a:spcPct val="20000"/>
                  </a:spcBef>
                  <a:spcAft>
                    <a:spcPct val="0"/>
                  </a:spcAft>
                  <a:buClr>
                    <a:srgbClr val="B60024"/>
                  </a:buClr>
                  <a:buChar char="»"/>
                  <a:defRPr sz="1400">
                    <a:solidFill>
                      <a:srgbClr val="58595A"/>
                    </a:solidFill>
                    <a:latin typeface="Arial" charset="0"/>
                    <a:ea typeface="Times New Roman" pitchFamily="18" charset="0"/>
                    <a:cs typeface="Times New Roman" pitchFamily="18"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altLang="pl-PL" sz="1200" kern="0" dirty="0" err="1">
                    <a:solidFill>
                      <a:prstClr val="black">
                        <a:lumMod val="65000"/>
                        <a:lumOff val="35000"/>
                      </a:prstClr>
                    </a:solidFill>
                    <a:latin typeface="Calibri"/>
                  </a:rPr>
                  <a:t>Document</a:t>
                </a:r>
                <a:r>
                  <a:rPr lang="pl-PL" altLang="pl-PL" sz="1200" kern="0" dirty="0">
                    <a:solidFill>
                      <a:prstClr val="black">
                        <a:lumMod val="65000"/>
                        <a:lumOff val="35000"/>
                      </a:prstClr>
                    </a:solidFill>
                    <a:latin typeface="Calibri"/>
                  </a:rPr>
                  <a:t> </a:t>
                </a:r>
                <a:r>
                  <a:rPr lang="pl-PL" altLang="pl-PL" sz="1200" kern="0" dirty="0" err="1">
                    <a:solidFill>
                      <a:prstClr val="black">
                        <a:lumMod val="65000"/>
                        <a:lumOff val="35000"/>
                      </a:prstClr>
                    </a:solidFill>
                    <a:latin typeface="Calibri"/>
                  </a:rPr>
                  <a:t>flows</a:t>
                </a:r>
                <a:endParaRPr kumimoji="0" lang="en-US" alt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grpSp>
        <p:cxnSp>
          <p:nvCxnSpPr>
            <p:cNvPr id="50" name="Łącznik prosty ze strzałką 49">
              <a:extLst>
                <a:ext uri="{FF2B5EF4-FFF2-40B4-BE49-F238E27FC236}">
                  <a16:creationId xmlns:a16="http://schemas.microsoft.com/office/drawing/2014/main" id="{52C87B8C-F937-89FF-6973-B001FCFD666A}"/>
                </a:ext>
              </a:extLst>
            </p:cNvPr>
            <p:cNvCxnSpPr/>
            <p:nvPr/>
          </p:nvCxnSpPr>
          <p:spPr>
            <a:xfrm>
              <a:off x="6949285" y="1551878"/>
              <a:ext cx="413925" cy="0"/>
            </a:xfrm>
            <a:prstGeom prst="straightConnector1">
              <a:avLst/>
            </a:prstGeom>
            <a:noFill/>
            <a:ln w="12700" cap="flat" cmpd="sng" algn="ctr">
              <a:solidFill>
                <a:srgbClr val="B60024"/>
              </a:solidFill>
              <a:prstDash val="solid"/>
              <a:tailEnd type="triangle"/>
            </a:ln>
            <a:effectLst/>
          </p:spPr>
        </p:cxnSp>
        <p:cxnSp>
          <p:nvCxnSpPr>
            <p:cNvPr id="51" name="Łącznik prosty ze strzałką 50">
              <a:extLst>
                <a:ext uri="{FF2B5EF4-FFF2-40B4-BE49-F238E27FC236}">
                  <a16:creationId xmlns:a16="http://schemas.microsoft.com/office/drawing/2014/main" id="{1A2EA9C5-92CD-A4A7-D14C-53A80A1B75E0}"/>
                </a:ext>
              </a:extLst>
            </p:cNvPr>
            <p:cNvCxnSpPr/>
            <p:nvPr/>
          </p:nvCxnSpPr>
          <p:spPr>
            <a:xfrm>
              <a:off x="6949285" y="1878129"/>
              <a:ext cx="413925" cy="0"/>
            </a:xfrm>
            <a:prstGeom prst="straightConnector1">
              <a:avLst/>
            </a:prstGeom>
            <a:noFill/>
            <a:ln w="12700" cap="flat" cmpd="sng" algn="ctr">
              <a:solidFill>
                <a:srgbClr val="B60024"/>
              </a:solidFill>
              <a:prstDash val="dash"/>
              <a:headEnd w="sm" len="sm"/>
              <a:tailEnd type="triangle" w="med" len="med"/>
            </a:ln>
            <a:effectLst/>
          </p:spPr>
        </p:cxnSp>
      </p:grpSp>
      <p:sp>
        <p:nvSpPr>
          <p:cNvPr id="55" name="Freeform 640">
            <a:extLst>
              <a:ext uri="{FF2B5EF4-FFF2-40B4-BE49-F238E27FC236}">
                <a16:creationId xmlns:a16="http://schemas.microsoft.com/office/drawing/2014/main" id="{C95304F1-8BC0-595B-8B13-AC5313EE71BA}"/>
              </a:ext>
            </a:extLst>
          </p:cNvPr>
          <p:cNvSpPr>
            <a:spLocks noEditPoints="1"/>
          </p:cNvSpPr>
          <p:nvPr/>
        </p:nvSpPr>
        <p:spPr bwMode="auto">
          <a:xfrm>
            <a:off x="9389303" y="4013191"/>
            <a:ext cx="374629" cy="294200"/>
          </a:xfrm>
          <a:custGeom>
            <a:avLst/>
            <a:gdLst>
              <a:gd name="T0" fmla="*/ 220 w 708"/>
              <a:gd name="T1" fmla="*/ 331 h 556"/>
              <a:gd name="T2" fmla="*/ 265 w 708"/>
              <a:gd name="T3" fmla="*/ 317 h 556"/>
              <a:gd name="T4" fmla="*/ 276 w 708"/>
              <a:gd name="T5" fmla="*/ 281 h 556"/>
              <a:gd name="T6" fmla="*/ 205 w 708"/>
              <a:gd name="T7" fmla="*/ 351 h 556"/>
              <a:gd name="T8" fmla="*/ 208 w 708"/>
              <a:gd name="T9" fmla="*/ 220 h 556"/>
              <a:gd name="T10" fmla="*/ 208 w 708"/>
              <a:gd name="T11" fmla="*/ 412 h 556"/>
              <a:gd name="T12" fmla="*/ 322 w 708"/>
              <a:gd name="T13" fmla="*/ 257 h 556"/>
              <a:gd name="T14" fmla="*/ 350 w 708"/>
              <a:gd name="T15" fmla="*/ 253 h 556"/>
              <a:gd name="T16" fmla="*/ 241 w 708"/>
              <a:gd name="T17" fmla="*/ 443 h 556"/>
              <a:gd name="T18" fmla="*/ 131 w 708"/>
              <a:gd name="T19" fmla="*/ 253 h 556"/>
              <a:gd name="T20" fmla="*/ 558 w 708"/>
              <a:gd name="T21" fmla="*/ 146 h 556"/>
              <a:gd name="T22" fmla="*/ 580 w 708"/>
              <a:gd name="T23" fmla="*/ 157 h 556"/>
              <a:gd name="T24" fmla="*/ 596 w 708"/>
              <a:gd name="T25" fmla="*/ 126 h 556"/>
              <a:gd name="T26" fmla="*/ 542 w 708"/>
              <a:gd name="T27" fmla="*/ 179 h 556"/>
              <a:gd name="T28" fmla="*/ 217 w 708"/>
              <a:gd name="T29" fmla="*/ 153 h 556"/>
              <a:gd name="T30" fmla="*/ 143 w 708"/>
              <a:gd name="T31" fmla="*/ 184 h 556"/>
              <a:gd name="T32" fmla="*/ 97 w 708"/>
              <a:gd name="T33" fmla="*/ 257 h 556"/>
              <a:gd name="T34" fmla="*/ 78 w 708"/>
              <a:gd name="T35" fmla="*/ 341 h 556"/>
              <a:gd name="T36" fmla="*/ 109 w 708"/>
              <a:gd name="T37" fmla="*/ 413 h 556"/>
              <a:gd name="T38" fmla="*/ 181 w 708"/>
              <a:gd name="T39" fmla="*/ 460 h 556"/>
              <a:gd name="T40" fmla="*/ 267 w 708"/>
              <a:gd name="T41" fmla="*/ 474 h 556"/>
              <a:gd name="T42" fmla="*/ 381 w 708"/>
              <a:gd name="T43" fmla="*/ 479 h 556"/>
              <a:gd name="T44" fmla="*/ 393 w 708"/>
              <a:gd name="T45" fmla="*/ 350 h 556"/>
              <a:gd name="T46" fmla="*/ 398 w 708"/>
              <a:gd name="T47" fmla="*/ 291 h 556"/>
              <a:gd name="T48" fmla="*/ 403 w 708"/>
              <a:gd name="T49" fmla="*/ 177 h 556"/>
              <a:gd name="T50" fmla="*/ 274 w 708"/>
              <a:gd name="T51" fmla="*/ 165 h 556"/>
              <a:gd name="T52" fmla="*/ 276 w 708"/>
              <a:gd name="T53" fmla="*/ 79 h 556"/>
              <a:gd name="T54" fmla="*/ 381 w 708"/>
              <a:gd name="T55" fmla="*/ 124 h 556"/>
              <a:gd name="T56" fmla="*/ 429 w 708"/>
              <a:gd name="T57" fmla="*/ 184 h 556"/>
              <a:gd name="T58" fmla="*/ 480 w 708"/>
              <a:gd name="T59" fmla="*/ 317 h 556"/>
              <a:gd name="T60" fmla="*/ 429 w 708"/>
              <a:gd name="T61" fmla="*/ 449 h 556"/>
              <a:gd name="T62" fmla="*/ 381 w 708"/>
              <a:gd name="T63" fmla="*/ 508 h 556"/>
              <a:gd name="T64" fmla="*/ 276 w 708"/>
              <a:gd name="T65" fmla="*/ 553 h 556"/>
              <a:gd name="T66" fmla="*/ 172 w 708"/>
              <a:gd name="T67" fmla="*/ 484 h 556"/>
              <a:gd name="T68" fmla="*/ 52 w 708"/>
              <a:gd name="T69" fmla="*/ 465 h 556"/>
              <a:gd name="T70" fmla="*/ 14 w 708"/>
              <a:gd name="T71" fmla="*/ 356 h 556"/>
              <a:gd name="T72" fmla="*/ 14 w 708"/>
              <a:gd name="T73" fmla="*/ 275 h 556"/>
              <a:gd name="T74" fmla="*/ 52 w 708"/>
              <a:gd name="T75" fmla="*/ 169 h 556"/>
              <a:gd name="T76" fmla="*/ 172 w 708"/>
              <a:gd name="T77" fmla="*/ 150 h 556"/>
              <a:gd name="T78" fmla="*/ 561 w 708"/>
              <a:gd name="T79" fmla="*/ 26 h 556"/>
              <a:gd name="T80" fmla="*/ 506 w 708"/>
              <a:gd name="T81" fmla="*/ 102 h 556"/>
              <a:gd name="T82" fmla="*/ 496 w 708"/>
              <a:gd name="T83" fmla="*/ 133 h 556"/>
              <a:gd name="T84" fmla="*/ 458 w 708"/>
              <a:gd name="T85" fmla="*/ 208 h 556"/>
              <a:gd name="T86" fmla="*/ 548 w 708"/>
              <a:gd name="T87" fmla="*/ 226 h 556"/>
              <a:gd name="T88" fmla="*/ 582 w 708"/>
              <a:gd name="T89" fmla="*/ 231 h 556"/>
              <a:gd name="T90" fmla="*/ 672 w 708"/>
              <a:gd name="T91" fmla="*/ 220 h 556"/>
              <a:gd name="T92" fmla="*/ 644 w 708"/>
              <a:gd name="T93" fmla="*/ 151 h 556"/>
              <a:gd name="T94" fmla="*/ 672 w 708"/>
              <a:gd name="T95" fmla="*/ 84 h 556"/>
              <a:gd name="T96" fmla="*/ 582 w 708"/>
              <a:gd name="T97" fmla="*/ 74 h 556"/>
              <a:gd name="T98" fmla="*/ 601 w 708"/>
              <a:gd name="T99" fmla="*/ 14 h 556"/>
              <a:gd name="T100" fmla="*/ 685 w 708"/>
              <a:gd name="T101" fmla="*/ 60 h 556"/>
              <a:gd name="T102" fmla="*/ 703 w 708"/>
              <a:gd name="T103" fmla="*/ 112 h 556"/>
              <a:gd name="T104" fmla="*/ 708 w 708"/>
              <a:gd name="T105" fmla="*/ 200 h 556"/>
              <a:gd name="T106" fmla="*/ 678 w 708"/>
              <a:gd name="T107" fmla="*/ 248 h 556"/>
              <a:gd name="T108" fmla="*/ 596 w 708"/>
              <a:gd name="T109" fmla="*/ 300 h 556"/>
              <a:gd name="T110" fmla="*/ 537 w 708"/>
              <a:gd name="T111" fmla="*/ 291 h 556"/>
              <a:gd name="T112" fmla="*/ 451 w 708"/>
              <a:gd name="T113" fmla="*/ 244 h 556"/>
              <a:gd name="T114" fmla="*/ 436 w 708"/>
              <a:gd name="T115" fmla="*/ 193 h 556"/>
              <a:gd name="T116" fmla="*/ 431 w 708"/>
              <a:gd name="T117" fmla="*/ 105 h 556"/>
              <a:gd name="T118" fmla="*/ 458 w 708"/>
              <a:gd name="T119" fmla="*/ 57 h 556"/>
              <a:gd name="T120" fmla="*/ 542 w 708"/>
              <a:gd name="T121" fmla="*/ 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8" h="556">
                <a:moveTo>
                  <a:pt x="241" y="291"/>
                </a:moveTo>
                <a:lnTo>
                  <a:pt x="233" y="293"/>
                </a:lnTo>
                <a:lnTo>
                  <a:pt x="226" y="296"/>
                </a:lnTo>
                <a:lnTo>
                  <a:pt x="220" y="301"/>
                </a:lnTo>
                <a:lnTo>
                  <a:pt x="217" y="308"/>
                </a:lnTo>
                <a:lnTo>
                  <a:pt x="215" y="317"/>
                </a:lnTo>
                <a:lnTo>
                  <a:pt x="217" y="324"/>
                </a:lnTo>
                <a:lnTo>
                  <a:pt x="220" y="331"/>
                </a:lnTo>
                <a:lnTo>
                  <a:pt x="226" y="336"/>
                </a:lnTo>
                <a:lnTo>
                  <a:pt x="233" y="341"/>
                </a:lnTo>
                <a:lnTo>
                  <a:pt x="241" y="341"/>
                </a:lnTo>
                <a:lnTo>
                  <a:pt x="248" y="341"/>
                </a:lnTo>
                <a:lnTo>
                  <a:pt x="255" y="336"/>
                </a:lnTo>
                <a:lnTo>
                  <a:pt x="262" y="331"/>
                </a:lnTo>
                <a:lnTo>
                  <a:pt x="265" y="324"/>
                </a:lnTo>
                <a:lnTo>
                  <a:pt x="265" y="317"/>
                </a:lnTo>
                <a:lnTo>
                  <a:pt x="265" y="308"/>
                </a:lnTo>
                <a:lnTo>
                  <a:pt x="262" y="301"/>
                </a:lnTo>
                <a:lnTo>
                  <a:pt x="255" y="296"/>
                </a:lnTo>
                <a:lnTo>
                  <a:pt x="248" y="293"/>
                </a:lnTo>
                <a:lnTo>
                  <a:pt x="241" y="291"/>
                </a:lnTo>
                <a:close/>
                <a:moveTo>
                  <a:pt x="241" y="265"/>
                </a:moveTo>
                <a:lnTo>
                  <a:pt x="260" y="270"/>
                </a:lnTo>
                <a:lnTo>
                  <a:pt x="276" y="281"/>
                </a:lnTo>
                <a:lnTo>
                  <a:pt x="288" y="296"/>
                </a:lnTo>
                <a:lnTo>
                  <a:pt x="291" y="317"/>
                </a:lnTo>
                <a:lnTo>
                  <a:pt x="288" y="336"/>
                </a:lnTo>
                <a:lnTo>
                  <a:pt x="276" y="351"/>
                </a:lnTo>
                <a:lnTo>
                  <a:pt x="260" y="363"/>
                </a:lnTo>
                <a:lnTo>
                  <a:pt x="241" y="367"/>
                </a:lnTo>
                <a:lnTo>
                  <a:pt x="220" y="363"/>
                </a:lnTo>
                <a:lnTo>
                  <a:pt x="205" y="351"/>
                </a:lnTo>
                <a:lnTo>
                  <a:pt x="195" y="336"/>
                </a:lnTo>
                <a:lnTo>
                  <a:pt x="189" y="317"/>
                </a:lnTo>
                <a:lnTo>
                  <a:pt x="195" y="296"/>
                </a:lnTo>
                <a:lnTo>
                  <a:pt x="205" y="281"/>
                </a:lnTo>
                <a:lnTo>
                  <a:pt x="220" y="270"/>
                </a:lnTo>
                <a:lnTo>
                  <a:pt x="241" y="265"/>
                </a:lnTo>
                <a:close/>
                <a:moveTo>
                  <a:pt x="241" y="215"/>
                </a:moveTo>
                <a:lnTo>
                  <a:pt x="208" y="220"/>
                </a:lnTo>
                <a:lnTo>
                  <a:pt x="181" y="234"/>
                </a:lnTo>
                <a:lnTo>
                  <a:pt x="159" y="257"/>
                </a:lnTo>
                <a:lnTo>
                  <a:pt x="145" y="284"/>
                </a:lnTo>
                <a:lnTo>
                  <a:pt x="140" y="317"/>
                </a:lnTo>
                <a:lnTo>
                  <a:pt x="145" y="348"/>
                </a:lnTo>
                <a:lnTo>
                  <a:pt x="159" y="375"/>
                </a:lnTo>
                <a:lnTo>
                  <a:pt x="181" y="398"/>
                </a:lnTo>
                <a:lnTo>
                  <a:pt x="208" y="412"/>
                </a:lnTo>
                <a:lnTo>
                  <a:pt x="241" y="417"/>
                </a:lnTo>
                <a:lnTo>
                  <a:pt x="272" y="412"/>
                </a:lnTo>
                <a:lnTo>
                  <a:pt x="300" y="398"/>
                </a:lnTo>
                <a:lnTo>
                  <a:pt x="322" y="375"/>
                </a:lnTo>
                <a:lnTo>
                  <a:pt x="336" y="348"/>
                </a:lnTo>
                <a:lnTo>
                  <a:pt x="341" y="317"/>
                </a:lnTo>
                <a:lnTo>
                  <a:pt x="336" y="284"/>
                </a:lnTo>
                <a:lnTo>
                  <a:pt x="322" y="257"/>
                </a:lnTo>
                <a:lnTo>
                  <a:pt x="300" y="234"/>
                </a:lnTo>
                <a:lnTo>
                  <a:pt x="272" y="220"/>
                </a:lnTo>
                <a:lnTo>
                  <a:pt x="241" y="215"/>
                </a:lnTo>
                <a:close/>
                <a:moveTo>
                  <a:pt x="241" y="189"/>
                </a:moveTo>
                <a:lnTo>
                  <a:pt x="274" y="195"/>
                </a:lnTo>
                <a:lnTo>
                  <a:pt x="305" y="207"/>
                </a:lnTo>
                <a:lnTo>
                  <a:pt x="329" y="227"/>
                </a:lnTo>
                <a:lnTo>
                  <a:pt x="350" y="253"/>
                </a:lnTo>
                <a:lnTo>
                  <a:pt x="362" y="282"/>
                </a:lnTo>
                <a:lnTo>
                  <a:pt x="367" y="317"/>
                </a:lnTo>
                <a:lnTo>
                  <a:pt x="362" y="350"/>
                </a:lnTo>
                <a:lnTo>
                  <a:pt x="350" y="381"/>
                </a:lnTo>
                <a:lnTo>
                  <a:pt x="329" y="405"/>
                </a:lnTo>
                <a:lnTo>
                  <a:pt x="305" y="425"/>
                </a:lnTo>
                <a:lnTo>
                  <a:pt x="274" y="437"/>
                </a:lnTo>
                <a:lnTo>
                  <a:pt x="241" y="443"/>
                </a:lnTo>
                <a:lnTo>
                  <a:pt x="207" y="437"/>
                </a:lnTo>
                <a:lnTo>
                  <a:pt x="177" y="425"/>
                </a:lnTo>
                <a:lnTo>
                  <a:pt x="152" y="405"/>
                </a:lnTo>
                <a:lnTo>
                  <a:pt x="131" y="381"/>
                </a:lnTo>
                <a:lnTo>
                  <a:pt x="119" y="350"/>
                </a:lnTo>
                <a:lnTo>
                  <a:pt x="114" y="317"/>
                </a:lnTo>
                <a:lnTo>
                  <a:pt x="119" y="282"/>
                </a:lnTo>
                <a:lnTo>
                  <a:pt x="131" y="253"/>
                </a:lnTo>
                <a:lnTo>
                  <a:pt x="152" y="227"/>
                </a:lnTo>
                <a:lnTo>
                  <a:pt x="177" y="207"/>
                </a:lnTo>
                <a:lnTo>
                  <a:pt x="207" y="195"/>
                </a:lnTo>
                <a:lnTo>
                  <a:pt x="241" y="189"/>
                </a:lnTo>
                <a:close/>
                <a:moveTo>
                  <a:pt x="568" y="139"/>
                </a:moveTo>
                <a:lnTo>
                  <a:pt x="563" y="141"/>
                </a:lnTo>
                <a:lnTo>
                  <a:pt x="560" y="143"/>
                </a:lnTo>
                <a:lnTo>
                  <a:pt x="558" y="146"/>
                </a:lnTo>
                <a:lnTo>
                  <a:pt x="556" y="151"/>
                </a:lnTo>
                <a:lnTo>
                  <a:pt x="558" y="157"/>
                </a:lnTo>
                <a:lnTo>
                  <a:pt x="560" y="162"/>
                </a:lnTo>
                <a:lnTo>
                  <a:pt x="563" y="164"/>
                </a:lnTo>
                <a:lnTo>
                  <a:pt x="568" y="165"/>
                </a:lnTo>
                <a:lnTo>
                  <a:pt x="573" y="164"/>
                </a:lnTo>
                <a:lnTo>
                  <a:pt x="579" y="162"/>
                </a:lnTo>
                <a:lnTo>
                  <a:pt x="580" y="157"/>
                </a:lnTo>
                <a:lnTo>
                  <a:pt x="582" y="151"/>
                </a:lnTo>
                <a:lnTo>
                  <a:pt x="580" y="146"/>
                </a:lnTo>
                <a:lnTo>
                  <a:pt x="579" y="143"/>
                </a:lnTo>
                <a:lnTo>
                  <a:pt x="573" y="141"/>
                </a:lnTo>
                <a:lnTo>
                  <a:pt x="568" y="139"/>
                </a:lnTo>
                <a:close/>
                <a:moveTo>
                  <a:pt x="568" y="114"/>
                </a:moveTo>
                <a:lnTo>
                  <a:pt x="584" y="117"/>
                </a:lnTo>
                <a:lnTo>
                  <a:pt x="596" y="126"/>
                </a:lnTo>
                <a:lnTo>
                  <a:pt x="604" y="138"/>
                </a:lnTo>
                <a:lnTo>
                  <a:pt x="606" y="151"/>
                </a:lnTo>
                <a:lnTo>
                  <a:pt x="604" y="167"/>
                </a:lnTo>
                <a:lnTo>
                  <a:pt x="596" y="179"/>
                </a:lnTo>
                <a:lnTo>
                  <a:pt x="584" y="188"/>
                </a:lnTo>
                <a:lnTo>
                  <a:pt x="568" y="189"/>
                </a:lnTo>
                <a:lnTo>
                  <a:pt x="555" y="188"/>
                </a:lnTo>
                <a:lnTo>
                  <a:pt x="542" y="179"/>
                </a:lnTo>
                <a:lnTo>
                  <a:pt x="534" y="167"/>
                </a:lnTo>
                <a:lnTo>
                  <a:pt x="530" y="151"/>
                </a:lnTo>
                <a:lnTo>
                  <a:pt x="534" y="138"/>
                </a:lnTo>
                <a:lnTo>
                  <a:pt x="542" y="126"/>
                </a:lnTo>
                <a:lnTo>
                  <a:pt x="555" y="117"/>
                </a:lnTo>
                <a:lnTo>
                  <a:pt x="568" y="114"/>
                </a:lnTo>
                <a:close/>
                <a:moveTo>
                  <a:pt x="224" y="102"/>
                </a:moveTo>
                <a:lnTo>
                  <a:pt x="217" y="153"/>
                </a:lnTo>
                <a:lnTo>
                  <a:pt x="215" y="158"/>
                </a:lnTo>
                <a:lnTo>
                  <a:pt x="212" y="162"/>
                </a:lnTo>
                <a:lnTo>
                  <a:pt x="207" y="165"/>
                </a:lnTo>
                <a:lnTo>
                  <a:pt x="181" y="172"/>
                </a:lnTo>
                <a:lnTo>
                  <a:pt x="157" y="186"/>
                </a:lnTo>
                <a:lnTo>
                  <a:pt x="152" y="188"/>
                </a:lnTo>
                <a:lnTo>
                  <a:pt x="148" y="188"/>
                </a:lnTo>
                <a:lnTo>
                  <a:pt x="143" y="184"/>
                </a:lnTo>
                <a:lnTo>
                  <a:pt x="102" y="153"/>
                </a:lnTo>
                <a:lnTo>
                  <a:pt x="90" y="165"/>
                </a:lnTo>
                <a:lnTo>
                  <a:pt x="78" y="177"/>
                </a:lnTo>
                <a:lnTo>
                  <a:pt x="109" y="219"/>
                </a:lnTo>
                <a:lnTo>
                  <a:pt x="112" y="224"/>
                </a:lnTo>
                <a:lnTo>
                  <a:pt x="112" y="227"/>
                </a:lnTo>
                <a:lnTo>
                  <a:pt x="110" y="232"/>
                </a:lnTo>
                <a:lnTo>
                  <a:pt x="97" y="257"/>
                </a:lnTo>
                <a:lnTo>
                  <a:pt x="90" y="282"/>
                </a:lnTo>
                <a:lnTo>
                  <a:pt x="86" y="288"/>
                </a:lnTo>
                <a:lnTo>
                  <a:pt x="83" y="291"/>
                </a:lnTo>
                <a:lnTo>
                  <a:pt x="78" y="293"/>
                </a:lnTo>
                <a:lnTo>
                  <a:pt x="26" y="300"/>
                </a:lnTo>
                <a:lnTo>
                  <a:pt x="26" y="317"/>
                </a:lnTo>
                <a:lnTo>
                  <a:pt x="26" y="332"/>
                </a:lnTo>
                <a:lnTo>
                  <a:pt x="78" y="341"/>
                </a:lnTo>
                <a:lnTo>
                  <a:pt x="83" y="343"/>
                </a:lnTo>
                <a:lnTo>
                  <a:pt x="86" y="344"/>
                </a:lnTo>
                <a:lnTo>
                  <a:pt x="90" y="350"/>
                </a:lnTo>
                <a:lnTo>
                  <a:pt x="97" y="375"/>
                </a:lnTo>
                <a:lnTo>
                  <a:pt x="110" y="399"/>
                </a:lnTo>
                <a:lnTo>
                  <a:pt x="112" y="405"/>
                </a:lnTo>
                <a:lnTo>
                  <a:pt x="112" y="410"/>
                </a:lnTo>
                <a:lnTo>
                  <a:pt x="109" y="413"/>
                </a:lnTo>
                <a:lnTo>
                  <a:pt x="78" y="456"/>
                </a:lnTo>
                <a:lnTo>
                  <a:pt x="90" y="468"/>
                </a:lnTo>
                <a:lnTo>
                  <a:pt x="102" y="479"/>
                </a:lnTo>
                <a:lnTo>
                  <a:pt x="143" y="448"/>
                </a:lnTo>
                <a:lnTo>
                  <a:pt x="148" y="446"/>
                </a:lnTo>
                <a:lnTo>
                  <a:pt x="152" y="446"/>
                </a:lnTo>
                <a:lnTo>
                  <a:pt x="157" y="448"/>
                </a:lnTo>
                <a:lnTo>
                  <a:pt x="181" y="460"/>
                </a:lnTo>
                <a:lnTo>
                  <a:pt x="207" y="468"/>
                </a:lnTo>
                <a:lnTo>
                  <a:pt x="212" y="470"/>
                </a:lnTo>
                <a:lnTo>
                  <a:pt x="215" y="474"/>
                </a:lnTo>
                <a:lnTo>
                  <a:pt x="217" y="479"/>
                </a:lnTo>
                <a:lnTo>
                  <a:pt x="224" y="530"/>
                </a:lnTo>
                <a:lnTo>
                  <a:pt x="257" y="530"/>
                </a:lnTo>
                <a:lnTo>
                  <a:pt x="265" y="479"/>
                </a:lnTo>
                <a:lnTo>
                  <a:pt x="267" y="474"/>
                </a:lnTo>
                <a:lnTo>
                  <a:pt x="269" y="470"/>
                </a:lnTo>
                <a:lnTo>
                  <a:pt x="274" y="468"/>
                </a:lnTo>
                <a:lnTo>
                  <a:pt x="300" y="460"/>
                </a:lnTo>
                <a:lnTo>
                  <a:pt x="324" y="448"/>
                </a:lnTo>
                <a:lnTo>
                  <a:pt x="329" y="446"/>
                </a:lnTo>
                <a:lnTo>
                  <a:pt x="334" y="446"/>
                </a:lnTo>
                <a:lnTo>
                  <a:pt x="338" y="448"/>
                </a:lnTo>
                <a:lnTo>
                  <a:pt x="381" y="479"/>
                </a:lnTo>
                <a:lnTo>
                  <a:pt x="393" y="468"/>
                </a:lnTo>
                <a:lnTo>
                  <a:pt x="403" y="456"/>
                </a:lnTo>
                <a:lnTo>
                  <a:pt x="372" y="413"/>
                </a:lnTo>
                <a:lnTo>
                  <a:pt x="370" y="410"/>
                </a:lnTo>
                <a:lnTo>
                  <a:pt x="370" y="405"/>
                </a:lnTo>
                <a:lnTo>
                  <a:pt x="372" y="399"/>
                </a:lnTo>
                <a:lnTo>
                  <a:pt x="384" y="375"/>
                </a:lnTo>
                <a:lnTo>
                  <a:pt x="393" y="350"/>
                </a:lnTo>
                <a:lnTo>
                  <a:pt x="394" y="344"/>
                </a:lnTo>
                <a:lnTo>
                  <a:pt x="398" y="343"/>
                </a:lnTo>
                <a:lnTo>
                  <a:pt x="403" y="341"/>
                </a:lnTo>
                <a:lnTo>
                  <a:pt x="455" y="332"/>
                </a:lnTo>
                <a:lnTo>
                  <a:pt x="455" y="317"/>
                </a:lnTo>
                <a:lnTo>
                  <a:pt x="455" y="300"/>
                </a:lnTo>
                <a:lnTo>
                  <a:pt x="403" y="293"/>
                </a:lnTo>
                <a:lnTo>
                  <a:pt x="398" y="291"/>
                </a:lnTo>
                <a:lnTo>
                  <a:pt x="394" y="288"/>
                </a:lnTo>
                <a:lnTo>
                  <a:pt x="393" y="282"/>
                </a:lnTo>
                <a:lnTo>
                  <a:pt x="384" y="257"/>
                </a:lnTo>
                <a:lnTo>
                  <a:pt x="372" y="232"/>
                </a:lnTo>
                <a:lnTo>
                  <a:pt x="370" y="227"/>
                </a:lnTo>
                <a:lnTo>
                  <a:pt x="370" y="224"/>
                </a:lnTo>
                <a:lnTo>
                  <a:pt x="372" y="219"/>
                </a:lnTo>
                <a:lnTo>
                  <a:pt x="403" y="177"/>
                </a:lnTo>
                <a:lnTo>
                  <a:pt x="393" y="165"/>
                </a:lnTo>
                <a:lnTo>
                  <a:pt x="381" y="153"/>
                </a:lnTo>
                <a:lnTo>
                  <a:pt x="338" y="184"/>
                </a:lnTo>
                <a:lnTo>
                  <a:pt x="334" y="188"/>
                </a:lnTo>
                <a:lnTo>
                  <a:pt x="329" y="188"/>
                </a:lnTo>
                <a:lnTo>
                  <a:pt x="324" y="186"/>
                </a:lnTo>
                <a:lnTo>
                  <a:pt x="300" y="172"/>
                </a:lnTo>
                <a:lnTo>
                  <a:pt x="274" y="165"/>
                </a:lnTo>
                <a:lnTo>
                  <a:pt x="269" y="162"/>
                </a:lnTo>
                <a:lnTo>
                  <a:pt x="267" y="158"/>
                </a:lnTo>
                <a:lnTo>
                  <a:pt x="265" y="153"/>
                </a:lnTo>
                <a:lnTo>
                  <a:pt x="257" y="102"/>
                </a:lnTo>
                <a:lnTo>
                  <a:pt x="224" y="102"/>
                </a:lnTo>
                <a:close/>
                <a:moveTo>
                  <a:pt x="241" y="76"/>
                </a:moveTo>
                <a:lnTo>
                  <a:pt x="270" y="77"/>
                </a:lnTo>
                <a:lnTo>
                  <a:pt x="276" y="79"/>
                </a:lnTo>
                <a:lnTo>
                  <a:pt x="279" y="84"/>
                </a:lnTo>
                <a:lnTo>
                  <a:pt x="281" y="89"/>
                </a:lnTo>
                <a:lnTo>
                  <a:pt x="288" y="143"/>
                </a:lnTo>
                <a:lnTo>
                  <a:pt x="310" y="150"/>
                </a:lnTo>
                <a:lnTo>
                  <a:pt x="331" y="160"/>
                </a:lnTo>
                <a:lnTo>
                  <a:pt x="374" y="127"/>
                </a:lnTo>
                <a:lnTo>
                  <a:pt x="377" y="126"/>
                </a:lnTo>
                <a:lnTo>
                  <a:pt x="381" y="124"/>
                </a:lnTo>
                <a:lnTo>
                  <a:pt x="384" y="126"/>
                </a:lnTo>
                <a:lnTo>
                  <a:pt x="389" y="127"/>
                </a:lnTo>
                <a:lnTo>
                  <a:pt x="410" y="146"/>
                </a:lnTo>
                <a:lnTo>
                  <a:pt x="429" y="169"/>
                </a:lnTo>
                <a:lnTo>
                  <a:pt x="432" y="172"/>
                </a:lnTo>
                <a:lnTo>
                  <a:pt x="432" y="176"/>
                </a:lnTo>
                <a:lnTo>
                  <a:pt x="432" y="181"/>
                </a:lnTo>
                <a:lnTo>
                  <a:pt x="429" y="184"/>
                </a:lnTo>
                <a:lnTo>
                  <a:pt x="398" y="227"/>
                </a:lnTo>
                <a:lnTo>
                  <a:pt x="408" y="248"/>
                </a:lnTo>
                <a:lnTo>
                  <a:pt x="415" y="269"/>
                </a:lnTo>
                <a:lnTo>
                  <a:pt x="468" y="275"/>
                </a:lnTo>
                <a:lnTo>
                  <a:pt x="474" y="279"/>
                </a:lnTo>
                <a:lnTo>
                  <a:pt x="477" y="282"/>
                </a:lnTo>
                <a:lnTo>
                  <a:pt x="479" y="288"/>
                </a:lnTo>
                <a:lnTo>
                  <a:pt x="480" y="317"/>
                </a:lnTo>
                <a:lnTo>
                  <a:pt x="479" y="346"/>
                </a:lnTo>
                <a:lnTo>
                  <a:pt x="477" y="351"/>
                </a:lnTo>
                <a:lnTo>
                  <a:pt x="474" y="355"/>
                </a:lnTo>
                <a:lnTo>
                  <a:pt x="468" y="356"/>
                </a:lnTo>
                <a:lnTo>
                  <a:pt x="415" y="363"/>
                </a:lnTo>
                <a:lnTo>
                  <a:pt x="408" y="386"/>
                </a:lnTo>
                <a:lnTo>
                  <a:pt x="398" y="406"/>
                </a:lnTo>
                <a:lnTo>
                  <a:pt x="429" y="449"/>
                </a:lnTo>
                <a:lnTo>
                  <a:pt x="432" y="453"/>
                </a:lnTo>
                <a:lnTo>
                  <a:pt x="432" y="456"/>
                </a:lnTo>
                <a:lnTo>
                  <a:pt x="432" y="460"/>
                </a:lnTo>
                <a:lnTo>
                  <a:pt x="429" y="465"/>
                </a:lnTo>
                <a:lnTo>
                  <a:pt x="410" y="486"/>
                </a:lnTo>
                <a:lnTo>
                  <a:pt x="389" y="505"/>
                </a:lnTo>
                <a:lnTo>
                  <a:pt x="384" y="508"/>
                </a:lnTo>
                <a:lnTo>
                  <a:pt x="381" y="508"/>
                </a:lnTo>
                <a:lnTo>
                  <a:pt x="377" y="508"/>
                </a:lnTo>
                <a:lnTo>
                  <a:pt x="374" y="505"/>
                </a:lnTo>
                <a:lnTo>
                  <a:pt x="331" y="474"/>
                </a:lnTo>
                <a:lnTo>
                  <a:pt x="310" y="484"/>
                </a:lnTo>
                <a:lnTo>
                  <a:pt x="288" y="491"/>
                </a:lnTo>
                <a:lnTo>
                  <a:pt x="281" y="544"/>
                </a:lnTo>
                <a:lnTo>
                  <a:pt x="279" y="549"/>
                </a:lnTo>
                <a:lnTo>
                  <a:pt x="276" y="553"/>
                </a:lnTo>
                <a:lnTo>
                  <a:pt x="270" y="554"/>
                </a:lnTo>
                <a:lnTo>
                  <a:pt x="241" y="556"/>
                </a:lnTo>
                <a:lnTo>
                  <a:pt x="212" y="554"/>
                </a:lnTo>
                <a:lnTo>
                  <a:pt x="207" y="553"/>
                </a:lnTo>
                <a:lnTo>
                  <a:pt x="203" y="549"/>
                </a:lnTo>
                <a:lnTo>
                  <a:pt x="200" y="544"/>
                </a:lnTo>
                <a:lnTo>
                  <a:pt x="193" y="491"/>
                </a:lnTo>
                <a:lnTo>
                  <a:pt x="172" y="484"/>
                </a:lnTo>
                <a:lnTo>
                  <a:pt x="152" y="474"/>
                </a:lnTo>
                <a:lnTo>
                  <a:pt x="109" y="505"/>
                </a:lnTo>
                <a:lnTo>
                  <a:pt x="105" y="508"/>
                </a:lnTo>
                <a:lnTo>
                  <a:pt x="100" y="508"/>
                </a:lnTo>
                <a:lnTo>
                  <a:pt x="97" y="508"/>
                </a:lnTo>
                <a:lnTo>
                  <a:pt x="93" y="505"/>
                </a:lnTo>
                <a:lnTo>
                  <a:pt x="71" y="486"/>
                </a:lnTo>
                <a:lnTo>
                  <a:pt x="52" y="465"/>
                </a:lnTo>
                <a:lnTo>
                  <a:pt x="50" y="460"/>
                </a:lnTo>
                <a:lnTo>
                  <a:pt x="48" y="456"/>
                </a:lnTo>
                <a:lnTo>
                  <a:pt x="50" y="453"/>
                </a:lnTo>
                <a:lnTo>
                  <a:pt x="52" y="449"/>
                </a:lnTo>
                <a:lnTo>
                  <a:pt x="84" y="406"/>
                </a:lnTo>
                <a:lnTo>
                  <a:pt x="74" y="386"/>
                </a:lnTo>
                <a:lnTo>
                  <a:pt x="67" y="363"/>
                </a:lnTo>
                <a:lnTo>
                  <a:pt x="14" y="356"/>
                </a:lnTo>
                <a:lnTo>
                  <a:pt x="9" y="355"/>
                </a:lnTo>
                <a:lnTo>
                  <a:pt x="4" y="351"/>
                </a:lnTo>
                <a:lnTo>
                  <a:pt x="2" y="346"/>
                </a:lnTo>
                <a:lnTo>
                  <a:pt x="0" y="317"/>
                </a:lnTo>
                <a:lnTo>
                  <a:pt x="2" y="288"/>
                </a:lnTo>
                <a:lnTo>
                  <a:pt x="4" y="282"/>
                </a:lnTo>
                <a:lnTo>
                  <a:pt x="9" y="279"/>
                </a:lnTo>
                <a:lnTo>
                  <a:pt x="14" y="275"/>
                </a:lnTo>
                <a:lnTo>
                  <a:pt x="67" y="269"/>
                </a:lnTo>
                <a:lnTo>
                  <a:pt x="74" y="248"/>
                </a:lnTo>
                <a:lnTo>
                  <a:pt x="84" y="227"/>
                </a:lnTo>
                <a:lnTo>
                  <a:pt x="52" y="184"/>
                </a:lnTo>
                <a:lnTo>
                  <a:pt x="50" y="181"/>
                </a:lnTo>
                <a:lnTo>
                  <a:pt x="48" y="176"/>
                </a:lnTo>
                <a:lnTo>
                  <a:pt x="50" y="172"/>
                </a:lnTo>
                <a:lnTo>
                  <a:pt x="52" y="169"/>
                </a:lnTo>
                <a:lnTo>
                  <a:pt x="71" y="146"/>
                </a:lnTo>
                <a:lnTo>
                  <a:pt x="93" y="127"/>
                </a:lnTo>
                <a:lnTo>
                  <a:pt x="97" y="126"/>
                </a:lnTo>
                <a:lnTo>
                  <a:pt x="100" y="124"/>
                </a:lnTo>
                <a:lnTo>
                  <a:pt x="105" y="126"/>
                </a:lnTo>
                <a:lnTo>
                  <a:pt x="109" y="127"/>
                </a:lnTo>
                <a:lnTo>
                  <a:pt x="152" y="160"/>
                </a:lnTo>
                <a:lnTo>
                  <a:pt x="172" y="150"/>
                </a:lnTo>
                <a:lnTo>
                  <a:pt x="193" y="143"/>
                </a:lnTo>
                <a:lnTo>
                  <a:pt x="200" y="89"/>
                </a:lnTo>
                <a:lnTo>
                  <a:pt x="203" y="84"/>
                </a:lnTo>
                <a:lnTo>
                  <a:pt x="207" y="79"/>
                </a:lnTo>
                <a:lnTo>
                  <a:pt x="212" y="77"/>
                </a:lnTo>
                <a:lnTo>
                  <a:pt x="241" y="76"/>
                </a:lnTo>
                <a:close/>
                <a:moveTo>
                  <a:pt x="568" y="26"/>
                </a:moveTo>
                <a:lnTo>
                  <a:pt x="561" y="26"/>
                </a:lnTo>
                <a:lnTo>
                  <a:pt x="556" y="69"/>
                </a:lnTo>
                <a:lnTo>
                  <a:pt x="556" y="74"/>
                </a:lnTo>
                <a:lnTo>
                  <a:pt x="553" y="77"/>
                </a:lnTo>
                <a:lnTo>
                  <a:pt x="548" y="79"/>
                </a:lnTo>
                <a:lnTo>
                  <a:pt x="530" y="86"/>
                </a:lnTo>
                <a:lnTo>
                  <a:pt x="517" y="98"/>
                </a:lnTo>
                <a:lnTo>
                  <a:pt x="511" y="100"/>
                </a:lnTo>
                <a:lnTo>
                  <a:pt x="506" y="102"/>
                </a:lnTo>
                <a:lnTo>
                  <a:pt x="501" y="100"/>
                </a:lnTo>
                <a:lnTo>
                  <a:pt x="465" y="84"/>
                </a:lnTo>
                <a:lnTo>
                  <a:pt x="462" y="89"/>
                </a:lnTo>
                <a:lnTo>
                  <a:pt x="458" y="96"/>
                </a:lnTo>
                <a:lnTo>
                  <a:pt x="491" y="120"/>
                </a:lnTo>
                <a:lnTo>
                  <a:pt x="494" y="124"/>
                </a:lnTo>
                <a:lnTo>
                  <a:pt x="496" y="129"/>
                </a:lnTo>
                <a:lnTo>
                  <a:pt x="496" y="133"/>
                </a:lnTo>
                <a:lnTo>
                  <a:pt x="494" y="143"/>
                </a:lnTo>
                <a:lnTo>
                  <a:pt x="493" y="151"/>
                </a:lnTo>
                <a:lnTo>
                  <a:pt x="494" y="162"/>
                </a:lnTo>
                <a:lnTo>
                  <a:pt x="496" y="170"/>
                </a:lnTo>
                <a:lnTo>
                  <a:pt x="496" y="176"/>
                </a:lnTo>
                <a:lnTo>
                  <a:pt x="494" y="181"/>
                </a:lnTo>
                <a:lnTo>
                  <a:pt x="491" y="184"/>
                </a:lnTo>
                <a:lnTo>
                  <a:pt x="458" y="208"/>
                </a:lnTo>
                <a:lnTo>
                  <a:pt x="462" y="213"/>
                </a:lnTo>
                <a:lnTo>
                  <a:pt x="465" y="220"/>
                </a:lnTo>
                <a:lnTo>
                  <a:pt x="501" y="203"/>
                </a:lnTo>
                <a:lnTo>
                  <a:pt x="506" y="203"/>
                </a:lnTo>
                <a:lnTo>
                  <a:pt x="511" y="203"/>
                </a:lnTo>
                <a:lnTo>
                  <a:pt x="517" y="207"/>
                </a:lnTo>
                <a:lnTo>
                  <a:pt x="530" y="217"/>
                </a:lnTo>
                <a:lnTo>
                  <a:pt x="548" y="226"/>
                </a:lnTo>
                <a:lnTo>
                  <a:pt x="553" y="227"/>
                </a:lnTo>
                <a:lnTo>
                  <a:pt x="556" y="231"/>
                </a:lnTo>
                <a:lnTo>
                  <a:pt x="556" y="236"/>
                </a:lnTo>
                <a:lnTo>
                  <a:pt x="561" y="277"/>
                </a:lnTo>
                <a:lnTo>
                  <a:pt x="568" y="279"/>
                </a:lnTo>
                <a:lnTo>
                  <a:pt x="577" y="277"/>
                </a:lnTo>
                <a:lnTo>
                  <a:pt x="580" y="236"/>
                </a:lnTo>
                <a:lnTo>
                  <a:pt x="582" y="231"/>
                </a:lnTo>
                <a:lnTo>
                  <a:pt x="586" y="227"/>
                </a:lnTo>
                <a:lnTo>
                  <a:pt x="589" y="226"/>
                </a:lnTo>
                <a:lnTo>
                  <a:pt x="606" y="217"/>
                </a:lnTo>
                <a:lnTo>
                  <a:pt x="622" y="207"/>
                </a:lnTo>
                <a:lnTo>
                  <a:pt x="627" y="203"/>
                </a:lnTo>
                <a:lnTo>
                  <a:pt x="630" y="203"/>
                </a:lnTo>
                <a:lnTo>
                  <a:pt x="635" y="203"/>
                </a:lnTo>
                <a:lnTo>
                  <a:pt x="672" y="220"/>
                </a:lnTo>
                <a:lnTo>
                  <a:pt x="677" y="213"/>
                </a:lnTo>
                <a:lnTo>
                  <a:pt x="680" y="208"/>
                </a:lnTo>
                <a:lnTo>
                  <a:pt x="647" y="184"/>
                </a:lnTo>
                <a:lnTo>
                  <a:pt x="644" y="181"/>
                </a:lnTo>
                <a:lnTo>
                  <a:pt x="642" y="176"/>
                </a:lnTo>
                <a:lnTo>
                  <a:pt x="642" y="170"/>
                </a:lnTo>
                <a:lnTo>
                  <a:pt x="644" y="162"/>
                </a:lnTo>
                <a:lnTo>
                  <a:pt x="644" y="151"/>
                </a:lnTo>
                <a:lnTo>
                  <a:pt x="644" y="143"/>
                </a:lnTo>
                <a:lnTo>
                  <a:pt x="642" y="133"/>
                </a:lnTo>
                <a:lnTo>
                  <a:pt x="642" y="129"/>
                </a:lnTo>
                <a:lnTo>
                  <a:pt x="644" y="124"/>
                </a:lnTo>
                <a:lnTo>
                  <a:pt x="647" y="120"/>
                </a:lnTo>
                <a:lnTo>
                  <a:pt x="680" y="96"/>
                </a:lnTo>
                <a:lnTo>
                  <a:pt x="677" y="89"/>
                </a:lnTo>
                <a:lnTo>
                  <a:pt x="672" y="84"/>
                </a:lnTo>
                <a:lnTo>
                  <a:pt x="635" y="100"/>
                </a:lnTo>
                <a:lnTo>
                  <a:pt x="630" y="102"/>
                </a:lnTo>
                <a:lnTo>
                  <a:pt x="627" y="100"/>
                </a:lnTo>
                <a:lnTo>
                  <a:pt x="622" y="98"/>
                </a:lnTo>
                <a:lnTo>
                  <a:pt x="606" y="86"/>
                </a:lnTo>
                <a:lnTo>
                  <a:pt x="589" y="79"/>
                </a:lnTo>
                <a:lnTo>
                  <a:pt x="586" y="77"/>
                </a:lnTo>
                <a:lnTo>
                  <a:pt x="582" y="74"/>
                </a:lnTo>
                <a:lnTo>
                  <a:pt x="580" y="69"/>
                </a:lnTo>
                <a:lnTo>
                  <a:pt x="577" y="26"/>
                </a:lnTo>
                <a:lnTo>
                  <a:pt x="568" y="26"/>
                </a:lnTo>
                <a:close/>
                <a:moveTo>
                  <a:pt x="568" y="0"/>
                </a:moveTo>
                <a:lnTo>
                  <a:pt x="591" y="2"/>
                </a:lnTo>
                <a:lnTo>
                  <a:pt x="596" y="5"/>
                </a:lnTo>
                <a:lnTo>
                  <a:pt x="599" y="9"/>
                </a:lnTo>
                <a:lnTo>
                  <a:pt x="601" y="14"/>
                </a:lnTo>
                <a:lnTo>
                  <a:pt x="604" y="58"/>
                </a:lnTo>
                <a:lnTo>
                  <a:pt x="620" y="65"/>
                </a:lnTo>
                <a:lnTo>
                  <a:pt x="634" y="74"/>
                </a:lnTo>
                <a:lnTo>
                  <a:pt x="672" y="57"/>
                </a:lnTo>
                <a:lnTo>
                  <a:pt x="675" y="55"/>
                </a:lnTo>
                <a:lnTo>
                  <a:pt x="678" y="57"/>
                </a:lnTo>
                <a:lnTo>
                  <a:pt x="684" y="57"/>
                </a:lnTo>
                <a:lnTo>
                  <a:pt x="685" y="60"/>
                </a:lnTo>
                <a:lnTo>
                  <a:pt x="692" y="69"/>
                </a:lnTo>
                <a:lnTo>
                  <a:pt x="697" y="77"/>
                </a:lnTo>
                <a:lnTo>
                  <a:pt x="703" y="86"/>
                </a:lnTo>
                <a:lnTo>
                  <a:pt x="708" y="96"/>
                </a:lnTo>
                <a:lnTo>
                  <a:pt x="708" y="100"/>
                </a:lnTo>
                <a:lnTo>
                  <a:pt x="708" y="105"/>
                </a:lnTo>
                <a:lnTo>
                  <a:pt x="706" y="108"/>
                </a:lnTo>
                <a:lnTo>
                  <a:pt x="703" y="112"/>
                </a:lnTo>
                <a:lnTo>
                  <a:pt x="668" y="136"/>
                </a:lnTo>
                <a:lnTo>
                  <a:pt x="670" y="145"/>
                </a:lnTo>
                <a:lnTo>
                  <a:pt x="670" y="151"/>
                </a:lnTo>
                <a:lnTo>
                  <a:pt x="670" y="160"/>
                </a:lnTo>
                <a:lnTo>
                  <a:pt x="668" y="169"/>
                </a:lnTo>
                <a:lnTo>
                  <a:pt x="703" y="193"/>
                </a:lnTo>
                <a:lnTo>
                  <a:pt x="706" y="196"/>
                </a:lnTo>
                <a:lnTo>
                  <a:pt x="708" y="200"/>
                </a:lnTo>
                <a:lnTo>
                  <a:pt x="708" y="203"/>
                </a:lnTo>
                <a:lnTo>
                  <a:pt x="708" y="208"/>
                </a:lnTo>
                <a:lnTo>
                  <a:pt x="703" y="217"/>
                </a:lnTo>
                <a:lnTo>
                  <a:pt x="697" y="227"/>
                </a:lnTo>
                <a:lnTo>
                  <a:pt x="692" y="236"/>
                </a:lnTo>
                <a:lnTo>
                  <a:pt x="685" y="244"/>
                </a:lnTo>
                <a:lnTo>
                  <a:pt x="684" y="246"/>
                </a:lnTo>
                <a:lnTo>
                  <a:pt x="678" y="248"/>
                </a:lnTo>
                <a:lnTo>
                  <a:pt x="675" y="248"/>
                </a:lnTo>
                <a:lnTo>
                  <a:pt x="672" y="248"/>
                </a:lnTo>
                <a:lnTo>
                  <a:pt x="634" y="231"/>
                </a:lnTo>
                <a:lnTo>
                  <a:pt x="620" y="239"/>
                </a:lnTo>
                <a:lnTo>
                  <a:pt x="604" y="246"/>
                </a:lnTo>
                <a:lnTo>
                  <a:pt x="601" y="291"/>
                </a:lnTo>
                <a:lnTo>
                  <a:pt x="599" y="296"/>
                </a:lnTo>
                <a:lnTo>
                  <a:pt x="596" y="300"/>
                </a:lnTo>
                <a:lnTo>
                  <a:pt x="591" y="301"/>
                </a:lnTo>
                <a:lnTo>
                  <a:pt x="579" y="303"/>
                </a:lnTo>
                <a:lnTo>
                  <a:pt x="568" y="303"/>
                </a:lnTo>
                <a:lnTo>
                  <a:pt x="558" y="303"/>
                </a:lnTo>
                <a:lnTo>
                  <a:pt x="548" y="301"/>
                </a:lnTo>
                <a:lnTo>
                  <a:pt x="542" y="300"/>
                </a:lnTo>
                <a:lnTo>
                  <a:pt x="539" y="296"/>
                </a:lnTo>
                <a:lnTo>
                  <a:pt x="537" y="291"/>
                </a:lnTo>
                <a:lnTo>
                  <a:pt x="532" y="246"/>
                </a:lnTo>
                <a:lnTo>
                  <a:pt x="518" y="239"/>
                </a:lnTo>
                <a:lnTo>
                  <a:pt x="505" y="231"/>
                </a:lnTo>
                <a:lnTo>
                  <a:pt x="467" y="248"/>
                </a:lnTo>
                <a:lnTo>
                  <a:pt x="463" y="248"/>
                </a:lnTo>
                <a:lnTo>
                  <a:pt x="458" y="248"/>
                </a:lnTo>
                <a:lnTo>
                  <a:pt x="455" y="246"/>
                </a:lnTo>
                <a:lnTo>
                  <a:pt x="451" y="244"/>
                </a:lnTo>
                <a:lnTo>
                  <a:pt x="444" y="236"/>
                </a:lnTo>
                <a:lnTo>
                  <a:pt x="439" y="227"/>
                </a:lnTo>
                <a:lnTo>
                  <a:pt x="436" y="217"/>
                </a:lnTo>
                <a:lnTo>
                  <a:pt x="431" y="208"/>
                </a:lnTo>
                <a:lnTo>
                  <a:pt x="431" y="203"/>
                </a:lnTo>
                <a:lnTo>
                  <a:pt x="431" y="200"/>
                </a:lnTo>
                <a:lnTo>
                  <a:pt x="432" y="196"/>
                </a:lnTo>
                <a:lnTo>
                  <a:pt x="436" y="193"/>
                </a:lnTo>
                <a:lnTo>
                  <a:pt x="468" y="169"/>
                </a:lnTo>
                <a:lnTo>
                  <a:pt x="468" y="160"/>
                </a:lnTo>
                <a:lnTo>
                  <a:pt x="468" y="151"/>
                </a:lnTo>
                <a:lnTo>
                  <a:pt x="468" y="145"/>
                </a:lnTo>
                <a:lnTo>
                  <a:pt x="468" y="136"/>
                </a:lnTo>
                <a:lnTo>
                  <a:pt x="436" y="112"/>
                </a:lnTo>
                <a:lnTo>
                  <a:pt x="432" y="108"/>
                </a:lnTo>
                <a:lnTo>
                  <a:pt x="431" y="105"/>
                </a:lnTo>
                <a:lnTo>
                  <a:pt x="431" y="100"/>
                </a:lnTo>
                <a:lnTo>
                  <a:pt x="431" y="96"/>
                </a:lnTo>
                <a:lnTo>
                  <a:pt x="436" y="86"/>
                </a:lnTo>
                <a:lnTo>
                  <a:pt x="439" y="77"/>
                </a:lnTo>
                <a:lnTo>
                  <a:pt x="444" y="69"/>
                </a:lnTo>
                <a:lnTo>
                  <a:pt x="451" y="60"/>
                </a:lnTo>
                <a:lnTo>
                  <a:pt x="455" y="57"/>
                </a:lnTo>
                <a:lnTo>
                  <a:pt x="458" y="57"/>
                </a:lnTo>
                <a:lnTo>
                  <a:pt x="463" y="55"/>
                </a:lnTo>
                <a:lnTo>
                  <a:pt x="467" y="57"/>
                </a:lnTo>
                <a:lnTo>
                  <a:pt x="505" y="74"/>
                </a:lnTo>
                <a:lnTo>
                  <a:pt x="518" y="65"/>
                </a:lnTo>
                <a:lnTo>
                  <a:pt x="532" y="58"/>
                </a:lnTo>
                <a:lnTo>
                  <a:pt x="537" y="14"/>
                </a:lnTo>
                <a:lnTo>
                  <a:pt x="539" y="9"/>
                </a:lnTo>
                <a:lnTo>
                  <a:pt x="542" y="5"/>
                </a:lnTo>
                <a:lnTo>
                  <a:pt x="548" y="2"/>
                </a:lnTo>
                <a:lnTo>
                  <a:pt x="568" y="0"/>
                </a:lnTo>
                <a:close/>
              </a:path>
            </a:pathLst>
          </a:custGeom>
          <a:solidFill>
            <a:srgbClr val="CF002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pole tekstowe 55">
            <a:extLst>
              <a:ext uri="{FF2B5EF4-FFF2-40B4-BE49-F238E27FC236}">
                <a16:creationId xmlns:a16="http://schemas.microsoft.com/office/drawing/2014/main" id="{C2977268-5DDF-4A8A-B02D-FA4B3F4FA38E}"/>
              </a:ext>
            </a:extLst>
          </p:cNvPr>
          <p:cNvSpPr txBox="1"/>
          <p:nvPr/>
        </p:nvSpPr>
        <p:spPr>
          <a:xfrm>
            <a:off x="2157335" y="1832542"/>
            <a:ext cx="12473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sz="1200" b="1"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2</a:t>
            </a:r>
            <a:r>
              <a:rPr kumimoji="0" lang="pl-PL"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rPr>
              <a:t> </a:t>
            </a:r>
            <a:r>
              <a:rPr lang="pl-PL" sz="1200" kern="0" dirty="0">
                <a:solidFill>
                  <a:prstClr val="black">
                    <a:lumMod val="65000"/>
                    <a:lumOff val="35000"/>
                  </a:prstClr>
                </a:solidFill>
                <a:latin typeface="Calibri"/>
                <a:ea typeface="ＭＳ Ｐゴシック" pitchFamily="34" charset="-128"/>
                <a:cs typeface="Times New Roman" pitchFamily="18" charset="0"/>
              </a:rPr>
              <a:t>Securities</a:t>
            </a:r>
            <a:endParaRPr kumimoji="0" lang="en-US" sz="1200" b="0" i="0" u="none" strike="noStrike" kern="0" cap="none" spc="0" normalizeH="0" baseline="0" noProof="0" dirty="0">
              <a:ln>
                <a:noFill/>
              </a:ln>
              <a:solidFill>
                <a:prstClr val="black">
                  <a:lumMod val="65000"/>
                  <a:lumOff val="35000"/>
                </a:prstClr>
              </a:solidFill>
              <a:effectLst/>
              <a:uLnTx/>
              <a:uFillTx/>
              <a:latin typeface="Calibri"/>
              <a:ea typeface="ＭＳ Ｐゴシック" pitchFamily="34" charset="-128"/>
              <a:cs typeface="Times New Roman" pitchFamily="18" charset="0"/>
            </a:endParaRPr>
          </a:p>
        </p:txBody>
      </p:sp>
      <p:cxnSp>
        <p:nvCxnSpPr>
          <p:cNvPr id="57" name="Łącznik prosty ze strzałką 76">
            <a:extLst>
              <a:ext uri="{FF2B5EF4-FFF2-40B4-BE49-F238E27FC236}">
                <a16:creationId xmlns:a16="http://schemas.microsoft.com/office/drawing/2014/main" id="{91A83CEE-95E4-3584-7134-CBD1E3877FB8}"/>
              </a:ext>
            </a:extLst>
          </p:cNvPr>
          <p:cNvCxnSpPr/>
          <p:nvPr/>
        </p:nvCxnSpPr>
        <p:spPr>
          <a:xfrm flipV="1">
            <a:off x="537965" y="2065407"/>
            <a:ext cx="0" cy="2690580"/>
          </a:xfrm>
          <a:prstGeom prst="straightConnector1">
            <a:avLst/>
          </a:prstGeom>
          <a:noFill/>
          <a:ln w="9525" cap="flat" cmpd="sng" algn="ctr">
            <a:solidFill>
              <a:srgbClr val="B60024"/>
            </a:solidFill>
            <a:prstDash val="dash"/>
            <a:headEnd type="none" w="med" len="med"/>
            <a:tailEnd type="none" w="med" len="med"/>
          </a:ln>
          <a:effectLst/>
        </p:spPr>
      </p:cxnSp>
      <p:cxnSp>
        <p:nvCxnSpPr>
          <p:cNvPr id="58" name="Łącznik prosty ze strzałką 76">
            <a:extLst>
              <a:ext uri="{FF2B5EF4-FFF2-40B4-BE49-F238E27FC236}">
                <a16:creationId xmlns:a16="http://schemas.microsoft.com/office/drawing/2014/main" id="{7338FED1-0699-B27F-1308-E23986249F72}"/>
              </a:ext>
            </a:extLst>
          </p:cNvPr>
          <p:cNvCxnSpPr/>
          <p:nvPr/>
        </p:nvCxnSpPr>
        <p:spPr>
          <a:xfrm>
            <a:off x="571493" y="3773594"/>
            <a:ext cx="539510" cy="0"/>
          </a:xfrm>
          <a:prstGeom prst="straightConnector1">
            <a:avLst/>
          </a:prstGeom>
          <a:noFill/>
          <a:ln w="9525" cap="flat" cmpd="sng" algn="ctr">
            <a:solidFill>
              <a:srgbClr val="B60024"/>
            </a:solidFill>
            <a:prstDash val="dash"/>
            <a:headEnd type="none" w="med" len="med"/>
            <a:tailEnd type="none" w="med" len="med"/>
          </a:ln>
          <a:effectLst/>
        </p:spPr>
      </p:cxnSp>
      <p:cxnSp>
        <p:nvCxnSpPr>
          <p:cNvPr id="59" name="Łącznik prosty ze strzałką 76">
            <a:extLst>
              <a:ext uri="{FF2B5EF4-FFF2-40B4-BE49-F238E27FC236}">
                <a16:creationId xmlns:a16="http://schemas.microsoft.com/office/drawing/2014/main" id="{DD9DDA92-4717-86E1-E73C-5D67C7801E14}"/>
              </a:ext>
            </a:extLst>
          </p:cNvPr>
          <p:cNvCxnSpPr/>
          <p:nvPr/>
        </p:nvCxnSpPr>
        <p:spPr>
          <a:xfrm>
            <a:off x="571493" y="2712467"/>
            <a:ext cx="539510" cy="0"/>
          </a:xfrm>
          <a:prstGeom prst="straightConnector1">
            <a:avLst/>
          </a:prstGeom>
          <a:noFill/>
          <a:ln w="9525" cap="flat" cmpd="sng" algn="ctr">
            <a:solidFill>
              <a:srgbClr val="B60024"/>
            </a:solidFill>
            <a:prstDash val="dash"/>
            <a:headEnd type="none" w="med" len="med"/>
            <a:tailEnd type="none" w="med" len="med"/>
          </a:ln>
          <a:effectLst/>
        </p:spPr>
      </p:cxnSp>
      <p:cxnSp>
        <p:nvCxnSpPr>
          <p:cNvPr id="60" name="Łącznik prosty ze strzałką 76">
            <a:extLst>
              <a:ext uri="{FF2B5EF4-FFF2-40B4-BE49-F238E27FC236}">
                <a16:creationId xmlns:a16="http://schemas.microsoft.com/office/drawing/2014/main" id="{F2A28E09-EB49-433A-C2D1-E4AAC4446AD0}"/>
              </a:ext>
            </a:extLst>
          </p:cNvPr>
          <p:cNvCxnSpPr/>
          <p:nvPr/>
        </p:nvCxnSpPr>
        <p:spPr>
          <a:xfrm>
            <a:off x="537965" y="2076996"/>
            <a:ext cx="3975404" cy="32545"/>
          </a:xfrm>
          <a:prstGeom prst="straightConnector1">
            <a:avLst/>
          </a:prstGeom>
          <a:noFill/>
          <a:ln w="9525" cap="flat" cmpd="sng" algn="ctr">
            <a:solidFill>
              <a:srgbClr val="B60024"/>
            </a:solidFill>
            <a:prstDash val="dash"/>
            <a:tailEnd type="triangle" w="med" len="med"/>
          </a:ln>
          <a:effectLst/>
        </p:spPr>
      </p:cxnSp>
      <p:cxnSp>
        <p:nvCxnSpPr>
          <p:cNvPr id="61" name="Łącznik prosty ze strzałką 76">
            <a:extLst>
              <a:ext uri="{FF2B5EF4-FFF2-40B4-BE49-F238E27FC236}">
                <a16:creationId xmlns:a16="http://schemas.microsoft.com/office/drawing/2014/main" id="{611942BC-6F83-6490-66D8-6275075675ED}"/>
              </a:ext>
            </a:extLst>
          </p:cNvPr>
          <p:cNvCxnSpPr/>
          <p:nvPr/>
        </p:nvCxnSpPr>
        <p:spPr>
          <a:xfrm>
            <a:off x="537965" y="4766134"/>
            <a:ext cx="539510" cy="0"/>
          </a:xfrm>
          <a:prstGeom prst="straightConnector1">
            <a:avLst/>
          </a:prstGeom>
          <a:noFill/>
          <a:ln w="9525" cap="flat" cmpd="sng" algn="ctr">
            <a:solidFill>
              <a:srgbClr val="B60024"/>
            </a:solidFill>
            <a:prstDash val="dash"/>
            <a:headEnd type="none" w="med" len="med"/>
            <a:tailEnd type="none" w="med" len="med"/>
          </a:ln>
          <a:effectLst/>
        </p:spPr>
      </p:cxnSp>
      <p:pic>
        <p:nvPicPr>
          <p:cNvPr id="63" name="Obraz 62">
            <a:extLst>
              <a:ext uri="{FF2B5EF4-FFF2-40B4-BE49-F238E27FC236}">
                <a16:creationId xmlns:a16="http://schemas.microsoft.com/office/drawing/2014/main" id="{6BF70F3F-3793-0811-6FCA-8640754AFAAB}"/>
              </a:ext>
            </a:extLst>
          </p:cNvPr>
          <p:cNvPicPr/>
          <p:nvPr/>
        </p:nvPicPr>
        <p:blipFill rotWithShape="1">
          <a:blip r:embed="rId3" cstate="print">
            <a:extLst>
              <a:ext uri="{28A0092B-C50C-407E-A947-70E740481C1C}">
                <a14:useLocalDpi xmlns:a14="http://schemas.microsoft.com/office/drawing/2010/main" val="0"/>
              </a:ext>
            </a:extLst>
          </a:blip>
          <a:srcRect t="22628" r="14525"/>
          <a:stretch/>
        </p:blipFill>
        <p:spPr>
          <a:xfrm>
            <a:off x="10419780" y="109509"/>
            <a:ext cx="1656323" cy="788465"/>
          </a:xfrm>
          <a:prstGeom prst="rect">
            <a:avLst/>
          </a:prstGeom>
        </p:spPr>
      </p:pic>
    </p:spTree>
    <p:extLst>
      <p:ext uri="{BB962C8B-B14F-4D97-AF65-F5344CB8AC3E}">
        <p14:creationId xmlns:p14="http://schemas.microsoft.com/office/powerpoint/2010/main" val="24926646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8</a:t>
            </a:fld>
            <a:endParaRPr lang="en-US"/>
          </a:p>
        </p:txBody>
      </p:sp>
      <p:pic>
        <p:nvPicPr>
          <p:cNvPr id="2" name="Obraz 148">
            <a:extLst>
              <a:ext uri="{FF2B5EF4-FFF2-40B4-BE49-F238E27FC236}">
                <a16:creationId xmlns:a16="http://schemas.microsoft.com/office/drawing/2014/main" id="{AAD56C3D-8C0A-C9D3-C4F3-CC81E7153CA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Prostokąt 11">
            <a:extLst>
              <a:ext uri="{FF2B5EF4-FFF2-40B4-BE49-F238E27FC236}">
                <a16:creationId xmlns:a16="http://schemas.microsoft.com/office/drawing/2014/main" id="{EF2D7D00-9078-A2DE-61BD-8A41E8EDA752}"/>
              </a:ext>
            </a:extLst>
          </p:cNvPr>
          <p:cNvSpPr/>
          <p:nvPr/>
        </p:nvSpPr>
        <p:spPr>
          <a:xfrm>
            <a:off x="561995" y="361545"/>
            <a:ext cx="8554109" cy="777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spcBef>
                <a:spcPct val="0"/>
              </a:spcBef>
              <a:defRPr/>
            </a:pPr>
            <a:r>
              <a:rPr lang="en-US" sz="2400" b="1" dirty="0">
                <a:solidFill>
                  <a:schemeClr val="accent1"/>
                </a:solidFill>
                <a:latin typeface="Calibri" panose="020F0502020204030204" pitchFamily="34" charset="0"/>
              </a:rPr>
              <a:t>Financing expansion</a:t>
            </a:r>
          </a:p>
        </p:txBody>
      </p:sp>
      <p:sp>
        <p:nvSpPr>
          <p:cNvPr id="6" name="object 212">
            <a:extLst>
              <a:ext uri="{FF2B5EF4-FFF2-40B4-BE49-F238E27FC236}">
                <a16:creationId xmlns:a16="http://schemas.microsoft.com/office/drawing/2014/main" id="{1FA908AF-5C89-1347-A2E3-56F9CDD235B1}"/>
              </a:ext>
            </a:extLst>
          </p:cNvPr>
          <p:cNvSpPr/>
          <p:nvPr/>
        </p:nvSpPr>
        <p:spPr>
          <a:xfrm>
            <a:off x="7359706" y="1765819"/>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7" name="object 6">
            <a:extLst>
              <a:ext uri="{FF2B5EF4-FFF2-40B4-BE49-F238E27FC236}">
                <a16:creationId xmlns:a16="http://schemas.microsoft.com/office/drawing/2014/main" id="{9001B054-BD32-4640-CC9F-19DB3824EF37}"/>
              </a:ext>
            </a:extLst>
          </p:cNvPr>
          <p:cNvSpPr txBox="1"/>
          <p:nvPr/>
        </p:nvSpPr>
        <p:spPr>
          <a:xfrm>
            <a:off x="568443" y="1983367"/>
            <a:ext cx="2104441" cy="45653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Norway</a:t>
            </a:r>
          </a:p>
          <a:p>
            <a:pPr marL="12700" marR="5080">
              <a:lnSpc>
                <a:spcPct val="100000"/>
              </a:lnSpc>
              <a:spcBef>
                <a:spcPts val="100"/>
              </a:spcBef>
            </a:pPr>
            <a:r>
              <a:rPr lang="pl-PL" sz="1400" spc="-10" dirty="0" err="1">
                <a:latin typeface="Calibri" panose="020F0502020204030204" pitchFamily="34" charset="0"/>
                <a:cs typeface="Calibri" panose="020F0502020204030204" pitchFamily="34" charset="0"/>
              </a:rPr>
              <a:t>Reserve</a:t>
            </a:r>
            <a:r>
              <a:rPr lang="pl-PL" sz="1400" spc="-10" dirty="0">
                <a:latin typeface="Calibri" panose="020F0502020204030204" pitchFamily="34" charset="0"/>
                <a:cs typeface="Calibri" panose="020F0502020204030204" pitchFamily="34" charset="0"/>
              </a:rPr>
              <a:t> </a:t>
            </a:r>
            <a:r>
              <a:rPr lang="pl-PL" sz="1400" spc="-10" dirty="0" err="1">
                <a:latin typeface="Calibri" panose="020F0502020204030204" pitchFamily="34" charset="0"/>
                <a:cs typeface="Calibri" panose="020F0502020204030204" pitchFamily="34" charset="0"/>
              </a:rPr>
              <a:t>based</a:t>
            </a:r>
            <a:r>
              <a:rPr lang="pl-PL" sz="1400" spc="-10" dirty="0">
                <a:latin typeface="Calibri" panose="020F0502020204030204" pitchFamily="34" charset="0"/>
                <a:cs typeface="Calibri" panose="020F0502020204030204" pitchFamily="34" charset="0"/>
              </a:rPr>
              <a:t> </a:t>
            </a:r>
            <a:r>
              <a:rPr lang="pl-PL" sz="1400" spc="-10" dirty="0" err="1">
                <a:latin typeface="Calibri" panose="020F0502020204030204" pitchFamily="34" charset="0"/>
                <a:cs typeface="Calibri" panose="020F0502020204030204" pitchFamily="34" charset="0"/>
              </a:rPr>
              <a:t>credit</a:t>
            </a:r>
            <a:endParaRPr lang="en-US" sz="1400" spc="-10" dirty="0">
              <a:latin typeface="Calibri" panose="020F0502020204030204" pitchFamily="34" charset="0"/>
              <a:cs typeface="Calibri" panose="020F0502020204030204" pitchFamily="34" charset="0"/>
            </a:endParaRPr>
          </a:p>
        </p:txBody>
      </p:sp>
      <p:sp>
        <p:nvSpPr>
          <p:cNvPr id="8" name="object 6">
            <a:extLst>
              <a:ext uri="{FF2B5EF4-FFF2-40B4-BE49-F238E27FC236}">
                <a16:creationId xmlns:a16="http://schemas.microsoft.com/office/drawing/2014/main" id="{FF2A8BE3-CC62-D013-6F58-815DE7608B49}"/>
              </a:ext>
            </a:extLst>
          </p:cNvPr>
          <p:cNvSpPr txBox="1"/>
          <p:nvPr/>
        </p:nvSpPr>
        <p:spPr>
          <a:xfrm>
            <a:off x="568443" y="265894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43 m USD</a:t>
            </a:r>
          </a:p>
        </p:txBody>
      </p:sp>
      <p:sp>
        <p:nvSpPr>
          <p:cNvPr id="9" name="object 212">
            <a:extLst>
              <a:ext uri="{FF2B5EF4-FFF2-40B4-BE49-F238E27FC236}">
                <a16:creationId xmlns:a16="http://schemas.microsoft.com/office/drawing/2014/main" id="{0793E47E-43C3-0BE7-99CE-879AF28CFCE0}"/>
              </a:ext>
            </a:extLst>
          </p:cNvPr>
          <p:cNvSpPr/>
          <p:nvPr/>
        </p:nvSpPr>
        <p:spPr>
          <a:xfrm>
            <a:off x="9602447" y="1765819"/>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0" name="object 212">
            <a:extLst>
              <a:ext uri="{FF2B5EF4-FFF2-40B4-BE49-F238E27FC236}">
                <a16:creationId xmlns:a16="http://schemas.microsoft.com/office/drawing/2014/main" id="{859BE6F7-82D2-CA03-6100-D5A50AD0F42B}"/>
              </a:ext>
            </a:extLst>
          </p:cNvPr>
          <p:cNvSpPr/>
          <p:nvPr/>
        </p:nvSpPr>
        <p:spPr>
          <a:xfrm>
            <a:off x="7359706" y="3347086"/>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1" name="object 212">
            <a:extLst>
              <a:ext uri="{FF2B5EF4-FFF2-40B4-BE49-F238E27FC236}">
                <a16:creationId xmlns:a16="http://schemas.microsoft.com/office/drawing/2014/main" id="{2EA3A03B-50E8-D8E0-57BC-098D9D22F8A0}"/>
              </a:ext>
            </a:extLst>
          </p:cNvPr>
          <p:cNvSpPr/>
          <p:nvPr/>
        </p:nvSpPr>
        <p:spPr>
          <a:xfrm>
            <a:off x="9602447" y="3347086"/>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2" name="object 212">
            <a:extLst>
              <a:ext uri="{FF2B5EF4-FFF2-40B4-BE49-F238E27FC236}">
                <a16:creationId xmlns:a16="http://schemas.microsoft.com/office/drawing/2014/main" id="{0350BFCD-D545-25EA-917C-1F75DC3F0DAD}"/>
              </a:ext>
            </a:extLst>
          </p:cNvPr>
          <p:cNvSpPr/>
          <p:nvPr/>
        </p:nvSpPr>
        <p:spPr>
          <a:xfrm>
            <a:off x="7359706" y="5071943"/>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13" name="object 6">
            <a:extLst>
              <a:ext uri="{FF2B5EF4-FFF2-40B4-BE49-F238E27FC236}">
                <a16:creationId xmlns:a16="http://schemas.microsoft.com/office/drawing/2014/main" id="{D89E2DA3-023E-2D03-8157-EAB1AF0E3629}"/>
              </a:ext>
            </a:extLst>
          </p:cNvPr>
          <p:cNvSpPr txBox="1"/>
          <p:nvPr/>
        </p:nvSpPr>
        <p:spPr>
          <a:xfrm>
            <a:off x="5008203" y="1983725"/>
            <a:ext cx="2104441" cy="659155"/>
          </a:xfrm>
          <a:prstGeom prst="rect">
            <a:avLst/>
          </a:prstGeom>
        </p:spPr>
        <p:txBody>
          <a:bodyPr vert="horz" wrap="square" lIns="0" tIns="12700" rIns="0" bIns="0" rtlCol="0">
            <a:spAutoFit/>
          </a:bodyPr>
          <a:lstStyle/>
          <a:p>
            <a:pPr marL="12700" marR="5080">
              <a:lnSpc>
                <a:spcPct val="100000"/>
              </a:lnSpc>
              <a:spcBef>
                <a:spcPts val="100"/>
              </a:spcBef>
            </a:pPr>
            <a:r>
              <a:rPr lang="pl-PL" sz="1400" b="1" spc="-10" dirty="0" err="1">
                <a:latin typeface="Calibri" panose="020F0502020204030204" pitchFamily="34" charset="0"/>
                <a:cs typeface="Calibri" panose="020F0502020204030204" pitchFamily="34" charset="0"/>
              </a:rPr>
              <a:t>Brazil</a:t>
            </a:r>
            <a:r>
              <a:rPr lang="en-US" sz="1400" b="1" spc="-10" dirty="0">
                <a:latin typeface="Calibri" panose="020F0502020204030204" pitchFamily="34" charset="0"/>
                <a:cs typeface="Calibri" panose="020F0502020204030204" pitchFamily="34" charset="0"/>
              </a:rPr>
              <a:t>, </a:t>
            </a:r>
            <a:r>
              <a:rPr lang="pl-PL" sz="1400" b="1" spc="-10" dirty="0">
                <a:latin typeface="Calibri" panose="020F0502020204030204" pitchFamily="34" charset="0"/>
                <a:cs typeface="Calibri" panose="020F0502020204030204" pitchFamily="34" charset="0"/>
              </a:rPr>
              <a:t>the </a:t>
            </a:r>
            <a:r>
              <a:rPr lang="pl-PL" sz="1400" b="1" spc="-10" dirty="0" err="1">
                <a:latin typeface="Calibri" panose="020F0502020204030204" pitchFamily="34" charset="0"/>
                <a:cs typeface="Calibri" panose="020F0502020204030204" pitchFamily="34" charset="0"/>
              </a:rPr>
              <a:t>Netherlands</a:t>
            </a:r>
            <a:r>
              <a:rPr lang="en-US" sz="1400" b="1" spc="-10" dirty="0">
                <a:latin typeface="Calibri" panose="020F0502020204030204" pitchFamily="34" charset="0"/>
                <a:cs typeface="Calibri" panose="020F0502020204030204" pitchFamily="34" charset="0"/>
              </a:rPr>
              <a:t> </a:t>
            </a:r>
            <a:r>
              <a:rPr lang="pl-PL" sz="1400" spc="-10" dirty="0">
                <a:latin typeface="Calibri" panose="020F0502020204030204" pitchFamily="34" charset="0"/>
                <a:cs typeface="Calibri" panose="020F0502020204030204" pitchFamily="34" charset="0"/>
              </a:rPr>
              <a:t>P</a:t>
            </a:r>
            <a:r>
              <a:rPr lang="en-US" sz="1400" spc="-10" dirty="0" err="1">
                <a:latin typeface="Calibri" panose="020F0502020204030204" pitchFamily="34" charset="0"/>
                <a:cs typeface="Calibri" panose="020F0502020204030204" pitchFamily="34" charset="0"/>
              </a:rPr>
              <a:t>roduction</a:t>
            </a:r>
            <a:r>
              <a:rPr lang="en-US" sz="1400" spc="-10" dirty="0">
                <a:latin typeface="Calibri" panose="020F0502020204030204" pitchFamily="34" charset="0"/>
                <a:cs typeface="Calibri" panose="020F0502020204030204" pitchFamily="34" charset="0"/>
              </a:rPr>
              <a:t> plant</a:t>
            </a:r>
            <a:r>
              <a:rPr lang="pl-PL" sz="1400" spc="-10" dirty="0">
                <a:latin typeface="Calibri" panose="020F0502020204030204" pitchFamily="34" charset="0"/>
                <a:cs typeface="Calibri" panose="020F0502020204030204" pitchFamily="34" charset="0"/>
              </a:rPr>
              <a:t> c</a:t>
            </a:r>
            <a:r>
              <a:rPr lang="en-US" sz="1400" spc="-10" dirty="0" err="1">
                <a:latin typeface="Calibri" panose="020F0502020204030204" pitchFamily="34" charset="0"/>
                <a:cs typeface="Calibri" panose="020F0502020204030204" pitchFamily="34" charset="0"/>
              </a:rPr>
              <a:t>onstruction</a:t>
            </a:r>
            <a:endParaRPr lang="en-US" sz="1400" spc="-10" dirty="0">
              <a:latin typeface="Calibri" panose="020F0502020204030204" pitchFamily="34" charset="0"/>
              <a:cs typeface="Calibri" panose="020F0502020204030204" pitchFamily="34" charset="0"/>
            </a:endParaRPr>
          </a:p>
        </p:txBody>
      </p:sp>
      <p:sp>
        <p:nvSpPr>
          <p:cNvPr id="14" name="object 6">
            <a:extLst>
              <a:ext uri="{FF2B5EF4-FFF2-40B4-BE49-F238E27FC236}">
                <a16:creationId xmlns:a16="http://schemas.microsoft.com/office/drawing/2014/main" id="{F53FEAE5-6160-6280-B700-9362E6C71046}"/>
              </a:ext>
            </a:extLst>
          </p:cNvPr>
          <p:cNvSpPr txBox="1"/>
          <p:nvPr/>
        </p:nvSpPr>
        <p:spPr>
          <a:xfrm>
            <a:off x="5008203" y="2663550"/>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100 m EUR</a:t>
            </a:r>
          </a:p>
        </p:txBody>
      </p:sp>
      <p:sp>
        <p:nvSpPr>
          <p:cNvPr id="15" name="object 6">
            <a:extLst>
              <a:ext uri="{FF2B5EF4-FFF2-40B4-BE49-F238E27FC236}">
                <a16:creationId xmlns:a16="http://schemas.microsoft.com/office/drawing/2014/main" id="{64E359D6-40D8-ACBC-DA40-946B45DFA5EC}"/>
              </a:ext>
            </a:extLst>
          </p:cNvPr>
          <p:cNvSpPr txBox="1"/>
          <p:nvPr/>
        </p:nvSpPr>
        <p:spPr>
          <a:xfrm>
            <a:off x="7316118" y="1979123"/>
            <a:ext cx="2104441" cy="65915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China, India, Mexico </a:t>
            </a:r>
            <a:r>
              <a:rPr lang="pl-PL" sz="1400" spc="-10" dirty="0">
                <a:latin typeface="Calibri" panose="020F0502020204030204" pitchFamily="34" charset="0"/>
                <a:cs typeface="Calibri" panose="020F0502020204030204" pitchFamily="34" charset="0"/>
              </a:rPr>
              <a:t>P</a:t>
            </a:r>
            <a:r>
              <a:rPr lang="en-US" sz="1400" spc="-10" dirty="0" err="1">
                <a:latin typeface="Calibri" panose="020F0502020204030204" pitchFamily="34" charset="0"/>
                <a:cs typeface="Calibri" panose="020F0502020204030204" pitchFamily="34" charset="0"/>
              </a:rPr>
              <a:t>roduction</a:t>
            </a:r>
            <a:r>
              <a:rPr lang="en-US" sz="1400" spc="-10" dirty="0">
                <a:latin typeface="Calibri" panose="020F0502020204030204" pitchFamily="34" charset="0"/>
                <a:cs typeface="Calibri" panose="020F0502020204030204" pitchFamily="34" charset="0"/>
              </a:rPr>
              <a:t> plant</a:t>
            </a:r>
            <a:r>
              <a:rPr lang="pl-PL" sz="1400" spc="-10" dirty="0">
                <a:latin typeface="Calibri" panose="020F0502020204030204" pitchFamily="34" charset="0"/>
                <a:cs typeface="Calibri" panose="020F0502020204030204" pitchFamily="34" charset="0"/>
              </a:rPr>
              <a:t> c</a:t>
            </a:r>
            <a:r>
              <a:rPr lang="en-US" sz="1400" spc="-10" dirty="0" err="1">
                <a:latin typeface="Calibri" panose="020F0502020204030204" pitchFamily="34" charset="0"/>
                <a:cs typeface="Calibri" panose="020F0502020204030204" pitchFamily="34" charset="0"/>
              </a:rPr>
              <a:t>onstruction</a:t>
            </a:r>
            <a:endParaRPr lang="en-US" sz="1400" spc="-10" dirty="0">
              <a:latin typeface="Calibri" panose="020F0502020204030204" pitchFamily="34" charset="0"/>
              <a:cs typeface="Calibri" panose="020F0502020204030204" pitchFamily="34" charset="0"/>
            </a:endParaRPr>
          </a:p>
        </p:txBody>
      </p:sp>
      <p:sp>
        <p:nvSpPr>
          <p:cNvPr id="16" name="object 6">
            <a:extLst>
              <a:ext uri="{FF2B5EF4-FFF2-40B4-BE49-F238E27FC236}">
                <a16:creationId xmlns:a16="http://schemas.microsoft.com/office/drawing/2014/main" id="{FACD5AB9-1581-F9D6-B977-7739F62A991F}"/>
              </a:ext>
            </a:extLst>
          </p:cNvPr>
          <p:cNvSpPr txBox="1"/>
          <p:nvPr/>
        </p:nvSpPr>
        <p:spPr>
          <a:xfrm>
            <a:off x="7316118" y="265894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27 m EUR</a:t>
            </a:r>
          </a:p>
        </p:txBody>
      </p:sp>
      <p:sp>
        <p:nvSpPr>
          <p:cNvPr id="17" name="object 6">
            <a:extLst>
              <a:ext uri="{FF2B5EF4-FFF2-40B4-BE49-F238E27FC236}">
                <a16:creationId xmlns:a16="http://schemas.microsoft.com/office/drawing/2014/main" id="{5A0CD910-D450-C520-480A-0051DA6C9CF3}"/>
              </a:ext>
            </a:extLst>
          </p:cNvPr>
          <p:cNvSpPr txBox="1"/>
          <p:nvPr/>
        </p:nvSpPr>
        <p:spPr>
          <a:xfrm>
            <a:off x="9558859" y="1979123"/>
            <a:ext cx="2104441" cy="45653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Greece</a:t>
            </a:r>
          </a:p>
          <a:p>
            <a:pPr marL="12700" marR="5080">
              <a:lnSpc>
                <a:spcPct val="100000"/>
              </a:lnSpc>
              <a:spcBef>
                <a:spcPts val="100"/>
              </a:spcBef>
            </a:pPr>
            <a:r>
              <a:rPr lang="pl-PL" sz="1400" spc="-10" dirty="0">
                <a:latin typeface="Calibri" panose="020F0502020204030204" pitchFamily="34" charset="0"/>
                <a:cs typeface="Calibri" panose="020F0502020204030204" pitchFamily="34" charset="0"/>
              </a:rPr>
              <a:t>H</a:t>
            </a:r>
            <a:r>
              <a:rPr lang="en-US" sz="1400" spc="-10" dirty="0" err="1">
                <a:latin typeface="Calibri" panose="020F0502020204030204" pitchFamily="34" charset="0"/>
                <a:cs typeface="Calibri" panose="020F0502020204030204" pitchFamily="34" charset="0"/>
              </a:rPr>
              <a:t>otel</a:t>
            </a:r>
            <a:r>
              <a:rPr lang="en-US" sz="1400" spc="-10" dirty="0">
                <a:latin typeface="Calibri" panose="020F0502020204030204" pitchFamily="34" charset="0"/>
                <a:cs typeface="Calibri" panose="020F0502020204030204" pitchFamily="34" charset="0"/>
              </a:rPr>
              <a:t> construction</a:t>
            </a:r>
          </a:p>
        </p:txBody>
      </p:sp>
      <p:sp>
        <p:nvSpPr>
          <p:cNvPr id="18" name="object 6">
            <a:extLst>
              <a:ext uri="{FF2B5EF4-FFF2-40B4-BE49-F238E27FC236}">
                <a16:creationId xmlns:a16="http://schemas.microsoft.com/office/drawing/2014/main" id="{F40DD437-548F-8843-189D-7F7F32C2ABB4}"/>
              </a:ext>
            </a:extLst>
          </p:cNvPr>
          <p:cNvSpPr txBox="1"/>
          <p:nvPr/>
        </p:nvSpPr>
        <p:spPr>
          <a:xfrm>
            <a:off x="9558859" y="265894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15,5 m EUR</a:t>
            </a:r>
          </a:p>
        </p:txBody>
      </p:sp>
      <p:sp>
        <p:nvSpPr>
          <p:cNvPr id="19" name="object 6">
            <a:extLst>
              <a:ext uri="{FF2B5EF4-FFF2-40B4-BE49-F238E27FC236}">
                <a16:creationId xmlns:a16="http://schemas.microsoft.com/office/drawing/2014/main" id="{A127452D-D324-866F-F6EF-6AF6EEF601CC}"/>
              </a:ext>
            </a:extLst>
          </p:cNvPr>
          <p:cNvSpPr txBox="1"/>
          <p:nvPr/>
        </p:nvSpPr>
        <p:spPr>
          <a:xfrm>
            <a:off x="568443" y="3560390"/>
            <a:ext cx="2104441" cy="684803"/>
          </a:xfrm>
          <a:prstGeom prst="rect">
            <a:avLst/>
          </a:prstGeom>
        </p:spPr>
        <p:txBody>
          <a:bodyPr vert="horz" wrap="square" lIns="0" tIns="12700" rIns="0" bIns="0" rtlCol="0">
            <a:spAutoFit/>
          </a:bodyPr>
          <a:lstStyle/>
          <a:p>
            <a:pPr marL="12700" marR="5080" lvl="0">
              <a:spcBef>
                <a:spcPts val="100"/>
              </a:spcBef>
              <a:defRPr/>
            </a:pPr>
            <a:r>
              <a:rPr lang="pl-PL" sz="1400" b="1" spc="-10" dirty="0">
                <a:latin typeface="Calibri" panose="020F0502020204030204" pitchFamily="34" charset="0"/>
                <a:cs typeface="Calibri" panose="020F0502020204030204" pitchFamily="34" charset="0"/>
              </a:rPr>
              <a:t>Great Britain</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financing</a:t>
            </a:r>
          </a:p>
        </p:txBody>
      </p:sp>
      <p:sp>
        <p:nvSpPr>
          <p:cNvPr id="20" name="object 6">
            <a:extLst>
              <a:ext uri="{FF2B5EF4-FFF2-40B4-BE49-F238E27FC236}">
                <a16:creationId xmlns:a16="http://schemas.microsoft.com/office/drawing/2014/main" id="{EAB96056-01AB-C540-CDC8-33B868DDC22E}"/>
              </a:ext>
            </a:extLst>
          </p:cNvPr>
          <p:cNvSpPr txBox="1"/>
          <p:nvPr/>
        </p:nvSpPr>
        <p:spPr>
          <a:xfrm>
            <a:off x="568443" y="4216921"/>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220 m PLN</a:t>
            </a:r>
          </a:p>
        </p:txBody>
      </p:sp>
      <p:sp>
        <p:nvSpPr>
          <p:cNvPr id="21" name="object 6">
            <a:extLst>
              <a:ext uri="{FF2B5EF4-FFF2-40B4-BE49-F238E27FC236}">
                <a16:creationId xmlns:a16="http://schemas.microsoft.com/office/drawing/2014/main" id="{AC1D8B9D-E901-3F27-FC9C-8BE363832881}"/>
              </a:ext>
            </a:extLst>
          </p:cNvPr>
          <p:cNvSpPr txBox="1"/>
          <p:nvPr/>
        </p:nvSpPr>
        <p:spPr>
          <a:xfrm>
            <a:off x="5008203" y="3560390"/>
            <a:ext cx="2104441" cy="684803"/>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USA</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financing</a:t>
            </a:r>
          </a:p>
        </p:txBody>
      </p:sp>
      <p:sp>
        <p:nvSpPr>
          <p:cNvPr id="22" name="object 6">
            <a:extLst>
              <a:ext uri="{FF2B5EF4-FFF2-40B4-BE49-F238E27FC236}">
                <a16:creationId xmlns:a16="http://schemas.microsoft.com/office/drawing/2014/main" id="{DB0591CB-4091-C64C-1637-7CC56C1D6712}"/>
              </a:ext>
            </a:extLst>
          </p:cNvPr>
          <p:cNvSpPr txBox="1"/>
          <p:nvPr/>
        </p:nvSpPr>
        <p:spPr>
          <a:xfrm>
            <a:off x="5008203" y="4216921"/>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6 m USD</a:t>
            </a:r>
          </a:p>
        </p:txBody>
      </p:sp>
      <p:sp>
        <p:nvSpPr>
          <p:cNvPr id="23" name="object 6">
            <a:extLst>
              <a:ext uri="{FF2B5EF4-FFF2-40B4-BE49-F238E27FC236}">
                <a16:creationId xmlns:a16="http://schemas.microsoft.com/office/drawing/2014/main" id="{693CA8F3-FADA-8760-E0F0-7F37228229A8}"/>
              </a:ext>
            </a:extLst>
          </p:cNvPr>
          <p:cNvSpPr txBox="1"/>
          <p:nvPr/>
        </p:nvSpPr>
        <p:spPr>
          <a:xfrm>
            <a:off x="2811183" y="3560390"/>
            <a:ext cx="2104441" cy="684803"/>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Hungary</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solidFill>
                  <a:schemeClr val="tx1">
                    <a:lumMod val="75000"/>
                  </a:schemeClr>
                </a:solidFill>
                <a:latin typeface="Calibri" panose="020F0502020204030204" pitchFamily="34" charset="0"/>
                <a:cs typeface="Calibri" panose="020F0502020204030204" pitchFamily="34" charset="0"/>
              </a:rPr>
              <a:t>financing</a:t>
            </a:r>
            <a:endParaRPr lang="en-US" sz="1400" b="1" spc="-10" dirty="0">
              <a:solidFill>
                <a:schemeClr val="tx1">
                  <a:lumMod val="75000"/>
                </a:schemeClr>
              </a:solidFill>
              <a:latin typeface="Calibri" panose="020F0502020204030204" pitchFamily="34" charset="0"/>
              <a:cs typeface="Calibri" panose="020F0502020204030204" pitchFamily="34" charset="0"/>
            </a:endParaRPr>
          </a:p>
        </p:txBody>
      </p:sp>
      <p:sp>
        <p:nvSpPr>
          <p:cNvPr id="24" name="object 6">
            <a:extLst>
              <a:ext uri="{FF2B5EF4-FFF2-40B4-BE49-F238E27FC236}">
                <a16:creationId xmlns:a16="http://schemas.microsoft.com/office/drawing/2014/main" id="{D5575E79-73F2-ABE7-C345-788F6D701D31}"/>
              </a:ext>
            </a:extLst>
          </p:cNvPr>
          <p:cNvSpPr txBox="1"/>
          <p:nvPr/>
        </p:nvSpPr>
        <p:spPr>
          <a:xfrm>
            <a:off x="2811183" y="4216921"/>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7,5 </a:t>
            </a:r>
            <a:r>
              <a:rPr lang="pl-PL" sz="2000" b="1" spc="-10" dirty="0" err="1">
                <a:solidFill>
                  <a:schemeClr val="tx2"/>
                </a:solidFill>
                <a:latin typeface="Calibri" panose="020F0502020204030204" pitchFamily="34" charset="0"/>
                <a:cs typeface="Calibri" panose="020F0502020204030204" pitchFamily="34" charset="0"/>
              </a:rPr>
              <a:t>bn</a:t>
            </a:r>
            <a:r>
              <a:rPr lang="en-US" sz="2000" b="1" spc="-10" dirty="0">
                <a:solidFill>
                  <a:schemeClr val="tx2"/>
                </a:solidFill>
                <a:latin typeface="Calibri" panose="020F0502020204030204" pitchFamily="34" charset="0"/>
                <a:cs typeface="Calibri" panose="020F0502020204030204" pitchFamily="34" charset="0"/>
              </a:rPr>
              <a:t> HUF</a:t>
            </a:r>
          </a:p>
        </p:txBody>
      </p:sp>
      <p:sp>
        <p:nvSpPr>
          <p:cNvPr id="25" name="object 6">
            <a:extLst>
              <a:ext uri="{FF2B5EF4-FFF2-40B4-BE49-F238E27FC236}">
                <a16:creationId xmlns:a16="http://schemas.microsoft.com/office/drawing/2014/main" id="{A2867D43-4524-0C2F-08DC-2F477AA1D80C}"/>
              </a:ext>
            </a:extLst>
          </p:cNvPr>
          <p:cNvSpPr txBox="1"/>
          <p:nvPr/>
        </p:nvSpPr>
        <p:spPr>
          <a:xfrm>
            <a:off x="568443" y="5205818"/>
            <a:ext cx="2104441" cy="671979"/>
          </a:xfrm>
          <a:prstGeom prst="rect">
            <a:avLst/>
          </a:prstGeom>
        </p:spPr>
        <p:txBody>
          <a:bodyPr vert="horz" wrap="square" lIns="0" tIns="12700" rIns="0" bIns="0" rtlCol="0">
            <a:spAutoFit/>
          </a:bodyPr>
          <a:lstStyle/>
          <a:p>
            <a:pPr marL="12700" marR="5080" lvl="0">
              <a:spcBef>
                <a:spcPts val="100"/>
              </a:spcBef>
              <a:defRPr/>
            </a:pPr>
            <a:r>
              <a:rPr lang="pl-PL" sz="1400" b="1" spc="-10" dirty="0">
                <a:latin typeface="Calibri" panose="020F0502020204030204" pitchFamily="34" charset="0"/>
                <a:cs typeface="Calibri" panose="020F0502020204030204" pitchFamily="34" charset="0"/>
              </a:rPr>
              <a:t>Great Britain</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Hotel construction</a:t>
            </a:r>
            <a:r>
              <a:rPr lang="pl-PL" sz="1400" spc="-10" dirty="0">
                <a:latin typeface="Calibri" panose="020F0502020204030204" pitchFamily="34" charset="0"/>
                <a:cs typeface="Calibri" panose="020F0502020204030204" pitchFamily="34" charset="0"/>
              </a:rPr>
              <a:t> in </a:t>
            </a:r>
            <a:r>
              <a:rPr lang="pl-PL" sz="1400" spc="-10" dirty="0" err="1">
                <a:latin typeface="Calibri" panose="020F0502020204030204" pitchFamily="34" charset="0"/>
                <a:cs typeface="Calibri" panose="020F0502020204030204" pitchFamily="34" charset="0"/>
              </a:rPr>
              <a:t>Edinburgh</a:t>
            </a:r>
            <a:endParaRPr lang="en-US" sz="1400" spc="-10" dirty="0">
              <a:latin typeface="Calibri" panose="020F0502020204030204" pitchFamily="34" charset="0"/>
              <a:cs typeface="Calibri" panose="020F0502020204030204" pitchFamily="34" charset="0"/>
            </a:endParaRPr>
          </a:p>
        </p:txBody>
      </p:sp>
      <p:sp>
        <p:nvSpPr>
          <p:cNvPr id="26" name="object 6">
            <a:extLst>
              <a:ext uri="{FF2B5EF4-FFF2-40B4-BE49-F238E27FC236}">
                <a16:creationId xmlns:a16="http://schemas.microsoft.com/office/drawing/2014/main" id="{AEE4D3E6-3282-E041-6FDC-94FBA9D2AB89}"/>
              </a:ext>
            </a:extLst>
          </p:cNvPr>
          <p:cNvSpPr txBox="1"/>
          <p:nvPr/>
        </p:nvSpPr>
        <p:spPr>
          <a:xfrm>
            <a:off x="568443" y="5862349"/>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8,5 m GBP</a:t>
            </a:r>
          </a:p>
        </p:txBody>
      </p:sp>
      <p:sp>
        <p:nvSpPr>
          <p:cNvPr id="27" name="object 6">
            <a:extLst>
              <a:ext uri="{FF2B5EF4-FFF2-40B4-BE49-F238E27FC236}">
                <a16:creationId xmlns:a16="http://schemas.microsoft.com/office/drawing/2014/main" id="{A133D150-953C-657B-9303-D74AD1DCBC52}"/>
              </a:ext>
            </a:extLst>
          </p:cNvPr>
          <p:cNvSpPr txBox="1"/>
          <p:nvPr/>
        </p:nvSpPr>
        <p:spPr>
          <a:xfrm>
            <a:off x="9558859" y="3566914"/>
            <a:ext cx="2104441" cy="456535"/>
          </a:xfrm>
          <a:prstGeom prst="rect">
            <a:avLst/>
          </a:prstGeom>
        </p:spPr>
        <p:txBody>
          <a:bodyPr vert="horz" wrap="square" lIns="0" tIns="12700" rIns="0" bIns="0" rtlCol="0">
            <a:spAutoFit/>
          </a:bodyPr>
          <a:lstStyle/>
          <a:p>
            <a:pPr marL="12700" marR="5080" lvl="0">
              <a:spcBef>
                <a:spcPts val="100"/>
              </a:spcBef>
              <a:defRPr/>
            </a:pPr>
            <a:r>
              <a:rPr lang="pl-PL" sz="1400" b="1" spc="-10" dirty="0">
                <a:latin typeface="Calibri" panose="020F0502020204030204" pitchFamily="34" charset="0"/>
                <a:cs typeface="Calibri" panose="020F0502020204030204" pitchFamily="34" charset="0"/>
              </a:rPr>
              <a:t>Great Britain</a:t>
            </a:r>
          </a:p>
          <a:p>
            <a:pPr marL="12700" marR="5080">
              <a:lnSpc>
                <a:spcPct val="100000"/>
              </a:lnSpc>
              <a:spcBef>
                <a:spcPts val="100"/>
              </a:spcBef>
            </a:pPr>
            <a:r>
              <a:rPr lang="pl-PL" sz="1400" spc="-10" dirty="0">
                <a:latin typeface="Calibri" panose="020F0502020204030204" pitchFamily="34" charset="0"/>
                <a:cs typeface="Calibri" panose="020F0502020204030204" pitchFamily="34" charset="0"/>
              </a:rPr>
              <a:t>H</a:t>
            </a:r>
            <a:r>
              <a:rPr lang="en-US" sz="1400" spc="-10" dirty="0" err="1">
                <a:latin typeface="Calibri" panose="020F0502020204030204" pitchFamily="34" charset="0"/>
                <a:cs typeface="Calibri" panose="020F0502020204030204" pitchFamily="34" charset="0"/>
              </a:rPr>
              <a:t>otel</a:t>
            </a:r>
            <a:r>
              <a:rPr lang="en-US" sz="1400" spc="-10" dirty="0">
                <a:latin typeface="Calibri" panose="020F0502020204030204" pitchFamily="34" charset="0"/>
                <a:cs typeface="Calibri" panose="020F0502020204030204" pitchFamily="34" charset="0"/>
              </a:rPr>
              <a:t> construction</a:t>
            </a:r>
            <a:r>
              <a:rPr lang="pl-PL" sz="1400" spc="-10" dirty="0">
                <a:latin typeface="Calibri" panose="020F0502020204030204" pitchFamily="34" charset="0"/>
                <a:cs typeface="Calibri" panose="020F0502020204030204" pitchFamily="34" charset="0"/>
              </a:rPr>
              <a:t> in </a:t>
            </a:r>
            <a:r>
              <a:rPr lang="pl-PL" sz="1400" spc="-10" dirty="0" err="1">
                <a:latin typeface="Calibri" panose="020F0502020204030204" pitchFamily="34" charset="0"/>
                <a:cs typeface="Calibri" panose="020F0502020204030204" pitchFamily="34" charset="0"/>
              </a:rPr>
              <a:t>Luton</a:t>
            </a:r>
            <a:endParaRPr lang="en-US" sz="1400" spc="-10" dirty="0">
              <a:latin typeface="Calibri" panose="020F0502020204030204" pitchFamily="34" charset="0"/>
              <a:cs typeface="Calibri" panose="020F0502020204030204" pitchFamily="34" charset="0"/>
            </a:endParaRPr>
          </a:p>
        </p:txBody>
      </p:sp>
      <p:sp>
        <p:nvSpPr>
          <p:cNvPr id="28" name="object 6">
            <a:extLst>
              <a:ext uri="{FF2B5EF4-FFF2-40B4-BE49-F238E27FC236}">
                <a16:creationId xmlns:a16="http://schemas.microsoft.com/office/drawing/2014/main" id="{87873261-7349-7E57-7646-ECB345839F41}"/>
              </a:ext>
            </a:extLst>
          </p:cNvPr>
          <p:cNvSpPr txBox="1"/>
          <p:nvPr/>
        </p:nvSpPr>
        <p:spPr>
          <a:xfrm>
            <a:off x="9558859" y="4223445"/>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17 m GBP</a:t>
            </a:r>
          </a:p>
        </p:txBody>
      </p:sp>
      <p:sp>
        <p:nvSpPr>
          <p:cNvPr id="29" name="object 6">
            <a:extLst>
              <a:ext uri="{FF2B5EF4-FFF2-40B4-BE49-F238E27FC236}">
                <a16:creationId xmlns:a16="http://schemas.microsoft.com/office/drawing/2014/main" id="{79E2AE04-1369-6B20-E013-9D6F6F18DF38}"/>
              </a:ext>
            </a:extLst>
          </p:cNvPr>
          <p:cNvSpPr txBox="1"/>
          <p:nvPr/>
        </p:nvSpPr>
        <p:spPr>
          <a:xfrm>
            <a:off x="2811183" y="5189048"/>
            <a:ext cx="2104441" cy="913070"/>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Italy</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a:p>
            <a:pPr marL="12700" marR="5080">
              <a:lnSpc>
                <a:spcPct val="100000"/>
              </a:lnSpc>
              <a:spcBef>
                <a:spcPts val="100"/>
              </a:spcBef>
            </a:pPr>
            <a:endParaRPr lang="en-US" sz="1400" spc="-10" dirty="0">
              <a:solidFill>
                <a:schemeClr val="tx1">
                  <a:lumMod val="75000"/>
                </a:schemeClr>
              </a:solidFill>
              <a:latin typeface="Calibri" panose="020F0502020204030204" pitchFamily="34" charset="0"/>
              <a:cs typeface="Calibri" panose="020F0502020204030204" pitchFamily="34" charset="0"/>
            </a:endParaRPr>
          </a:p>
        </p:txBody>
      </p:sp>
      <p:sp>
        <p:nvSpPr>
          <p:cNvPr id="30" name="object 6">
            <a:extLst>
              <a:ext uri="{FF2B5EF4-FFF2-40B4-BE49-F238E27FC236}">
                <a16:creationId xmlns:a16="http://schemas.microsoft.com/office/drawing/2014/main" id="{35ACEFAB-8F30-789E-97F7-14E30093B5EB}"/>
              </a:ext>
            </a:extLst>
          </p:cNvPr>
          <p:cNvSpPr txBox="1"/>
          <p:nvPr/>
        </p:nvSpPr>
        <p:spPr>
          <a:xfrm>
            <a:off x="2811183" y="5868873"/>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3,5 m EUR</a:t>
            </a:r>
          </a:p>
        </p:txBody>
      </p:sp>
      <p:sp>
        <p:nvSpPr>
          <p:cNvPr id="31" name="object 6">
            <a:extLst>
              <a:ext uri="{FF2B5EF4-FFF2-40B4-BE49-F238E27FC236}">
                <a16:creationId xmlns:a16="http://schemas.microsoft.com/office/drawing/2014/main" id="{4343A24E-BA30-840C-2972-61EE9CCAA51F}"/>
              </a:ext>
            </a:extLst>
          </p:cNvPr>
          <p:cNvSpPr txBox="1"/>
          <p:nvPr/>
        </p:nvSpPr>
        <p:spPr>
          <a:xfrm>
            <a:off x="5008203" y="5189048"/>
            <a:ext cx="2104441" cy="456535"/>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latin typeface="Calibri" panose="020F0502020204030204" pitchFamily="34" charset="0"/>
                <a:cs typeface="Calibri" panose="020F0502020204030204" pitchFamily="34" charset="0"/>
              </a:rPr>
              <a:t>Chile</a:t>
            </a:r>
          </a:p>
          <a:p>
            <a:pPr marL="12700" marR="5080">
              <a:lnSpc>
                <a:spcPct val="100000"/>
              </a:lnSpc>
              <a:spcBef>
                <a:spcPts val="100"/>
              </a:spcBef>
            </a:pPr>
            <a:r>
              <a:rPr lang="pl-PL" sz="1400" spc="-10" dirty="0" err="1">
                <a:latin typeface="Calibri" panose="020F0502020204030204" pitchFamily="34" charset="0"/>
                <a:cs typeface="Calibri" panose="020F0502020204030204" pitchFamily="34" charset="0"/>
              </a:rPr>
              <a:t>Mining</a:t>
            </a:r>
            <a:endParaRPr lang="en-US" sz="1400" spc="-10" dirty="0">
              <a:latin typeface="Calibri" panose="020F0502020204030204" pitchFamily="34" charset="0"/>
              <a:cs typeface="Calibri" panose="020F0502020204030204" pitchFamily="34" charset="0"/>
            </a:endParaRPr>
          </a:p>
        </p:txBody>
      </p:sp>
      <p:sp>
        <p:nvSpPr>
          <p:cNvPr id="32" name="object 6">
            <a:extLst>
              <a:ext uri="{FF2B5EF4-FFF2-40B4-BE49-F238E27FC236}">
                <a16:creationId xmlns:a16="http://schemas.microsoft.com/office/drawing/2014/main" id="{AC76724E-8000-B965-5EFF-2B61562995C6}"/>
              </a:ext>
            </a:extLst>
          </p:cNvPr>
          <p:cNvSpPr txBox="1"/>
          <p:nvPr/>
        </p:nvSpPr>
        <p:spPr>
          <a:xfrm>
            <a:off x="5008203" y="5868873"/>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700 m USD</a:t>
            </a:r>
          </a:p>
        </p:txBody>
      </p:sp>
      <p:pic>
        <p:nvPicPr>
          <p:cNvPr id="33" name="Picture 18" descr="Image result for norwegia flaga">
            <a:extLst>
              <a:ext uri="{FF2B5EF4-FFF2-40B4-BE49-F238E27FC236}">
                <a16:creationId xmlns:a16="http://schemas.microsoft.com/office/drawing/2014/main" id="{DD800EC9-F28B-6263-0AA5-EB1ADEA839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3195" y="1765922"/>
            <a:ext cx="327529" cy="192778"/>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15">
            <a:extLst>
              <a:ext uri="{FF2B5EF4-FFF2-40B4-BE49-F238E27FC236}">
                <a16:creationId xmlns:a16="http://schemas.microsoft.com/office/drawing/2014/main" id="{F700FD24-E029-0561-D34A-702999121042}"/>
              </a:ext>
            </a:extLst>
          </p:cNvPr>
          <p:cNvGrpSpPr/>
          <p:nvPr/>
        </p:nvGrpSpPr>
        <p:grpSpPr>
          <a:xfrm>
            <a:off x="5032118" y="1750682"/>
            <a:ext cx="764597" cy="212620"/>
            <a:chOff x="5304417" y="2060170"/>
            <a:chExt cx="764597" cy="212620"/>
          </a:xfrm>
        </p:grpSpPr>
        <p:pic>
          <p:nvPicPr>
            <p:cNvPr id="35" name="Picture 20" descr="Image result for holandia flaga">
              <a:extLst>
                <a:ext uri="{FF2B5EF4-FFF2-40B4-BE49-F238E27FC236}">
                  <a16:creationId xmlns:a16="http://schemas.microsoft.com/office/drawing/2014/main" id="{E7252136-3F0F-C8D9-1C4D-46854B62CA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35874" y="2060170"/>
              <a:ext cx="333140" cy="21262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6">
              <a:extLst>
                <a:ext uri="{FF2B5EF4-FFF2-40B4-BE49-F238E27FC236}">
                  <a16:creationId xmlns:a16="http://schemas.microsoft.com/office/drawing/2014/main" id="{F2142430-BC3A-3636-0252-1AE4EF3D9B62}"/>
                </a:ext>
              </a:extLst>
            </p:cNvPr>
            <p:cNvPicPr>
              <a:picLocks noChangeAspect="1"/>
            </p:cNvPicPr>
            <p:nvPr/>
          </p:nvPicPr>
          <p:blipFill>
            <a:blip r:embed="rId6"/>
            <a:stretch>
              <a:fillRect/>
            </a:stretch>
          </p:blipFill>
          <p:spPr>
            <a:xfrm>
              <a:off x="5304417" y="2062035"/>
              <a:ext cx="320096" cy="210755"/>
            </a:xfrm>
            <a:prstGeom prst="rect">
              <a:avLst/>
            </a:prstGeom>
          </p:spPr>
        </p:pic>
      </p:grpSp>
      <p:grpSp>
        <p:nvGrpSpPr>
          <p:cNvPr id="37" name="Group 69">
            <a:extLst>
              <a:ext uri="{FF2B5EF4-FFF2-40B4-BE49-F238E27FC236}">
                <a16:creationId xmlns:a16="http://schemas.microsoft.com/office/drawing/2014/main" id="{78B31F4E-BBAB-20EE-7B53-80B342499538}"/>
              </a:ext>
            </a:extLst>
          </p:cNvPr>
          <p:cNvGrpSpPr/>
          <p:nvPr/>
        </p:nvGrpSpPr>
        <p:grpSpPr>
          <a:xfrm>
            <a:off x="7337876" y="1750682"/>
            <a:ext cx="1282795" cy="212620"/>
            <a:chOff x="7654064" y="2058240"/>
            <a:chExt cx="1282795" cy="214550"/>
          </a:xfrm>
        </p:grpSpPr>
        <p:sp>
          <p:nvSpPr>
            <p:cNvPr id="38" name="object 211">
              <a:extLst>
                <a:ext uri="{FF2B5EF4-FFF2-40B4-BE49-F238E27FC236}">
                  <a16:creationId xmlns:a16="http://schemas.microsoft.com/office/drawing/2014/main" id="{D50B4FD9-01E2-1E4B-D28E-557706F2E8BA}"/>
                </a:ext>
              </a:extLst>
            </p:cNvPr>
            <p:cNvSpPr/>
            <p:nvPr/>
          </p:nvSpPr>
          <p:spPr>
            <a:xfrm>
              <a:off x="7654064" y="2059528"/>
              <a:ext cx="365593" cy="213262"/>
            </a:xfrm>
            <a:custGeom>
              <a:avLst/>
              <a:gdLst/>
              <a:ahLst/>
              <a:cxnLst/>
              <a:rect l="l" t="t" r="r" b="b"/>
              <a:pathLst>
                <a:path w="266700" h="155575">
                  <a:moveTo>
                    <a:pt x="0" y="155282"/>
                  </a:moveTo>
                  <a:lnTo>
                    <a:pt x="266217" y="155282"/>
                  </a:lnTo>
                  <a:lnTo>
                    <a:pt x="266217" y="0"/>
                  </a:lnTo>
                  <a:lnTo>
                    <a:pt x="0" y="0"/>
                  </a:lnTo>
                  <a:lnTo>
                    <a:pt x="0" y="155282"/>
                  </a:lnTo>
                  <a:close/>
                </a:path>
              </a:pathLst>
            </a:custGeom>
            <a:solidFill>
              <a:srgbClr val="CC2023"/>
            </a:solidFill>
          </p:spPr>
          <p:txBody>
            <a:bodyPr wrap="square" lIns="0" tIns="0" rIns="0" bIns="0" rtlCol="0"/>
            <a:lstStyle/>
            <a:p>
              <a:endParaRPr lang="en-US" dirty="0"/>
            </a:p>
          </p:txBody>
        </p:sp>
        <p:sp>
          <p:nvSpPr>
            <p:cNvPr id="39" name="object 217">
              <a:extLst>
                <a:ext uri="{FF2B5EF4-FFF2-40B4-BE49-F238E27FC236}">
                  <a16:creationId xmlns:a16="http://schemas.microsoft.com/office/drawing/2014/main" id="{FEABC7F7-7F1A-417B-ADE7-26E8FA07D37B}"/>
                </a:ext>
              </a:extLst>
            </p:cNvPr>
            <p:cNvSpPr/>
            <p:nvPr/>
          </p:nvSpPr>
          <p:spPr>
            <a:xfrm>
              <a:off x="8285013" y="2180882"/>
              <a:ext cx="9575" cy="9575"/>
            </a:xfrm>
            <a:custGeom>
              <a:avLst/>
              <a:gdLst/>
              <a:ahLst/>
              <a:cxnLst/>
              <a:rect l="l" t="t" r="r" b="b"/>
              <a:pathLst>
                <a:path w="6985" h="6985">
                  <a:moveTo>
                    <a:pt x="5422" y="0"/>
                  </a:moveTo>
                  <a:lnTo>
                    <a:pt x="1549" y="0"/>
                  </a:lnTo>
                  <a:lnTo>
                    <a:pt x="0" y="1587"/>
                  </a:lnTo>
                  <a:lnTo>
                    <a:pt x="0" y="5384"/>
                  </a:lnTo>
                  <a:lnTo>
                    <a:pt x="1549" y="6972"/>
                  </a:lnTo>
                  <a:lnTo>
                    <a:pt x="5422" y="6972"/>
                  </a:lnTo>
                  <a:lnTo>
                    <a:pt x="6972" y="5384"/>
                  </a:lnTo>
                  <a:lnTo>
                    <a:pt x="6972" y="1587"/>
                  </a:lnTo>
                  <a:lnTo>
                    <a:pt x="5422" y="0"/>
                  </a:lnTo>
                  <a:close/>
                </a:path>
              </a:pathLst>
            </a:custGeom>
            <a:solidFill>
              <a:srgbClr val="FFFFFF"/>
            </a:solidFill>
          </p:spPr>
          <p:txBody>
            <a:bodyPr wrap="square" lIns="0" tIns="0" rIns="0" bIns="0" rtlCol="0"/>
            <a:lstStyle/>
            <a:p>
              <a:endParaRPr lang="en-US" dirty="0"/>
            </a:p>
          </p:txBody>
        </p:sp>
        <p:sp>
          <p:nvSpPr>
            <p:cNvPr id="40" name="object 218">
              <a:extLst>
                <a:ext uri="{FF2B5EF4-FFF2-40B4-BE49-F238E27FC236}">
                  <a16:creationId xmlns:a16="http://schemas.microsoft.com/office/drawing/2014/main" id="{FA58AFF6-E95F-AB4C-B60B-7C20DE30D856}"/>
                </a:ext>
              </a:extLst>
            </p:cNvPr>
            <p:cNvSpPr/>
            <p:nvPr/>
          </p:nvSpPr>
          <p:spPr>
            <a:xfrm>
              <a:off x="8286075" y="2181989"/>
              <a:ext cx="7834" cy="7834"/>
            </a:xfrm>
            <a:custGeom>
              <a:avLst/>
              <a:gdLst/>
              <a:ahLst/>
              <a:cxnLst/>
              <a:rect l="l" t="t" r="r" b="b"/>
              <a:pathLst>
                <a:path w="5714" h="5714">
                  <a:moveTo>
                    <a:pt x="4190" y="0"/>
                  </a:moveTo>
                  <a:lnTo>
                    <a:pt x="1231" y="0"/>
                  </a:lnTo>
                  <a:lnTo>
                    <a:pt x="0" y="1181"/>
                  </a:lnTo>
                  <a:lnTo>
                    <a:pt x="0" y="4178"/>
                  </a:lnTo>
                  <a:lnTo>
                    <a:pt x="1231" y="5384"/>
                  </a:lnTo>
                  <a:lnTo>
                    <a:pt x="4190" y="5384"/>
                  </a:lnTo>
                  <a:lnTo>
                    <a:pt x="5410" y="4178"/>
                  </a:lnTo>
                  <a:lnTo>
                    <a:pt x="5410" y="1181"/>
                  </a:lnTo>
                  <a:lnTo>
                    <a:pt x="4190" y="0"/>
                  </a:lnTo>
                  <a:close/>
                </a:path>
              </a:pathLst>
            </a:custGeom>
            <a:solidFill>
              <a:srgbClr val="2A2B69"/>
            </a:solidFill>
          </p:spPr>
          <p:txBody>
            <a:bodyPr wrap="square" lIns="0" tIns="0" rIns="0" bIns="0" rtlCol="0"/>
            <a:lstStyle/>
            <a:p>
              <a:endParaRPr lang="en-US" dirty="0"/>
            </a:p>
          </p:txBody>
        </p:sp>
        <p:sp>
          <p:nvSpPr>
            <p:cNvPr id="41" name="object 220">
              <a:extLst>
                <a:ext uri="{FF2B5EF4-FFF2-40B4-BE49-F238E27FC236}">
                  <a16:creationId xmlns:a16="http://schemas.microsoft.com/office/drawing/2014/main" id="{3E183EAC-0A35-8B7E-9158-B83E320C8B9B}"/>
                </a:ext>
              </a:extLst>
            </p:cNvPr>
            <p:cNvSpPr/>
            <p:nvPr/>
          </p:nvSpPr>
          <p:spPr>
            <a:xfrm>
              <a:off x="8713654" y="2143652"/>
              <a:ext cx="67672" cy="57512"/>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sp>
          <p:nvSpPr>
            <p:cNvPr id="42" name="object 221">
              <a:extLst>
                <a:ext uri="{FF2B5EF4-FFF2-40B4-BE49-F238E27FC236}">
                  <a16:creationId xmlns:a16="http://schemas.microsoft.com/office/drawing/2014/main" id="{52ECBC37-78CD-1D0E-3FB9-EE4D89890357}"/>
                </a:ext>
              </a:extLst>
            </p:cNvPr>
            <p:cNvSpPr/>
            <p:nvPr/>
          </p:nvSpPr>
          <p:spPr>
            <a:xfrm>
              <a:off x="8769540" y="2196145"/>
              <a:ext cx="4683" cy="4125"/>
            </a:xfrm>
            <a:prstGeom prst="rect">
              <a:avLst/>
            </a:prstGeom>
            <a:blipFill>
              <a:blip r:embed="rId8" cstate="print"/>
              <a:stretch>
                <a:fillRect/>
              </a:stretch>
            </a:blipFill>
          </p:spPr>
          <p:txBody>
            <a:bodyPr wrap="square" lIns="0" tIns="0" rIns="0" bIns="0" rtlCol="0"/>
            <a:lstStyle/>
            <a:p>
              <a:endParaRPr lang="en-US" dirty="0"/>
            </a:p>
          </p:txBody>
        </p:sp>
        <p:sp>
          <p:nvSpPr>
            <p:cNvPr id="43" name="object 212">
              <a:extLst>
                <a:ext uri="{FF2B5EF4-FFF2-40B4-BE49-F238E27FC236}">
                  <a16:creationId xmlns:a16="http://schemas.microsoft.com/office/drawing/2014/main" id="{CDF40C86-FF76-DF69-4EF1-EC22E29677B9}"/>
                </a:ext>
              </a:extLst>
            </p:cNvPr>
            <p:cNvSpPr/>
            <p:nvPr/>
          </p:nvSpPr>
          <p:spPr>
            <a:xfrm>
              <a:off x="7677992" y="2090226"/>
              <a:ext cx="114418" cy="9551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US" dirty="0"/>
            </a:p>
          </p:txBody>
        </p:sp>
        <p:pic>
          <p:nvPicPr>
            <p:cNvPr id="44" name="Picture 4" descr="Image result for indie flaga">
              <a:extLst>
                <a:ext uri="{FF2B5EF4-FFF2-40B4-BE49-F238E27FC236}">
                  <a16:creationId xmlns:a16="http://schemas.microsoft.com/office/drawing/2014/main" id="{FC130713-866B-B2B0-DFF1-6F578326F7C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31304" y="2058240"/>
              <a:ext cx="321824" cy="214550"/>
            </a:xfrm>
            <a:prstGeom prst="rect">
              <a:avLst/>
            </a:prstGeom>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45" name="Picture 77">
              <a:extLst>
                <a:ext uri="{FF2B5EF4-FFF2-40B4-BE49-F238E27FC236}">
                  <a16:creationId xmlns:a16="http://schemas.microsoft.com/office/drawing/2014/main" id="{F97CA26D-6203-56DB-0D81-0BEB5A61CCEA}"/>
                </a:ext>
              </a:extLst>
            </p:cNvPr>
            <p:cNvPicPr>
              <a:picLocks noChangeAspect="1"/>
            </p:cNvPicPr>
            <p:nvPr/>
          </p:nvPicPr>
          <p:blipFill>
            <a:blip r:embed="rId10"/>
            <a:stretch>
              <a:fillRect/>
            </a:stretch>
          </p:blipFill>
          <p:spPr>
            <a:xfrm>
              <a:off x="8564774" y="2060170"/>
              <a:ext cx="372085" cy="212620"/>
            </a:xfrm>
            <a:prstGeom prst="rect">
              <a:avLst/>
            </a:prstGeom>
            <a:ln>
              <a:solidFill>
                <a:schemeClr val="tx1">
                  <a:lumMod val="20000"/>
                  <a:lumOff val="80000"/>
                </a:schemeClr>
              </a:solidFill>
            </a:ln>
          </p:spPr>
        </p:pic>
      </p:grpSp>
      <p:pic>
        <p:nvPicPr>
          <p:cNvPr id="46" name="Picture 16" descr="Image result for grecja flaga">
            <a:extLst>
              <a:ext uri="{FF2B5EF4-FFF2-40B4-BE49-F238E27FC236}">
                <a16:creationId xmlns:a16="http://schemas.microsoft.com/office/drawing/2014/main" id="{BBD1C74E-784F-BA1A-61DC-B1291E67E2E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88851" y="1763901"/>
            <a:ext cx="331227" cy="192881"/>
          </a:xfrm>
          <a:prstGeom prst="rect">
            <a:avLst/>
          </a:prstGeom>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47" name="Picture 12" descr="Image result for wielka brytania flaga">
            <a:extLst>
              <a:ext uri="{FF2B5EF4-FFF2-40B4-BE49-F238E27FC236}">
                <a16:creationId xmlns:a16="http://schemas.microsoft.com/office/drawing/2014/main" id="{4B91C43D-B785-2AD8-3E31-32A5B074D8B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3195" y="3336872"/>
            <a:ext cx="312155" cy="192778"/>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upa 245">
            <a:extLst>
              <a:ext uri="{FF2B5EF4-FFF2-40B4-BE49-F238E27FC236}">
                <a16:creationId xmlns:a16="http://schemas.microsoft.com/office/drawing/2014/main" id="{FD66B7F4-9D5B-C019-1312-C52D940CA54A}"/>
              </a:ext>
            </a:extLst>
          </p:cNvPr>
          <p:cNvGrpSpPr/>
          <p:nvPr/>
        </p:nvGrpSpPr>
        <p:grpSpPr>
          <a:xfrm>
            <a:off x="2826423" y="3336872"/>
            <a:ext cx="345242" cy="192778"/>
            <a:chOff x="6177267" y="3000260"/>
            <a:chExt cx="266700" cy="155574"/>
          </a:xfrm>
        </p:grpSpPr>
        <p:sp>
          <p:nvSpPr>
            <p:cNvPr id="49" name="object 207">
              <a:extLst>
                <a:ext uri="{FF2B5EF4-FFF2-40B4-BE49-F238E27FC236}">
                  <a16:creationId xmlns:a16="http://schemas.microsoft.com/office/drawing/2014/main" id="{E4E3DD35-CA4C-8420-E978-C70FCD6A8EE9}"/>
                </a:ext>
              </a:extLst>
            </p:cNvPr>
            <p:cNvSpPr/>
            <p:nvPr/>
          </p:nvSpPr>
          <p:spPr>
            <a:xfrm>
              <a:off x="6177267" y="3000260"/>
              <a:ext cx="266700" cy="52069"/>
            </a:xfrm>
            <a:custGeom>
              <a:avLst/>
              <a:gdLst/>
              <a:ahLst/>
              <a:cxnLst/>
              <a:rect l="l" t="t" r="r" b="b"/>
              <a:pathLst>
                <a:path w="266700" h="52069">
                  <a:moveTo>
                    <a:pt x="0" y="51777"/>
                  </a:moveTo>
                  <a:lnTo>
                    <a:pt x="266230" y="51777"/>
                  </a:lnTo>
                  <a:lnTo>
                    <a:pt x="266230" y="0"/>
                  </a:lnTo>
                  <a:lnTo>
                    <a:pt x="0" y="0"/>
                  </a:lnTo>
                  <a:lnTo>
                    <a:pt x="0" y="51777"/>
                  </a:lnTo>
                  <a:close/>
                </a:path>
              </a:pathLst>
            </a:custGeom>
            <a:solidFill>
              <a:srgbClr val="BC1633"/>
            </a:solidFill>
          </p:spPr>
          <p:txBody>
            <a:bodyPr wrap="square" lIns="0" tIns="0" rIns="0" bIns="0" rtlCol="0"/>
            <a:lstStyle/>
            <a:p>
              <a:endParaRPr lang="en-US" dirty="0"/>
            </a:p>
          </p:txBody>
        </p:sp>
        <p:sp>
          <p:nvSpPr>
            <p:cNvPr id="50" name="object 208">
              <a:extLst>
                <a:ext uri="{FF2B5EF4-FFF2-40B4-BE49-F238E27FC236}">
                  <a16:creationId xmlns:a16="http://schemas.microsoft.com/office/drawing/2014/main" id="{19FEB5BD-95B9-DE2C-62B0-23AF0C5CD7AB}"/>
                </a:ext>
              </a:extLst>
            </p:cNvPr>
            <p:cNvSpPr/>
            <p:nvPr/>
          </p:nvSpPr>
          <p:spPr>
            <a:xfrm>
              <a:off x="6177267" y="3052038"/>
              <a:ext cx="266700" cy="52069"/>
            </a:xfrm>
            <a:custGeom>
              <a:avLst/>
              <a:gdLst/>
              <a:ahLst/>
              <a:cxnLst/>
              <a:rect l="l" t="t" r="r" b="b"/>
              <a:pathLst>
                <a:path w="266700" h="52069">
                  <a:moveTo>
                    <a:pt x="0" y="51727"/>
                  </a:moveTo>
                  <a:lnTo>
                    <a:pt x="266230" y="51727"/>
                  </a:lnTo>
                  <a:lnTo>
                    <a:pt x="266230" y="0"/>
                  </a:lnTo>
                  <a:lnTo>
                    <a:pt x="0" y="0"/>
                  </a:lnTo>
                  <a:lnTo>
                    <a:pt x="0" y="51727"/>
                  </a:lnTo>
                  <a:close/>
                </a:path>
              </a:pathLst>
            </a:custGeom>
            <a:solidFill>
              <a:srgbClr val="FFFFFF"/>
            </a:solidFill>
          </p:spPr>
          <p:txBody>
            <a:bodyPr wrap="square" lIns="0" tIns="0" rIns="0" bIns="0" rtlCol="0"/>
            <a:lstStyle/>
            <a:p>
              <a:endParaRPr lang="en-US" dirty="0"/>
            </a:p>
          </p:txBody>
        </p:sp>
        <p:sp>
          <p:nvSpPr>
            <p:cNvPr id="51" name="object 209">
              <a:extLst>
                <a:ext uri="{FF2B5EF4-FFF2-40B4-BE49-F238E27FC236}">
                  <a16:creationId xmlns:a16="http://schemas.microsoft.com/office/drawing/2014/main" id="{918CBBF3-B13D-CF95-26FE-8FE71E96E0BB}"/>
                </a:ext>
              </a:extLst>
            </p:cNvPr>
            <p:cNvSpPr/>
            <p:nvPr/>
          </p:nvSpPr>
          <p:spPr>
            <a:xfrm>
              <a:off x="6177267" y="3103765"/>
              <a:ext cx="266700" cy="52069"/>
            </a:xfrm>
            <a:custGeom>
              <a:avLst/>
              <a:gdLst/>
              <a:ahLst/>
              <a:cxnLst/>
              <a:rect l="l" t="t" r="r" b="b"/>
              <a:pathLst>
                <a:path w="266700" h="52069">
                  <a:moveTo>
                    <a:pt x="0" y="51790"/>
                  </a:moveTo>
                  <a:lnTo>
                    <a:pt x="266230" y="51790"/>
                  </a:lnTo>
                  <a:lnTo>
                    <a:pt x="266230" y="0"/>
                  </a:lnTo>
                  <a:lnTo>
                    <a:pt x="0" y="0"/>
                  </a:lnTo>
                  <a:lnTo>
                    <a:pt x="0" y="51790"/>
                  </a:lnTo>
                  <a:close/>
                </a:path>
              </a:pathLst>
            </a:custGeom>
            <a:solidFill>
              <a:srgbClr val="3D9347"/>
            </a:solidFill>
          </p:spPr>
          <p:txBody>
            <a:bodyPr wrap="square" lIns="0" tIns="0" rIns="0" bIns="0" rtlCol="0"/>
            <a:lstStyle/>
            <a:p>
              <a:endParaRPr lang="en-US" dirty="0"/>
            </a:p>
          </p:txBody>
        </p:sp>
      </p:grpSp>
      <p:pic>
        <p:nvPicPr>
          <p:cNvPr id="52" name="Obraz 52">
            <a:extLst>
              <a:ext uri="{FF2B5EF4-FFF2-40B4-BE49-F238E27FC236}">
                <a16:creationId xmlns:a16="http://schemas.microsoft.com/office/drawing/2014/main" id="{7B87A773-64E4-613A-D332-DD8B4B7662E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027946" y="3336769"/>
            <a:ext cx="335980" cy="197300"/>
          </a:xfrm>
          <a:prstGeom prst="rect">
            <a:avLst/>
          </a:prstGeom>
          <a:ln>
            <a:solidFill>
              <a:schemeClr val="tx1">
                <a:lumMod val="20000"/>
                <a:lumOff val="80000"/>
              </a:schemeClr>
            </a:solidFill>
          </a:ln>
        </p:spPr>
      </p:pic>
      <p:pic>
        <p:nvPicPr>
          <p:cNvPr id="53" name="Picture 12" descr="Image result for wielka brytania flaga">
            <a:extLst>
              <a:ext uri="{FF2B5EF4-FFF2-40B4-BE49-F238E27FC236}">
                <a16:creationId xmlns:a16="http://schemas.microsoft.com/office/drawing/2014/main" id="{38B45CE1-F8D3-1854-7CA9-7D11A904092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8851" y="3336769"/>
            <a:ext cx="312155" cy="19277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2" descr="Image result for wielka brytania flaga">
            <a:extLst>
              <a:ext uri="{FF2B5EF4-FFF2-40B4-BE49-F238E27FC236}">
                <a16:creationId xmlns:a16="http://schemas.microsoft.com/office/drawing/2014/main" id="{2B816542-A456-2E0C-CAAF-9E42920E16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3195" y="4974680"/>
            <a:ext cx="312155" cy="192778"/>
          </a:xfrm>
          <a:prstGeom prst="rect">
            <a:avLst/>
          </a:prstGeom>
          <a:noFill/>
          <a:extLst>
            <a:ext uri="{909E8E84-426E-40DD-AFC4-6F175D3DCCD1}">
              <a14:hiddenFill xmlns:a14="http://schemas.microsoft.com/office/drawing/2010/main">
                <a:solidFill>
                  <a:srgbClr val="FFFFFF"/>
                </a:solidFill>
              </a14:hiddenFill>
            </a:ext>
          </a:extLst>
        </p:spPr>
      </p:pic>
      <p:pic>
        <p:nvPicPr>
          <p:cNvPr id="55" name="Obraz 74">
            <a:extLst>
              <a:ext uri="{FF2B5EF4-FFF2-40B4-BE49-F238E27FC236}">
                <a16:creationId xmlns:a16="http://schemas.microsoft.com/office/drawing/2014/main" id="{42332A1B-6163-52DF-1FD4-A6EE83F8F9E1}"/>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2832797" y="4974680"/>
            <a:ext cx="340357" cy="192778"/>
          </a:xfrm>
          <a:prstGeom prst="rect">
            <a:avLst/>
          </a:prstGeom>
          <a:ln>
            <a:solidFill>
              <a:schemeClr val="tx1">
                <a:lumMod val="20000"/>
                <a:lumOff val="80000"/>
              </a:schemeClr>
            </a:solidFill>
          </a:ln>
        </p:spPr>
      </p:pic>
      <p:grpSp>
        <p:nvGrpSpPr>
          <p:cNvPr id="56" name="Group 16">
            <a:extLst>
              <a:ext uri="{FF2B5EF4-FFF2-40B4-BE49-F238E27FC236}">
                <a16:creationId xmlns:a16="http://schemas.microsoft.com/office/drawing/2014/main" id="{CDC84FA9-C8CE-7E46-2954-84F17F75D525}"/>
              </a:ext>
            </a:extLst>
          </p:cNvPr>
          <p:cNvGrpSpPr/>
          <p:nvPr/>
        </p:nvGrpSpPr>
        <p:grpSpPr>
          <a:xfrm>
            <a:off x="7316118" y="4982197"/>
            <a:ext cx="2104441" cy="1207277"/>
            <a:chOff x="7316118" y="4982197"/>
            <a:chExt cx="2104441" cy="1207277"/>
          </a:xfrm>
        </p:grpSpPr>
        <p:sp>
          <p:nvSpPr>
            <p:cNvPr id="57" name="object 6">
              <a:extLst>
                <a:ext uri="{FF2B5EF4-FFF2-40B4-BE49-F238E27FC236}">
                  <a16:creationId xmlns:a16="http://schemas.microsoft.com/office/drawing/2014/main" id="{46F4CB44-CE9B-789F-BCE8-E383F2759C7E}"/>
                </a:ext>
              </a:extLst>
            </p:cNvPr>
            <p:cNvSpPr txBox="1"/>
            <p:nvPr/>
          </p:nvSpPr>
          <p:spPr>
            <a:xfrm>
              <a:off x="7316118" y="5189048"/>
              <a:ext cx="2104441" cy="671979"/>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Germany</a:t>
              </a:r>
            </a:p>
            <a:p>
              <a:pPr marL="12700" marR="5080">
                <a:lnSpc>
                  <a:spcPct val="100000"/>
                </a:lnSpc>
                <a:spcBef>
                  <a:spcPts val="100"/>
                </a:spcBef>
              </a:pPr>
              <a:r>
                <a:rPr lang="pl-PL" sz="1400" spc="-10" dirty="0">
                  <a:latin typeface="Calibri" panose="020F0502020204030204" pitchFamily="34" charset="0"/>
                  <a:cs typeface="Calibri" panose="020F0502020204030204" pitchFamily="34" charset="0"/>
                </a:rPr>
                <a:t>P</a:t>
              </a:r>
              <a:r>
                <a:rPr lang="en-US" sz="1400" spc="-10" dirty="0" err="1">
                  <a:latin typeface="Calibri" panose="020F0502020204030204" pitchFamily="34" charset="0"/>
                  <a:cs typeface="Calibri" panose="020F0502020204030204" pitchFamily="34" charset="0"/>
                </a:rPr>
                <a:t>roduction</a:t>
              </a:r>
              <a:r>
                <a:rPr lang="en-US" sz="1400" spc="-10" dirty="0">
                  <a:latin typeface="Calibri" panose="020F0502020204030204" pitchFamily="34" charset="0"/>
                  <a:cs typeface="Calibri" panose="020F0502020204030204" pitchFamily="34" charset="0"/>
                </a:rPr>
                <a:t> plant</a:t>
              </a:r>
              <a:r>
                <a:rPr lang="pl-PL" sz="1400" spc="-10" dirty="0">
                  <a:latin typeface="Calibri" panose="020F0502020204030204" pitchFamily="34" charset="0"/>
                  <a:cs typeface="Calibri" panose="020F0502020204030204" pitchFamily="34" charset="0"/>
                </a:rPr>
                <a:t> c</a:t>
              </a:r>
              <a:r>
                <a:rPr lang="en-US" sz="1400" spc="-10" dirty="0" err="1">
                  <a:latin typeface="Calibri" panose="020F0502020204030204" pitchFamily="34" charset="0"/>
                  <a:cs typeface="Calibri" panose="020F0502020204030204" pitchFamily="34" charset="0"/>
                </a:rPr>
                <a:t>onstruction</a:t>
              </a:r>
              <a:endParaRPr lang="en-US" sz="1400" spc="-10" dirty="0">
                <a:latin typeface="Calibri" panose="020F0502020204030204" pitchFamily="34" charset="0"/>
                <a:cs typeface="Calibri" panose="020F0502020204030204" pitchFamily="34" charset="0"/>
              </a:endParaRPr>
            </a:p>
          </p:txBody>
        </p:sp>
        <p:sp>
          <p:nvSpPr>
            <p:cNvPr id="58" name="object 6">
              <a:extLst>
                <a:ext uri="{FF2B5EF4-FFF2-40B4-BE49-F238E27FC236}">
                  <a16:creationId xmlns:a16="http://schemas.microsoft.com/office/drawing/2014/main" id="{624007F9-1404-2E5E-DB36-1C140FA91F4D}"/>
                </a:ext>
              </a:extLst>
            </p:cNvPr>
            <p:cNvSpPr txBox="1"/>
            <p:nvPr/>
          </p:nvSpPr>
          <p:spPr>
            <a:xfrm>
              <a:off x="7316118" y="5868873"/>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21 m EUR</a:t>
              </a:r>
            </a:p>
          </p:txBody>
        </p:sp>
        <p:pic>
          <p:nvPicPr>
            <p:cNvPr id="59" name="Picture 6" descr="Image result for niemcy flaga">
              <a:extLst>
                <a:ext uri="{FF2B5EF4-FFF2-40B4-BE49-F238E27FC236}">
                  <a16:creationId xmlns:a16="http://schemas.microsoft.com/office/drawing/2014/main" id="{8BFFE679-3118-0692-E01E-DA2968E1DBB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37876" y="4982197"/>
              <a:ext cx="321468" cy="192881"/>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grpSp>
      <p:sp>
        <p:nvSpPr>
          <p:cNvPr id="60" name="object 6">
            <a:extLst>
              <a:ext uri="{FF2B5EF4-FFF2-40B4-BE49-F238E27FC236}">
                <a16:creationId xmlns:a16="http://schemas.microsoft.com/office/drawing/2014/main" id="{478FE4B9-9A92-4192-A186-74E8835758F0}"/>
              </a:ext>
            </a:extLst>
          </p:cNvPr>
          <p:cNvSpPr txBox="1"/>
          <p:nvPr/>
        </p:nvSpPr>
        <p:spPr>
          <a:xfrm>
            <a:off x="7330510" y="3549663"/>
            <a:ext cx="2104441" cy="913070"/>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solidFill>
                  <a:schemeClr val="tx1">
                    <a:lumMod val="75000"/>
                  </a:schemeClr>
                </a:solidFill>
                <a:latin typeface="Calibri" panose="020F0502020204030204" pitchFamily="34" charset="0"/>
                <a:cs typeface="Calibri" panose="020F0502020204030204" pitchFamily="34" charset="0"/>
              </a:rPr>
              <a:t>France</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a:p>
            <a:pPr marL="12700" marR="5080">
              <a:lnSpc>
                <a:spcPct val="100000"/>
              </a:lnSpc>
              <a:spcBef>
                <a:spcPts val="100"/>
              </a:spcBef>
            </a:pPr>
            <a:endParaRPr lang="en-US" sz="1400" spc="-10" dirty="0">
              <a:solidFill>
                <a:schemeClr val="tx1">
                  <a:lumMod val="75000"/>
                </a:schemeClr>
              </a:solidFill>
              <a:latin typeface="Calibri" panose="020F0502020204030204" pitchFamily="34" charset="0"/>
              <a:cs typeface="Calibri" panose="020F0502020204030204" pitchFamily="34" charset="0"/>
            </a:endParaRPr>
          </a:p>
        </p:txBody>
      </p:sp>
      <p:sp>
        <p:nvSpPr>
          <p:cNvPr id="61" name="object 6">
            <a:extLst>
              <a:ext uri="{FF2B5EF4-FFF2-40B4-BE49-F238E27FC236}">
                <a16:creationId xmlns:a16="http://schemas.microsoft.com/office/drawing/2014/main" id="{7EE87691-7F87-5B69-F44F-63247408C183}"/>
              </a:ext>
            </a:extLst>
          </p:cNvPr>
          <p:cNvSpPr txBox="1"/>
          <p:nvPr/>
        </p:nvSpPr>
        <p:spPr>
          <a:xfrm>
            <a:off x="7330510" y="4229488"/>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6 mln EUR</a:t>
            </a:r>
          </a:p>
        </p:txBody>
      </p:sp>
      <p:pic>
        <p:nvPicPr>
          <p:cNvPr id="62" name="Obraz 11">
            <a:extLst>
              <a:ext uri="{FF2B5EF4-FFF2-40B4-BE49-F238E27FC236}">
                <a16:creationId xmlns:a16="http://schemas.microsoft.com/office/drawing/2014/main" id="{C1C0A55A-5528-6D78-4BD5-54944BA1BDD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53405" y="3335192"/>
            <a:ext cx="332827" cy="192881"/>
          </a:xfrm>
          <a:prstGeom prst="rect">
            <a:avLst/>
          </a:prstGeom>
          <a:ln>
            <a:solidFill>
              <a:schemeClr val="tx1">
                <a:lumMod val="20000"/>
                <a:lumOff val="80000"/>
              </a:schemeClr>
            </a:solidFill>
          </a:ln>
        </p:spPr>
      </p:pic>
      <p:sp>
        <p:nvSpPr>
          <p:cNvPr id="63" name="object 6">
            <a:extLst>
              <a:ext uri="{FF2B5EF4-FFF2-40B4-BE49-F238E27FC236}">
                <a16:creationId xmlns:a16="http://schemas.microsoft.com/office/drawing/2014/main" id="{A0B3FA03-FD90-EC99-B7D0-6840977EB9DF}"/>
              </a:ext>
            </a:extLst>
          </p:cNvPr>
          <p:cNvSpPr txBox="1"/>
          <p:nvPr/>
        </p:nvSpPr>
        <p:spPr>
          <a:xfrm>
            <a:off x="2765462" y="1967043"/>
            <a:ext cx="2104441" cy="684803"/>
          </a:xfrm>
          <a:prstGeom prst="rect">
            <a:avLst/>
          </a:prstGeom>
        </p:spPr>
        <p:txBody>
          <a:bodyPr vert="horz" wrap="square" lIns="0" tIns="12700" rIns="0" bIns="0" rtlCol="0">
            <a:spAutoFit/>
          </a:bodyPr>
          <a:lstStyle/>
          <a:p>
            <a:pPr marL="12700" marR="5080">
              <a:lnSpc>
                <a:spcPct val="100000"/>
              </a:lnSpc>
              <a:spcBef>
                <a:spcPts val="100"/>
              </a:spcBef>
            </a:pPr>
            <a:r>
              <a:rPr lang="en-US" sz="1400" b="1" spc="-10" dirty="0">
                <a:latin typeface="Calibri" panose="020F0502020204030204" pitchFamily="34" charset="0"/>
                <a:cs typeface="Calibri" panose="020F0502020204030204" pitchFamily="34" charset="0"/>
              </a:rPr>
              <a:t>USA</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p:txBody>
      </p:sp>
      <p:sp>
        <p:nvSpPr>
          <p:cNvPr id="64" name="object 6">
            <a:extLst>
              <a:ext uri="{FF2B5EF4-FFF2-40B4-BE49-F238E27FC236}">
                <a16:creationId xmlns:a16="http://schemas.microsoft.com/office/drawing/2014/main" id="{75D319EA-4066-EDB4-C312-000D46D4F128}"/>
              </a:ext>
            </a:extLst>
          </p:cNvPr>
          <p:cNvSpPr txBox="1"/>
          <p:nvPr/>
        </p:nvSpPr>
        <p:spPr>
          <a:xfrm>
            <a:off x="2753440" y="2657007"/>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en-US" sz="2000" b="1" spc="-10" dirty="0">
                <a:solidFill>
                  <a:schemeClr val="tx2"/>
                </a:solidFill>
                <a:latin typeface="Calibri" panose="020F0502020204030204" pitchFamily="34" charset="0"/>
                <a:cs typeface="Calibri" panose="020F0502020204030204" pitchFamily="34" charset="0"/>
              </a:rPr>
              <a:t>4 m USD</a:t>
            </a:r>
          </a:p>
        </p:txBody>
      </p:sp>
      <p:pic>
        <p:nvPicPr>
          <p:cNvPr id="65" name="Obraz 52">
            <a:extLst>
              <a:ext uri="{FF2B5EF4-FFF2-40B4-BE49-F238E27FC236}">
                <a16:creationId xmlns:a16="http://schemas.microsoft.com/office/drawing/2014/main" id="{B4C470C1-803F-A880-B538-B15C728EEC5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753440" y="1754373"/>
            <a:ext cx="335980" cy="197300"/>
          </a:xfrm>
          <a:prstGeom prst="rect">
            <a:avLst/>
          </a:prstGeom>
          <a:ln>
            <a:solidFill>
              <a:schemeClr val="tx1">
                <a:lumMod val="20000"/>
                <a:lumOff val="80000"/>
              </a:schemeClr>
            </a:solidFill>
          </a:ln>
        </p:spPr>
      </p:pic>
      <p:pic>
        <p:nvPicPr>
          <p:cNvPr id="66" name="Obraz 65">
            <a:extLst>
              <a:ext uri="{FF2B5EF4-FFF2-40B4-BE49-F238E27FC236}">
                <a16:creationId xmlns:a16="http://schemas.microsoft.com/office/drawing/2014/main" id="{9DB591D7-312D-A716-DC93-EAA89CC976F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036630" y="4949478"/>
            <a:ext cx="338400" cy="225600"/>
          </a:xfrm>
          <a:prstGeom prst="rect">
            <a:avLst/>
          </a:prstGeom>
        </p:spPr>
      </p:pic>
      <p:grpSp>
        <p:nvGrpSpPr>
          <p:cNvPr id="67" name="Grupa 66">
            <a:extLst>
              <a:ext uri="{FF2B5EF4-FFF2-40B4-BE49-F238E27FC236}">
                <a16:creationId xmlns:a16="http://schemas.microsoft.com/office/drawing/2014/main" id="{9EF2B6B1-A0A5-9878-589E-3FD40D0A2B3D}"/>
              </a:ext>
            </a:extLst>
          </p:cNvPr>
          <p:cNvGrpSpPr/>
          <p:nvPr/>
        </p:nvGrpSpPr>
        <p:grpSpPr>
          <a:xfrm>
            <a:off x="9579179" y="5207606"/>
            <a:ext cx="2104441" cy="977132"/>
            <a:chOff x="9558859" y="5166966"/>
            <a:chExt cx="2104441" cy="977132"/>
          </a:xfrm>
        </p:grpSpPr>
        <p:sp>
          <p:nvSpPr>
            <p:cNvPr id="68" name="object 6">
              <a:extLst>
                <a:ext uri="{FF2B5EF4-FFF2-40B4-BE49-F238E27FC236}">
                  <a16:creationId xmlns:a16="http://schemas.microsoft.com/office/drawing/2014/main" id="{AC1AAC7D-3993-FFAD-EF2C-6F0856241A46}"/>
                </a:ext>
              </a:extLst>
            </p:cNvPr>
            <p:cNvSpPr txBox="1"/>
            <p:nvPr/>
          </p:nvSpPr>
          <p:spPr>
            <a:xfrm>
              <a:off x="9558859" y="5166966"/>
              <a:ext cx="2104441" cy="684803"/>
            </a:xfrm>
            <a:prstGeom prst="rect">
              <a:avLst/>
            </a:prstGeom>
          </p:spPr>
          <p:txBody>
            <a:bodyPr vert="horz" wrap="square" lIns="0" tIns="12700" rIns="0" bIns="0" rtlCol="0">
              <a:spAutoFit/>
            </a:bodyPr>
            <a:lstStyle/>
            <a:p>
              <a:pPr marL="12700" marR="5080" lvl="0">
                <a:spcBef>
                  <a:spcPts val="100"/>
                </a:spcBef>
                <a:defRPr/>
              </a:pPr>
              <a:r>
                <a:rPr lang="pl-PL" sz="1400" b="1" spc="-10" dirty="0" err="1">
                  <a:latin typeface="Calibri" panose="020F0502020204030204" pitchFamily="34" charset="0"/>
                  <a:cs typeface="Calibri" panose="020F0502020204030204" pitchFamily="34" charset="0"/>
                </a:rPr>
                <a:t>Spain</a:t>
              </a:r>
              <a:endParaRPr lang="pl-PL" sz="1400" b="1" spc="-10" dirty="0">
                <a:latin typeface="Calibri" panose="020F0502020204030204" pitchFamily="34" charset="0"/>
                <a:cs typeface="Calibri" panose="020F0502020204030204" pitchFamily="34" charset="0"/>
              </a:endParaRP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Acquisition </a:t>
              </a:r>
            </a:p>
            <a:p>
              <a:pPr marL="12700" marR="5080">
                <a:lnSpc>
                  <a:spcPct val="100000"/>
                </a:lnSpc>
                <a:spcBef>
                  <a:spcPts val="100"/>
                </a:spcBef>
              </a:pPr>
              <a:r>
                <a:rPr lang="en-US" sz="1400" spc="-10" dirty="0">
                  <a:latin typeface="Calibri" panose="020F0502020204030204" pitchFamily="34" charset="0"/>
                  <a:cs typeface="Calibri" panose="020F0502020204030204" pitchFamily="34" charset="0"/>
                </a:rPr>
                <a:t>financing</a:t>
              </a:r>
            </a:p>
          </p:txBody>
        </p:sp>
        <p:sp>
          <p:nvSpPr>
            <p:cNvPr id="69" name="object 6">
              <a:extLst>
                <a:ext uri="{FF2B5EF4-FFF2-40B4-BE49-F238E27FC236}">
                  <a16:creationId xmlns:a16="http://schemas.microsoft.com/office/drawing/2014/main" id="{5EEB7BB3-10D1-18D8-82D3-94D178BF99E8}"/>
                </a:ext>
              </a:extLst>
            </p:cNvPr>
            <p:cNvSpPr txBox="1"/>
            <p:nvPr/>
          </p:nvSpPr>
          <p:spPr>
            <a:xfrm>
              <a:off x="9558859" y="5823497"/>
              <a:ext cx="2104441" cy="320601"/>
            </a:xfrm>
            <a:prstGeom prst="rect">
              <a:avLst/>
            </a:prstGeom>
          </p:spPr>
          <p:txBody>
            <a:bodyPr vert="horz" wrap="square" lIns="0" tIns="12700" rIns="0" bIns="0" rtlCol="0">
              <a:spAutoFit/>
            </a:bodyPr>
            <a:lstStyle/>
            <a:p>
              <a:pPr marL="12700" marR="5080">
                <a:lnSpc>
                  <a:spcPct val="100000"/>
                </a:lnSpc>
                <a:spcBef>
                  <a:spcPts val="100"/>
                </a:spcBef>
              </a:pPr>
              <a:r>
                <a:rPr lang="pl-PL" sz="2000" b="1" spc="-10" dirty="0">
                  <a:solidFill>
                    <a:schemeClr val="tx2"/>
                  </a:solidFill>
                  <a:latin typeface="Calibri" panose="020F0502020204030204" pitchFamily="34" charset="0"/>
                  <a:cs typeface="Calibri" panose="020F0502020204030204" pitchFamily="34" charset="0"/>
                </a:rPr>
                <a:t>3,9</a:t>
              </a:r>
              <a:r>
                <a:rPr lang="en-US" sz="2000" b="1" spc="-10" dirty="0">
                  <a:solidFill>
                    <a:schemeClr val="tx2"/>
                  </a:solidFill>
                  <a:latin typeface="Calibri" panose="020F0502020204030204" pitchFamily="34" charset="0"/>
                  <a:cs typeface="Calibri" panose="020F0502020204030204" pitchFamily="34" charset="0"/>
                </a:rPr>
                <a:t> m</a:t>
              </a:r>
              <a:r>
                <a:rPr lang="pl-PL" sz="2000" b="1" spc="-10" dirty="0">
                  <a:solidFill>
                    <a:schemeClr val="tx2"/>
                  </a:solidFill>
                  <a:latin typeface="Calibri" panose="020F0502020204030204" pitchFamily="34" charset="0"/>
                  <a:cs typeface="Calibri" panose="020F0502020204030204" pitchFamily="34" charset="0"/>
                </a:rPr>
                <a:t> </a:t>
              </a:r>
              <a:r>
                <a:rPr lang="en-US" sz="2000" b="1" spc="-10" dirty="0">
                  <a:solidFill>
                    <a:schemeClr val="tx2"/>
                  </a:solidFill>
                  <a:latin typeface="Calibri" panose="020F0502020204030204" pitchFamily="34" charset="0"/>
                  <a:cs typeface="Calibri" panose="020F0502020204030204" pitchFamily="34" charset="0"/>
                </a:rPr>
                <a:t>PLN</a:t>
              </a:r>
            </a:p>
          </p:txBody>
        </p:sp>
      </p:grpSp>
      <p:pic>
        <p:nvPicPr>
          <p:cNvPr id="70" name="Grafika 69">
            <a:extLst>
              <a:ext uri="{FF2B5EF4-FFF2-40B4-BE49-F238E27FC236}">
                <a16:creationId xmlns:a16="http://schemas.microsoft.com/office/drawing/2014/main" id="{41E954FC-C472-43CE-B9AC-8DB875FAB00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588851" y="4973058"/>
            <a:ext cx="291600" cy="194400"/>
          </a:xfrm>
          <a:prstGeom prst="rect">
            <a:avLst/>
          </a:prstGeom>
        </p:spPr>
      </p:pic>
      <p:pic>
        <p:nvPicPr>
          <p:cNvPr id="71" name="Obraz 70" descr="Obraz zawierający tekst, Czcionka, Grafika, logo&#10;&#10;Opis wygenerowany automatycznie">
            <a:extLst>
              <a:ext uri="{FF2B5EF4-FFF2-40B4-BE49-F238E27FC236}">
                <a16:creationId xmlns:a16="http://schemas.microsoft.com/office/drawing/2014/main" id="{68A4BCAD-570B-C31E-F709-282DB46B321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905658" y="169169"/>
            <a:ext cx="1090556" cy="306000"/>
          </a:xfrm>
          <a:prstGeom prst="rect">
            <a:avLst/>
          </a:prstGeom>
        </p:spPr>
      </p:pic>
    </p:spTree>
    <p:extLst>
      <p:ext uri="{BB962C8B-B14F-4D97-AF65-F5344CB8AC3E}">
        <p14:creationId xmlns:p14="http://schemas.microsoft.com/office/powerpoint/2010/main" val="32752625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p:cNvSpPr>
            <a:spLocks noGrp="1"/>
          </p:cNvSpPr>
          <p:nvPr>
            <p:ph type="sldNum" sz="quarter" idx="4"/>
          </p:nvPr>
        </p:nvSpPr>
        <p:spPr/>
        <p:txBody>
          <a:bodyPr/>
          <a:lstStyle/>
          <a:p>
            <a:fld id="{BC30D576-EDB4-4767-A840-38EFCFF3C29D}" type="slidenum">
              <a:rPr lang="en-US" smtClean="0"/>
              <a:t>59</a:t>
            </a:fld>
            <a:endParaRPr lang="en-US"/>
          </a:p>
        </p:txBody>
      </p:sp>
      <p:pic>
        <p:nvPicPr>
          <p:cNvPr id="2" name="Obraz 19">
            <a:extLst>
              <a:ext uri="{FF2B5EF4-FFF2-40B4-BE49-F238E27FC236}">
                <a16:creationId xmlns:a16="http://schemas.microsoft.com/office/drawing/2014/main" id="{A1C6914E-3D68-FA01-2023-6D6054572E7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864" b="7864"/>
          <a:stretch/>
        </p:blipFill>
        <p:spPr>
          <a:xfrm flipH="1">
            <a:off x="0" y="0"/>
            <a:ext cx="12192000" cy="6858000"/>
          </a:xfrm>
          <a:prstGeom prst="rect">
            <a:avLst/>
          </a:prstGeom>
        </p:spPr>
      </p:pic>
      <p:sp>
        <p:nvSpPr>
          <p:cNvPr id="3" name="Dowolny kształt: kształt 12">
            <a:extLst>
              <a:ext uri="{FF2B5EF4-FFF2-40B4-BE49-F238E27FC236}">
                <a16:creationId xmlns:a16="http://schemas.microsoft.com/office/drawing/2014/main" id="{13094C8A-6008-39A5-7DC7-747AD38BCE40}"/>
              </a:ext>
            </a:extLst>
          </p:cNvPr>
          <p:cNvSpPr/>
          <p:nvPr/>
        </p:nvSpPr>
        <p:spPr>
          <a:xfrm>
            <a:off x="2" y="-63796"/>
            <a:ext cx="5829298" cy="6858000"/>
          </a:xfrm>
          <a:custGeom>
            <a:avLst/>
            <a:gdLst>
              <a:gd name="connsiteX0" fmla="*/ 0 w 7079671"/>
              <a:gd name="connsiteY0" fmla="*/ 0 h 6858000"/>
              <a:gd name="connsiteX1" fmla="*/ 5111766 w 7079671"/>
              <a:gd name="connsiteY1" fmla="*/ 0 h 6858000"/>
              <a:gd name="connsiteX2" fmla="*/ 5403272 w 7079671"/>
              <a:gd name="connsiteY2" fmla="*/ 0 h 6858000"/>
              <a:gd name="connsiteX3" fmla="*/ 7079671 w 7079671"/>
              <a:gd name="connsiteY3" fmla="*/ 0 h 6858000"/>
              <a:gd name="connsiteX4" fmla="*/ 5943429 w 7079671"/>
              <a:gd name="connsiteY4" fmla="*/ 6858000 h 6858000"/>
              <a:gd name="connsiteX5" fmla="*/ 5403272 w 7079671"/>
              <a:gd name="connsiteY5" fmla="*/ 6858000 h 6858000"/>
              <a:gd name="connsiteX6" fmla="*/ 3975524 w 7079671"/>
              <a:gd name="connsiteY6" fmla="*/ 6858000 h 6858000"/>
              <a:gd name="connsiteX7" fmla="*/ 0 w 707967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9671" h="6858000">
                <a:moveTo>
                  <a:pt x="0" y="0"/>
                </a:moveTo>
                <a:lnTo>
                  <a:pt x="5111766" y="0"/>
                </a:lnTo>
                <a:lnTo>
                  <a:pt x="5403272" y="0"/>
                </a:lnTo>
                <a:lnTo>
                  <a:pt x="7079671" y="0"/>
                </a:lnTo>
                <a:lnTo>
                  <a:pt x="5943429" y="6858000"/>
                </a:lnTo>
                <a:lnTo>
                  <a:pt x="5403272" y="6858000"/>
                </a:lnTo>
                <a:lnTo>
                  <a:pt x="3975524" y="6858000"/>
                </a:lnTo>
                <a:lnTo>
                  <a:pt x="0" y="6858000"/>
                </a:lnTo>
                <a:close/>
              </a:path>
            </a:pathLst>
          </a:custGeom>
          <a:gradFill flip="none" rotWithShape="1">
            <a:gsLst>
              <a:gs pos="0">
                <a:srgbClr val="D72B4F"/>
              </a:gs>
              <a:gs pos="100000">
                <a:srgbClr val="CF002B"/>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rostokąt 4">
            <a:extLst>
              <a:ext uri="{FF2B5EF4-FFF2-40B4-BE49-F238E27FC236}">
                <a16:creationId xmlns:a16="http://schemas.microsoft.com/office/drawing/2014/main" id="{893B2860-7505-9233-DB61-FFECD6051C13}"/>
              </a:ext>
            </a:extLst>
          </p:cNvPr>
          <p:cNvSpPr/>
          <p:nvPr/>
        </p:nvSpPr>
        <p:spPr>
          <a:xfrm>
            <a:off x="517585" y="1128713"/>
            <a:ext cx="5067875" cy="4171950"/>
          </a:xfrm>
          <a:prstGeom prst="rect">
            <a:avLst/>
          </a:prstGeom>
          <a:no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lvl="0"/>
            <a:r>
              <a:rPr lang="pl-PL" b="1" dirty="0">
                <a:solidFill>
                  <a:prstClr val="white"/>
                </a:solidFill>
              </a:rPr>
              <a:t>Bank Gospodarstwa Krajowego</a:t>
            </a:r>
          </a:p>
          <a:p>
            <a:pPr lvl="0">
              <a:spcAft>
                <a:spcPts val="600"/>
              </a:spcAft>
            </a:pPr>
            <a:r>
              <a:rPr lang="pl-PL" b="1" dirty="0">
                <a:solidFill>
                  <a:prstClr val="white"/>
                </a:solidFill>
              </a:rPr>
              <a:t>Al. Jerozolimskie 7,  00-955 </a:t>
            </a:r>
            <a:r>
              <a:rPr lang="en-GB" b="1" dirty="0">
                <a:solidFill>
                  <a:prstClr val="white"/>
                </a:solidFill>
              </a:rPr>
              <a:t>Warsaw</a:t>
            </a:r>
            <a:endParaRPr lang="pl-PL" b="1" dirty="0">
              <a:solidFill>
                <a:prstClr val="white"/>
              </a:solidFill>
            </a:endParaRPr>
          </a:p>
          <a:p>
            <a:pPr lvl="0"/>
            <a:r>
              <a:rPr lang="en-GB" dirty="0">
                <a:solidFill>
                  <a:prstClr val="white"/>
                </a:solidFill>
              </a:rPr>
              <a:t>Temporary correspondence address</a:t>
            </a:r>
            <a:r>
              <a:rPr lang="pl-PL" dirty="0">
                <a:solidFill>
                  <a:prstClr val="white"/>
                </a:solidFill>
              </a:rPr>
              <a:t>:</a:t>
            </a:r>
          </a:p>
          <a:p>
            <a:pPr lvl="0"/>
            <a:r>
              <a:rPr lang="pl-PL" dirty="0" err="1">
                <a:solidFill>
                  <a:prstClr val="white"/>
                </a:solidFill>
              </a:rPr>
              <a:t>Varso</a:t>
            </a:r>
            <a:r>
              <a:rPr lang="pl-PL" dirty="0">
                <a:solidFill>
                  <a:prstClr val="white"/>
                </a:solidFill>
              </a:rPr>
              <a:t> 2</a:t>
            </a:r>
          </a:p>
          <a:p>
            <a:pPr lvl="0">
              <a:spcAft>
                <a:spcPts val="600"/>
              </a:spcAft>
            </a:pPr>
            <a:r>
              <a:rPr lang="en-GB" dirty="0">
                <a:solidFill>
                  <a:prstClr val="white"/>
                </a:solidFill>
              </a:rPr>
              <a:t>73 </a:t>
            </a:r>
            <a:r>
              <a:rPr lang="pl-PL" dirty="0">
                <a:solidFill>
                  <a:prstClr val="white"/>
                </a:solidFill>
              </a:rPr>
              <a:t>Chmielna</a:t>
            </a:r>
            <a:r>
              <a:rPr lang="en-GB" dirty="0">
                <a:solidFill>
                  <a:prstClr val="white"/>
                </a:solidFill>
              </a:rPr>
              <a:t> Street</a:t>
            </a:r>
            <a:r>
              <a:rPr lang="pl-PL" dirty="0">
                <a:solidFill>
                  <a:prstClr val="white"/>
                </a:solidFill>
              </a:rPr>
              <a:t>, 00-801 </a:t>
            </a:r>
            <a:r>
              <a:rPr lang="en-GB" dirty="0">
                <a:solidFill>
                  <a:prstClr val="white"/>
                </a:solidFill>
              </a:rPr>
              <a:t>Warsaw</a:t>
            </a:r>
            <a:endParaRPr lang="pl-PL" dirty="0">
              <a:solidFill>
                <a:prstClr val="white"/>
              </a:solidFill>
            </a:endParaRPr>
          </a:p>
          <a:p>
            <a:pPr lvl="0"/>
            <a:r>
              <a:rPr lang="en-GB" b="1" dirty="0">
                <a:solidFill>
                  <a:prstClr val="white"/>
                </a:solidFill>
              </a:rPr>
              <a:t>International Expansion and Trade Finance Department</a:t>
            </a:r>
            <a:endParaRPr lang="pl-PL" b="1" dirty="0">
              <a:solidFill>
                <a:prstClr val="white"/>
              </a:solidFill>
            </a:endParaRPr>
          </a:p>
          <a:p>
            <a:pPr lvl="0"/>
            <a:br>
              <a:rPr lang="pl-PL" b="1" dirty="0">
                <a:solidFill>
                  <a:prstClr val="white"/>
                </a:solidFill>
              </a:rPr>
            </a:br>
            <a:r>
              <a:rPr lang="en-GB" b="1" dirty="0">
                <a:solidFill>
                  <a:prstClr val="white"/>
                </a:solidFill>
              </a:rPr>
              <a:t>Foreign Expansion Office:</a:t>
            </a:r>
            <a:br>
              <a:rPr lang="pl-PL" dirty="0">
                <a:solidFill>
                  <a:prstClr val="white"/>
                </a:solidFill>
                <a:latin typeface="Calibri Light" panose="020F0302020204030204" pitchFamily="34" charset="0"/>
                <a:cs typeface="Calibri Light" panose="020F0302020204030204" pitchFamily="34" charset="0"/>
              </a:rPr>
            </a:br>
            <a:r>
              <a:rPr lang="pl-PL" dirty="0">
                <a:solidFill>
                  <a:prstClr val="white"/>
                </a:solidFill>
                <a:latin typeface="Calibri Light" panose="020F0302020204030204" pitchFamily="34" charset="0"/>
                <a:cs typeface="Calibri Light" panose="020F0302020204030204" pitchFamily="34" charset="0"/>
              </a:rPr>
              <a:t>e-mail: ekspansja@bgk.pl</a:t>
            </a:r>
            <a:endParaRPr lang="pl-PL" b="1" dirty="0">
              <a:solidFill>
                <a:prstClr val="white"/>
              </a:solidFill>
            </a:endParaRPr>
          </a:p>
          <a:p>
            <a:pPr lvl="0"/>
            <a:r>
              <a:rPr lang="en-GB" b="1" dirty="0">
                <a:solidFill>
                  <a:prstClr val="white"/>
                </a:solidFill>
              </a:rPr>
              <a:t>Trade Finance Relations Team:</a:t>
            </a:r>
            <a:endParaRPr lang="pl-PL" b="1" dirty="0">
              <a:solidFill>
                <a:prstClr val="white"/>
              </a:solidFill>
            </a:endParaRPr>
          </a:p>
          <a:p>
            <a:pPr lvl="0"/>
            <a:r>
              <a:rPr lang="pl-PL" dirty="0">
                <a:solidFill>
                  <a:prstClr val="white"/>
                </a:solidFill>
                <a:latin typeface="Calibri Light" panose="020F0302020204030204" pitchFamily="34" charset="0"/>
                <a:cs typeface="Calibri Light" panose="020F0302020204030204" pitchFamily="34" charset="0"/>
              </a:rPr>
              <a:t>e-mail: RelacjeFH@bgk.pl</a:t>
            </a:r>
          </a:p>
        </p:txBody>
      </p:sp>
    </p:spTree>
    <p:extLst>
      <p:ext uri="{BB962C8B-B14F-4D97-AF65-F5344CB8AC3E}">
        <p14:creationId xmlns:p14="http://schemas.microsoft.com/office/powerpoint/2010/main" val="3161819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6</a:t>
            </a:fld>
            <a:endParaRPr lang="en-GB" noProof="0" dirty="0"/>
          </a:p>
        </p:txBody>
      </p:sp>
      <p:sp>
        <p:nvSpPr>
          <p:cNvPr id="4" name="Text Placeholder 3">
            <a:extLst>
              <a:ext uri="{FF2B5EF4-FFF2-40B4-BE49-F238E27FC236}">
                <a16:creationId xmlns:a16="http://schemas.microsoft.com/office/drawing/2014/main" id="{5E2C1C66-FCAB-F8F6-757F-8F4B6D5CD98D}"/>
              </a:ext>
            </a:extLst>
          </p:cNvPr>
          <p:cNvSpPr>
            <a:spLocks noGrp="1"/>
          </p:cNvSpPr>
          <p:nvPr>
            <p:ph type="body" sz="quarter" idx="11"/>
          </p:nvPr>
        </p:nvSpPr>
        <p:spPr>
          <a:xfrm>
            <a:off x="906022" y="2658358"/>
            <a:ext cx="10691977" cy="3625534"/>
          </a:xfrm>
        </p:spPr>
        <p:txBody>
          <a:bodyPr/>
          <a:lstStyle/>
          <a:p>
            <a:pPr marL="0" marR="0" lvl="0" indent="0" algn="l" defTabSz="914400" rtl="0" eaLnBrk="1" fontAlgn="auto" latinLnBrk="0" hangingPunct="1">
              <a:lnSpc>
                <a:spcPts val="2200"/>
              </a:lnSpc>
              <a:spcBef>
                <a:spcPts val="0"/>
              </a:spcBef>
              <a:spcAft>
                <a:spcPts val="600"/>
              </a:spcAft>
              <a:buClrTx/>
              <a:buSzTx/>
              <a:buNone/>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6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ts val="2200"/>
              </a:lnSpc>
              <a:spcBef>
                <a:spcPts val="0"/>
              </a:spcBef>
              <a:spcAft>
                <a:spcPts val="600"/>
              </a:spcAft>
              <a:buClrTx/>
              <a:buSzTx/>
              <a:buNone/>
              <a:tabLst/>
              <a:defRPr/>
            </a:pPr>
            <a:endParaRPr kumimoji="0" lang="en-GB"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285750" marR="0" lvl="0" indent="-285750" algn="l" defTabSz="914400" rtl="0" eaLnBrk="1" fontAlgn="auto" latinLnBrk="0" hangingPunct="1">
              <a:lnSpc>
                <a:spcPts val="2200"/>
              </a:lnSpc>
              <a:spcBef>
                <a:spcPts val="0"/>
              </a:spcBef>
              <a:spcAft>
                <a:spcPts val="600"/>
              </a:spcAft>
              <a:buClrTx/>
              <a:buSzTx/>
              <a:buFont typeface="Wingdings" panose="05000000000000000000" pitchFamily="2" charset="2"/>
              <a:buChar char="v"/>
              <a:tabLst/>
              <a:defRPr/>
            </a:pPr>
            <a:endParaRPr kumimoji="0" lang="en-US" sz="11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6023" y="184125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Inbound Deal Sector Overview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4)</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graphicFrame>
        <p:nvGraphicFramePr>
          <p:cNvPr id="2" name="Table 1">
            <a:extLst>
              <a:ext uri="{FF2B5EF4-FFF2-40B4-BE49-F238E27FC236}">
                <a16:creationId xmlns:a16="http://schemas.microsoft.com/office/drawing/2014/main" id="{252AFB1F-C52C-A5D1-11D6-B2758316BA38}"/>
              </a:ext>
            </a:extLst>
          </p:cNvPr>
          <p:cNvGraphicFramePr>
            <a:graphicFrameLocks noGrp="1"/>
          </p:cNvGraphicFramePr>
          <p:nvPr>
            <p:extLst>
              <p:ext uri="{D42A27DB-BD31-4B8C-83A1-F6EECF244321}">
                <p14:modId xmlns:p14="http://schemas.microsoft.com/office/powerpoint/2010/main" val="3604039636"/>
              </p:ext>
            </p:extLst>
          </p:nvPr>
        </p:nvGraphicFramePr>
        <p:xfrm>
          <a:off x="906022" y="2482824"/>
          <a:ext cx="9804934" cy="3796602"/>
        </p:xfrm>
        <a:graphic>
          <a:graphicData uri="http://schemas.openxmlformats.org/drawingml/2006/table">
            <a:tbl>
              <a:tblPr firstRow="1" firstCol="1" bandRow="1">
                <a:tableStyleId>{5C22544A-7EE6-4342-B048-85BDC9FD1C3A}</a:tableStyleId>
              </a:tblPr>
              <a:tblGrid>
                <a:gridCol w="2801409">
                  <a:extLst>
                    <a:ext uri="{9D8B030D-6E8A-4147-A177-3AD203B41FA5}">
                      <a16:colId xmlns:a16="http://schemas.microsoft.com/office/drawing/2014/main" val="2331609023"/>
                    </a:ext>
                  </a:extLst>
                </a:gridCol>
                <a:gridCol w="1495898">
                  <a:extLst>
                    <a:ext uri="{9D8B030D-6E8A-4147-A177-3AD203B41FA5}">
                      <a16:colId xmlns:a16="http://schemas.microsoft.com/office/drawing/2014/main" val="3939509812"/>
                    </a:ext>
                  </a:extLst>
                </a:gridCol>
                <a:gridCol w="1822276">
                  <a:extLst>
                    <a:ext uri="{9D8B030D-6E8A-4147-A177-3AD203B41FA5}">
                      <a16:colId xmlns:a16="http://schemas.microsoft.com/office/drawing/2014/main" val="1286736016"/>
                    </a:ext>
                  </a:extLst>
                </a:gridCol>
                <a:gridCol w="1536696">
                  <a:extLst>
                    <a:ext uri="{9D8B030D-6E8A-4147-A177-3AD203B41FA5}">
                      <a16:colId xmlns:a16="http://schemas.microsoft.com/office/drawing/2014/main" val="3623560045"/>
                    </a:ext>
                  </a:extLst>
                </a:gridCol>
                <a:gridCol w="2148655">
                  <a:extLst>
                    <a:ext uri="{9D8B030D-6E8A-4147-A177-3AD203B41FA5}">
                      <a16:colId xmlns:a16="http://schemas.microsoft.com/office/drawing/2014/main" val="3906409208"/>
                    </a:ext>
                  </a:extLst>
                </a:gridCol>
              </a:tblGrid>
              <a:tr h="586661">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Sector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alue (2023) (GBP)</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olume (2023)</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alue Change (%)</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spcBef>
                          <a:spcPts val="400"/>
                        </a:spcBef>
                      </a:pPr>
                      <a:r>
                        <a:rPr lang="en-GB" sz="1200" dirty="0">
                          <a:effectLst/>
                          <a:latin typeface="Lato" panose="020F0502020204030203" pitchFamily="34" charset="0"/>
                          <a:ea typeface="Lato" panose="020F0502020204030203" pitchFamily="34" charset="0"/>
                          <a:cs typeface="Lato" panose="020F0502020204030203" pitchFamily="34" charset="0"/>
                        </a:rPr>
                        <a:t>Deal Volume Change (%)</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extLst>
                  <a:ext uri="{0D108BD9-81ED-4DB2-BD59-A6C34878D82A}">
                    <a16:rowId xmlns:a16="http://schemas.microsoft.com/office/drawing/2014/main" val="3873376608"/>
                  </a:ext>
                </a:extLst>
              </a:tr>
              <a:tr h="291770">
                <a:tc>
                  <a:txBody>
                    <a:bodyPr/>
                    <a:lstStyle/>
                    <a:p>
                      <a:pPr>
                        <a:lnSpc>
                          <a:spcPts val="1500"/>
                        </a:lnSpc>
                        <a:spcBef>
                          <a:spcPts val="600"/>
                        </a:spcBef>
                      </a:pPr>
                      <a:r>
                        <a:rPr lang="en-GB" sz="1200" dirty="0">
                          <a:effectLst/>
                          <a:latin typeface="Lato" panose="020F0502020204030203" pitchFamily="34" charset="0"/>
                          <a:ea typeface="Lato" panose="020F0502020204030203" pitchFamily="34" charset="0"/>
                          <a:cs typeface="Lato" panose="020F0502020204030203" pitchFamily="34" charset="0"/>
                        </a:rPr>
                        <a:t>Technology</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2.3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40</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0.9</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8.31</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841393658"/>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Life Science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5.6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1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4.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8</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733231094"/>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Energy &amp; Natural Resource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8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88</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1.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306950065"/>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Consumer &amp; Retail</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9.1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4</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5.8</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3.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1482328705"/>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Real Estate</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2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4.4</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0</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894948771"/>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Transportation</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5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1.6</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6.7</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53888374"/>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Financial Institution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1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6.7</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423803053"/>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Business Service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9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7.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3.7</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913310109"/>
                  </a:ext>
                </a:extLst>
              </a:tr>
              <a:tr h="291770">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Industrials</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3.8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63</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71.6</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2533236655"/>
                  </a:ext>
                </a:extLst>
              </a:tr>
              <a:tr h="584011">
                <a:tc>
                  <a:txBody>
                    <a:bodyPr/>
                    <a:lstStyle/>
                    <a:p>
                      <a:pPr>
                        <a:lnSpc>
                          <a:spcPts val="1500"/>
                        </a:lnSpc>
                      </a:pPr>
                      <a:r>
                        <a:rPr lang="en-GB" sz="1200" dirty="0">
                          <a:effectLst/>
                          <a:latin typeface="Lato" panose="020F0502020204030203" pitchFamily="34" charset="0"/>
                          <a:ea typeface="Lato" panose="020F0502020204030203" pitchFamily="34" charset="0"/>
                          <a:cs typeface="Lato" panose="020F0502020204030203" pitchFamily="34" charset="0"/>
                        </a:rPr>
                        <a:t>Communications, Media &amp; Entertainment</a:t>
                      </a:r>
                      <a:endParaRPr lang="en-GB" sz="12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7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6</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70.9</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gn="ct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0.095</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751952757"/>
                  </a:ext>
                </a:extLst>
              </a:tr>
            </a:tbl>
          </a:graphicData>
        </a:graphic>
      </p:graphicFrame>
      <p:sp>
        <p:nvSpPr>
          <p:cNvPr id="7" name="TextBox 6">
            <a:extLst>
              <a:ext uri="{FF2B5EF4-FFF2-40B4-BE49-F238E27FC236}">
                <a16:creationId xmlns:a16="http://schemas.microsoft.com/office/drawing/2014/main" id="{3A3F920E-8486-D1C2-1E1B-A2CBBF53E06C}"/>
              </a:ext>
            </a:extLst>
          </p:cNvPr>
          <p:cNvSpPr txBox="1"/>
          <p:nvPr/>
        </p:nvSpPr>
        <p:spPr>
          <a:xfrm>
            <a:off x="964666" y="6377869"/>
            <a:ext cx="6096000" cy="215444"/>
          </a:xfrm>
          <a:prstGeom prst="rect">
            <a:avLst/>
          </a:prstGeom>
          <a:noFill/>
        </p:spPr>
        <p:txBody>
          <a:bodyPr wrap="square">
            <a:spAutoFit/>
          </a:bodyPr>
          <a:lstStyle/>
          <a:p>
            <a:r>
              <a:rPr lang="en-GB" sz="800" i="1" dirty="0">
                <a:latin typeface="Lato" panose="020F0502020204030203" pitchFamily="34" charset="0"/>
                <a:ea typeface="Lato" panose="020F0502020204030203" pitchFamily="34" charset="0"/>
                <a:cs typeface="Lato" panose="020F0502020204030203" pitchFamily="34" charset="0"/>
              </a:rPr>
              <a:t>(4)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p:txBody>
      </p:sp>
    </p:spTree>
    <p:extLst>
      <p:ext uri="{BB962C8B-B14F-4D97-AF65-F5344CB8AC3E}">
        <p14:creationId xmlns:p14="http://schemas.microsoft.com/office/powerpoint/2010/main" val="6511704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71603F23-9C6C-F145-BA89-5061D2C25E2B}"/>
              </a:ext>
            </a:extLst>
          </p:cNvPr>
          <p:cNvSpPr>
            <a:spLocks noGrp="1"/>
          </p:cNvSpPr>
          <p:nvPr>
            <p:ph type="ctrTitle"/>
          </p:nvPr>
        </p:nvSpPr>
        <p:spPr>
          <a:xfrm>
            <a:off x="361272" y="1625600"/>
            <a:ext cx="5540375" cy="2001024"/>
          </a:xfrm>
        </p:spPr>
        <p:txBody>
          <a:bodyPr>
            <a:normAutofit/>
          </a:bodyPr>
          <a:lstStyle/>
          <a:p>
            <a:r>
              <a:rPr lang="en-GB" sz="3200" dirty="0">
                <a:solidFill>
                  <a:srgbClr val="E6612C"/>
                </a:solidFill>
              </a:rPr>
              <a:t>Insurance</a:t>
            </a:r>
            <a:r>
              <a:rPr lang="pl-PL" sz="3200" dirty="0">
                <a:solidFill>
                  <a:srgbClr val="E6612C"/>
                </a:solidFill>
              </a:rPr>
              <a:t> of</a:t>
            </a:r>
            <a:br>
              <a:rPr lang="en-GB" sz="3600" dirty="0"/>
            </a:br>
            <a:r>
              <a:rPr lang="pl-PL" sz="2800" dirty="0"/>
              <a:t>- </a:t>
            </a:r>
            <a:r>
              <a:rPr lang="en-GB" sz="2800" dirty="0"/>
              <a:t>direct</a:t>
            </a:r>
            <a:r>
              <a:rPr lang="pl-PL" sz="2800" dirty="0"/>
              <a:t> </a:t>
            </a:r>
            <a:r>
              <a:rPr lang="en-GB" sz="2800" dirty="0"/>
              <a:t>investment abroad </a:t>
            </a:r>
            <a:br>
              <a:rPr lang="pl-PL" sz="2800" dirty="0"/>
            </a:br>
            <a:r>
              <a:rPr lang="pl-PL" sz="2800" dirty="0"/>
              <a:t>- </a:t>
            </a:r>
            <a:r>
              <a:rPr lang="pl-PL" sz="2800" dirty="0" err="1">
                <a:solidFill>
                  <a:srgbClr val="38AEC4"/>
                </a:solidFill>
              </a:rPr>
              <a:t>financing</a:t>
            </a:r>
            <a:r>
              <a:rPr lang="pl-PL" sz="2800" dirty="0">
                <a:solidFill>
                  <a:srgbClr val="38AEC4"/>
                </a:solidFill>
              </a:rPr>
              <a:t> of </a:t>
            </a:r>
            <a:r>
              <a:rPr lang="pl-PL" sz="2800" dirty="0" err="1">
                <a:solidFill>
                  <a:srgbClr val="38AEC4"/>
                </a:solidFill>
              </a:rPr>
              <a:t>such</a:t>
            </a:r>
            <a:r>
              <a:rPr lang="pl-PL" sz="2800" dirty="0">
                <a:solidFill>
                  <a:srgbClr val="38AEC4"/>
                </a:solidFill>
              </a:rPr>
              <a:t> investment</a:t>
            </a:r>
            <a:endParaRPr lang="en-GB" sz="2800" dirty="0">
              <a:solidFill>
                <a:srgbClr val="38AEC4"/>
              </a:solidFill>
            </a:endParaRPr>
          </a:p>
        </p:txBody>
      </p:sp>
      <p:sp>
        <p:nvSpPr>
          <p:cNvPr id="3" name="Podtytuł 2">
            <a:extLst>
              <a:ext uri="{FF2B5EF4-FFF2-40B4-BE49-F238E27FC236}">
                <a16:creationId xmlns:a16="http://schemas.microsoft.com/office/drawing/2014/main" id="{3672333B-254F-754E-ADF5-E1609A350CCD}"/>
              </a:ext>
            </a:extLst>
          </p:cNvPr>
          <p:cNvSpPr>
            <a:spLocks noGrp="1"/>
          </p:cNvSpPr>
          <p:nvPr>
            <p:ph type="subTitle" idx="1"/>
          </p:nvPr>
        </p:nvSpPr>
        <p:spPr>
          <a:xfrm>
            <a:off x="361274" y="3824392"/>
            <a:ext cx="3731332" cy="1070338"/>
          </a:xfrm>
        </p:spPr>
        <p:txBody>
          <a:bodyPr/>
          <a:lstStyle/>
          <a:p>
            <a:pPr>
              <a:spcAft>
                <a:spcPts val="1200"/>
              </a:spcAft>
            </a:pPr>
            <a:r>
              <a:rPr lang="en-GB" dirty="0"/>
              <a:t>Support for Polish exporters in their foreign expansion</a:t>
            </a:r>
          </a:p>
        </p:txBody>
      </p:sp>
      <p:sp>
        <p:nvSpPr>
          <p:cNvPr id="4" name="Symbol zastępczy tekstu 3">
            <a:extLst>
              <a:ext uri="{FF2B5EF4-FFF2-40B4-BE49-F238E27FC236}">
                <a16:creationId xmlns:a16="http://schemas.microsoft.com/office/drawing/2014/main" id="{C836ED35-D787-F549-B515-46B326024865}"/>
              </a:ext>
            </a:extLst>
          </p:cNvPr>
          <p:cNvSpPr>
            <a:spLocks noGrp="1"/>
          </p:cNvSpPr>
          <p:nvPr>
            <p:ph type="body" sz="quarter" idx="10"/>
          </p:nvPr>
        </p:nvSpPr>
        <p:spPr>
          <a:xfrm>
            <a:off x="458927" y="5232400"/>
            <a:ext cx="5540375" cy="532456"/>
          </a:xfrm>
        </p:spPr>
        <p:txBody>
          <a:bodyPr/>
          <a:lstStyle/>
          <a:p>
            <a:r>
              <a:rPr lang="pl-PL" dirty="0" err="1"/>
              <a:t>April</a:t>
            </a:r>
            <a:r>
              <a:rPr lang="en-GB" dirty="0"/>
              <a:t> 202</a:t>
            </a:r>
            <a:r>
              <a:rPr lang="pl-PL" dirty="0"/>
              <a:t>4</a:t>
            </a:r>
            <a:r>
              <a:rPr lang="en-GB" dirty="0"/>
              <a:t> / Warsaw</a:t>
            </a:r>
          </a:p>
        </p:txBody>
      </p:sp>
      <p:pic>
        <p:nvPicPr>
          <p:cNvPr id="5" name="Obraz 4">
            <a:extLst>
              <a:ext uri="{FF2B5EF4-FFF2-40B4-BE49-F238E27FC236}">
                <a16:creationId xmlns:a16="http://schemas.microsoft.com/office/drawing/2014/main" id="{F3D37B56-1B84-2706-69B9-35F69008CC4B}"/>
              </a:ext>
            </a:extLst>
          </p:cNvPr>
          <p:cNvPicPr>
            <a:picLocks noChangeAspect="1"/>
          </p:cNvPicPr>
          <p:nvPr/>
        </p:nvPicPr>
        <p:blipFill>
          <a:blip r:embed="rId2"/>
          <a:stretch>
            <a:fillRect/>
          </a:stretch>
        </p:blipFill>
        <p:spPr>
          <a:xfrm>
            <a:off x="458927" y="385673"/>
            <a:ext cx="3116803" cy="1019405"/>
          </a:xfrm>
          <a:prstGeom prst="rect">
            <a:avLst/>
          </a:prstGeom>
        </p:spPr>
      </p:pic>
    </p:spTree>
    <p:extLst>
      <p:ext uri="{BB962C8B-B14F-4D97-AF65-F5344CB8AC3E}">
        <p14:creationId xmlns:p14="http://schemas.microsoft.com/office/powerpoint/2010/main" val="29094861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Symbol zastępczy obrazu 9" descr="Obraz zawierający zdjęcie, wiele, budynek, wypełnione&#10;&#10;Opis wygenerowany automatycznie">
            <a:extLst>
              <a:ext uri="{FF2B5EF4-FFF2-40B4-BE49-F238E27FC236}">
                <a16:creationId xmlns:a16="http://schemas.microsoft.com/office/drawing/2014/main" id="{4E293D9D-9E04-4649-918C-72D0E452764F}"/>
              </a:ext>
            </a:extLst>
          </p:cNvPr>
          <p:cNvPicPr>
            <a:picLocks noGrp="1" noChangeAspect="1"/>
          </p:cNvPicPr>
          <p:nvPr>
            <p:ph type="pic" sz="quarter" idx="12"/>
          </p:nvPr>
        </p:nvPicPr>
        <p:blipFill>
          <a:blip r:embed="rId2"/>
          <a:srcRect l="26992" r="26992"/>
          <a:stretch>
            <a:fillRect/>
          </a:stretch>
        </p:blipFill>
        <p:spPr>
          <a:xfrm>
            <a:off x="7454900" y="0"/>
            <a:ext cx="4737100" cy="6858000"/>
          </a:xfrm>
        </p:spPr>
      </p:pic>
      <p:pic>
        <p:nvPicPr>
          <p:cNvPr id="9" name="Symbol zastępczy obrazu 8" descr="Obraz zawierający znak, zegar, pomieszczenie&#10;&#10;Opis wygenerowany automatycznie">
            <a:extLst>
              <a:ext uri="{FF2B5EF4-FFF2-40B4-BE49-F238E27FC236}">
                <a16:creationId xmlns:a16="http://schemas.microsoft.com/office/drawing/2014/main" id="{BCA60862-15E4-F54C-9A92-D786C4A5206B}"/>
              </a:ext>
            </a:extLst>
          </p:cNvPr>
          <p:cNvPicPr>
            <a:picLocks noGrp="1" noChangeAspect="1"/>
          </p:cNvPicPr>
          <p:nvPr>
            <p:ph type="pic" sz="quarter" idx="13"/>
          </p:nvPr>
        </p:nvPicPr>
        <p:blipFill rotWithShape="1">
          <a:blip r:embed="rId3"/>
          <a:srcRect l="644" r="644"/>
          <a:stretch/>
        </p:blipFill>
        <p:spPr>
          <a:xfrm>
            <a:off x="5571009" y="361253"/>
            <a:ext cx="3207753" cy="3249686"/>
          </a:xfrm>
        </p:spPr>
      </p:pic>
      <p:sp>
        <p:nvSpPr>
          <p:cNvPr id="4" name="Tytuł 3">
            <a:extLst>
              <a:ext uri="{FF2B5EF4-FFF2-40B4-BE49-F238E27FC236}">
                <a16:creationId xmlns:a16="http://schemas.microsoft.com/office/drawing/2014/main" id="{8B8FCD48-80AF-4F40-8313-DA7463F73782}"/>
              </a:ext>
            </a:extLst>
          </p:cNvPr>
          <p:cNvSpPr>
            <a:spLocks noGrp="1"/>
          </p:cNvSpPr>
          <p:nvPr>
            <p:ph type="ctrTitle"/>
          </p:nvPr>
        </p:nvSpPr>
        <p:spPr>
          <a:xfrm>
            <a:off x="361273" y="1707445"/>
            <a:ext cx="5502355" cy="959555"/>
          </a:xfrm>
        </p:spPr>
        <p:txBody>
          <a:bodyPr>
            <a:noAutofit/>
          </a:bodyPr>
          <a:lstStyle/>
          <a:p>
            <a:r>
              <a:rPr lang="pl-PL" dirty="0"/>
              <a:t>KUKE </a:t>
            </a:r>
            <a:r>
              <a:rPr lang="pl-PL" dirty="0" err="1"/>
              <a:t>is</a:t>
            </a:r>
            <a:r>
              <a:rPr lang="pl-PL" dirty="0"/>
              <a:t> the </a:t>
            </a:r>
            <a:r>
              <a:rPr lang="pl-PL" dirty="0" err="1"/>
              <a:t>official</a:t>
            </a:r>
            <a:br>
              <a:rPr lang="pl-PL" dirty="0"/>
            </a:br>
            <a:r>
              <a:rPr lang="pl-PL" dirty="0" err="1">
                <a:solidFill>
                  <a:srgbClr val="E6612C"/>
                </a:solidFill>
              </a:rPr>
              <a:t>Polish</a:t>
            </a:r>
            <a:r>
              <a:rPr lang="pl-PL" dirty="0">
                <a:solidFill>
                  <a:srgbClr val="E6612C"/>
                </a:solidFill>
              </a:rPr>
              <a:t> export </a:t>
            </a:r>
            <a:r>
              <a:rPr lang="pl-PL" dirty="0" err="1">
                <a:solidFill>
                  <a:srgbClr val="E6612C"/>
                </a:solidFill>
              </a:rPr>
              <a:t>credit</a:t>
            </a:r>
            <a:r>
              <a:rPr lang="pl-PL" dirty="0">
                <a:solidFill>
                  <a:srgbClr val="E6612C"/>
                </a:solidFill>
              </a:rPr>
              <a:t> </a:t>
            </a:r>
            <a:r>
              <a:rPr lang="pl-PL" dirty="0" err="1">
                <a:solidFill>
                  <a:srgbClr val="E6612C"/>
                </a:solidFill>
              </a:rPr>
              <a:t>agency</a:t>
            </a:r>
            <a:endParaRPr lang="pl-PL" dirty="0">
              <a:solidFill>
                <a:srgbClr val="E6612C"/>
              </a:solidFill>
            </a:endParaRPr>
          </a:p>
        </p:txBody>
      </p:sp>
      <p:sp>
        <p:nvSpPr>
          <p:cNvPr id="5" name="Podtytuł 4">
            <a:extLst>
              <a:ext uri="{FF2B5EF4-FFF2-40B4-BE49-F238E27FC236}">
                <a16:creationId xmlns:a16="http://schemas.microsoft.com/office/drawing/2014/main" id="{2AF672B2-D947-934F-BD81-AC9F2FB424BB}"/>
              </a:ext>
            </a:extLst>
          </p:cNvPr>
          <p:cNvSpPr>
            <a:spLocks noGrp="1"/>
          </p:cNvSpPr>
          <p:nvPr>
            <p:ph type="subTitle" idx="1"/>
          </p:nvPr>
        </p:nvSpPr>
        <p:spPr>
          <a:xfrm>
            <a:off x="361272" y="3306085"/>
            <a:ext cx="5502355" cy="2459161"/>
          </a:xfrm>
        </p:spPr>
        <p:txBody>
          <a:bodyPr/>
          <a:lstStyle/>
          <a:p>
            <a:r>
              <a:rPr lang="en-US" dirty="0"/>
              <a:t>Since 1991, we have been managing </a:t>
            </a:r>
            <a:br>
              <a:rPr lang="pl-PL" dirty="0"/>
            </a:br>
            <a:r>
              <a:rPr lang="en-US" dirty="0"/>
              <a:t>and taking on risk associated with trade. </a:t>
            </a:r>
            <a:endParaRPr lang="pl-PL" dirty="0"/>
          </a:p>
          <a:p>
            <a:r>
              <a:rPr lang="en-US" dirty="0"/>
              <a:t>Currently our cover spans </a:t>
            </a:r>
            <a:r>
              <a:rPr lang="pl-PL" dirty="0" err="1"/>
              <a:t>over</a:t>
            </a:r>
            <a:r>
              <a:rPr lang="pl-PL" dirty="0"/>
              <a:t> </a:t>
            </a:r>
            <a:r>
              <a:rPr lang="en-US" b="1" dirty="0"/>
              <a:t>200 export markets</a:t>
            </a:r>
            <a:r>
              <a:rPr lang="en-US" dirty="0"/>
              <a:t> – </a:t>
            </a:r>
            <a:r>
              <a:rPr lang="en-US" dirty="0" err="1"/>
              <a:t>fr</a:t>
            </a:r>
            <a:r>
              <a:rPr lang="pl-PL" dirty="0"/>
              <a:t>o</a:t>
            </a:r>
            <a:r>
              <a:rPr lang="en-US" dirty="0"/>
              <a:t>m Canada </a:t>
            </a:r>
            <a:r>
              <a:rPr lang="pl-PL" dirty="0"/>
              <a:t>t</a:t>
            </a:r>
            <a:r>
              <a:rPr lang="en-US" dirty="0"/>
              <a:t>o Indonesia and from </a:t>
            </a:r>
            <a:r>
              <a:rPr lang="pl-PL" dirty="0" err="1"/>
              <a:t>Norway</a:t>
            </a:r>
            <a:r>
              <a:rPr lang="en-US" dirty="0"/>
              <a:t> to </a:t>
            </a:r>
            <a:r>
              <a:rPr lang="pl-PL" dirty="0" err="1"/>
              <a:t>South</a:t>
            </a:r>
            <a:r>
              <a:rPr lang="pl-PL" dirty="0"/>
              <a:t> </a:t>
            </a:r>
            <a:r>
              <a:rPr lang="pl-PL" dirty="0" err="1"/>
              <a:t>Africa</a:t>
            </a:r>
            <a:r>
              <a:rPr lang="en-US" dirty="0"/>
              <a:t>.</a:t>
            </a:r>
            <a:endParaRPr lang="pl-PL" dirty="0"/>
          </a:p>
        </p:txBody>
      </p:sp>
      <p:pic>
        <p:nvPicPr>
          <p:cNvPr id="6" name="Obraz 5">
            <a:extLst>
              <a:ext uri="{FF2B5EF4-FFF2-40B4-BE49-F238E27FC236}">
                <a16:creationId xmlns:a16="http://schemas.microsoft.com/office/drawing/2014/main" id="{BAE350CC-664C-4382-B24D-0062C789254D}"/>
              </a:ext>
            </a:extLst>
          </p:cNvPr>
          <p:cNvPicPr>
            <a:picLocks noChangeAspect="1"/>
          </p:cNvPicPr>
          <p:nvPr/>
        </p:nvPicPr>
        <p:blipFill>
          <a:blip r:embed="rId4"/>
          <a:stretch>
            <a:fillRect/>
          </a:stretch>
        </p:blipFill>
        <p:spPr>
          <a:xfrm>
            <a:off x="285073" y="372486"/>
            <a:ext cx="1175530" cy="591036"/>
          </a:xfrm>
          <a:prstGeom prst="rect">
            <a:avLst/>
          </a:prstGeom>
        </p:spPr>
      </p:pic>
    </p:spTree>
    <p:extLst>
      <p:ext uri="{BB962C8B-B14F-4D97-AF65-F5344CB8AC3E}">
        <p14:creationId xmlns:p14="http://schemas.microsoft.com/office/powerpoint/2010/main" val="18954133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ymbol zastępczy obrazu 6" descr="Obraz zawierający osoba, wewnątrz, kobieta, siedzi&#10;&#10;Opis wygenerowany automatycznie">
            <a:extLst>
              <a:ext uri="{FF2B5EF4-FFF2-40B4-BE49-F238E27FC236}">
                <a16:creationId xmlns:a16="http://schemas.microsoft.com/office/drawing/2014/main" id="{95237C89-E0BE-F544-BD73-B820791CCD59}"/>
              </a:ext>
            </a:extLst>
          </p:cNvPr>
          <p:cNvPicPr>
            <a:picLocks noGrp="1" noChangeAspect="1"/>
          </p:cNvPicPr>
          <p:nvPr>
            <p:ph type="pic" sz="quarter" idx="12"/>
          </p:nvPr>
        </p:nvPicPr>
        <p:blipFill rotWithShape="1">
          <a:blip r:embed="rId2"/>
          <a:srcRect l="26948" r="26948"/>
          <a:stretch/>
        </p:blipFill>
        <p:spPr/>
      </p:pic>
      <p:pic>
        <p:nvPicPr>
          <p:cNvPr id="9" name="Symbol zastępczy obrazu 8" descr="Obraz zawierający znak, zegar, pomieszczenie&#10;&#10;Opis wygenerowany automatycznie">
            <a:extLst>
              <a:ext uri="{FF2B5EF4-FFF2-40B4-BE49-F238E27FC236}">
                <a16:creationId xmlns:a16="http://schemas.microsoft.com/office/drawing/2014/main" id="{BCA60862-15E4-F54C-9A92-D786C4A5206B}"/>
              </a:ext>
            </a:extLst>
          </p:cNvPr>
          <p:cNvPicPr>
            <a:picLocks noGrp="1" noChangeAspect="1"/>
          </p:cNvPicPr>
          <p:nvPr>
            <p:ph type="pic" sz="quarter" idx="13"/>
          </p:nvPr>
        </p:nvPicPr>
        <p:blipFill rotWithShape="1">
          <a:blip r:embed="rId3"/>
          <a:srcRect l="644" r="644"/>
          <a:stretch/>
        </p:blipFill>
        <p:spPr>
          <a:xfrm>
            <a:off x="5612702" y="431302"/>
            <a:ext cx="3207753" cy="3249686"/>
          </a:xfrm>
        </p:spPr>
      </p:pic>
      <p:sp>
        <p:nvSpPr>
          <p:cNvPr id="4" name="Tytuł 3">
            <a:extLst>
              <a:ext uri="{FF2B5EF4-FFF2-40B4-BE49-F238E27FC236}">
                <a16:creationId xmlns:a16="http://schemas.microsoft.com/office/drawing/2014/main" id="{8B8FCD48-80AF-4F40-8313-DA7463F73782}"/>
              </a:ext>
            </a:extLst>
          </p:cNvPr>
          <p:cNvSpPr>
            <a:spLocks noGrp="1"/>
          </p:cNvSpPr>
          <p:nvPr>
            <p:ph type="ctrTitle"/>
          </p:nvPr>
        </p:nvSpPr>
        <p:spPr>
          <a:xfrm>
            <a:off x="361273" y="901982"/>
            <a:ext cx="5502355" cy="487680"/>
          </a:xfrm>
        </p:spPr>
        <p:txBody>
          <a:bodyPr>
            <a:normAutofit/>
          </a:bodyPr>
          <a:lstStyle/>
          <a:p>
            <a:r>
              <a:rPr lang="en-GB" dirty="0">
                <a:solidFill>
                  <a:srgbClr val="30AFC7"/>
                </a:solidFill>
              </a:rPr>
              <a:t>Who we are?</a:t>
            </a:r>
          </a:p>
        </p:txBody>
      </p:sp>
      <p:sp>
        <p:nvSpPr>
          <p:cNvPr id="5" name="Podtytuł 4">
            <a:extLst>
              <a:ext uri="{FF2B5EF4-FFF2-40B4-BE49-F238E27FC236}">
                <a16:creationId xmlns:a16="http://schemas.microsoft.com/office/drawing/2014/main" id="{2AF672B2-D947-934F-BD81-AC9F2FB424BB}"/>
              </a:ext>
            </a:extLst>
          </p:cNvPr>
          <p:cNvSpPr>
            <a:spLocks noGrp="1"/>
          </p:cNvSpPr>
          <p:nvPr>
            <p:ph type="subTitle" idx="1"/>
          </p:nvPr>
        </p:nvSpPr>
        <p:spPr>
          <a:xfrm>
            <a:off x="361273" y="1666776"/>
            <a:ext cx="5734727" cy="4759922"/>
          </a:xfrm>
        </p:spPr>
        <p:txBody>
          <a:bodyPr/>
          <a:lstStyle/>
          <a:p>
            <a:pPr marL="285750" indent="-285750">
              <a:buFont typeface="Wingdings" panose="05000000000000000000" pitchFamily="2" charset="2"/>
              <a:buChar char="§"/>
            </a:pPr>
            <a:r>
              <a:rPr lang="en-GB" sz="1600" dirty="0"/>
              <a:t>Over 30 years supporting Polish companies in the expansion abroad</a:t>
            </a:r>
            <a:endParaRPr lang="en-GB" sz="1600" b="0" dirty="0"/>
          </a:p>
          <a:p>
            <a:pPr marL="285750" indent="-285750">
              <a:buFont typeface="Wingdings" panose="05000000000000000000" pitchFamily="2" charset="2"/>
              <a:buChar char="§"/>
            </a:pPr>
            <a:r>
              <a:rPr lang="en-GB" sz="1600" dirty="0"/>
              <a:t>100% of shares held (directly and indirectly) by the State Treasury</a:t>
            </a:r>
          </a:p>
          <a:p>
            <a:pPr marL="285750" indent="-285750">
              <a:buFont typeface="Wingdings" panose="05000000000000000000" pitchFamily="2" charset="2"/>
              <a:buChar char="§"/>
            </a:pPr>
            <a:r>
              <a:rPr lang="en-GB" sz="1600" dirty="0"/>
              <a:t> We are a part of Polish Development Fund</a:t>
            </a:r>
            <a:endParaRPr lang="en-GB" sz="1600" b="0" dirty="0"/>
          </a:p>
          <a:p>
            <a:pPr marL="285750" indent="-285750">
              <a:buFont typeface="Wingdings" panose="05000000000000000000" pitchFamily="2" charset="2"/>
              <a:buChar char="§"/>
            </a:pPr>
            <a:r>
              <a:rPr lang="en-GB" sz="1600" dirty="0"/>
              <a:t>The only institution in Poland  authorized to provide export insurance backed by the State Treasury, i.e. KUKE is a Polish ECA (export credit agency)</a:t>
            </a:r>
          </a:p>
          <a:p>
            <a:pPr marL="285750" indent="-285750">
              <a:buFont typeface="Wingdings" panose="05000000000000000000" pitchFamily="2" charset="2"/>
              <a:buChar char="§"/>
            </a:pPr>
            <a:r>
              <a:rPr lang="en-GB" sz="1600" dirty="0"/>
              <a:t>Global cooperation – member of the Berne Union since 1999, re-insurance and co-operation agreements with other ECAs </a:t>
            </a:r>
          </a:p>
          <a:p>
            <a:pPr marL="285750" indent="-285750">
              <a:buFont typeface="Wingdings" panose="05000000000000000000" pitchFamily="2" charset="2"/>
              <a:buChar char="§"/>
            </a:pPr>
            <a:r>
              <a:rPr lang="en-GB" sz="1600" dirty="0"/>
              <a:t>We facilitate access to external financing, among others through our factoring company KUKE Finance</a:t>
            </a:r>
          </a:p>
          <a:p>
            <a:pPr marL="285750" indent="-285750">
              <a:buFont typeface="Wingdings" panose="05000000000000000000" pitchFamily="2" charset="2"/>
              <a:buChar char="§"/>
            </a:pPr>
            <a:r>
              <a:rPr lang="en-GB" sz="1600" dirty="0"/>
              <a:t>Dedicated staff of more than </a:t>
            </a:r>
            <a:r>
              <a:rPr lang="pl-PL" sz="1600" dirty="0"/>
              <a:t>200</a:t>
            </a:r>
            <a:r>
              <a:rPr lang="en-GB" sz="1600" dirty="0"/>
              <a:t> professionals working in Warsaw and five regional offices across Poland</a:t>
            </a:r>
          </a:p>
        </p:txBody>
      </p:sp>
      <p:pic>
        <p:nvPicPr>
          <p:cNvPr id="6" name="Picture 2">
            <a:extLst>
              <a:ext uri="{FF2B5EF4-FFF2-40B4-BE49-F238E27FC236}">
                <a16:creationId xmlns:a16="http://schemas.microsoft.com/office/drawing/2014/main" id="{356CC421-9894-4815-B373-90B756ACCF1E}"/>
              </a:ext>
            </a:extLst>
          </p:cNvPr>
          <p:cNvPicPr>
            <a:picLocks noChangeAspect="1" noChangeArrowheads="1"/>
          </p:cNvPicPr>
          <p:nvPr/>
        </p:nvPicPr>
        <p:blipFill>
          <a:blip r:embed="rId4"/>
          <a:srcRect/>
          <a:stretch/>
        </p:blipFill>
        <p:spPr bwMode="auto">
          <a:xfrm>
            <a:off x="468575" y="494911"/>
            <a:ext cx="882554" cy="328506"/>
          </a:xfrm>
          <a:prstGeom prst="rect">
            <a:avLst/>
          </a:prstGeom>
          <a:noFill/>
        </p:spPr>
      </p:pic>
    </p:spTree>
    <p:extLst>
      <p:ext uri="{BB962C8B-B14F-4D97-AF65-F5344CB8AC3E}">
        <p14:creationId xmlns:p14="http://schemas.microsoft.com/office/powerpoint/2010/main" val="14953293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a:extLst>
              <a:ext uri="{FF2B5EF4-FFF2-40B4-BE49-F238E27FC236}">
                <a16:creationId xmlns:a16="http://schemas.microsoft.com/office/drawing/2014/main" id="{2B4B1A4C-3645-6D41-9473-D245DB87299B}"/>
              </a:ext>
            </a:extLst>
          </p:cNvPr>
          <p:cNvPicPr>
            <a:picLocks noGrp="1" noChangeAspect="1"/>
          </p:cNvPicPr>
          <p:nvPr>
            <p:ph type="pic" sz="quarter" idx="12"/>
          </p:nvPr>
        </p:nvPicPr>
        <p:blipFill>
          <a:blip r:embed="rId2"/>
          <a:srcRect l="31287" r="31287"/>
          <a:stretch/>
        </p:blipFill>
        <p:spPr>
          <a:xfrm>
            <a:off x="8771467" y="0"/>
            <a:ext cx="3420533" cy="6858000"/>
          </a:xfrm>
        </p:spPr>
      </p:pic>
      <p:sp>
        <p:nvSpPr>
          <p:cNvPr id="9" name="Podtytuł 1">
            <a:extLst>
              <a:ext uri="{FF2B5EF4-FFF2-40B4-BE49-F238E27FC236}">
                <a16:creationId xmlns:a16="http://schemas.microsoft.com/office/drawing/2014/main" id="{3898E472-70DE-E435-9FDD-CB78167F6901}"/>
              </a:ext>
            </a:extLst>
          </p:cNvPr>
          <p:cNvSpPr>
            <a:spLocks noGrp="1"/>
          </p:cNvSpPr>
          <p:nvPr>
            <p:ph type="subTitle" idx="1"/>
          </p:nvPr>
        </p:nvSpPr>
        <p:spPr>
          <a:xfrm>
            <a:off x="361272" y="1543666"/>
            <a:ext cx="7730675" cy="4852622"/>
          </a:xfrm>
        </p:spPr>
        <p:txBody>
          <a:bodyPr numCol="1"/>
          <a:lstStyle/>
          <a:p>
            <a:pPr algn="just">
              <a:lnSpc>
                <a:spcPct val="150000"/>
              </a:lnSpc>
              <a:spcBef>
                <a:spcPct val="0"/>
              </a:spcBef>
            </a:pPr>
            <a:r>
              <a:rPr lang="en-GB" sz="2200" b="1" dirty="0">
                <a:solidFill>
                  <a:srgbClr val="38AEC4"/>
                </a:solidFill>
                <a:ea typeface="+mj-ea"/>
                <a:cs typeface="+mj-cs"/>
              </a:rPr>
              <a:t>Direct Investment Abroad (IBZ)</a:t>
            </a:r>
          </a:p>
          <a:p>
            <a:pPr algn="just">
              <a:lnSpc>
                <a:spcPct val="150000"/>
              </a:lnSpc>
              <a:spcBef>
                <a:spcPct val="0"/>
              </a:spcBef>
            </a:pPr>
            <a:r>
              <a:rPr lang="en-GB" sz="1600" dirty="0">
                <a:latin typeface="Helvetica" panose="020B0604020202020204" pitchFamily="34" charset="0"/>
                <a:cs typeface="Helvetica" panose="020B0604020202020204" pitchFamily="34" charset="0"/>
              </a:rPr>
              <a:t>is an investment cared out to establish a direct economic ties manifested in the running of a business, including a branch or a representative office registered abroad provided that it has separate capital and assets in the investor financials books.</a:t>
            </a:r>
          </a:p>
          <a:p>
            <a:pPr algn="just">
              <a:lnSpc>
                <a:spcPct val="100000"/>
              </a:lnSpc>
              <a:spcBef>
                <a:spcPct val="0"/>
              </a:spcBef>
            </a:pPr>
            <a:endParaRPr lang="en-GB" b="1" dirty="0">
              <a:solidFill>
                <a:srgbClr val="38AEC4"/>
              </a:solidFill>
              <a:ea typeface="+mj-ea"/>
              <a:cs typeface="+mj-cs"/>
            </a:endParaRPr>
          </a:p>
          <a:p>
            <a:pPr>
              <a:lnSpc>
                <a:spcPct val="100000"/>
              </a:lnSpc>
              <a:spcBef>
                <a:spcPct val="0"/>
              </a:spcBef>
            </a:pPr>
            <a:r>
              <a:rPr lang="en-GB" sz="2200" b="1" dirty="0">
                <a:solidFill>
                  <a:srgbClr val="38AEC4"/>
                </a:solidFill>
                <a:ea typeface="+mj-ea"/>
                <a:cs typeface="+mj-cs"/>
              </a:rPr>
              <a:t>Loan can be disbursed to investment abroad in many ways. Possible ways of direct investment abroad:</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acquisition of a foreign company or its organised part;</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establishment of a company abroad;</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additional contributions and granting of loans by shareholders;</a:t>
            </a:r>
          </a:p>
          <a:p>
            <a:pPr marL="228600" indent="-228600">
              <a:buFont typeface="+mj-lt"/>
              <a:buAutoNum type="arabicParenR"/>
            </a:pPr>
            <a:r>
              <a:rPr lang="en-GB" sz="1600" dirty="0">
                <a:latin typeface="Helvetica" panose="020B0604020202020204" pitchFamily="34" charset="0"/>
                <a:cs typeface="Helvetica" panose="020B0604020202020204" pitchFamily="34" charset="0"/>
              </a:rPr>
              <a:t>acquisition of real estate and other fixed assets abroad in connection with a business conducted abroad.</a:t>
            </a:r>
          </a:p>
        </p:txBody>
      </p:sp>
      <p:sp>
        <p:nvSpPr>
          <p:cNvPr id="10" name="Tytuł 3">
            <a:extLst>
              <a:ext uri="{FF2B5EF4-FFF2-40B4-BE49-F238E27FC236}">
                <a16:creationId xmlns:a16="http://schemas.microsoft.com/office/drawing/2014/main" id="{FAA9F900-9331-6D83-096F-140B653F7EE6}"/>
              </a:ext>
            </a:extLst>
          </p:cNvPr>
          <p:cNvSpPr>
            <a:spLocks noGrp="1"/>
          </p:cNvSpPr>
          <p:nvPr>
            <p:ph type="ctrTitle"/>
          </p:nvPr>
        </p:nvSpPr>
        <p:spPr>
          <a:xfrm>
            <a:off x="361272" y="989352"/>
            <a:ext cx="5889625" cy="554314"/>
          </a:xfrm>
        </p:spPr>
        <p:txBody>
          <a:bodyPr>
            <a:normAutofit fontScale="90000"/>
          </a:bodyPr>
          <a:lstStyle/>
          <a:p>
            <a:r>
              <a:rPr lang="en-GB" sz="2800" dirty="0">
                <a:solidFill>
                  <a:srgbClr val="E6612C"/>
                </a:solidFill>
              </a:rPr>
              <a:t>What can be the subject of the loan?</a:t>
            </a:r>
          </a:p>
        </p:txBody>
      </p:sp>
    </p:spTree>
    <p:extLst>
      <p:ext uri="{BB962C8B-B14F-4D97-AF65-F5344CB8AC3E}">
        <p14:creationId xmlns:p14="http://schemas.microsoft.com/office/powerpoint/2010/main" val="25690691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odtytuł 1">
            <a:extLst>
              <a:ext uri="{FF2B5EF4-FFF2-40B4-BE49-F238E27FC236}">
                <a16:creationId xmlns:a16="http://schemas.microsoft.com/office/drawing/2014/main" id="{F9DCD881-174C-054A-8F16-0DDB8963F7E9}"/>
              </a:ext>
            </a:extLst>
          </p:cNvPr>
          <p:cNvSpPr>
            <a:spLocks noGrp="1"/>
          </p:cNvSpPr>
          <p:nvPr>
            <p:ph type="subTitle" idx="1"/>
          </p:nvPr>
        </p:nvSpPr>
        <p:spPr>
          <a:xfrm>
            <a:off x="361273" y="1695188"/>
            <a:ext cx="8141704" cy="433480"/>
          </a:xfrm>
        </p:spPr>
        <p:txBody>
          <a:bodyPr numCol="1"/>
          <a:lstStyle/>
          <a:p>
            <a:pPr>
              <a:lnSpc>
                <a:spcPct val="100000"/>
              </a:lnSpc>
              <a:spcBef>
                <a:spcPct val="0"/>
              </a:spcBef>
            </a:pPr>
            <a:r>
              <a:rPr lang="en-GB" sz="2200" b="1" dirty="0">
                <a:solidFill>
                  <a:srgbClr val="000000"/>
                </a:solidFill>
                <a:ea typeface="+mj-ea"/>
                <a:cs typeface="+mj-cs"/>
              </a:rPr>
              <a:t>1. Insurance od direct investment abroad </a:t>
            </a:r>
            <a:r>
              <a:rPr lang="en-GB" sz="2200" b="1" dirty="0">
                <a:solidFill>
                  <a:srgbClr val="38AEC4"/>
                </a:solidFill>
                <a:ea typeface="+mj-ea"/>
                <a:cs typeface="+mj-cs"/>
              </a:rPr>
              <a:t>(IBZ)</a:t>
            </a:r>
          </a:p>
        </p:txBody>
      </p:sp>
      <p:pic>
        <p:nvPicPr>
          <p:cNvPr id="6" name="Symbol zastępczy obrazu 5">
            <a:extLst>
              <a:ext uri="{FF2B5EF4-FFF2-40B4-BE49-F238E27FC236}">
                <a16:creationId xmlns:a16="http://schemas.microsoft.com/office/drawing/2014/main" id="{2B4B1A4C-3645-6D41-9473-D245DB87299B}"/>
              </a:ext>
            </a:extLst>
          </p:cNvPr>
          <p:cNvPicPr>
            <a:picLocks noGrp="1" noChangeAspect="1"/>
          </p:cNvPicPr>
          <p:nvPr>
            <p:ph type="pic" sz="quarter" idx="12"/>
          </p:nvPr>
        </p:nvPicPr>
        <p:blipFill>
          <a:blip r:embed="rId2"/>
          <a:srcRect l="33384" r="33384"/>
          <a:stretch>
            <a:fillRect/>
          </a:stretch>
        </p:blipFill>
        <p:spPr/>
      </p:pic>
      <p:sp>
        <p:nvSpPr>
          <p:cNvPr id="4" name="Tytuł 3">
            <a:extLst>
              <a:ext uri="{FF2B5EF4-FFF2-40B4-BE49-F238E27FC236}">
                <a16:creationId xmlns:a16="http://schemas.microsoft.com/office/drawing/2014/main" id="{AE747A51-2D9D-CE44-9D77-D83E0D689FE7}"/>
              </a:ext>
            </a:extLst>
          </p:cNvPr>
          <p:cNvSpPr>
            <a:spLocks noGrp="1"/>
          </p:cNvSpPr>
          <p:nvPr>
            <p:ph type="ctrTitle"/>
          </p:nvPr>
        </p:nvSpPr>
        <p:spPr>
          <a:xfrm>
            <a:off x="361272" y="989352"/>
            <a:ext cx="5889625" cy="554314"/>
          </a:xfrm>
        </p:spPr>
        <p:txBody>
          <a:bodyPr>
            <a:normAutofit/>
          </a:bodyPr>
          <a:lstStyle/>
          <a:p>
            <a:r>
              <a:rPr lang="en-GB" sz="2800" dirty="0">
                <a:solidFill>
                  <a:srgbClr val="E6612C"/>
                </a:solidFill>
              </a:rPr>
              <a:t>Solutions available:</a:t>
            </a:r>
          </a:p>
        </p:txBody>
      </p:sp>
      <p:sp>
        <p:nvSpPr>
          <p:cNvPr id="3" name="Strzałka: w prawo 2">
            <a:extLst>
              <a:ext uri="{FF2B5EF4-FFF2-40B4-BE49-F238E27FC236}">
                <a16:creationId xmlns:a16="http://schemas.microsoft.com/office/drawing/2014/main" id="{B15213A5-FE4E-D6CB-283C-5526197675D6}"/>
              </a:ext>
            </a:extLst>
          </p:cNvPr>
          <p:cNvSpPr/>
          <p:nvPr/>
        </p:nvSpPr>
        <p:spPr>
          <a:xfrm>
            <a:off x="659877" y="2268222"/>
            <a:ext cx="398282" cy="3404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ole tekstowe 6">
            <a:extLst>
              <a:ext uri="{FF2B5EF4-FFF2-40B4-BE49-F238E27FC236}">
                <a16:creationId xmlns:a16="http://schemas.microsoft.com/office/drawing/2014/main" id="{EE2C1989-DB51-79B7-3B77-E0C8CEDB2B94}"/>
              </a:ext>
            </a:extLst>
          </p:cNvPr>
          <p:cNvSpPr txBox="1"/>
          <p:nvPr/>
        </p:nvSpPr>
        <p:spPr>
          <a:xfrm>
            <a:off x="1058159" y="2182694"/>
            <a:ext cx="6200480" cy="523220"/>
          </a:xfrm>
          <a:prstGeom prst="rect">
            <a:avLst/>
          </a:prstGeom>
          <a:noFill/>
        </p:spPr>
        <p:txBody>
          <a:bodyPr wrap="square">
            <a:spAutoFit/>
          </a:bodyPr>
          <a:lstStyle/>
          <a:p>
            <a:pPr>
              <a:lnSpc>
                <a:spcPct val="100000"/>
              </a:lnSpc>
              <a:spcBef>
                <a:spcPct val="0"/>
              </a:spcBef>
            </a:pPr>
            <a:r>
              <a:rPr lang="en-GB" sz="1400" dirty="0">
                <a:solidFill>
                  <a:srgbClr val="000000"/>
                </a:solidFill>
                <a:latin typeface="Helvetica" panose="020B0604020202020204" pitchFamily="34" charset="0"/>
                <a:ea typeface="+mj-ea"/>
                <a:cs typeface="Helvetica" panose="020B0604020202020204" pitchFamily="34" charset="0"/>
              </a:rPr>
              <a:t>In this solution we cover the investor's documented capital expenditure against political risks and force majeure (including war)</a:t>
            </a:r>
            <a:endParaRPr lang="en-GB" sz="1400" b="1" dirty="0">
              <a:solidFill>
                <a:srgbClr val="000000"/>
              </a:solidFill>
              <a:latin typeface="Helvetica" panose="020B0604020202020204" pitchFamily="34" charset="0"/>
              <a:ea typeface="+mj-ea"/>
              <a:cs typeface="Helvetica" panose="020B0604020202020204" pitchFamily="34" charset="0"/>
            </a:endParaRPr>
          </a:p>
        </p:txBody>
      </p:sp>
      <p:sp>
        <p:nvSpPr>
          <p:cNvPr id="9" name="pole tekstowe 8">
            <a:extLst>
              <a:ext uri="{FF2B5EF4-FFF2-40B4-BE49-F238E27FC236}">
                <a16:creationId xmlns:a16="http://schemas.microsoft.com/office/drawing/2014/main" id="{F7728FA1-FBE9-D515-4758-9176E17D2330}"/>
              </a:ext>
            </a:extLst>
          </p:cNvPr>
          <p:cNvSpPr txBox="1"/>
          <p:nvPr/>
        </p:nvSpPr>
        <p:spPr>
          <a:xfrm>
            <a:off x="361272" y="3142977"/>
            <a:ext cx="6791315" cy="769441"/>
          </a:xfrm>
          <a:prstGeom prst="rect">
            <a:avLst/>
          </a:prstGeom>
          <a:noFill/>
        </p:spPr>
        <p:txBody>
          <a:bodyPr wrap="square">
            <a:spAutoFit/>
          </a:bodyPr>
          <a:lstStyle/>
          <a:p>
            <a:pPr>
              <a:lnSpc>
                <a:spcPct val="100000"/>
              </a:lnSpc>
              <a:spcBef>
                <a:spcPct val="0"/>
              </a:spcBef>
            </a:pPr>
            <a:r>
              <a:rPr lang="en-GB" sz="2200" b="1" dirty="0">
                <a:solidFill>
                  <a:srgbClr val="000000"/>
                </a:solidFill>
                <a:latin typeface="Helvetica" pitchFamily="2" charset="0"/>
                <a:ea typeface="+mj-ea"/>
                <a:cs typeface="+mj-cs"/>
              </a:rPr>
              <a:t>2. Insurance of loans financing direct investment abroad </a:t>
            </a:r>
            <a:r>
              <a:rPr lang="en-GB" sz="2200" b="1" dirty="0">
                <a:solidFill>
                  <a:srgbClr val="38AEC4"/>
                </a:solidFill>
                <a:latin typeface="Helvetica" panose="020B0604020202020204" pitchFamily="34" charset="0"/>
                <a:ea typeface="+mj-ea"/>
                <a:cs typeface="Helvetica" panose="020B0604020202020204" pitchFamily="34" charset="0"/>
              </a:rPr>
              <a:t>(IBZ+)</a:t>
            </a:r>
          </a:p>
        </p:txBody>
      </p:sp>
      <p:sp>
        <p:nvSpPr>
          <p:cNvPr id="11" name="pole tekstowe 10">
            <a:extLst>
              <a:ext uri="{FF2B5EF4-FFF2-40B4-BE49-F238E27FC236}">
                <a16:creationId xmlns:a16="http://schemas.microsoft.com/office/drawing/2014/main" id="{62540BB4-7C04-0730-761A-4C0303741ECC}"/>
              </a:ext>
            </a:extLst>
          </p:cNvPr>
          <p:cNvSpPr txBox="1"/>
          <p:nvPr/>
        </p:nvSpPr>
        <p:spPr>
          <a:xfrm>
            <a:off x="1058159" y="3962157"/>
            <a:ext cx="6094428" cy="523220"/>
          </a:xfrm>
          <a:prstGeom prst="rect">
            <a:avLst/>
          </a:prstGeom>
          <a:noFill/>
        </p:spPr>
        <p:txBody>
          <a:bodyPr wrap="square">
            <a:spAutoFit/>
          </a:bodyPr>
          <a:lstStyle/>
          <a:p>
            <a:pPr>
              <a:lnSpc>
                <a:spcPct val="100000"/>
              </a:lnSpc>
              <a:spcBef>
                <a:spcPct val="0"/>
              </a:spcBef>
            </a:pPr>
            <a:r>
              <a:rPr lang="en-GB" sz="1400" dirty="0">
                <a:solidFill>
                  <a:srgbClr val="000000"/>
                </a:solidFill>
                <a:latin typeface="Helvetica" panose="020B0604020202020204" pitchFamily="34" charset="0"/>
                <a:ea typeface="+mj-ea"/>
                <a:cs typeface="Helvetica" panose="020B0604020202020204" pitchFamily="34" charset="0"/>
              </a:rPr>
              <a:t>In this solution we can cover the financial institution against commercial risks in connection with the financing of direct investment abroad</a:t>
            </a:r>
          </a:p>
        </p:txBody>
      </p:sp>
      <p:sp>
        <p:nvSpPr>
          <p:cNvPr id="13" name="pole tekstowe 12">
            <a:extLst>
              <a:ext uri="{FF2B5EF4-FFF2-40B4-BE49-F238E27FC236}">
                <a16:creationId xmlns:a16="http://schemas.microsoft.com/office/drawing/2014/main" id="{A649743A-06D0-5794-539B-587B93F56D3E}"/>
              </a:ext>
            </a:extLst>
          </p:cNvPr>
          <p:cNvSpPr txBox="1"/>
          <p:nvPr/>
        </p:nvSpPr>
        <p:spPr>
          <a:xfrm>
            <a:off x="361272" y="4849446"/>
            <a:ext cx="6094428" cy="430887"/>
          </a:xfrm>
          <a:prstGeom prst="rect">
            <a:avLst/>
          </a:prstGeom>
          <a:noFill/>
        </p:spPr>
        <p:txBody>
          <a:bodyPr wrap="square">
            <a:spAutoFit/>
          </a:bodyPr>
          <a:lstStyle/>
          <a:p>
            <a:pPr>
              <a:lnSpc>
                <a:spcPct val="100000"/>
              </a:lnSpc>
              <a:spcBef>
                <a:spcPct val="0"/>
              </a:spcBef>
            </a:pPr>
            <a:r>
              <a:rPr lang="en-GB" sz="2200" b="1" dirty="0">
                <a:solidFill>
                  <a:srgbClr val="000000"/>
                </a:solidFill>
                <a:latin typeface="Helvetica" pitchFamily="2" charset="0"/>
                <a:ea typeface="+mj-ea"/>
                <a:cs typeface="+mj-cs"/>
              </a:rPr>
              <a:t>3. Synergy of both solutions</a:t>
            </a:r>
          </a:p>
        </p:txBody>
      </p:sp>
      <p:sp>
        <p:nvSpPr>
          <p:cNvPr id="15" name="pole tekstowe 14">
            <a:extLst>
              <a:ext uri="{FF2B5EF4-FFF2-40B4-BE49-F238E27FC236}">
                <a16:creationId xmlns:a16="http://schemas.microsoft.com/office/drawing/2014/main" id="{DCF53D48-297F-4ED5-0ED5-E57E17D99B8F}"/>
              </a:ext>
            </a:extLst>
          </p:cNvPr>
          <p:cNvSpPr txBox="1"/>
          <p:nvPr/>
        </p:nvSpPr>
        <p:spPr>
          <a:xfrm>
            <a:off x="1058159" y="5371837"/>
            <a:ext cx="6094428" cy="954107"/>
          </a:xfrm>
          <a:prstGeom prst="rect">
            <a:avLst/>
          </a:prstGeom>
          <a:noFill/>
        </p:spPr>
        <p:txBody>
          <a:bodyPr wrap="square">
            <a:spAutoFit/>
          </a:bodyPr>
          <a:lstStyle/>
          <a:p>
            <a:pPr>
              <a:lnSpc>
                <a:spcPct val="100000"/>
              </a:lnSpc>
              <a:spcBef>
                <a:spcPct val="0"/>
              </a:spcBef>
            </a:pPr>
            <a:r>
              <a:rPr lang="en-GB" sz="1400" dirty="0">
                <a:solidFill>
                  <a:srgbClr val="000000"/>
                </a:solidFill>
                <a:latin typeface="Helvetica" panose="020B0604020202020204" pitchFamily="34" charset="0"/>
                <a:ea typeface="+mj-ea"/>
                <a:cs typeface="Helvetica" panose="020B0604020202020204" pitchFamily="34" charset="0"/>
              </a:rPr>
              <a:t>A comprehensive solution enables full coverage against all risks. The insurance of direct investment abroad granted to the investor becomes a security for a loan granted to finance this investment by a financial institution</a:t>
            </a:r>
          </a:p>
        </p:txBody>
      </p:sp>
      <p:sp>
        <p:nvSpPr>
          <p:cNvPr id="16" name="Strzałka: w prawo 15">
            <a:extLst>
              <a:ext uri="{FF2B5EF4-FFF2-40B4-BE49-F238E27FC236}">
                <a16:creationId xmlns:a16="http://schemas.microsoft.com/office/drawing/2014/main" id="{F4F6C96C-5ED6-DF6E-4F1D-0FC5EBFCAF20}"/>
              </a:ext>
            </a:extLst>
          </p:cNvPr>
          <p:cNvSpPr/>
          <p:nvPr/>
        </p:nvSpPr>
        <p:spPr>
          <a:xfrm>
            <a:off x="659877" y="4053538"/>
            <a:ext cx="398282" cy="3404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Strzałka: w prawo 16">
            <a:extLst>
              <a:ext uri="{FF2B5EF4-FFF2-40B4-BE49-F238E27FC236}">
                <a16:creationId xmlns:a16="http://schemas.microsoft.com/office/drawing/2014/main" id="{AF75F3F6-F6D4-301B-F5BD-7CE05F5DAAF1}"/>
              </a:ext>
            </a:extLst>
          </p:cNvPr>
          <p:cNvSpPr/>
          <p:nvPr/>
        </p:nvSpPr>
        <p:spPr>
          <a:xfrm>
            <a:off x="659877" y="5681097"/>
            <a:ext cx="398282" cy="3404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119126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a:extLst>
              <a:ext uri="{FF2B5EF4-FFF2-40B4-BE49-F238E27FC236}">
                <a16:creationId xmlns:a16="http://schemas.microsoft.com/office/drawing/2014/main" id="{11598A82-4991-CE44-BEF0-CA482B4D0B4F}"/>
              </a:ext>
            </a:extLst>
          </p:cNvPr>
          <p:cNvPicPr>
            <a:picLocks noGrp="1" noChangeAspect="1"/>
          </p:cNvPicPr>
          <p:nvPr>
            <p:ph type="pic" sz="quarter" idx="12"/>
          </p:nvPr>
        </p:nvPicPr>
        <p:blipFill>
          <a:blip r:embed="rId2"/>
          <a:srcRect l="26954" r="26954"/>
          <a:stretch/>
        </p:blipFill>
        <p:spPr>
          <a:xfrm>
            <a:off x="7455049" y="0"/>
            <a:ext cx="4736951" cy="6858000"/>
          </a:xfrm>
        </p:spPr>
      </p:pic>
      <p:sp>
        <p:nvSpPr>
          <p:cNvPr id="3" name="Tytuł 2">
            <a:extLst>
              <a:ext uri="{FF2B5EF4-FFF2-40B4-BE49-F238E27FC236}">
                <a16:creationId xmlns:a16="http://schemas.microsoft.com/office/drawing/2014/main" id="{4826DB1C-56AC-0448-8D8C-E5FBE1ECFBF1}"/>
              </a:ext>
            </a:extLst>
          </p:cNvPr>
          <p:cNvSpPr>
            <a:spLocks noGrp="1"/>
          </p:cNvSpPr>
          <p:nvPr>
            <p:ph type="ctrTitle"/>
          </p:nvPr>
        </p:nvSpPr>
        <p:spPr>
          <a:xfrm>
            <a:off x="361273" y="1005737"/>
            <a:ext cx="6533513" cy="872464"/>
          </a:xfrm>
        </p:spPr>
        <p:txBody>
          <a:bodyPr anchor="t">
            <a:normAutofit fontScale="90000"/>
          </a:bodyPr>
          <a:lstStyle/>
          <a:p>
            <a:r>
              <a:rPr lang="pl-PL" dirty="0" err="1">
                <a:solidFill>
                  <a:srgbClr val="EC602D"/>
                </a:solidFill>
              </a:rPr>
              <a:t>Transaction</a:t>
            </a:r>
            <a:r>
              <a:rPr lang="pl-PL" dirty="0">
                <a:solidFill>
                  <a:srgbClr val="EC602D"/>
                </a:solidFill>
              </a:rPr>
              <a:t> </a:t>
            </a:r>
            <a:r>
              <a:rPr lang="pl-PL" dirty="0" err="1">
                <a:solidFill>
                  <a:srgbClr val="EC602D"/>
                </a:solidFill>
              </a:rPr>
              <a:t>scheme</a:t>
            </a:r>
            <a:r>
              <a:rPr lang="pl-PL" dirty="0">
                <a:solidFill>
                  <a:srgbClr val="EC602D"/>
                </a:solidFill>
              </a:rPr>
              <a:t> </a:t>
            </a:r>
            <a:r>
              <a:rPr lang="pl-PL" dirty="0"/>
              <a:t>with a </a:t>
            </a:r>
            <a:r>
              <a:rPr lang="pl-PL" dirty="0" err="1"/>
              <a:t>participation</a:t>
            </a:r>
            <a:r>
              <a:rPr lang="pl-PL" dirty="0"/>
              <a:t> of KUKE </a:t>
            </a:r>
            <a:r>
              <a:rPr lang="pl-PL" dirty="0">
                <a:solidFill>
                  <a:srgbClr val="38AEC4"/>
                </a:solidFill>
              </a:rPr>
              <a:t>(IBZ)</a:t>
            </a:r>
          </a:p>
        </p:txBody>
      </p:sp>
      <p:sp>
        <p:nvSpPr>
          <p:cNvPr id="15" name="Prostokąt: zaokrąglone rogi 14">
            <a:extLst>
              <a:ext uri="{FF2B5EF4-FFF2-40B4-BE49-F238E27FC236}">
                <a16:creationId xmlns:a16="http://schemas.microsoft.com/office/drawing/2014/main" id="{CD95BC85-9445-8ACC-F253-730536494780}"/>
              </a:ext>
            </a:extLst>
          </p:cNvPr>
          <p:cNvSpPr/>
          <p:nvPr/>
        </p:nvSpPr>
        <p:spPr>
          <a:xfrm>
            <a:off x="5368039" y="2519814"/>
            <a:ext cx="1772990" cy="8477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Foreign</a:t>
            </a:r>
            <a:r>
              <a:rPr kumimoji="0" lang="pl-PL" sz="20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 investment</a:t>
            </a:r>
          </a:p>
        </p:txBody>
      </p:sp>
      <p:sp>
        <p:nvSpPr>
          <p:cNvPr id="16" name="Prostokąt: zaokrąglone rogi 15">
            <a:extLst>
              <a:ext uri="{FF2B5EF4-FFF2-40B4-BE49-F238E27FC236}">
                <a16:creationId xmlns:a16="http://schemas.microsoft.com/office/drawing/2014/main" id="{202B60B3-C511-F51C-36D7-FC918D4E7530}"/>
              </a:ext>
            </a:extLst>
          </p:cNvPr>
          <p:cNvSpPr/>
          <p:nvPr/>
        </p:nvSpPr>
        <p:spPr>
          <a:xfrm>
            <a:off x="5368039" y="5351884"/>
            <a:ext cx="1787381" cy="8228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prstClr val="white"/>
                </a:solidFill>
                <a:effectLst/>
                <a:uLnTx/>
                <a:uFillTx/>
                <a:latin typeface="Calibri" panose="020F0502020204030204"/>
                <a:ea typeface="+mn-ea"/>
                <a:cs typeface="+mn-cs"/>
              </a:rPr>
              <a:t>KUKE</a:t>
            </a:r>
          </a:p>
        </p:txBody>
      </p:sp>
      <p:cxnSp>
        <p:nvCxnSpPr>
          <p:cNvPr id="19" name="Łącznik prosty ze strzałką 18">
            <a:extLst>
              <a:ext uri="{FF2B5EF4-FFF2-40B4-BE49-F238E27FC236}">
                <a16:creationId xmlns:a16="http://schemas.microsoft.com/office/drawing/2014/main" id="{255C6932-9C44-B122-8A6C-F2728D0BC021}"/>
              </a:ext>
            </a:extLst>
          </p:cNvPr>
          <p:cNvCxnSpPr>
            <a:cxnSpLocks/>
          </p:cNvCxnSpPr>
          <p:nvPr/>
        </p:nvCxnSpPr>
        <p:spPr>
          <a:xfrm flipH="1" flipV="1">
            <a:off x="2231923" y="4786760"/>
            <a:ext cx="3136116" cy="127327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Łącznik prosty ze strzałką 21">
            <a:extLst>
              <a:ext uri="{FF2B5EF4-FFF2-40B4-BE49-F238E27FC236}">
                <a16:creationId xmlns:a16="http://schemas.microsoft.com/office/drawing/2014/main" id="{53D94EAF-542F-2AD2-C31B-FBCDFAA23C78}"/>
              </a:ext>
            </a:extLst>
          </p:cNvPr>
          <p:cNvCxnSpPr>
            <a:cxnSpLocks/>
            <a:stCxn id="14" idx="3"/>
            <a:endCxn id="15" idx="1"/>
          </p:cNvCxnSpPr>
          <p:nvPr/>
        </p:nvCxnSpPr>
        <p:spPr>
          <a:xfrm flipV="1">
            <a:off x="2324119" y="2943665"/>
            <a:ext cx="3043920" cy="141924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Prostokąt: zaokrąglone rogi 6">
            <a:extLst>
              <a:ext uri="{FF2B5EF4-FFF2-40B4-BE49-F238E27FC236}">
                <a16:creationId xmlns:a16="http://schemas.microsoft.com/office/drawing/2014/main" id="{93E869E4-68DD-E7D7-BCA8-E9BC43FA9BE9}"/>
              </a:ext>
            </a:extLst>
          </p:cNvPr>
          <p:cNvSpPr/>
          <p:nvPr/>
        </p:nvSpPr>
        <p:spPr>
          <a:xfrm>
            <a:off x="2490486" y="5556754"/>
            <a:ext cx="1512110"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Insurance</a:t>
            </a:r>
            <a:endParaRPr kumimoji="0" lang="pl-PL" sz="14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cxnSp>
        <p:nvCxnSpPr>
          <p:cNvPr id="25" name="Łącznik prosty ze strzałką 24">
            <a:extLst>
              <a:ext uri="{FF2B5EF4-FFF2-40B4-BE49-F238E27FC236}">
                <a16:creationId xmlns:a16="http://schemas.microsoft.com/office/drawing/2014/main" id="{5ADB2BAC-3BE0-9B87-033D-0007FB6075E3}"/>
              </a:ext>
            </a:extLst>
          </p:cNvPr>
          <p:cNvCxnSpPr>
            <a:cxnSpLocks/>
            <a:endCxn id="16" idx="1"/>
          </p:cNvCxnSpPr>
          <p:nvPr/>
        </p:nvCxnSpPr>
        <p:spPr>
          <a:xfrm>
            <a:off x="2324119" y="4567221"/>
            <a:ext cx="3043920" cy="119609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Prostokąt: zaokrąglone rogi 28">
            <a:extLst>
              <a:ext uri="{FF2B5EF4-FFF2-40B4-BE49-F238E27FC236}">
                <a16:creationId xmlns:a16="http://schemas.microsoft.com/office/drawing/2014/main" id="{BBB3E5D5-816E-084B-E41D-5CFEA52883B0}"/>
              </a:ext>
            </a:extLst>
          </p:cNvPr>
          <p:cNvSpPr/>
          <p:nvPr/>
        </p:nvSpPr>
        <p:spPr>
          <a:xfrm>
            <a:off x="3748810" y="4638565"/>
            <a:ext cx="1976284"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Insurance</a:t>
            </a:r>
            <a:r>
              <a:rPr kumimoji="0" lang="pl-PL" sz="14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 </a:t>
            </a:r>
            <a:r>
              <a:rPr kumimoji="0" lang="pl-PL" sz="14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premium</a:t>
            </a:r>
            <a:endParaRPr kumimoji="0" lang="pl-PL" sz="14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17" name="Prostokąt: zaokrąglone rogi 16">
            <a:extLst>
              <a:ext uri="{FF2B5EF4-FFF2-40B4-BE49-F238E27FC236}">
                <a16:creationId xmlns:a16="http://schemas.microsoft.com/office/drawing/2014/main" id="{C73FB9CE-098C-F25F-00E5-7B1BAF560EE7}"/>
              </a:ext>
            </a:extLst>
          </p:cNvPr>
          <p:cNvSpPr/>
          <p:nvPr/>
        </p:nvSpPr>
        <p:spPr>
          <a:xfrm>
            <a:off x="3050000" y="2958893"/>
            <a:ext cx="1156058" cy="408623"/>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err="1">
                <a:ln>
                  <a:noFill/>
                </a:ln>
                <a:solidFill>
                  <a:prstClr val="white"/>
                </a:solidFill>
                <a:effectLst/>
                <a:uLnTx/>
                <a:uFillTx/>
                <a:latin typeface="Helvetica" panose="020B0604020202020204" pitchFamily="34" charset="0"/>
                <a:ea typeface="+mn-ea"/>
                <a:cs typeface="Helvetica" panose="020B0604020202020204" pitchFamily="34" charset="0"/>
              </a:rPr>
              <a:t>capital</a:t>
            </a:r>
            <a:endParaRPr kumimoji="0" lang="pl-PL" sz="18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14" name="Prostokąt: zaokrąglone rogi 13">
            <a:extLst>
              <a:ext uri="{FF2B5EF4-FFF2-40B4-BE49-F238E27FC236}">
                <a16:creationId xmlns:a16="http://schemas.microsoft.com/office/drawing/2014/main" id="{FBBFE3FD-A617-470C-82B1-7A563D5AADFA}"/>
              </a:ext>
            </a:extLst>
          </p:cNvPr>
          <p:cNvSpPr/>
          <p:nvPr/>
        </p:nvSpPr>
        <p:spPr>
          <a:xfrm>
            <a:off x="318330" y="3949296"/>
            <a:ext cx="2005789" cy="8272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rPr>
              <a:t>Investor</a:t>
            </a:r>
          </a:p>
        </p:txBody>
      </p:sp>
    </p:spTree>
    <p:extLst>
      <p:ext uri="{BB962C8B-B14F-4D97-AF65-F5344CB8AC3E}">
        <p14:creationId xmlns:p14="http://schemas.microsoft.com/office/powerpoint/2010/main" val="25372230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a:extLst>
              <a:ext uri="{FF2B5EF4-FFF2-40B4-BE49-F238E27FC236}">
                <a16:creationId xmlns:a16="http://schemas.microsoft.com/office/drawing/2014/main" id="{11598A82-4991-CE44-BEF0-CA482B4D0B4F}"/>
              </a:ext>
            </a:extLst>
          </p:cNvPr>
          <p:cNvPicPr>
            <a:picLocks noGrp="1" noChangeAspect="1"/>
          </p:cNvPicPr>
          <p:nvPr>
            <p:ph type="pic" sz="quarter" idx="12"/>
          </p:nvPr>
        </p:nvPicPr>
        <p:blipFill>
          <a:blip r:embed="rId2"/>
          <a:srcRect l="26954" r="26954"/>
          <a:stretch/>
        </p:blipFill>
        <p:spPr>
          <a:xfrm>
            <a:off x="7455049" y="0"/>
            <a:ext cx="4736951" cy="6858000"/>
          </a:xfrm>
        </p:spPr>
      </p:pic>
      <p:sp>
        <p:nvSpPr>
          <p:cNvPr id="3" name="Tytuł 2">
            <a:extLst>
              <a:ext uri="{FF2B5EF4-FFF2-40B4-BE49-F238E27FC236}">
                <a16:creationId xmlns:a16="http://schemas.microsoft.com/office/drawing/2014/main" id="{4826DB1C-56AC-0448-8D8C-E5FBE1ECFBF1}"/>
              </a:ext>
            </a:extLst>
          </p:cNvPr>
          <p:cNvSpPr>
            <a:spLocks noGrp="1"/>
          </p:cNvSpPr>
          <p:nvPr>
            <p:ph type="ctrTitle"/>
          </p:nvPr>
        </p:nvSpPr>
        <p:spPr>
          <a:xfrm>
            <a:off x="239697" y="1005737"/>
            <a:ext cx="7215352" cy="872464"/>
          </a:xfrm>
        </p:spPr>
        <p:txBody>
          <a:bodyPr>
            <a:normAutofit/>
          </a:bodyPr>
          <a:lstStyle/>
          <a:p>
            <a:r>
              <a:rPr lang="en-GB" sz="2500" dirty="0">
                <a:solidFill>
                  <a:srgbClr val="EC602D"/>
                </a:solidFill>
              </a:rPr>
              <a:t>Example of a transaction scheme </a:t>
            </a:r>
            <a:r>
              <a:rPr lang="en-GB" sz="2500" dirty="0"/>
              <a:t>with KUKE</a:t>
            </a:r>
            <a:r>
              <a:rPr lang="pl-PL" sz="2500" dirty="0"/>
              <a:t> </a:t>
            </a:r>
            <a:r>
              <a:rPr lang="pl-PL" sz="2800" dirty="0">
                <a:solidFill>
                  <a:srgbClr val="38AEC4"/>
                </a:solidFill>
              </a:rPr>
              <a:t>(IBZ+)</a:t>
            </a:r>
            <a:endParaRPr lang="en-GB" sz="2500" dirty="0"/>
          </a:p>
        </p:txBody>
      </p:sp>
      <p:sp>
        <p:nvSpPr>
          <p:cNvPr id="15" name="Prostokąt: zaokrąglone rogi 14">
            <a:extLst>
              <a:ext uri="{FF2B5EF4-FFF2-40B4-BE49-F238E27FC236}">
                <a16:creationId xmlns:a16="http://schemas.microsoft.com/office/drawing/2014/main" id="{CD95BC85-9445-8ACC-F253-730536494780}"/>
              </a:ext>
            </a:extLst>
          </p:cNvPr>
          <p:cNvSpPr/>
          <p:nvPr/>
        </p:nvSpPr>
        <p:spPr>
          <a:xfrm>
            <a:off x="5368039" y="2519814"/>
            <a:ext cx="1772990" cy="8477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latin typeface="Helvetica" panose="020B0604020202020204" pitchFamily="34" charset="0"/>
                <a:cs typeface="Helvetica" panose="020B0604020202020204" pitchFamily="34" charset="0"/>
              </a:rPr>
              <a:t>Investment </a:t>
            </a:r>
            <a:r>
              <a:rPr lang="pl-PL" sz="2000" b="1" dirty="0" err="1">
                <a:latin typeface="Helvetica" panose="020B0604020202020204" pitchFamily="34" charset="0"/>
                <a:cs typeface="Helvetica" panose="020B0604020202020204" pitchFamily="34" charset="0"/>
              </a:rPr>
              <a:t>abroad</a:t>
            </a:r>
            <a:endParaRPr lang="pl-PL" sz="2000" b="1" dirty="0">
              <a:latin typeface="Helvetica" panose="020B0604020202020204" pitchFamily="34" charset="0"/>
              <a:cs typeface="Helvetica" panose="020B0604020202020204" pitchFamily="34" charset="0"/>
            </a:endParaRPr>
          </a:p>
        </p:txBody>
      </p:sp>
      <p:sp>
        <p:nvSpPr>
          <p:cNvPr id="16" name="Prostokąt: zaokrąglone rogi 15">
            <a:extLst>
              <a:ext uri="{FF2B5EF4-FFF2-40B4-BE49-F238E27FC236}">
                <a16:creationId xmlns:a16="http://schemas.microsoft.com/office/drawing/2014/main" id="{202B60B3-C511-F51C-36D7-FC918D4E7530}"/>
              </a:ext>
            </a:extLst>
          </p:cNvPr>
          <p:cNvSpPr/>
          <p:nvPr/>
        </p:nvSpPr>
        <p:spPr>
          <a:xfrm>
            <a:off x="5368039" y="5351884"/>
            <a:ext cx="1787381" cy="8228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t>KUKE</a:t>
            </a:r>
          </a:p>
        </p:txBody>
      </p:sp>
      <p:cxnSp>
        <p:nvCxnSpPr>
          <p:cNvPr id="18" name="Łącznik prosty ze strzałką 17">
            <a:extLst>
              <a:ext uri="{FF2B5EF4-FFF2-40B4-BE49-F238E27FC236}">
                <a16:creationId xmlns:a16="http://schemas.microsoft.com/office/drawing/2014/main" id="{B8A540A3-1DBB-DCF2-7540-06B5263F678D}"/>
              </a:ext>
            </a:extLst>
          </p:cNvPr>
          <p:cNvCxnSpPr>
            <a:cxnSpLocks/>
          </p:cNvCxnSpPr>
          <p:nvPr/>
        </p:nvCxnSpPr>
        <p:spPr>
          <a:xfrm flipV="1">
            <a:off x="1786666" y="3349363"/>
            <a:ext cx="0" cy="200252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Łącznik prosty ze strzałką 18">
            <a:extLst>
              <a:ext uri="{FF2B5EF4-FFF2-40B4-BE49-F238E27FC236}">
                <a16:creationId xmlns:a16="http://schemas.microsoft.com/office/drawing/2014/main" id="{255C6932-9C44-B122-8A6C-F2728D0BC021}"/>
              </a:ext>
            </a:extLst>
          </p:cNvPr>
          <p:cNvCxnSpPr>
            <a:cxnSpLocks/>
            <a:stCxn id="16" idx="1"/>
            <a:endCxn id="21" idx="3"/>
          </p:cNvCxnSpPr>
          <p:nvPr/>
        </p:nvCxnSpPr>
        <p:spPr>
          <a:xfrm flipH="1" flipV="1">
            <a:off x="2765776" y="5733537"/>
            <a:ext cx="2602263" cy="2977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Prostokąt: zaokrąglone rogi 20">
            <a:extLst>
              <a:ext uri="{FF2B5EF4-FFF2-40B4-BE49-F238E27FC236}">
                <a16:creationId xmlns:a16="http://schemas.microsoft.com/office/drawing/2014/main" id="{506623A8-B792-5DA6-ADF1-655E47EF75C1}"/>
              </a:ext>
            </a:extLst>
          </p:cNvPr>
          <p:cNvSpPr/>
          <p:nvPr/>
        </p:nvSpPr>
        <p:spPr>
          <a:xfrm>
            <a:off x="783771" y="5358304"/>
            <a:ext cx="1982005" cy="7504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latin typeface="Helvetica" panose="020B0604020202020204" pitchFamily="34" charset="0"/>
                <a:cs typeface="Helvetica" panose="020B0604020202020204" pitchFamily="34" charset="0"/>
              </a:rPr>
              <a:t>Bank</a:t>
            </a:r>
          </a:p>
        </p:txBody>
      </p:sp>
      <p:cxnSp>
        <p:nvCxnSpPr>
          <p:cNvPr id="22" name="Łącznik prosty ze strzałką 21">
            <a:extLst>
              <a:ext uri="{FF2B5EF4-FFF2-40B4-BE49-F238E27FC236}">
                <a16:creationId xmlns:a16="http://schemas.microsoft.com/office/drawing/2014/main" id="{53D94EAF-542F-2AD2-C31B-FBCDFAA23C78}"/>
              </a:ext>
            </a:extLst>
          </p:cNvPr>
          <p:cNvCxnSpPr>
            <a:cxnSpLocks/>
            <a:stCxn id="14" idx="3"/>
            <a:endCxn id="15" idx="1"/>
          </p:cNvCxnSpPr>
          <p:nvPr/>
        </p:nvCxnSpPr>
        <p:spPr>
          <a:xfrm>
            <a:off x="2789561" y="2933426"/>
            <a:ext cx="2578478" cy="1023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Prostokąt: zaokrąglone rogi 4">
            <a:extLst>
              <a:ext uri="{FF2B5EF4-FFF2-40B4-BE49-F238E27FC236}">
                <a16:creationId xmlns:a16="http://schemas.microsoft.com/office/drawing/2014/main" id="{6AF8762B-DED2-5AF6-52D9-0EC22FB0CA90}"/>
              </a:ext>
            </a:extLst>
          </p:cNvPr>
          <p:cNvSpPr/>
          <p:nvPr/>
        </p:nvSpPr>
        <p:spPr>
          <a:xfrm>
            <a:off x="1124872" y="4172219"/>
            <a:ext cx="1293256" cy="408623"/>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rtlCol="0" anchor="ctr">
            <a:spAutoFit/>
          </a:bodyPr>
          <a:lstStyle/>
          <a:p>
            <a:pPr algn="ctr"/>
            <a:r>
              <a:rPr lang="pl-PL" b="1" dirty="0" err="1">
                <a:latin typeface="Helvetica" panose="020B0604020202020204" pitchFamily="34" charset="0"/>
                <a:cs typeface="Helvetica" panose="020B0604020202020204" pitchFamily="34" charset="0"/>
              </a:rPr>
              <a:t>loan</a:t>
            </a:r>
            <a:endParaRPr lang="pl-PL" b="1" dirty="0">
              <a:latin typeface="Helvetica" panose="020B0604020202020204" pitchFamily="34" charset="0"/>
              <a:cs typeface="Helvetica" panose="020B0604020202020204" pitchFamily="34" charset="0"/>
            </a:endParaRPr>
          </a:p>
        </p:txBody>
      </p:sp>
      <p:sp>
        <p:nvSpPr>
          <p:cNvPr id="7" name="Prostokąt: zaokrąglone rogi 6">
            <a:extLst>
              <a:ext uri="{FF2B5EF4-FFF2-40B4-BE49-F238E27FC236}">
                <a16:creationId xmlns:a16="http://schemas.microsoft.com/office/drawing/2014/main" id="{93E869E4-68DD-E7D7-BCA8-E9BC43FA9BE9}"/>
              </a:ext>
            </a:extLst>
          </p:cNvPr>
          <p:cNvSpPr/>
          <p:nvPr/>
        </p:nvSpPr>
        <p:spPr>
          <a:xfrm>
            <a:off x="3365486" y="5556754"/>
            <a:ext cx="1512110"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sz="1400" b="1" dirty="0" err="1">
                <a:latin typeface="Helvetica" panose="020B0604020202020204" pitchFamily="34" charset="0"/>
                <a:cs typeface="Helvetica" panose="020B0604020202020204" pitchFamily="34" charset="0"/>
              </a:rPr>
              <a:t>insurance</a:t>
            </a:r>
            <a:endParaRPr lang="pl-PL" sz="1400" b="1" dirty="0">
              <a:latin typeface="Helvetica" panose="020B0604020202020204" pitchFamily="34" charset="0"/>
              <a:cs typeface="Helvetica" panose="020B0604020202020204" pitchFamily="34" charset="0"/>
            </a:endParaRPr>
          </a:p>
        </p:txBody>
      </p:sp>
      <p:cxnSp>
        <p:nvCxnSpPr>
          <p:cNvPr id="25" name="Łącznik prosty ze strzałką 24">
            <a:extLst>
              <a:ext uri="{FF2B5EF4-FFF2-40B4-BE49-F238E27FC236}">
                <a16:creationId xmlns:a16="http://schemas.microsoft.com/office/drawing/2014/main" id="{5ADB2BAC-3BE0-9B87-033D-0007FB6075E3}"/>
              </a:ext>
            </a:extLst>
          </p:cNvPr>
          <p:cNvCxnSpPr>
            <a:cxnSpLocks/>
          </p:cNvCxnSpPr>
          <p:nvPr/>
        </p:nvCxnSpPr>
        <p:spPr>
          <a:xfrm>
            <a:off x="2730696" y="3288245"/>
            <a:ext cx="2672423" cy="209053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Prostokąt: zaokrąglone rogi 28">
            <a:extLst>
              <a:ext uri="{FF2B5EF4-FFF2-40B4-BE49-F238E27FC236}">
                <a16:creationId xmlns:a16="http://schemas.microsoft.com/office/drawing/2014/main" id="{BBB3E5D5-816E-084B-E41D-5CFEA52883B0}"/>
              </a:ext>
            </a:extLst>
          </p:cNvPr>
          <p:cNvSpPr/>
          <p:nvPr/>
        </p:nvSpPr>
        <p:spPr>
          <a:xfrm>
            <a:off x="3246541" y="4073468"/>
            <a:ext cx="1750001" cy="578882"/>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sz="1400" b="1" dirty="0" err="1">
                <a:latin typeface="Helvetica" panose="020B0604020202020204" pitchFamily="34" charset="0"/>
                <a:cs typeface="Helvetica" panose="020B0604020202020204" pitchFamily="34" charset="0"/>
              </a:rPr>
              <a:t>insurance</a:t>
            </a:r>
            <a:r>
              <a:rPr lang="pl-PL" sz="1400" b="1" dirty="0">
                <a:latin typeface="Helvetica" panose="020B0604020202020204" pitchFamily="34" charset="0"/>
                <a:cs typeface="Helvetica" panose="020B0604020202020204" pitchFamily="34" charset="0"/>
              </a:rPr>
              <a:t> </a:t>
            </a:r>
            <a:r>
              <a:rPr lang="pl-PL" sz="1400" b="1" dirty="0" err="1">
                <a:latin typeface="Helvetica" panose="020B0604020202020204" pitchFamily="34" charset="0"/>
                <a:cs typeface="Helvetica" panose="020B0604020202020204" pitchFamily="34" charset="0"/>
              </a:rPr>
              <a:t>premium</a:t>
            </a:r>
            <a:endParaRPr lang="pl-PL" sz="1400" b="1" dirty="0">
              <a:latin typeface="Helvetica" panose="020B0604020202020204" pitchFamily="34" charset="0"/>
              <a:cs typeface="Helvetica" panose="020B0604020202020204" pitchFamily="34" charset="0"/>
            </a:endParaRPr>
          </a:p>
        </p:txBody>
      </p:sp>
      <p:sp>
        <p:nvSpPr>
          <p:cNvPr id="17" name="Prostokąt: zaokrąglone rogi 16">
            <a:extLst>
              <a:ext uri="{FF2B5EF4-FFF2-40B4-BE49-F238E27FC236}">
                <a16:creationId xmlns:a16="http://schemas.microsoft.com/office/drawing/2014/main" id="{C73FB9CE-098C-F25F-00E5-7B1BAF560EE7}"/>
              </a:ext>
            </a:extLst>
          </p:cNvPr>
          <p:cNvSpPr/>
          <p:nvPr/>
        </p:nvSpPr>
        <p:spPr>
          <a:xfrm>
            <a:off x="3543512" y="2739353"/>
            <a:ext cx="1156058" cy="408623"/>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rtlCol="0" anchor="ctr">
            <a:spAutoFit/>
          </a:bodyPr>
          <a:lstStyle/>
          <a:p>
            <a:pPr algn="ctr"/>
            <a:r>
              <a:rPr lang="pl-PL" b="1" dirty="0" err="1">
                <a:latin typeface="Helvetica" panose="020B0604020202020204" pitchFamily="34" charset="0"/>
                <a:cs typeface="Helvetica" panose="020B0604020202020204" pitchFamily="34" charset="0"/>
              </a:rPr>
              <a:t>capital</a:t>
            </a:r>
            <a:endParaRPr lang="pl-PL" b="1" dirty="0">
              <a:latin typeface="Helvetica" panose="020B0604020202020204" pitchFamily="34" charset="0"/>
              <a:cs typeface="Helvetica" panose="020B0604020202020204" pitchFamily="34" charset="0"/>
            </a:endParaRPr>
          </a:p>
        </p:txBody>
      </p:sp>
      <p:sp>
        <p:nvSpPr>
          <p:cNvPr id="14" name="Prostokąt: zaokrąglone rogi 13">
            <a:extLst>
              <a:ext uri="{FF2B5EF4-FFF2-40B4-BE49-F238E27FC236}">
                <a16:creationId xmlns:a16="http://schemas.microsoft.com/office/drawing/2014/main" id="{FBBFE3FD-A617-470C-82B1-7A563D5AADFA}"/>
              </a:ext>
            </a:extLst>
          </p:cNvPr>
          <p:cNvSpPr/>
          <p:nvPr/>
        </p:nvSpPr>
        <p:spPr>
          <a:xfrm>
            <a:off x="783772" y="2519813"/>
            <a:ext cx="2005789" cy="8272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latin typeface="Helvetica" panose="020B0604020202020204" pitchFamily="34" charset="0"/>
                <a:cs typeface="Helvetica" panose="020B0604020202020204" pitchFamily="34" charset="0"/>
              </a:rPr>
              <a:t>Borrower</a:t>
            </a:r>
            <a:endParaRPr lang="pl-PL" sz="2000" b="1" dirty="0">
              <a:latin typeface="Helvetica" panose="020B0604020202020204" pitchFamily="34" charset="0"/>
              <a:cs typeface="Helvetica" panose="020B0604020202020204" pitchFamily="34" charset="0"/>
            </a:endParaRPr>
          </a:p>
        </p:txBody>
      </p:sp>
      <p:pic>
        <p:nvPicPr>
          <p:cNvPr id="2" name="Picture 3">
            <a:extLst>
              <a:ext uri="{FF2B5EF4-FFF2-40B4-BE49-F238E27FC236}">
                <a16:creationId xmlns:a16="http://schemas.microsoft.com/office/drawing/2014/main" id="{EC3A15DE-B4AE-63E5-9A74-6B0FCE374D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272" y="427433"/>
            <a:ext cx="1162496" cy="48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61830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ymbol zastępczy obrazu 6" descr="Obraz zawierający osoba, wewnątrz, kobieta, siedzi&#10;&#10;Opis wygenerowany automatycznie">
            <a:extLst>
              <a:ext uri="{FF2B5EF4-FFF2-40B4-BE49-F238E27FC236}">
                <a16:creationId xmlns:a16="http://schemas.microsoft.com/office/drawing/2014/main" id="{95237C89-E0BE-F544-BD73-B820791CCD59}"/>
              </a:ext>
            </a:extLst>
          </p:cNvPr>
          <p:cNvPicPr>
            <a:picLocks noGrp="1" noChangeAspect="1"/>
          </p:cNvPicPr>
          <p:nvPr>
            <p:ph type="pic" sz="quarter" idx="12"/>
          </p:nvPr>
        </p:nvPicPr>
        <p:blipFill rotWithShape="1">
          <a:blip r:embed="rId2"/>
          <a:srcRect l="26948" r="26948"/>
          <a:stretch/>
        </p:blipFill>
        <p:spPr/>
      </p:pic>
      <p:pic>
        <p:nvPicPr>
          <p:cNvPr id="9" name="Symbol zastępczy obrazu 8" descr="Obraz zawierający znak, zegar, pomieszczenie&#10;&#10;Opis wygenerowany automatycznie">
            <a:extLst>
              <a:ext uri="{FF2B5EF4-FFF2-40B4-BE49-F238E27FC236}">
                <a16:creationId xmlns:a16="http://schemas.microsoft.com/office/drawing/2014/main" id="{BCA60862-15E4-F54C-9A92-D786C4A5206B}"/>
              </a:ext>
            </a:extLst>
          </p:cNvPr>
          <p:cNvPicPr>
            <a:picLocks noGrp="1" noChangeAspect="1"/>
          </p:cNvPicPr>
          <p:nvPr>
            <p:ph type="pic" sz="quarter" idx="13"/>
          </p:nvPr>
        </p:nvPicPr>
        <p:blipFill rotWithShape="1">
          <a:blip r:embed="rId3"/>
          <a:srcRect l="644" r="644"/>
          <a:stretch/>
        </p:blipFill>
        <p:spPr>
          <a:xfrm>
            <a:off x="5612702" y="431302"/>
            <a:ext cx="3207753" cy="3249686"/>
          </a:xfrm>
        </p:spPr>
      </p:pic>
      <p:sp>
        <p:nvSpPr>
          <p:cNvPr id="4" name="Tytuł 3">
            <a:extLst>
              <a:ext uri="{FF2B5EF4-FFF2-40B4-BE49-F238E27FC236}">
                <a16:creationId xmlns:a16="http://schemas.microsoft.com/office/drawing/2014/main" id="{8B8FCD48-80AF-4F40-8313-DA7463F73782}"/>
              </a:ext>
            </a:extLst>
          </p:cNvPr>
          <p:cNvSpPr>
            <a:spLocks noGrp="1"/>
          </p:cNvSpPr>
          <p:nvPr>
            <p:ph type="ctrTitle"/>
          </p:nvPr>
        </p:nvSpPr>
        <p:spPr>
          <a:xfrm>
            <a:off x="342425" y="824074"/>
            <a:ext cx="6224584" cy="1439730"/>
          </a:xfrm>
        </p:spPr>
        <p:txBody>
          <a:bodyPr>
            <a:normAutofit/>
          </a:bodyPr>
          <a:lstStyle/>
          <a:p>
            <a:r>
              <a:rPr lang="en-GB" sz="2400" dirty="0"/>
              <a:t>Upon the occurrence of </a:t>
            </a:r>
            <a:r>
              <a:rPr lang="pl-PL" sz="2400" dirty="0" err="1"/>
              <a:t>nonpayment</a:t>
            </a:r>
            <a:r>
              <a:rPr lang="pl-PL" sz="2400" dirty="0"/>
              <a:t> of the </a:t>
            </a:r>
            <a:r>
              <a:rPr lang="pl-PL" sz="2400" dirty="0" err="1"/>
              <a:t>loan</a:t>
            </a:r>
            <a:r>
              <a:rPr lang="en-GB" sz="2400" dirty="0"/>
              <a:t> </a:t>
            </a:r>
            <a:r>
              <a:rPr lang="en-GB" sz="2400" dirty="0">
                <a:solidFill>
                  <a:srgbClr val="E6612C"/>
                </a:solidFill>
              </a:rPr>
              <a:t>KUKE </a:t>
            </a:r>
            <a:r>
              <a:rPr lang="pl-PL" sz="2400" dirty="0" err="1">
                <a:solidFill>
                  <a:srgbClr val="E6612C"/>
                </a:solidFill>
              </a:rPr>
              <a:t>pays</a:t>
            </a:r>
            <a:r>
              <a:rPr lang="pl-PL" sz="2400" dirty="0">
                <a:solidFill>
                  <a:srgbClr val="E6612C"/>
                </a:solidFill>
              </a:rPr>
              <a:t> </a:t>
            </a:r>
            <a:r>
              <a:rPr lang="pl-PL" sz="2400" dirty="0" err="1">
                <a:solidFill>
                  <a:srgbClr val="E6612C"/>
                </a:solidFill>
              </a:rPr>
              <a:t>indemnity</a:t>
            </a:r>
            <a:r>
              <a:rPr lang="en-GB" sz="2400" dirty="0">
                <a:solidFill>
                  <a:srgbClr val="E6612C"/>
                </a:solidFill>
              </a:rPr>
              <a:t> to the bank </a:t>
            </a:r>
            <a:r>
              <a:rPr lang="pl-PL" sz="2400" dirty="0">
                <a:solidFill>
                  <a:srgbClr val="38AEC4"/>
                </a:solidFill>
              </a:rPr>
              <a:t>(IBZ+)</a:t>
            </a:r>
            <a:endParaRPr lang="en-GB" sz="2400" dirty="0">
              <a:solidFill>
                <a:srgbClr val="E6612C"/>
              </a:solidFill>
            </a:endParaRPr>
          </a:p>
        </p:txBody>
      </p:sp>
      <p:sp>
        <p:nvSpPr>
          <p:cNvPr id="8" name="Prostokąt: zaokrąglone rogi 7">
            <a:extLst>
              <a:ext uri="{FF2B5EF4-FFF2-40B4-BE49-F238E27FC236}">
                <a16:creationId xmlns:a16="http://schemas.microsoft.com/office/drawing/2014/main" id="{2F7B1F8F-FD34-5AAB-EB70-9530A71929BF}"/>
              </a:ext>
            </a:extLst>
          </p:cNvPr>
          <p:cNvSpPr/>
          <p:nvPr/>
        </p:nvSpPr>
        <p:spPr>
          <a:xfrm>
            <a:off x="5477662" y="5383876"/>
            <a:ext cx="1686187" cy="6878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t>KUKE</a:t>
            </a:r>
          </a:p>
        </p:txBody>
      </p:sp>
      <p:cxnSp>
        <p:nvCxnSpPr>
          <p:cNvPr id="10" name="Łącznik prosty ze strzałką 9">
            <a:extLst>
              <a:ext uri="{FF2B5EF4-FFF2-40B4-BE49-F238E27FC236}">
                <a16:creationId xmlns:a16="http://schemas.microsoft.com/office/drawing/2014/main" id="{414CF61D-4C36-D145-7F7E-0F71F173E8B8}"/>
              </a:ext>
            </a:extLst>
          </p:cNvPr>
          <p:cNvCxnSpPr>
            <a:cxnSpLocks/>
          </p:cNvCxnSpPr>
          <p:nvPr/>
        </p:nvCxnSpPr>
        <p:spPr>
          <a:xfrm rot="10800000" flipV="1">
            <a:off x="1973624" y="3381355"/>
            <a:ext cx="0" cy="2002521"/>
          </a:xfrm>
          <a:prstGeom prst="straightConnector1">
            <a:avLst/>
          </a:prstGeom>
          <a:ln w="5715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1" name="Łącznik prosty ze strzałką 10">
            <a:extLst>
              <a:ext uri="{FF2B5EF4-FFF2-40B4-BE49-F238E27FC236}">
                <a16:creationId xmlns:a16="http://schemas.microsoft.com/office/drawing/2014/main" id="{C00E3BBB-0340-6DE8-2A61-691DEBCA8B29}"/>
              </a:ext>
            </a:extLst>
          </p:cNvPr>
          <p:cNvCxnSpPr>
            <a:cxnSpLocks/>
            <a:endCxn id="12" idx="3"/>
          </p:cNvCxnSpPr>
          <p:nvPr/>
        </p:nvCxnSpPr>
        <p:spPr>
          <a:xfrm flipH="1">
            <a:off x="2889791" y="5734244"/>
            <a:ext cx="2587871"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Prostokąt: zaokrąglone rogi 11">
            <a:extLst>
              <a:ext uri="{FF2B5EF4-FFF2-40B4-BE49-F238E27FC236}">
                <a16:creationId xmlns:a16="http://schemas.microsoft.com/office/drawing/2014/main" id="{8593A333-978D-9C3E-D7EC-EF5E82040EA8}"/>
              </a:ext>
            </a:extLst>
          </p:cNvPr>
          <p:cNvSpPr/>
          <p:nvPr/>
        </p:nvSpPr>
        <p:spPr>
          <a:xfrm>
            <a:off x="1027125" y="5390296"/>
            <a:ext cx="1862666" cy="6878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latin typeface="Helvetica" panose="020B0604020202020204" pitchFamily="34" charset="0"/>
                <a:cs typeface="Helvetica" panose="020B0604020202020204" pitchFamily="34" charset="0"/>
              </a:rPr>
              <a:t>Bank</a:t>
            </a:r>
          </a:p>
        </p:txBody>
      </p:sp>
      <p:sp>
        <p:nvSpPr>
          <p:cNvPr id="14" name="Prostokąt: zaokrąglone rogi 13">
            <a:extLst>
              <a:ext uri="{FF2B5EF4-FFF2-40B4-BE49-F238E27FC236}">
                <a16:creationId xmlns:a16="http://schemas.microsoft.com/office/drawing/2014/main" id="{287B5D30-FB45-A6CC-A09E-ACF8BA80F096}"/>
              </a:ext>
            </a:extLst>
          </p:cNvPr>
          <p:cNvSpPr/>
          <p:nvPr/>
        </p:nvSpPr>
        <p:spPr>
          <a:xfrm>
            <a:off x="143436" y="3925474"/>
            <a:ext cx="1684587" cy="71508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b="1" dirty="0" err="1">
                <a:latin typeface="Helvetica" panose="020B0604020202020204" pitchFamily="34" charset="0"/>
                <a:cs typeface="Helvetica" panose="020B0604020202020204" pitchFamily="34" charset="0"/>
              </a:rPr>
              <a:t>Payment</a:t>
            </a:r>
            <a:r>
              <a:rPr lang="pl-PL" b="1" dirty="0">
                <a:latin typeface="Helvetica" panose="020B0604020202020204" pitchFamily="34" charset="0"/>
                <a:cs typeface="Helvetica" panose="020B0604020202020204" pitchFamily="34" charset="0"/>
              </a:rPr>
              <a:t> </a:t>
            </a:r>
            <a:r>
              <a:rPr lang="pl-PL" b="1" dirty="0" err="1">
                <a:latin typeface="Helvetica" panose="020B0604020202020204" pitchFamily="34" charset="0"/>
                <a:cs typeface="Helvetica" panose="020B0604020202020204" pitchFamily="34" charset="0"/>
              </a:rPr>
              <a:t>default</a:t>
            </a:r>
            <a:endParaRPr lang="pl-PL" b="1" dirty="0">
              <a:latin typeface="Helvetica" panose="020B0604020202020204" pitchFamily="34" charset="0"/>
              <a:cs typeface="Helvetica" panose="020B0604020202020204" pitchFamily="34" charset="0"/>
            </a:endParaRPr>
          </a:p>
        </p:txBody>
      </p:sp>
      <p:sp>
        <p:nvSpPr>
          <p:cNvPr id="15" name="Prostokąt: zaokrąglone rogi 14">
            <a:extLst>
              <a:ext uri="{FF2B5EF4-FFF2-40B4-BE49-F238E27FC236}">
                <a16:creationId xmlns:a16="http://schemas.microsoft.com/office/drawing/2014/main" id="{66BCBF0B-C5F8-FEBA-8BD1-C36F1AAEFC4D}"/>
              </a:ext>
            </a:extLst>
          </p:cNvPr>
          <p:cNvSpPr/>
          <p:nvPr/>
        </p:nvSpPr>
        <p:spPr>
          <a:xfrm>
            <a:off x="3418789" y="5576192"/>
            <a:ext cx="1696405" cy="340519"/>
          </a:xfrm>
          <a:prstGeom prst="roundRect">
            <a:avLst/>
          </a:prstGeom>
          <a:ln w="44450">
            <a:noFill/>
          </a:ln>
          <a:effectLst>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a:r>
              <a:rPr lang="pl-PL" sz="1400" b="1" dirty="0" err="1">
                <a:latin typeface="Helvetica" panose="020B0604020202020204" pitchFamily="34" charset="0"/>
                <a:cs typeface="Helvetica" panose="020B0604020202020204" pitchFamily="34" charset="0"/>
              </a:rPr>
              <a:t>indemnity</a:t>
            </a:r>
            <a:endParaRPr lang="pl-PL" sz="1400" b="1" dirty="0">
              <a:latin typeface="Helvetica" panose="020B0604020202020204" pitchFamily="34" charset="0"/>
              <a:cs typeface="Helvetica" panose="020B0604020202020204" pitchFamily="34" charset="0"/>
            </a:endParaRPr>
          </a:p>
        </p:txBody>
      </p:sp>
      <p:sp>
        <p:nvSpPr>
          <p:cNvPr id="19" name="Prostokąt: zaokrąglone rogi 18">
            <a:extLst>
              <a:ext uri="{FF2B5EF4-FFF2-40B4-BE49-F238E27FC236}">
                <a16:creationId xmlns:a16="http://schemas.microsoft.com/office/drawing/2014/main" id="{ED747FBA-AB13-508A-D5CD-809DF76C002D}"/>
              </a:ext>
            </a:extLst>
          </p:cNvPr>
          <p:cNvSpPr/>
          <p:nvPr/>
        </p:nvSpPr>
        <p:spPr>
          <a:xfrm>
            <a:off x="904284" y="2526961"/>
            <a:ext cx="2138677" cy="8400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latin typeface="Helvetica" panose="020B0604020202020204" pitchFamily="34" charset="0"/>
                <a:cs typeface="Helvetica" panose="020B0604020202020204" pitchFamily="34" charset="0"/>
              </a:rPr>
              <a:t>Borrower</a:t>
            </a:r>
            <a:endParaRPr lang="pl-PL" sz="2000" b="1" dirty="0">
              <a:latin typeface="Helvetica" panose="020B0604020202020204" pitchFamily="34" charset="0"/>
              <a:cs typeface="Helvetica" panose="020B0604020202020204" pitchFamily="34" charset="0"/>
            </a:endParaRPr>
          </a:p>
        </p:txBody>
      </p:sp>
      <p:pic>
        <p:nvPicPr>
          <p:cNvPr id="2" name="Picture 3">
            <a:extLst>
              <a:ext uri="{FF2B5EF4-FFF2-40B4-BE49-F238E27FC236}">
                <a16:creationId xmlns:a16="http://schemas.microsoft.com/office/drawing/2014/main" id="{D522D04F-4A02-928C-59F0-0C5EAFB018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272" y="427433"/>
            <a:ext cx="1162496" cy="48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50279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DDE4637-B773-FC4B-AECA-2AA33325886D}"/>
              </a:ext>
            </a:extLst>
          </p:cNvPr>
          <p:cNvSpPr>
            <a:spLocks noGrp="1"/>
          </p:cNvSpPr>
          <p:nvPr>
            <p:ph type="ctrTitle"/>
          </p:nvPr>
        </p:nvSpPr>
        <p:spPr>
          <a:xfrm>
            <a:off x="361273" y="1389185"/>
            <a:ext cx="7762819" cy="2039815"/>
          </a:xfrm>
        </p:spPr>
        <p:txBody>
          <a:bodyPr>
            <a:normAutofit/>
          </a:bodyPr>
          <a:lstStyle/>
          <a:p>
            <a:r>
              <a:rPr lang="en-GB" dirty="0">
                <a:solidFill>
                  <a:srgbClr val="38AEC4"/>
                </a:solidFill>
              </a:rPr>
              <a:t>Thank you </a:t>
            </a:r>
            <a:br>
              <a:rPr lang="en-GB" dirty="0">
                <a:solidFill>
                  <a:srgbClr val="38AEC4"/>
                </a:solidFill>
              </a:rPr>
            </a:br>
            <a:r>
              <a:rPr lang="en-GB" sz="3000" b="0" dirty="0"/>
              <a:t>we look forward to working with you</a:t>
            </a:r>
            <a:endParaRPr lang="en-GB" sz="3000" dirty="0">
              <a:solidFill>
                <a:srgbClr val="38AEC4"/>
              </a:solidFill>
            </a:endParaRPr>
          </a:p>
        </p:txBody>
      </p:sp>
      <p:pic>
        <p:nvPicPr>
          <p:cNvPr id="5" name="Symbol zastępczy obrazu 4" descr="Obraz zawierający znak&#10;&#10;Opis wygenerowany automatycznie">
            <a:extLst>
              <a:ext uri="{FF2B5EF4-FFF2-40B4-BE49-F238E27FC236}">
                <a16:creationId xmlns:a16="http://schemas.microsoft.com/office/drawing/2014/main" id="{8CCF4CD1-391F-D34D-9919-40B0946065D7}"/>
              </a:ext>
            </a:extLst>
          </p:cNvPr>
          <p:cNvPicPr>
            <a:picLocks noGrp="1" noChangeAspect="1"/>
          </p:cNvPicPr>
          <p:nvPr>
            <p:ph type="pic" sz="quarter" idx="13"/>
          </p:nvPr>
        </p:nvPicPr>
        <p:blipFill>
          <a:blip r:embed="rId2"/>
          <a:srcRect l="643" r="643"/>
          <a:stretch>
            <a:fillRect/>
          </a:stretch>
        </p:blipFill>
        <p:spPr>
          <a:xfrm>
            <a:off x="8743846" y="189251"/>
            <a:ext cx="2814183" cy="2850971"/>
          </a:xfrm>
        </p:spPr>
      </p:pic>
      <p:sp>
        <p:nvSpPr>
          <p:cNvPr id="4" name="pole tekstowe 3">
            <a:extLst>
              <a:ext uri="{FF2B5EF4-FFF2-40B4-BE49-F238E27FC236}">
                <a16:creationId xmlns:a16="http://schemas.microsoft.com/office/drawing/2014/main" id="{E21F250C-B68A-40C6-9D93-1A8DF0D7BD87}"/>
              </a:ext>
            </a:extLst>
          </p:cNvPr>
          <p:cNvSpPr txBox="1"/>
          <p:nvPr/>
        </p:nvSpPr>
        <p:spPr>
          <a:xfrm>
            <a:off x="361273" y="3429000"/>
            <a:ext cx="10551579" cy="2631490"/>
          </a:xfrm>
          <a:prstGeom prst="rect">
            <a:avLst/>
          </a:prstGeom>
          <a:solidFill>
            <a:schemeClr val="bg1"/>
          </a:solidFill>
          <a:ln>
            <a:noFill/>
          </a:ln>
        </p:spPr>
        <p:txBody>
          <a:bodyPr wrap="square" numCol="2" spcCol="180000" rtlCol="0">
            <a:spAutoFit/>
          </a:bodyPr>
          <a:lstStyle/>
          <a:p>
            <a:pPr>
              <a:spcAft>
                <a:spcPts val="600"/>
              </a:spcAft>
            </a:pPr>
            <a:r>
              <a:rPr lang="en-GB" sz="1100" dirty="0">
                <a:latin typeface="Helvetica" panose="020B0604020202020204" pitchFamily="34" charset="0"/>
                <a:cs typeface="Helvetica" panose="020B0604020202020204" pitchFamily="34" charset="0"/>
              </a:rPr>
              <a:t>This presentation (the "Presentation") constitutes exclusively promotional material concerning product solutions offered by KUKE S.A. (the "Company"), prepared by the Company. </a:t>
            </a:r>
          </a:p>
          <a:p>
            <a:pPr algn="just">
              <a:spcAft>
                <a:spcPts val="600"/>
              </a:spcAft>
            </a:pPr>
            <a:r>
              <a:rPr lang="en-GB" sz="1100" dirty="0">
                <a:latin typeface="Helvetica" panose="020B0604020202020204" pitchFamily="34" charset="0"/>
                <a:cs typeface="Helvetica" panose="020B0604020202020204" pitchFamily="34" charset="0"/>
              </a:rPr>
              <a:t>The Presentation does not constitute an offer of sale and is purely promotional in nature and under no circumstances constitutes an incentive or basis for making a decision to purchase a particular product solution. The information contained in the Presentation is for informational purposes only and is based on sources that the Company believes to be reliable and tried-and-tested. The information provided may be updated, supplemented, corrected or amended, and such changes may be material. The Company makes no representations or warranties, express or implied, as to the correctness, completeness or reliability of the information or opinions contained in the Presentation and shall not be liable for any decisions taken on the basis of such information or opinions. Any opinions contained in this Presentation reflect the assessment made as at the date of this Presentation and are subject to change without notice. The Company does not undertake to update or correct this Presentation or the information and data on which it is based. The risk associated with the use of information presented in this Presentation shall be borne by the user. Neither the Company nor any person acting on behalf of the Company shall in any way be liable to users or any third party for any damage that may arise, whether due to negligence or otherwise, in connection with the use of this Presentation or any information contained herein, or for damage that may otherwise arise in connection with any information contained in this Presentation. </a:t>
            </a:r>
          </a:p>
          <a:p>
            <a:pPr>
              <a:spcAft>
                <a:spcPts val="600"/>
              </a:spcAft>
            </a:pPr>
            <a:r>
              <a:rPr lang="en-GB" sz="1100" dirty="0">
                <a:latin typeface="Helvetica" panose="020B0604020202020204" pitchFamily="34" charset="0"/>
                <a:cs typeface="Helvetica" panose="020B0604020202020204" pitchFamily="34" charset="0"/>
              </a:rPr>
              <a:t>The Company owns the author’s economic rights in the Presentation, and any the copying of all or part of the Presentation, as well as making any changes thereto, shall require the consent of the Company.</a:t>
            </a:r>
          </a:p>
        </p:txBody>
      </p:sp>
      <p:sp>
        <p:nvSpPr>
          <p:cNvPr id="3" name="pole tekstowe 2">
            <a:extLst>
              <a:ext uri="{FF2B5EF4-FFF2-40B4-BE49-F238E27FC236}">
                <a16:creationId xmlns:a16="http://schemas.microsoft.com/office/drawing/2014/main" id="{32C2C1F9-4ED2-4BD4-AF35-816FFEEFD778}"/>
              </a:ext>
            </a:extLst>
          </p:cNvPr>
          <p:cNvSpPr txBox="1"/>
          <p:nvPr/>
        </p:nvSpPr>
        <p:spPr>
          <a:xfrm>
            <a:off x="2324100" y="449397"/>
            <a:ext cx="1295400" cy="461665"/>
          </a:xfrm>
          <a:prstGeom prst="rect">
            <a:avLst/>
          </a:prstGeom>
          <a:solidFill>
            <a:schemeClr val="bg1"/>
          </a:solidFill>
        </p:spPr>
        <p:txBody>
          <a:bodyPr wrap="square" rtlCol="0">
            <a:spAutoFit/>
          </a:bodyPr>
          <a:lstStyle/>
          <a:p>
            <a:r>
              <a:rPr lang="en-GB" sz="1200" dirty="0">
                <a:solidFill>
                  <a:schemeClr val="tx1">
                    <a:lumMod val="50000"/>
                    <a:lumOff val="50000"/>
                  </a:schemeClr>
                </a:solidFill>
                <a:latin typeface="Helvetica" panose="020B0604020202020204" pitchFamily="34" charset="0"/>
                <a:cs typeface="Helvetica" panose="020B0604020202020204" pitchFamily="34" charset="0"/>
              </a:rPr>
              <a:t>Finding possibilities</a:t>
            </a:r>
          </a:p>
        </p:txBody>
      </p:sp>
      <p:pic>
        <p:nvPicPr>
          <p:cNvPr id="6" name="Picture 2">
            <a:extLst>
              <a:ext uri="{FF2B5EF4-FFF2-40B4-BE49-F238E27FC236}">
                <a16:creationId xmlns:a16="http://schemas.microsoft.com/office/drawing/2014/main" id="{A9A8102F-38BE-4B20-9BBF-B267218EBFC6}"/>
              </a:ext>
            </a:extLst>
          </p:cNvPr>
          <p:cNvPicPr>
            <a:picLocks noChangeAspect="1" noChangeArrowheads="1"/>
          </p:cNvPicPr>
          <p:nvPr/>
        </p:nvPicPr>
        <p:blipFill>
          <a:blip r:embed="rId3"/>
          <a:srcRect/>
          <a:stretch/>
        </p:blipFill>
        <p:spPr bwMode="auto">
          <a:xfrm>
            <a:off x="436729" y="449397"/>
            <a:ext cx="1731494" cy="644500"/>
          </a:xfrm>
          <a:prstGeom prst="rect">
            <a:avLst/>
          </a:prstGeom>
          <a:noFill/>
        </p:spPr>
      </p:pic>
    </p:spTree>
    <p:extLst>
      <p:ext uri="{BB962C8B-B14F-4D97-AF65-F5344CB8AC3E}">
        <p14:creationId xmlns:p14="http://schemas.microsoft.com/office/powerpoint/2010/main" val="38579641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B92BB-1C86-5FA3-B308-49788E5C2840}"/>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F9F4541-6C6F-2BB0-CC22-13D74BBC403C}"/>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F20C6FD9-F44A-2CA8-F8B9-1C8FFD81EC93}"/>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462EB8AC-8328-AA96-7DDA-D6B26EC93C84}"/>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FFFE1C23-F6FF-646E-461D-729618446A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97CC087E-95CC-0D6C-E9CC-5FFE01D304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E1C84E49-52C4-B316-201B-0C4C50290ED8}"/>
              </a:ext>
            </a:extLst>
          </p:cNvPr>
          <p:cNvSpPr txBox="1"/>
          <p:nvPr/>
        </p:nvSpPr>
        <p:spPr>
          <a:xfrm>
            <a:off x="740149" y="2139819"/>
            <a:ext cx="10960238" cy="1323439"/>
          </a:xfrm>
          <a:prstGeom prst="rect">
            <a:avLst/>
          </a:prstGeom>
          <a:noFill/>
        </p:spPr>
        <p:txBody>
          <a:bodyPr wrap="square" lIns="0" rtlCol="0">
            <a:spAutoFit/>
          </a:bodyPr>
          <a:lstStyle/>
          <a:p>
            <a:r>
              <a:rPr lang="en-GB" sz="4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derated discussion: How to make M&amp;A and </a:t>
            </a:r>
            <a:r>
              <a:rPr lang="en-GB" sz="40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ostmerger</a:t>
            </a:r>
            <a:r>
              <a:rPr lang="en-GB" sz="4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integration successful</a:t>
            </a:r>
            <a:endParaRPr lang="pl-PL" sz="4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748BA093-408A-9C2B-3B94-82284D4F9551}"/>
              </a:ext>
            </a:extLst>
          </p:cNvPr>
          <p:cNvSpPr txBox="1"/>
          <p:nvPr/>
        </p:nvSpPr>
        <p:spPr>
          <a:xfrm>
            <a:off x="-1040568" y="5476264"/>
            <a:ext cx="6175700" cy="1015663"/>
          </a:xfrm>
          <a:prstGeom prst="rect">
            <a:avLst/>
          </a:prstGeom>
          <a:noFill/>
        </p:spPr>
        <p:txBody>
          <a:bodyPr wrap="square" lIns="0" numCol="1" rtlCol="0">
            <a:spAutoFit/>
          </a:bodyPr>
          <a:lstStyle/>
          <a:p>
            <a:pPr algn="ctr"/>
            <a:r>
              <a:rPr lang="pl-PL"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masz Szatkowski</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irector</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M&amp;A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scom</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B93FCDF4-854A-EA24-FB18-0490A280CEF1}"/>
              </a:ext>
            </a:extLst>
          </p:cNvPr>
          <p:cNvSpPr txBox="1"/>
          <p:nvPr/>
        </p:nvSpPr>
        <p:spPr>
          <a:xfrm>
            <a:off x="3498298" y="5482261"/>
            <a:ext cx="5195403" cy="1015663"/>
          </a:xfrm>
          <a:prstGeom prst="rect">
            <a:avLst/>
          </a:prstGeom>
          <a:noFill/>
        </p:spPr>
        <p:txBody>
          <a:bodyPr wrap="square" lIns="0" numCol="1" rtlCol="0">
            <a:spAutoFit/>
          </a:bodyPr>
          <a:lstStyle/>
          <a:p>
            <a:pPr algn="ctr"/>
            <a:r>
              <a:rPr lang="pl-PL"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rtłomiej </a:t>
            </a:r>
            <a:r>
              <a:rPr lang="pl-PL" sz="20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Zgryzek</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Vice </a:t>
            </a:r>
            <a:r>
              <a:rPr lang="pl-PL"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resident</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Tele-Fonika Kable</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 name="Picture 6">
            <a:extLst>
              <a:ext uri="{FF2B5EF4-FFF2-40B4-BE49-F238E27FC236}">
                <a16:creationId xmlns:a16="http://schemas.microsoft.com/office/drawing/2014/main" id="{0F44594C-376A-3C7F-E98A-1D9565FB68D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50944" y="3860840"/>
            <a:ext cx="1516622" cy="1516622"/>
          </a:xfrm>
          <a:prstGeom prst="ellipse">
            <a:avLst/>
          </a:prstGeom>
        </p:spPr>
      </p:pic>
      <p:pic>
        <p:nvPicPr>
          <p:cNvPr id="10" name="Picture 9">
            <a:extLst>
              <a:ext uri="{FF2B5EF4-FFF2-40B4-BE49-F238E27FC236}">
                <a16:creationId xmlns:a16="http://schemas.microsoft.com/office/drawing/2014/main" id="{1B1EFAA1-1FD6-406F-D81A-5538C75BBB0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135132" y="3849492"/>
            <a:ext cx="1516622" cy="1516622"/>
          </a:xfrm>
          <a:prstGeom prst="ellipse">
            <a:avLst/>
          </a:prstGeom>
        </p:spPr>
      </p:pic>
      <p:sp>
        <p:nvSpPr>
          <p:cNvPr id="11" name="TextBox 10">
            <a:extLst>
              <a:ext uri="{FF2B5EF4-FFF2-40B4-BE49-F238E27FC236}">
                <a16:creationId xmlns:a16="http://schemas.microsoft.com/office/drawing/2014/main" id="{158A4A07-B166-19A1-0825-36DD0FA038C1}"/>
              </a:ext>
            </a:extLst>
          </p:cNvPr>
          <p:cNvSpPr txBox="1"/>
          <p:nvPr/>
        </p:nvSpPr>
        <p:spPr>
          <a:xfrm>
            <a:off x="7180065" y="5514539"/>
            <a:ext cx="6175700" cy="1015663"/>
          </a:xfrm>
          <a:prstGeom prst="rect">
            <a:avLst/>
          </a:prstGeom>
          <a:noFill/>
        </p:spPr>
        <p:txBody>
          <a:bodyPr wrap="square" lIns="0" numCol="1" rtlCol="0">
            <a:spAutoFit/>
          </a:bodyPr>
          <a:lstStyle/>
          <a:p>
            <a:pPr algn="ctr"/>
            <a:r>
              <a:rPr lang="pl-PL"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łażej Zagórski</a:t>
            </a: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 </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pl-PL"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Poland</a:t>
            </a:r>
            <a:endParaRPr lang="en-GB"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1B66C765-7A56-4E5D-2BC7-EB5E18FDA31F}"/>
              </a:ext>
            </a:extLst>
          </p:cNvPr>
          <p:cNvPicPr>
            <a:picLocks noChangeAspect="1"/>
          </p:cNvPicPr>
          <p:nvPr/>
        </p:nvPicPr>
        <p:blipFill rotWithShape="1">
          <a:blip r:embed="rId8">
            <a:extLst>
              <a:ext uri="{28A0092B-C50C-407E-A947-70E740481C1C}">
                <a14:useLocalDpi xmlns:a14="http://schemas.microsoft.com/office/drawing/2010/main" val="0"/>
              </a:ext>
            </a:extLst>
          </a:blip>
          <a:srcRect l="-570" t="5695" r="570" b="27759"/>
          <a:stretch/>
        </p:blipFill>
        <p:spPr>
          <a:xfrm>
            <a:off x="9391556" y="3849492"/>
            <a:ext cx="1516622" cy="1516622"/>
          </a:xfrm>
          <a:prstGeom prst="ellipse">
            <a:avLst/>
          </a:prstGeom>
        </p:spPr>
      </p:pic>
    </p:spTree>
    <p:extLst>
      <p:ext uri="{BB962C8B-B14F-4D97-AF65-F5344CB8AC3E}">
        <p14:creationId xmlns:p14="http://schemas.microsoft.com/office/powerpoint/2010/main" val="73447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7</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6023" y="1814091"/>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Inbound by Select Sectors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5)</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7" name="TextBox 6">
            <a:extLst>
              <a:ext uri="{FF2B5EF4-FFF2-40B4-BE49-F238E27FC236}">
                <a16:creationId xmlns:a16="http://schemas.microsoft.com/office/drawing/2014/main" id="{3A3F920E-8486-D1C2-1E1B-A2CBBF53E06C}"/>
              </a:ext>
            </a:extLst>
          </p:cNvPr>
          <p:cNvSpPr txBox="1"/>
          <p:nvPr/>
        </p:nvSpPr>
        <p:spPr>
          <a:xfrm>
            <a:off x="964666" y="6432798"/>
            <a:ext cx="6096000" cy="215444"/>
          </a:xfrm>
          <a:prstGeom prst="rect">
            <a:avLst/>
          </a:prstGeom>
          <a:noFill/>
        </p:spPr>
        <p:txBody>
          <a:bodyPr wrap="square">
            <a:spAutoFit/>
          </a:bodyPr>
          <a:lstStyle/>
          <a:p>
            <a:r>
              <a:rPr lang="en-GB" sz="800" i="1" dirty="0">
                <a:latin typeface="Lato" panose="020F0502020204030203" pitchFamily="34" charset="0"/>
                <a:ea typeface="Lato" panose="020F0502020204030203" pitchFamily="34" charset="0"/>
                <a:cs typeface="Lato" panose="020F0502020204030203" pitchFamily="34" charset="0"/>
              </a:rPr>
              <a:t>(5)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p:txBody>
      </p:sp>
      <p:pic>
        <p:nvPicPr>
          <p:cNvPr id="21" name="Picture 20">
            <a:extLst>
              <a:ext uri="{FF2B5EF4-FFF2-40B4-BE49-F238E27FC236}">
                <a16:creationId xmlns:a16="http://schemas.microsoft.com/office/drawing/2014/main" id="{A319EBDE-7824-99E8-DA31-F816E7E79B39}"/>
              </a:ext>
            </a:extLst>
          </p:cNvPr>
          <p:cNvPicPr>
            <a:picLocks noChangeAspect="1"/>
          </p:cNvPicPr>
          <p:nvPr/>
        </p:nvPicPr>
        <p:blipFill>
          <a:blip r:embed="rId4"/>
          <a:stretch>
            <a:fillRect/>
          </a:stretch>
        </p:blipFill>
        <p:spPr>
          <a:xfrm>
            <a:off x="7999605" y="2512148"/>
            <a:ext cx="2999492" cy="3761558"/>
          </a:xfrm>
          <a:prstGeom prst="rect">
            <a:avLst/>
          </a:prstGeom>
        </p:spPr>
      </p:pic>
      <p:graphicFrame>
        <p:nvGraphicFramePr>
          <p:cNvPr id="22" name="Table 21">
            <a:extLst>
              <a:ext uri="{FF2B5EF4-FFF2-40B4-BE49-F238E27FC236}">
                <a16:creationId xmlns:a16="http://schemas.microsoft.com/office/drawing/2014/main" id="{2AFA7C72-33BC-DD9A-0C2D-63D685090B22}"/>
              </a:ext>
            </a:extLst>
          </p:cNvPr>
          <p:cNvGraphicFramePr>
            <a:graphicFrameLocks noGrp="1"/>
          </p:cNvGraphicFramePr>
          <p:nvPr>
            <p:extLst>
              <p:ext uri="{D42A27DB-BD31-4B8C-83A1-F6EECF244321}">
                <p14:modId xmlns:p14="http://schemas.microsoft.com/office/powerpoint/2010/main" val="2095454852"/>
              </p:ext>
            </p:extLst>
          </p:nvPr>
        </p:nvGraphicFramePr>
        <p:xfrm>
          <a:off x="906023" y="2357822"/>
          <a:ext cx="6220918" cy="2066621"/>
        </p:xfrm>
        <a:graphic>
          <a:graphicData uri="http://schemas.openxmlformats.org/drawingml/2006/table">
            <a:tbl>
              <a:tblPr firstRow="1" firstCol="1" bandRow="1">
                <a:tableStyleId>{5C22544A-7EE6-4342-B048-85BDC9FD1C3A}</a:tableStyleId>
              </a:tblPr>
              <a:tblGrid>
                <a:gridCol w="495748">
                  <a:extLst>
                    <a:ext uri="{9D8B030D-6E8A-4147-A177-3AD203B41FA5}">
                      <a16:colId xmlns:a16="http://schemas.microsoft.com/office/drawing/2014/main" val="1342073692"/>
                    </a:ext>
                  </a:extLst>
                </a:gridCol>
                <a:gridCol w="2659241">
                  <a:extLst>
                    <a:ext uri="{9D8B030D-6E8A-4147-A177-3AD203B41FA5}">
                      <a16:colId xmlns:a16="http://schemas.microsoft.com/office/drawing/2014/main" val="395788120"/>
                    </a:ext>
                  </a:extLst>
                </a:gridCol>
                <a:gridCol w="1586753">
                  <a:extLst>
                    <a:ext uri="{9D8B030D-6E8A-4147-A177-3AD203B41FA5}">
                      <a16:colId xmlns:a16="http://schemas.microsoft.com/office/drawing/2014/main" val="2101022093"/>
                    </a:ext>
                  </a:extLst>
                </a:gridCol>
                <a:gridCol w="1479176">
                  <a:extLst>
                    <a:ext uri="{9D8B030D-6E8A-4147-A177-3AD203B41FA5}">
                      <a16:colId xmlns:a16="http://schemas.microsoft.com/office/drawing/2014/main" val="2854443936"/>
                    </a:ext>
                  </a:extLst>
                </a:gridCol>
              </a:tblGrid>
              <a:tr h="231468">
                <a:tc>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Target</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Acquirer</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b="1" kern="1200" dirty="0">
                          <a:solidFill>
                            <a:schemeClr val="lt1"/>
                          </a:solidFill>
                          <a:effectLst/>
                          <a:latin typeface="Lato" panose="020F0502020204030203" pitchFamily="34" charset="0"/>
                          <a:ea typeface="Lato" panose="020F0502020204030203" pitchFamily="34" charset="0"/>
                          <a:cs typeface="Lato" panose="020F0502020204030203" pitchFamily="34" charset="0"/>
                        </a:rPr>
                        <a:t>Deal Value (GBP) </a:t>
                      </a:r>
                    </a:p>
                  </a:txBody>
                  <a:tcPr marL="68580" marR="68580" marT="0" marB="0">
                    <a:solidFill>
                      <a:srgbClr val="4472C4"/>
                    </a:solidFill>
                  </a:tcPr>
                </a:tc>
                <a:extLst>
                  <a:ext uri="{0D108BD9-81ED-4DB2-BD59-A6C34878D82A}">
                    <a16:rowId xmlns:a16="http://schemas.microsoft.com/office/drawing/2014/main" val="1480854972"/>
                  </a:ext>
                </a:extLst>
              </a:tr>
              <a:tr h="280899">
                <a:tc rowSpan="5">
                  <a:txBody>
                    <a:bodyPr/>
                    <a:lstStyle/>
                    <a:p>
                      <a:pPr algn="ctr">
                        <a:lnSpc>
                          <a:spcPts val="1500"/>
                        </a:lnSpc>
                      </a:pPr>
                      <a:r>
                        <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rPr>
                        <a:t>Tech</a:t>
                      </a:r>
                    </a:p>
                  </a:txBody>
                  <a:tcPr marL="68580" marR="68580" marT="0" marB="0" vert="vert270" anchor="ctr">
                    <a:solidFill>
                      <a:srgbClr val="4472C4"/>
                    </a:solidFill>
                  </a:tcPr>
                </a:tc>
                <a:tc>
                  <a:txBody>
                    <a:bodyPr/>
                    <a:lstStyle/>
                    <a:p>
                      <a:pPr>
                        <a:lnSpc>
                          <a:spcPts val="1500"/>
                        </a:lnSpc>
                        <a:spcAft>
                          <a:spcPts val="400"/>
                        </a:spcAft>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Dechr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Pharmaceuticals</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EQT AB</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9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574174360"/>
                  </a:ext>
                </a:extLst>
              </a:tr>
              <a:tr h="255276">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Abcam plc</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Danaher Cor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5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1353145863"/>
                  </a:ext>
                </a:extLst>
              </a:tr>
              <a:tr h="492874">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GSK plc (exclusive license for HS-20093)</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Hansouh</a:t>
                      </a:r>
                      <a:r>
                        <a:rPr lang="en-GB" sz="1100" dirty="0">
                          <a:effectLst/>
                          <a:latin typeface="Lato" panose="020F0502020204030203" pitchFamily="34" charset="0"/>
                          <a:ea typeface="Lato" panose="020F0502020204030203" pitchFamily="34" charset="0"/>
                          <a:cs typeface="Lato" panose="020F0502020204030203" pitchFamily="34" charset="0"/>
                        </a:rPr>
                        <a:t> Pharmaceutical Grou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331265091"/>
                  </a:ext>
                </a:extLst>
              </a:tr>
              <a:tr h="440280">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GKK plc (development and commercialisation of HS 200-89)</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Hansouh</a:t>
                      </a:r>
                      <a:r>
                        <a:rPr lang="en-GB" sz="1100" dirty="0">
                          <a:effectLst/>
                          <a:latin typeface="Lato" panose="020F0502020204030203" pitchFamily="34" charset="0"/>
                          <a:ea typeface="Lato" panose="020F0502020204030203" pitchFamily="34" charset="0"/>
                          <a:cs typeface="Lato" panose="020F0502020204030203" pitchFamily="34" charset="0"/>
                        </a:rPr>
                        <a:t> Pharmaceutical Grou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3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2504821523"/>
                  </a:ext>
                </a:extLst>
              </a:tr>
              <a:tr h="168261">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spcAft>
                          <a:spcPts val="600"/>
                        </a:spcAft>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Multipharm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International (consumer healthcare brands)</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iNova</a:t>
                      </a:r>
                      <a:r>
                        <a:rPr lang="en-GB" sz="1100" dirty="0">
                          <a:effectLst/>
                          <a:latin typeface="Lato" panose="020F0502020204030203" pitchFamily="34" charset="0"/>
                          <a:ea typeface="Lato" panose="020F0502020204030203" pitchFamily="34" charset="0"/>
                          <a:cs typeface="Lato" panose="020F0502020204030203" pitchFamily="34" charset="0"/>
                        </a:rPr>
                        <a:t> Pharmaceuticals</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424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324555933"/>
                  </a:ext>
                </a:extLst>
              </a:tr>
            </a:tbl>
          </a:graphicData>
        </a:graphic>
      </p:graphicFrame>
      <p:graphicFrame>
        <p:nvGraphicFramePr>
          <p:cNvPr id="25" name="Table 24">
            <a:extLst>
              <a:ext uri="{FF2B5EF4-FFF2-40B4-BE49-F238E27FC236}">
                <a16:creationId xmlns:a16="http://schemas.microsoft.com/office/drawing/2014/main" id="{D36122CD-0202-497F-DD72-98D949B1E913}"/>
              </a:ext>
            </a:extLst>
          </p:cNvPr>
          <p:cNvGraphicFramePr>
            <a:graphicFrameLocks noGrp="1"/>
          </p:cNvGraphicFramePr>
          <p:nvPr>
            <p:extLst>
              <p:ext uri="{D42A27DB-BD31-4B8C-83A1-F6EECF244321}">
                <p14:modId xmlns:p14="http://schemas.microsoft.com/office/powerpoint/2010/main" val="2964232759"/>
              </p:ext>
            </p:extLst>
          </p:nvPr>
        </p:nvGraphicFramePr>
        <p:xfrm>
          <a:off x="906023" y="4594723"/>
          <a:ext cx="6220918" cy="1838075"/>
        </p:xfrm>
        <a:graphic>
          <a:graphicData uri="http://schemas.openxmlformats.org/drawingml/2006/table">
            <a:tbl>
              <a:tblPr firstRow="1" firstCol="1" bandRow="1">
                <a:tableStyleId>{5C22544A-7EE6-4342-B048-85BDC9FD1C3A}</a:tableStyleId>
              </a:tblPr>
              <a:tblGrid>
                <a:gridCol w="502024">
                  <a:extLst>
                    <a:ext uri="{9D8B030D-6E8A-4147-A177-3AD203B41FA5}">
                      <a16:colId xmlns:a16="http://schemas.microsoft.com/office/drawing/2014/main" val="3537949178"/>
                    </a:ext>
                  </a:extLst>
                </a:gridCol>
                <a:gridCol w="2669550">
                  <a:extLst>
                    <a:ext uri="{9D8B030D-6E8A-4147-A177-3AD203B41FA5}">
                      <a16:colId xmlns:a16="http://schemas.microsoft.com/office/drawing/2014/main" val="3530351870"/>
                    </a:ext>
                  </a:extLst>
                </a:gridCol>
                <a:gridCol w="1588097">
                  <a:extLst>
                    <a:ext uri="{9D8B030D-6E8A-4147-A177-3AD203B41FA5}">
                      <a16:colId xmlns:a16="http://schemas.microsoft.com/office/drawing/2014/main" val="879025140"/>
                    </a:ext>
                  </a:extLst>
                </a:gridCol>
                <a:gridCol w="1461247">
                  <a:extLst>
                    <a:ext uri="{9D8B030D-6E8A-4147-A177-3AD203B41FA5}">
                      <a16:colId xmlns:a16="http://schemas.microsoft.com/office/drawing/2014/main" val="3602658432"/>
                    </a:ext>
                  </a:extLst>
                </a:gridCol>
              </a:tblGrid>
              <a:tr h="226565">
                <a:tc>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Target</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Acquirer</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Deal Value (GBP) </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extLst>
                  <a:ext uri="{0D108BD9-81ED-4DB2-BD59-A6C34878D82A}">
                    <a16:rowId xmlns:a16="http://schemas.microsoft.com/office/drawing/2014/main" val="3373836279"/>
                  </a:ext>
                </a:extLst>
              </a:tr>
              <a:tr h="293616">
                <a:tc rowSpan="5">
                  <a:txBody>
                    <a:bodyPr/>
                    <a:lstStyle/>
                    <a:p>
                      <a:pPr algn="ctr">
                        <a:lnSpc>
                          <a:spcPts val="1500"/>
                        </a:lnSpc>
                      </a:pPr>
                      <a:r>
                        <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rPr>
                        <a:t>Life Sciences</a:t>
                      </a:r>
                    </a:p>
                  </a:txBody>
                  <a:tcPr marL="68580" marR="68580" marT="0" marB="0" vert="vert270" anchor="ctr">
                    <a:solidFill>
                      <a:srgbClr val="4472C4"/>
                    </a:solidFill>
                  </a:tcPr>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ARM (10%)</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Softbank Grou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5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95236920"/>
                  </a:ext>
                </a:extLst>
              </a:tr>
              <a:tr h="316872">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Civic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Holdings</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Blackstone</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6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013903693"/>
                  </a:ext>
                </a:extLst>
              </a:tr>
              <a:tr h="307817">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Reward Gateway</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Edenred</a:t>
                      </a:r>
                      <a:r>
                        <a:rPr lang="en-GB" sz="1100" dirty="0">
                          <a:effectLst/>
                          <a:latin typeface="Lato" panose="020F0502020204030203" pitchFamily="34" charset="0"/>
                          <a:ea typeface="Lato" panose="020F0502020204030203" pitchFamily="34" charset="0"/>
                          <a:cs typeface="Lato" panose="020F0502020204030203" pitchFamily="34" charset="0"/>
                        </a:rPr>
                        <a:t> SE</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2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196890335"/>
                  </a:ext>
                </a:extLst>
              </a:tr>
              <a:tr h="307818">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InstaDeep</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Ltd</a:t>
                      </a:r>
                    </a:p>
                  </a:txBody>
                  <a:tcPr marL="68580" marR="68580" marT="0" marB="0">
                    <a:solidFill>
                      <a:srgbClr val="4472C4"/>
                    </a:solidFill>
                  </a:tcPr>
                </a:tc>
                <a:tc>
                  <a:txBody>
                    <a:bodyPr/>
                    <a:lstStyle/>
                    <a:p>
                      <a:pPr>
                        <a:lnSpc>
                          <a:spcPts val="1500"/>
                        </a:lnSpc>
                      </a:pPr>
                      <a:r>
                        <a:rPr lang="en-GB" sz="1100" dirty="0" err="1">
                          <a:effectLst/>
                          <a:latin typeface="Lato" panose="020F0502020204030203" pitchFamily="34" charset="0"/>
                          <a:ea typeface="Lato" panose="020F0502020204030203" pitchFamily="34" charset="0"/>
                          <a:cs typeface="Lato" panose="020F0502020204030203" pitchFamily="34" charset="0"/>
                        </a:rPr>
                        <a:t>BionTech</a:t>
                      </a:r>
                      <a:r>
                        <a:rPr lang="en-GB" sz="1100" dirty="0">
                          <a:effectLst/>
                          <a:latin typeface="Lato" panose="020F0502020204030203" pitchFamily="34" charset="0"/>
                          <a:ea typeface="Lato" panose="020F0502020204030203" pitchFamily="34" charset="0"/>
                          <a:cs typeface="Lato" panose="020F0502020204030203" pitchFamily="34" charset="0"/>
                        </a:rPr>
                        <a:t> SE</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562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3004353113"/>
                  </a:ext>
                </a:extLst>
              </a:tr>
              <a:tr h="385387">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Mobica</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Ltd</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Cognizant Technology Solutions</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50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730492761"/>
                  </a:ext>
                </a:extLst>
              </a:tr>
            </a:tbl>
          </a:graphicData>
        </a:graphic>
      </p:graphicFrame>
    </p:spTree>
    <p:extLst>
      <p:ext uri="{BB962C8B-B14F-4D97-AF65-F5344CB8AC3E}">
        <p14:creationId xmlns:p14="http://schemas.microsoft.com/office/powerpoint/2010/main" val="24745625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9E595-DF09-2435-A346-6399FC40527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307B693-93CD-4037-4BB1-1540DF676F1A}"/>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1F2B28C4-87FB-723E-A91E-14FFC8985A9D}"/>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AF956E53-86A4-820D-A891-84A29F641150}"/>
              </a:ext>
            </a:extLst>
          </p:cNvPr>
          <p:cNvSpPr/>
          <p:nvPr/>
        </p:nvSpPr>
        <p:spPr>
          <a:xfrm>
            <a:off x="0" y="-3"/>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FB39D4B9-E23B-040A-D765-DEA53E9E1D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13BB2463-7307-B558-35DD-69B3F99F9B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6774CF95-761D-1C69-D8EB-07C81B169B72}"/>
              </a:ext>
            </a:extLst>
          </p:cNvPr>
          <p:cNvSpPr txBox="1"/>
          <p:nvPr/>
        </p:nvSpPr>
        <p:spPr>
          <a:xfrm>
            <a:off x="740149" y="1977769"/>
            <a:ext cx="10960238" cy="584775"/>
          </a:xfrm>
          <a:prstGeom prst="rect">
            <a:avLst/>
          </a:prstGeom>
          <a:noFill/>
        </p:spPr>
        <p:txBody>
          <a:bodyPr wrap="square" lIns="0" rtlCol="0">
            <a:spAutoFit/>
          </a:bodyPr>
          <a:lstStyle/>
          <a:p>
            <a:r>
              <a:rPr lang="en-GB" sz="3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anel discussion: M&amp;A in the UK</a:t>
            </a:r>
            <a:endParaRPr lang="pl-PL" sz="3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72DF32A6-EF73-E824-B3C1-4C98B4F4BE31}"/>
              </a:ext>
            </a:extLst>
          </p:cNvPr>
          <p:cNvSpPr txBox="1"/>
          <p:nvPr/>
        </p:nvSpPr>
        <p:spPr>
          <a:xfrm>
            <a:off x="-1040568" y="3890516"/>
            <a:ext cx="6175700" cy="738664"/>
          </a:xfrm>
          <a:prstGeom prst="rect">
            <a:avLst/>
          </a:prstGeom>
          <a:noFill/>
        </p:spPr>
        <p:txBody>
          <a:bodyPr wrap="square" lIns="0" numCol="1" rtlCol="0">
            <a:spAutoFit/>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rcin Bagiński,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orporate Development Director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InPost Group</a:t>
            </a:r>
          </a:p>
        </p:txBody>
      </p:sp>
      <p:sp>
        <p:nvSpPr>
          <p:cNvPr id="8" name="TextBox 7">
            <a:extLst>
              <a:ext uri="{FF2B5EF4-FFF2-40B4-BE49-F238E27FC236}">
                <a16:creationId xmlns:a16="http://schemas.microsoft.com/office/drawing/2014/main" id="{0CEFE83D-73A1-4BBE-F525-597E0BC46050}"/>
              </a:ext>
            </a:extLst>
          </p:cNvPr>
          <p:cNvSpPr txBox="1"/>
          <p:nvPr/>
        </p:nvSpPr>
        <p:spPr>
          <a:xfrm>
            <a:off x="3498298" y="3896513"/>
            <a:ext cx="5195403" cy="738664"/>
          </a:xfrm>
          <a:prstGeom prst="rect">
            <a:avLst/>
          </a:prstGeom>
          <a:noFill/>
        </p:spPr>
        <p:txBody>
          <a:bodyPr wrap="square" lIns="0" numCol="1" rtlCol="0">
            <a:spAutoFit/>
          </a:bodyPr>
          <a:lstStyle/>
          <a:p>
            <a:pPr algn="ctr"/>
            <a:r>
              <a:rPr lang="pl-PL"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masz Szataniak, </a:t>
            </a:r>
            <a:b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Executive Manager to CEO </a:t>
            </a:r>
            <a:b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Wielton S.A.</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 name="Picture 6">
            <a:extLst>
              <a:ext uri="{FF2B5EF4-FFF2-40B4-BE49-F238E27FC236}">
                <a16:creationId xmlns:a16="http://schemas.microsoft.com/office/drawing/2014/main" id="{278DE93C-56F5-5E4F-7B49-C5DF6C2E6C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251971" y="2519321"/>
            <a:ext cx="1368119" cy="1368119"/>
          </a:xfrm>
          <a:prstGeom prst="ellipse">
            <a:avLst/>
          </a:prstGeom>
        </p:spPr>
      </p:pic>
      <p:pic>
        <p:nvPicPr>
          <p:cNvPr id="10" name="Picture 9">
            <a:extLst>
              <a:ext uri="{FF2B5EF4-FFF2-40B4-BE49-F238E27FC236}">
                <a16:creationId xmlns:a16="http://schemas.microsoft.com/office/drawing/2014/main" id="{45B554D9-EDC9-937F-8EBD-BEDF0E0DE80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332173" y="2553622"/>
            <a:ext cx="1368119" cy="1368119"/>
          </a:xfrm>
          <a:prstGeom prst="ellipse">
            <a:avLst/>
          </a:prstGeom>
        </p:spPr>
      </p:pic>
      <p:sp>
        <p:nvSpPr>
          <p:cNvPr id="11" name="TextBox 10">
            <a:extLst>
              <a:ext uri="{FF2B5EF4-FFF2-40B4-BE49-F238E27FC236}">
                <a16:creationId xmlns:a16="http://schemas.microsoft.com/office/drawing/2014/main" id="{18E8EF47-15DB-857C-2A2A-9ED417C63E9A}"/>
              </a:ext>
            </a:extLst>
          </p:cNvPr>
          <p:cNvSpPr txBox="1"/>
          <p:nvPr/>
        </p:nvSpPr>
        <p:spPr>
          <a:xfrm>
            <a:off x="7180065" y="3928791"/>
            <a:ext cx="6175700" cy="738664"/>
          </a:xfrm>
          <a:prstGeom prst="rect">
            <a:avLst/>
          </a:prstGeom>
          <a:noFill/>
        </p:spPr>
        <p:txBody>
          <a:bodyPr wrap="square" lIns="0" numCol="1" rtlCol="0">
            <a:spAutoFit/>
          </a:bodyPr>
          <a:lstStyle/>
          <a:p>
            <a:pPr algn="ctr"/>
            <a:r>
              <a:rPr lang="pl-PL"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rtłomiej Zgryzek, </a:t>
            </a:r>
            <a:endPar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Vice </a:t>
            </a:r>
            <a:r>
              <a:rPr lang="pl-PL" sz="14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resident</a:t>
            </a: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pl-PL"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Tele-Fonika Kable</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11B9487A-6836-7401-0FE4-732FD730F77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448261" y="2553622"/>
            <a:ext cx="1368119" cy="1368119"/>
          </a:xfrm>
          <a:prstGeom prst="ellipse">
            <a:avLst/>
          </a:prstGeom>
        </p:spPr>
      </p:pic>
      <p:sp>
        <p:nvSpPr>
          <p:cNvPr id="3" name="TextBox 2">
            <a:extLst>
              <a:ext uri="{FF2B5EF4-FFF2-40B4-BE49-F238E27FC236}">
                <a16:creationId xmlns:a16="http://schemas.microsoft.com/office/drawing/2014/main" id="{F0EAFF05-E21B-FD63-A07F-ED8F0FB3DF9A}"/>
              </a:ext>
            </a:extLst>
          </p:cNvPr>
          <p:cNvSpPr txBox="1"/>
          <p:nvPr/>
        </p:nvSpPr>
        <p:spPr>
          <a:xfrm>
            <a:off x="-1133166" y="6114220"/>
            <a:ext cx="6175700" cy="738664"/>
          </a:xfrm>
          <a:prstGeom prst="rect">
            <a:avLst/>
          </a:prstGeom>
          <a:noFill/>
        </p:spPr>
        <p:txBody>
          <a:bodyPr wrap="square" lIns="0" numCol="1" rtlCol="0">
            <a:spAutoFit/>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an Carmon,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Managing Director </a:t>
            </a:r>
          </a:p>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helsea Corporate</a:t>
            </a:r>
          </a:p>
        </p:txBody>
      </p:sp>
      <p:sp>
        <p:nvSpPr>
          <p:cNvPr id="4" name="TextBox 3">
            <a:extLst>
              <a:ext uri="{FF2B5EF4-FFF2-40B4-BE49-F238E27FC236}">
                <a16:creationId xmlns:a16="http://schemas.microsoft.com/office/drawing/2014/main" id="{633BDED9-2B01-ED52-18DB-D2243B6ADB67}"/>
              </a:ext>
            </a:extLst>
          </p:cNvPr>
          <p:cNvSpPr txBox="1"/>
          <p:nvPr/>
        </p:nvSpPr>
        <p:spPr>
          <a:xfrm>
            <a:off x="3463575" y="6120217"/>
            <a:ext cx="5195403" cy="738664"/>
          </a:xfrm>
          <a:prstGeom prst="rect">
            <a:avLst/>
          </a:prstGeom>
          <a:noFill/>
        </p:spPr>
        <p:txBody>
          <a:bodyPr wrap="square" lIns="0" numCol="1" rtlCol="0">
            <a:spAutoFit/>
          </a:bodyPr>
          <a:lstStyle/>
          <a:p>
            <a:pPr algn="ctr"/>
            <a:r>
              <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va Talmacsi </a:t>
            </a:r>
            <a:br>
              <a:rPr lang="it-IT"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ner </a:t>
            </a:r>
            <a:br>
              <a:rPr lang="it-IT"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it-IT"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CMS UK</a:t>
            </a:r>
            <a:endPar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a:extLst>
              <a:ext uri="{FF2B5EF4-FFF2-40B4-BE49-F238E27FC236}">
                <a16:creationId xmlns:a16="http://schemas.microsoft.com/office/drawing/2014/main" id="{BE62B523-72E1-A00C-8BEB-DC8C53A3CE4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239644" y="4778994"/>
            <a:ext cx="1368119" cy="1368119"/>
          </a:xfrm>
          <a:prstGeom prst="ellipse">
            <a:avLst/>
          </a:prstGeom>
        </p:spPr>
      </p:pic>
      <p:pic>
        <p:nvPicPr>
          <p:cNvPr id="17" name="Picture 16">
            <a:extLst>
              <a:ext uri="{FF2B5EF4-FFF2-40B4-BE49-F238E27FC236}">
                <a16:creationId xmlns:a16="http://schemas.microsoft.com/office/drawing/2014/main" id="{4E25C401-3F3E-6905-CD1B-469210C3CE7C}"/>
              </a:ext>
            </a:extLst>
          </p:cNvPr>
          <p:cNvPicPr>
            <a:picLocks noChangeAspect="1"/>
          </p:cNvPicPr>
          <p:nvPr/>
        </p:nvPicPr>
        <p:blipFill rotWithShape="1">
          <a:blip r:embed="rId10">
            <a:extLst>
              <a:ext uri="{28A0092B-C50C-407E-A947-70E740481C1C}">
                <a14:useLocalDpi xmlns:a14="http://schemas.microsoft.com/office/drawing/2010/main" val="0"/>
              </a:ext>
            </a:extLst>
          </a:blip>
          <a:srcRect l="11544" t="3016" r="11544" b="45646"/>
          <a:stretch/>
        </p:blipFill>
        <p:spPr>
          <a:xfrm>
            <a:off x="5332173" y="4778994"/>
            <a:ext cx="1368119" cy="1368119"/>
          </a:xfrm>
          <a:prstGeom prst="ellipse">
            <a:avLst/>
          </a:prstGeom>
        </p:spPr>
      </p:pic>
      <p:sp>
        <p:nvSpPr>
          <p:cNvPr id="18" name="TextBox 17">
            <a:extLst>
              <a:ext uri="{FF2B5EF4-FFF2-40B4-BE49-F238E27FC236}">
                <a16:creationId xmlns:a16="http://schemas.microsoft.com/office/drawing/2014/main" id="{4EDB01D1-43DD-903C-862E-CC0ED57339DF}"/>
              </a:ext>
            </a:extLst>
          </p:cNvPr>
          <p:cNvSpPr txBox="1"/>
          <p:nvPr/>
        </p:nvSpPr>
        <p:spPr>
          <a:xfrm>
            <a:off x="7087467" y="6152495"/>
            <a:ext cx="6175700" cy="738664"/>
          </a:xfrm>
          <a:prstGeom prst="rect">
            <a:avLst/>
          </a:prstGeom>
          <a:noFill/>
        </p:spPr>
        <p:txBody>
          <a:bodyPr wrap="square" lIns="0" numCol="1" rtlCol="0">
            <a:spAutoFit/>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rtosz Koziński, </a:t>
            </a:r>
            <a:b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FDI Director Poland </a:t>
            </a:r>
            <a:b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British Embassy Warsaw</a:t>
            </a:r>
          </a:p>
        </p:txBody>
      </p:sp>
      <p:pic>
        <p:nvPicPr>
          <p:cNvPr id="19" name="Picture 18">
            <a:extLst>
              <a:ext uri="{FF2B5EF4-FFF2-40B4-BE49-F238E27FC236}">
                <a16:creationId xmlns:a16="http://schemas.microsoft.com/office/drawing/2014/main" id="{2ECA15F0-0E2E-E764-FA29-CB0ED8CEB14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393278" y="4778994"/>
            <a:ext cx="1368119" cy="1368119"/>
          </a:xfrm>
          <a:prstGeom prst="ellipse">
            <a:avLst/>
          </a:prstGeom>
        </p:spPr>
      </p:pic>
    </p:spTree>
    <p:extLst>
      <p:ext uri="{BB962C8B-B14F-4D97-AF65-F5344CB8AC3E}">
        <p14:creationId xmlns:p14="http://schemas.microsoft.com/office/powerpoint/2010/main" val="19025544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85969C-634E-6690-5EE1-CC89747331A6}"/>
              </a:ext>
            </a:extLst>
          </p:cNvPr>
          <p:cNvSpPr/>
          <p:nvPr/>
        </p:nvSpPr>
        <p:spPr>
          <a:xfrm>
            <a:off x="0" y="0"/>
            <a:ext cx="12192000" cy="6858000"/>
          </a:xfrm>
          <a:prstGeom prst="rect">
            <a:avLst/>
          </a:prstGeom>
          <a:solidFill>
            <a:schemeClr val="tx1">
              <a:alpha val="2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Picture 4">
            <a:extLst>
              <a:ext uri="{FF2B5EF4-FFF2-40B4-BE49-F238E27FC236}">
                <a16:creationId xmlns:a16="http://schemas.microsoft.com/office/drawing/2014/main" id="{C3E663DC-35CF-78C4-2056-E6C9D02BACBB}"/>
              </a:ext>
            </a:extLst>
          </p:cNvPr>
          <p:cNvPicPr>
            <a:picLocks noChangeAspect="1"/>
          </p:cNvPicPr>
          <p:nvPr/>
        </p:nvPicPr>
        <p:blipFill>
          <a:blip r:embed="rId2">
            <a:extLst>
              <a:ext uri="{28A0092B-C50C-407E-A947-70E740481C1C}">
                <a14:useLocalDpi xmlns:a14="http://schemas.microsoft.com/office/drawing/2010/main" val="0"/>
              </a:ext>
            </a:extLst>
          </a:blip>
          <a:srcRect l="21230" r="21230"/>
          <a:stretch/>
        </p:blipFill>
        <p:spPr>
          <a:xfrm>
            <a:off x="0" y="-2"/>
            <a:ext cx="12192000" cy="6858001"/>
          </a:xfrm>
          <a:prstGeom prst="rect">
            <a:avLst/>
          </a:prstGeom>
          <a:blipFill>
            <a:blip r:embed="rId3"/>
            <a:stretch>
              <a:fillRect/>
            </a:stretch>
          </a:blipFill>
          <a:ln>
            <a:noFill/>
          </a:ln>
        </p:spPr>
      </p:pic>
      <p:sp>
        <p:nvSpPr>
          <p:cNvPr id="9" name="Rectangle 8">
            <a:extLst>
              <a:ext uri="{FF2B5EF4-FFF2-40B4-BE49-F238E27FC236}">
                <a16:creationId xmlns:a16="http://schemas.microsoft.com/office/drawing/2014/main" id="{632440FF-6EC2-3B5A-A80E-F5A34B48400A}"/>
              </a:ext>
            </a:extLst>
          </p:cNvPr>
          <p:cNvSpPr/>
          <p:nvPr/>
        </p:nvSpPr>
        <p:spPr>
          <a:xfrm>
            <a:off x="0" y="11572"/>
            <a:ext cx="12192000" cy="6858000"/>
          </a:xfrm>
          <a:prstGeom prst="rect">
            <a:avLst/>
          </a:prstGeom>
          <a:solidFill>
            <a:schemeClr val="tx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12" name="Picture 11" descr="A white text on a black background&#10;&#10;Description automatically generated">
            <a:extLst>
              <a:ext uri="{FF2B5EF4-FFF2-40B4-BE49-F238E27FC236}">
                <a16:creationId xmlns:a16="http://schemas.microsoft.com/office/drawing/2014/main" id="{37C4854D-9D64-254E-B6A1-D80122CE3D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2511" y="-2"/>
            <a:ext cx="2859490" cy="1991362"/>
          </a:xfrm>
          <a:prstGeom prst="rect">
            <a:avLst/>
          </a:prstGeom>
        </p:spPr>
      </p:pic>
      <p:pic>
        <p:nvPicPr>
          <p:cNvPr id="14" name="Picture 13" descr="A logo with a unicorn and lion&#10;&#10;Description automatically generated">
            <a:extLst>
              <a:ext uri="{FF2B5EF4-FFF2-40B4-BE49-F238E27FC236}">
                <a16:creationId xmlns:a16="http://schemas.microsoft.com/office/drawing/2014/main" id="{C1A23D48-E234-F9CF-F5A4-4E0FF9D800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149" y="577591"/>
            <a:ext cx="1867614" cy="1413769"/>
          </a:xfrm>
          <a:prstGeom prst="rect">
            <a:avLst/>
          </a:prstGeom>
        </p:spPr>
      </p:pic>
      <p:sp>
        <p:nvSpPr>
          <p:cNvPr id="15" name="TextBox 14">
            <a:extLst>
              <a:ext uri="{FF2B5EF4-FFF2-40B4-BE49-F238E27FC236}">
                <a16:creationId xmlns:a16="http://schemas.microsoft.com/office/drawing/2014/main" id="{69F9968E-5EE0-DFCF-E8C0-633098D95E9C}"/>
              </a:ext>
            </a:extLst>
          </p:cNvPr>
          <p:cNvSpPr txBox="1"/>
          <p:nvPr/>
        </p:nvSpPr>
        <p:spPr>
          <a:xfrm>
            <a:off x="740149" y="2435206"/>
            <a:ext cx="10251440" cy="3600986"/>
          </a:xfrm>
          <a:prstGeom prst="rect">
            <a:avLst/>
          </a:prstGeom>
          <a:noFill/>
        </p:spPr>
        <p:txBody>
          <a:bodyPr wrap="square" lIns="0" rtlCol="0">
            <a:spAutoFit/>
          </a:bodyPr>
          <a:lstStyle/>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vesting in the UK - embrace the</a:t>
            </a:r>
          </a:p>
          <a:p>
            <a:r>
              <a:rPr lang="en-GB" sz="4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change</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M&amp;A landscape in the UK and key things to consider</a:t>
            </a:r>
          </a:p>
          <a:p>
            <a:r>
              <a:rPr lang="en-GB" sz="3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hen doing deals in the UK</a:t>
            </a:r>
          </a:p>
          <a:p>
            <a:endParaRPr lang="en-GB" sz="3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GB"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ank you!</a:t>
            </a:r>
            <a:endParaRPr lang="pl-PL" sz="4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9552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8</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6023" y="1841250"/>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Inbound by Select Sectors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5)</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7" name="TextBox 6">
            <a:extLst>
              <a:ext uri="{FF2B5EF4-FFF2-40B4-BE49-F238E27FC236}">
                <a16:creationId xmlns:a16="http://schemas.microsoft.com/office/drawing/2014/main" id="{3A3F920E-8486-D1C2-1E1B-A2CBBF53E06C}"/>
              </a:ext>
            </a:extLst>
          </p:cNvPr>
          <p:cNvSpPr txBox="1"/>
          <p:nvPr/>
        </p:nvSpPr>
        <p:spPr>
          <a:xfrm>
            <a:off x="964666" y="5994496"/>
            <a:ext cx="6096000" cy="215444"/>
          </a:xfrm>
          <a:prstGeom prst="rect">
            <a:avLst/>
          </a:prstGeom>
          <a:noFill/>
        </p:spPr>
        <p:txBody>
          <a:bodyPr wrap="square">
            <a:spAutoFit/>
          </a:bodyPr>
          <a:lstStyle/>
          <a:p>
            <a:r>
              <a:rPr lang="en-GB" sz="800" i="1" dirty="0">
                <a:latin typeface="Lato" panose="020F0502020204030203" pitchFamily="34" charset="0"/>
                <a:ea typeface="Lato" panose="020F0502020204030203" pitchFamily="34" charset="0"/>
                <a:cs typeface="Lato" panose="020F0502020204030203" pitchFamily="34" charset="0"/>
              </a:rPr>
              <a:t>(5)  Source: </a:t>
            </a:r>
            <a:r>
              <a:rPr lang="en-GB" sz="800" i="1" dirty="0" err="1">
                <a:latin typeface="Lato" panose="020F0502020204030203" pitchFamily="34" charset="0"/>
                <a:ea typeface="Lato" panose="020F0502020204030203" pitchFamily="34" charset="0"/>
                <a:cs typeface="Lato" panose="020F0502020204030203" pitchFamily="34" charset="0"/>
              </a:rPr>
              <a:t>Mergermarket</a:t>
            </a:r>
            <a:r>
              <a:rPr lang="en-GB" sz="800" i="1" dirty="0">
                <a:latin typeface="Lato" panose="020F0502020204030203" pitchFamily="34" charset="0"/>
                <a:ea typeface="Lato" panose="020F0502020204030203" pitchFamily="34" charset="0"/>
                <a:cs typeface="Lato" panose="020F0502020204030203" pitchFamily="34" charset="0"/>
              </a:rPr>
              <a:t> </a:t>
            </a:r>
          </a:p>
        </p:txBody>
      </p:sp>
      <p:graphicFrame>
        <p:nvGraphicFramePr>
          <p:cNvPr id="2" name="Table 1">
            <a:extLst>
              <a:ext uri="{FF2B5EF4-FFF2-40B4-BE49-F238E27FC236}">
                <a16:creationId xmlns:a16="http://schemas.microsoft.com/office/drawing/2014/main" id="{8F8501BE-03F5-FF95-3172-7B00E0873D1C}"/>
              </a:ext>
            </a:extLst>
          </p:cNvPr>
          <p:cNvGraphicFramePr>
            <a:graphicFrameLocks noGrp="1"/>
          </p:cNvGraphicFramePr>
          <p:nvPr>
            <p:extLst>
              <p:ext uri="{D42A27DB-BD31-4B8C-83A1-F6EECF244321}">
                <p14:modId xmlns:p14="http://schemas.microsoft.com/office/powerpoint/2010/main" val="1951496304"/>
              </p:ext>
            </p:extLst>
          </p:nvPr>
        </p:nvGraphicFramePr>
        <p:xfrm>
          <a:off x="964666" y="2511299"/>
          <a:ext cx="6197303" cy="3403196"/>
        </p:xfrm>
        <a:graphic>
          <a:graphicData uri="http://schemas.openxmlformats.org/drawingml/2006/table">
            <a:tbl>
              <a:tblPr firstRow="1" firstCol="1" bandRow="1">
                <a:tableStyleId>{5C22544A-7EE6-4342-B048-85BDC9FD1C3A}</a:tableStyleId>
              </a:tblPr>
              <a:tblGrid>
                <a:gridCol w="468854">
                  <a:extLst>
                    <a:ext uri="{9D8B030D-6E8A-4147-A177-3AD203B41FA5}">
                      <a16:colId xmlns:a16="http://schemas.microsoft.com/office/drawing/2014/main" val="4027596388"/>
                    </a:ext>
                  </a:extLst>
                </a:gridCol>
                <a:gridCol w="2794092">
                  <a:extLst>
                    <a:ext uri="{9D8B030D-6E8A-4147-A177-3AD203B41FA5}">
                      <a16:colId xmlns:a16="http://schemas.microsoft.com/office/drawing/2014/main" val="787003097"/>
                    </a:ext>
                  </a:extLst>
                </a:gridCol>
                <a:gridCol w="1517933">
                  <a:extLst>
                    <a:ext uri="{9D8B030D-6E8A-4147-A177-3AD203B41FA5}">
                      <a16:colId xmlns:a16="http://schemas.microsoft.com/office/drawing/2014/main" val="2660480770"/>
                    </a:ext>
                  </a:extLst>
                </a:gridCol>
                <a:gridCol w="1416424">
                  <a:extLst>
                    <a:ext uri="{9D8B030D-6E8A-4147-A177-3AD203B41FA5}">
                      <a16:colId xmlns:a16="http://schemas.microsoft.com/office/drawing/2014/main" val="1812165599"/>
                    </a:ext>
                  </a:extLst>
                </a:gridCol>
              </a:tblGrid>
              <a:tr h="274322">
                <a:tc>
                  <a:txBody>
                    <a:bodyPr/>
                    <a:lstStyle/>
                    <a:p>
                      <a:pPr algn="ctr">
                        <a:lnSpc>
                          <a:spcPts val="1500"/>
                        </a:lnSpc>
                      </a:pPr>
                      <a:endPar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vert="vert270" anchor="ctr">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Target</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Acquirer</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300" dirty="0">
                          <a:effectLst/>
                          <a:latin typeface="Lato" panose="020F0502020204030203" pitchFamily="34" charset="0"/>
                          <a:ea typeface="Lato" panose="020F0502020204030203" pitchFamily="34" charset="0"/>
                          <a:cs typeface="Lato" panose="020F0502020204030203" pitchFamily="34" charset="0"/>
                        </a:rPr>
                        <a:t>Deal Value (GBP) </a:t>
                      </a:r>
                      <a:endParaRPr lang="en-GB" sz="13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extLst>
                  <a:ext uri="{0D108BD9-81ED-4DB2-BD59-A6C34878D82A}">
                    <a16:rowId xmlns:a16="http://schemas.microsoft.com/office/drawing/2014/main" val="4094191462"/>
                  </a:ext>
                </a:extLst>
              </a:tr>
              <a:tr h="493046">
                <a:tc rowSpan="10">
                  <a:txBody>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lang="en-GB" sz="1300" dirty="0">
                          <a:solidFill>
                            <a:schemeClr val="bg1"/>
                          </a:solidFill>
                          <a:effectLst/>
                          <a:latin typeface="Lato" panose="020F0502020204030203" pitchFamily="34" charset="0"/>
                          <a:ea typeface="Lato" panose="020F0502020204030203" pitchFamily="34" charset="0"/>
                          <a:cs typeface="Lato" panose="020F0502020204030203" pitchFamily="34" charset="0"/>
                        </a:rPr>
                        <a:t>Energy and Natural Resources</a:t>
                      </a:r>
                    </a:p>
                  </a:txBody>
                  <a:tcPr marL="68580" marR="68580" marT="0" marB="0" vert="vert270" anchor="ctr">
                    <a:solidFill>
                      <a:srgbClr val="4472C4"/>
                    </a:solidFill>
                  </a:tcPr>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Neptune Energy (Neptune Global business except Germany and Norway)</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ENI Spa</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2.0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853099147"/>
                  </a:ext>
                </a:extLst>
              </a:tr>
              <a:tr h="334978">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Repsol Sinopec Resources UK</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Danaher Corp</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7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247070030"/>
                  </a:ext>
                </a:extLst>
              </a:tr>
              <a:tr h="272204">
                <a:tc vMerge="1">
                  <a:txBody>
                    <a:bodyPr/>
                    <a:lstStyle/>
                    <a:p>
                      <a:pPr>
                        <a:lnSpc>
                          <a:spcPts val="1500"/>
                        </a:lnSpc>
                      </a:pPr>
                      <a:endParaRPr lang="en-GB" sz="110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Smart metering Systems plc</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KKR &amp; Co </a:t>
                      </a:r>
                      <a:r>
                        <a:rPr lang="en-GB" sz="1100" kern="1200" dirty="0" err="1">
                          <a:solidFill>
                            <a:schemeClr val="dk1"/>
                          </a:solidFill>
                          <a:effectLst/>
                          <a:latin typeface="Lato" panose="020F0502020204030203" pitchFamily="34" charset="0"/>
                          <a:ea typeface="Lato" panose="020F0502020204030203" pitchFamily="34" charset="0"/>
                          <a:cs typeface="Lato" panose="020F0502020204030203" pitchFamily="34" charset="0"/>
                        </a:rPr>
                        <a:t>inc</a:t>
                      </a:r>
                      <a:endParaRPr lang="en-GB" sz="1100" kern="1200" dirty="0">
                        <a:solidFill>
                          <a:schemeClr val="dk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1.4bn</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538775343"/>
                  </a:ext>
                </a:extLst>
              </a:tr>
              <a:tr h="243243">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Power Station (3 wind farms)</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RWE AG</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963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E9EBF5"/>
                    </a:solidFill>
                  </a:tcPr>
                </a:tc>
                <a:extLst>
                  <a:ext uri="{0D108BD9-81ED-4DB2-BD59-A6C34878D82A}">
                    <a16:rowId xmlns:a16="http://schemas.microsoft.com/office/drawing/2014/main" val="676248933"/>
                  </a:ext>
                </a:extLst>
              </a:tr>
              <a:tr h="219419">
                <a:tc vMerge="1">
                  <a:txBody>
                    <a:bodyPr/>
                    <a:lstStyle/>
                    <a:p>
                      <a:pPr>
                        <a:lnSpc>
                          <a:spcPts val="1500"/>
                        </a:lnSpc>
                      </a:pPr>
                      <a:endParaRPr lang="en-GB" sz="1100" dirty="0">
                        <a:solidFill>
                          <a:srgbClr val="000000"/>
                        </a:solidFill>
                        <a:effectLst/>
                        <a:latin typeface="Calibri" panose="020F0502020204030204" pitchFamily="34" charset="0"/>
                        <a:ea typeface="Calibri" panose="020F0502020204030204" pitchFamily="34" charset="0"/>
                      </a:endParaRPr>
                    </a:p>
                  </a:txBody>
                  <a:tcPr marL="68580" marR="68580" marT="0" marB="0"/>
                </a:tc>
                <a:tc>
                  <a:txBody>
                    <a:bodyPr/>
                    <a:lstStyle/>
                    <a:p>
                      <a:pPr>
                        <a:lnSpc>
                          <a:spcPts val="1500"/>
                        </a:lnSpc>
                      </a:pPr>
                      <a:r>
                        <a:rPr lang="en-GB" sz="1200" b="1" dirty="0" err="1">
                          <a:solidFill>
                            <a:schemeClr val="bg1"/>
                          </a:solidFill>
                          <a:effectLst/>
                          <a:latin typeface="Lato" panose="020F0502020204030203" pitchFamily="34" charset="0"/>
                          <a:ea typeface="Lato" panose="020F0502020204030203" pitchFamily="34" charset="0"/>
                          <a:cs typeface="Lato" panose="020F0502020204030203" pitchFamily="34" charset="0"/>
                        </a:rPr>
                        <a:t>Zenobe</a:t>
                      </a:r>
                      <a:r>
                        <a:rPr lang="en-GB" sz="1200" b="1" dirty="0">
                          <a:solidFill>
                            <a:schemeClr val="bg1"/>
                          </a:solidFill>
                          <a:effectLst/>
                          <a:latin typeface="Lato" panose="020F0502020204030203" pitchFamily="34" charset="0"/>
                          <a:ea typeface="Lato" panose="020F0502020204030203" pitchFamily="34" charset="0"/>
                          <a:cs typeface="Lato" panose="020F0502020204030203" pitchFamily="34" charset="0"/>
                        </a:rPr>
                        <a:t> Energy Ltd</a:t>
                      </a:r>
                    </a:p>
                  </a:txBody>
                  <a:tcPr marL="68580" marR="68580" marT="0" marB="0">
                    <a:solidFill>
                      <a:srgbClr val="4472C4"/>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Equinor ASA</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tc>
                  <a:txBody>
                    <a:bodyPr/>
                    <a:lstStyle/>
                    <a:p>
                      <a:pPr>
                        <a:lnSpc>
                          <a:spcPts val="1500"/>
                        </a:lnSpc>
                      </a:pPr>
                      <a:r>
                        <a:rPr lang="en-GB" sz="1100" dirty="0">
                          <a:effectLst/>
                          <a:latin typeface="Lato" panose="020F0502020204030203" pitchFamily="34" charset="0"/>
                          <a:ea typeface="Lato" panose="020F0502020204030203" pitchFamily="34" charset="0"/>
                          <a:cs typeface="Lato" panose="020F0502020204030203" pitchFamily="34" charset="0"/>
                        </a:rPr>
                        <a:t>870m</a:t>
                      </a:r>
                      <a:endPar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CFD5EA"/>
                    </a:solidFill>
                  </a:tcPr>
                </a:tc>
                <a:extLst>
                  <a:ext uri="{0D108BD9-81ED-4DB2-BD59-A6C34878D82A}">
                    <a16:rowId xmlns:a16="http://schemas.microsoft.com/office/drawing/2014/main" val="1992029595"/>
                  </a:ext>
                </a:extLst>
              </a:tr>
              <a:tr h="230771">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Orange Square Co</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Kering SA</a:t>
                      </a:r>
                    </a:p>
                  </a:txBody>
                  <a:tcPr marL="68580" marR="68580" marT="0" marB="0">
                    <a:solidFill>
                      <a:srgbClr val="E9EBF5"/>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3.0bn</a:t>
                      </a:r>
                    </a:p>
                  </a:txBody>
                  <a:tcPr marL="68580" marR="68580" marT="0" marB="0">
                    <a:solidFill>
                      <a:srgbClr val="E9EBF5"/>
                    </a:solidFill>
                  </a:tcPr>
                </a:tc>
                <a:extLst>
                  <a:ext uri="{0D108BD9-81ED-4DB2-BD59-A6C34878D82A}">
                    <a16:rowId xmlns:a16="http://schemas.microsoft.com/office/drawing/2014/main" val="4037276878"/>
                  </a:ext>
                </a:extLst>
              </a:tr>
              <a:tr h="479940">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Restaurant Group</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Apollo Global Management</a:t>
                      </a:r>
                    </a:p>
                  </a:txBody>
                  <a:tcPr marL="68580" marR="68580" marT="0" marB="0">
                    <a:solidFill>
                      <a:srgbClr val="CFD5EA"/>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1.2bn</a:t>
                      </a:r>
                    </a:p>
                  </a:txBody>
                  <a:tcPr marL="68580" marR="68580" marT="0" marB="0">
                    <a:solidFill>
                      <a:srgbClr val="CFD5EA"/>
                    </a:solidFill>
                  </a:tcPr>
                </a:tc>
                <a:extLst>
                  <a:ext uri="{0D108BD9-81ED-4DB2-BD59-A6C34878D82A}">
                    <a16:rowId xmlns:a16="http://schemas.microsoft.com/office/drawing/2014/main" val="1333065081"/>
                  </a:ext>
                </a:extLst>
              </a:tr>
              <a:tr h="379927">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Rocco Forte Hotels </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Public Investment Fund</a:t>
                      </a:r>
                    </a:p>
                  </a:txBody>
                  <a:tcPr marL="68580" marR="68580" marT="0" marB="0">
                    <a:solidFill>
                      <a:srgbClr val="E9EBF5"/>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534m</a:t>
                      </a:r>
                    </a:p>
                  </a:txBody>
                  <a:tcPr marL="68580" marR="68580" marT="0" marB="0">
                    <a:solidFill>
                      <a:srgbClr val="E9EBF5"/>
                    </a:solidFill>
                  </a:tcPr>
                </a:tc>
                <a:extLst>
                  <a:ext uri="{0D108BD9-81ED-4DB2-BD59-A6C34878D82A}">
                    <a16:rowId xmlns:a16="http://schemas.microsoft.com/office/drawing/2014/main" val="680278903"/>
                  </a:ext>
                </a:extLst>
              </a:tr>
              <a:tr h="254135">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Hotel </a:t>
                      </a:r>
                      <a:r>
                        <a:rPr kumimoji="0" lang="en-GB" sz="1200" b="1" i="0" u="none" strike="noStrike" kern="1200" cap="none" spc="0" normalizeH="0" baseline="0" noProof="0" dirty="0" err="1">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Choclat</a:t>
                      </a: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Group</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Mars Inc</a:t>
                      </a:r>
                    </a:p>
                  </a:txBody>
                  <a:tcPr marL="68580" marR="68580" marT="0" marB="0">
                    <a:solidFill>
                      <a:srgbClr val="CFD5EA"/>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506m</a:t>
                      </a:r>
                    </a:p>
                  </a:txBody>
                  <a:tcPr marL="68580" marR="68580" marT="0" marB="0">
                    <a:solidFill>
                      <a:srgbClr val="CFD5EA"/>
                    </a:solidFill>
                  </a:tcPr>
                </a:tc>
                <a:extLst>
                  <a:ext uri="{0D108BD9-81ED-4DB2-BD59-A6C34878D82A}">
                    <a16:rowId xmlns:a16="http://schemas.microsoft.com/office/drawing/2014/main" val="3772876153"/>
                  </a:ext>
                </a:extLst>
              </a:tr>
              <a:tr h="221211">
                <a:tc vMerge="1">
                  <a:txBody>
                    <a:bodyPr/>
                    <a:lstStyle/>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txBody>
                  <a:tcPr marL="68580" marR="68580" marT="0" marB="0"/>
                </a:tc>
                <a:tc>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GB" sz="1200" b="1" i="0" u="none" strike="noStrike" kern="1200" cap="none" spc="0" normalizeH="0" baseline="0" noProof="0" dirty="0" err="1">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Snowfox</a:t>
                      </a:r>
                      <a:r>
                        <a:rPr kumimoji="0" lang="en-GB" sz="1200" b="1"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Group</a:t>
                      </a:r>
                      <a:endParaRPr kumimoji="0" lang="en-GB" sz="1200" b="1" i="0" u="none" strike="noStrike" kern="120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endParaRPr>
                    </a:p>
                  </a:txBody>
                  <a:tcPr marL="68580" marR="68580" marT="0" marB="0">
                    <a:solidFill>
                      <a:srgbClr val="4472C4"/>
                    </a:solidFill>
                  </a:tcPr>
                </a:tc>
                <a:tc>
                  <a:txBody>
                    <a:bodyPr/>
                    <a:lstStyle/>
                    <a:p>
                      <a:pPr>
                        <a:lnSpc>
                          <a:spcPts val="1500"/>
                        </a:lnSpc>
                      </a:pPr>
                      <a:r>
                        <a:rPr lang="en-GB" sz="1100" dirty="0" err="1">
                          <a:solidFill>
                            <a:srgbClr val="000000"/>
                          </a:solidFill>
                          <a:effectLst/>
                          <a:latin typeface="Lato" panose="020F0502020204030203" pitchFamily="34" charset="0"/>
                          <a:ea typeface="Lato" panose="020F0502020204030203" pitchFamily="34" charset="0"/>
                          <a:cs typeface="Lato" panose="020F0502020204030203" pitchFamily="34" charset="0"/>
                        </a:rPr>
                        <a:t>Zensho</a:t>
                      </a: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 Holdings Co</a:t>
                      </a:r>
                    </a:p>
                  </a:txBody>
                  <a:tcPr marL="68580" marR="68580" marT="0" marB="0">
                    <a:solidFill>
                      <a:srgbClr val="E9EBF5"/>
                    </a:solidFill>
                  </a:tcPr>
                </a:tc>
                <a:tc>
                  <a:txBody>
                    <a:bodyPr/>
                    <a:lstStyle/>
                    <a:p>
                      <a:pPr>
                        <a:lnSpc>
                          <a:spcPts val="1500"/>
                        </a:lnSpc>
                      </a:pPr>
                      <a:r>
                        <a:rPr lang="en-GB" sz="1100" dirty="0">
                          <a:solidFill>
                            <a:srgbClr val="000000"/>
                          </a:solidFill>
                          <a:effectLst/>
                          <a:latin typeface="Lato" panose="020F0502020204030203" pitchFamily="34" charset="0"/>
                          <a:ea typeface="Lato" panose="020F0502020204030203" pitchFamily="34" charset="0"/>
                          <a:cs typeface="Lato" panose="020F0502020204030203" pitchFamily="34" charset="0"/>
                        </a:rPr>
                        <a:t>494m</a:t>
                      </a:r>
                    </a:p>
                  </a:txBody>
                  <a:tcPr marL="68580" marR="68580" marT="0" marB="0">
                    <a:solidFill>
                      <a:srgbClr val="E9EBF5"/>
                    </a:solidFill>
                  </a:tcPr>
                </a:tc>
                <a:extLst>
                  <a:ext uri="{0D108BD9-81ED-4DB2-BD59-A6C34878D82A}">
                    <a16:rowId xmlns:a16="http://schemas.microsoft.com/office/drawing/2014/main" val="2103639187"/>
                  </a:ext>
                </a:extLst>
              </a:tr>
            </a:tbl>
          </a:graphicData>
        </a:graphic>
      </p:graphicFrame>
      <p:pic>
        <p:nvPicPr>
          <p:cNvPr id="10" name="Picture 9" descr="Map">
            <a:extLst>
              <a:ext uri="{FF2B5EF4-FFF2-40B4-BE49-F238E27FC236}">
                <a16:creationId xmlns:a16="http://schemas.microsoft.com/office/drawing/2014/main" id="{43C8FCC9-47AA-F01F-B988-A025CA0EF720}"/>
              </a:ext>
            </a:extLst>
          </p:cNvPr>
          <p:cNvPicPr>
            <a:picLocks noChangeAspect="1"/>
          </p:cNvPicPr>
          <p:nvPr/>
        </p:nvPicPr>
        <p:blipFill rotWithShape="1">
          <a:blip r:embed="rId4" cstate="print">
            <a:duotone>
              <a:srgbClr val="70AD47">
                <a:shade val="45000"/>
                <a:satMod val="135000"/>
              </a:srgbClr>
              <a:prstClr val="white"/>
            </a:duotone>
            <a:extLst>
              <a:ext uri="{28A0092B-C50C-407E-A947-70E740481C1C}">
                <a14:useLocalDpi xmlns:a14="http://schemas.microsoft.com/office/drawing/2010/main" val="0"/>
              </a:ext>
            </a:extLst>
          </a:blip>
          <a:srcRect t="8554" r="7731" b="9882"/>
          <a:stretch/>
        </p:blipFill>
        <p:spPr>
          <a:xfrm>
            <a:off x="8207325" y="2487328"/>
            <a:ext cx="2826436" cy="3544856"/>
          </a:xfrm>
          <a:prstGeom prst="rect">
            <a:avLst/>
          </a:prstGeom>
          <a:solidFill>
            <a:srgbClr val="00768F"/>
          </a:solidFill>
        </p:spPr>
      </p:pic>
    </p:spTree>
    <p:extLst>
      <p:ext uri="{BB962C8B-B14F-4D97-AF65-F5344CB8AC3E}">
        <p14:creationId xmlns:p14="http://schemas.microsoft.com/office/powerpoint/2010/main" val="1121054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D9D3E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BF1D18-B516-BE07-DFEF-1BF9CF034DE6}"/>
              </a:ext>
            </a:extLst>
          </p:cNvPr>
          <p:cNvSpPr>
            <a:spLocks noGrp="1"/>
          </p:cNvSpPr>
          <p:nvPr>
            <p:ph type="sldNum" sz="quarter" idx="13"/>
          </p:nvPr>
        </p:nvSpPr>
        <p:spPr/>
        <p:txBody>
          <a:bodyPr/>
          <a:lstStyle/>
          <a:p>
            <a:fld id="{4B39B52A-EAD5-4CA9-B46E-2F3B4224B365}" type="slidenum">
              <a:rPr lang="en-GB" noProof="0" smtClean="0"/>
              <a:pPr/>
              <a:t>9</a:t>
            </a:fld>
            <a:endParaRPr lang="en-GB" noProof="0" dirty="0"/>
          </a:p>
        </p:txBody>
      </p:sp>
      <p:pic>
        <p:nvPicPr>
          <p:cNvPr id="5" name="Picture 4" descr="A logo with a unicorn and lion&#10;&#10;Description automatically generated">
            <a:extLst>
              <a:ext uri="{FF2B5EF4-FFF2-40B4-BE49-F238E27FC236}">
                <a16:creationId xmlns:a16="http://schemas.microsoft.com/office/drawing/2014/main" id="{82725CE1-FFBC-2547-4E15-C5E20FEAB1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347" y="388308"/>
            <a:ext cx="1190251" cy="901011"/>
          </a:xfrm>
          <a:prstGeom prst="rect">
            <a:avLst/>
          </a:prstGeom>
        </p:spPr>
      </p:pic>
      <p:pic>
        <p:nvPicPr>
          <p:cNvPr id="6" name="Picture 5" descr="A white text on a black background&#10;&#10;Description automatically generated">
            <a:extLst>
              <a:ext uri="{FF2B5EF4-FFF2-40B4-BE49-F238E27FC236}">
                <a16:creationId xmlns:a16="http://schemas.microsoft.com/office/drawing/2014/main" id="{F44CEA73-AC3D-D544-A8BA-53357FD59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6586" y="217881"/>
            <a:ext cx="1810328" cy="1260721"/>
          </a:xfrm>
          <a:prstGeom prst="rect">
            <a:avLst/>
          </a:prstGeom>
        </p:spPr>
      </p:pic>
      <p:sp>
        <p:nvSpPr>
          <p:cNvPr id="8" name="Title 3">
            <a:extLst>
              <a:ext uri="{FF2B5EF4-FFF2-40B4-BE49-F238E27FC236}">
                <a16:creationId xmlns:a16="http://schemas.microsoft.com/office/drawing/2014/main" id="{B912C5D3-9A64-A3F6-EF50-5E039A173DB4}"/>
              </a:ext>
            </a:extLst>
          </p:cNvPr>
          <p:cNvSpPr txBox="1">
            <a:spLocks/>
          </p:cNvSpPr>
          <p:nvPr/>
        </p:nvSpPr>
        <p:spPr>
          <a:xfrm>
            <a:off x="902090" y="1715295"/>
            <a:ext cx="11047164" cy="760548"/>
          </a:xfrm>
          <a:prstGeom prst="rect">
            <a:avLst/>
          </a:prstGeom>
        </p:spPr>
        <p:txBody>
          <a:bodyPr wrap="none" lIns="0" tIns="0" rIns="0" bIns="0" anchor="t" anchorCtr="0">
            <a:noAutofit/>
          </a:bodyPr>
          <a:lstStyle>
            <a:lvl1pPr algn="l" defTabSz="914400" rtl="0" eaLnBrk="1" latinLnBrk="0" hangingPunct="1">
              <a:lnSpc>
                <a:spcPct val="90000"/>
              </a:lnSpc>
              <a:spcBef>
                <a:spcPct val="0"/>
              </a:spcBef>
              <a:buNone/>
              <a:defRPr sz="3500" b="1" i="0" kern="1200">
                <a:solidFill>
                  <a:srgbClr val="000942"/>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UK deals by </a:t>
            </a:r>
            <a:r>
              <a:rPr lang="en-GB" dirty="0">
                <a:solidFill>
                  <a:prstClr val="black"/>
                </a:solidFill>
              </a:rPr>
              <a:t>Industry 2023 </a:t>
            </a:r>
            <a:r>
              <a:rPr kumimoji="0" lang="en-GB" sz="10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6)</a:t>
            </a:r>
            <a:endParaRPr kumimoji="0" lang="en-GB" sz="3500" b="1" i="0" u="none" strike="noStrike" kern="1200" cap="none" spc="0" normalizeH="0" baseline="0" noProof="0" dirty="0">
              <a:ln>
                <a:noFill/>
              </a:ln>
              <a:solidFill>
                <a:sysClr val="windowText" lastClr="000000"/>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12" name="Picture 11">
            <a:extLst>
              <a:ext uri="{FF2B5EF4-FFF2-40B4-BE49-F238E27FC236}">
                <a16:creationId xmlns:a16="http://schemas.microsoft.com/office/drawing/2014/main" id="{491280BF-7890-F583-347D-B25C24D41F7D}"/>
              </a:ext>
            </a:extLst>
          </p:cNvPr>
          <p:cNvPicPr>
            <a:picLocks noChangeAspect="1"/>
          </p:cNvPicPr>
          <p:nvPr/>
        </p:nvPicPr>
        <p:blipFill>
          <a:blip r:embed="rId4"/>
          <a:stretch>
            <a:fillRect/>
          </a:stretch>
        </p:blipFill>
        <p:spPr>
          <a:xfrm>
            <a:off x="3185524" y="2255055"/>
            <a:ext cx="5034915" cy="4254205"/>
          </a:xfrm>
          <a:prstGeom prst="rect">
            <a:avLst/>
          </a:prstGeom>
        </p:spPr>
      </p:pic>
      <p:sp>
        <p:nvSpPr>
          <p:cNvPr id="13" name="TextBox 12">
            <a:extLst>
              <a:ext uri="{FF2B5EF4-FFF2-40B4-BE49-F238E27FC236}">
                <a16:creationId xmlns:a16="http://schemas.microsoft.com/office/drawing/2014/main" id="{566C62DC-DEEE-B0CA-0A4D-5889B035FA9E}"/>
              </a:ext>
            </a:extLst>
          </p:cNvPr>
          <p:cNvSpPr txBox="1"/>
          <p:nvPr/>
        </p:nvSpPr>
        <p:spPr>
          <a:xfrm>
            <a:off x="928985" y="6386864"/>
            <a:ext cx="2441474" cy="215444"/>
          </a:xfrm>
          <a:prstGeom prst="rect">
            <a:avLst/>
          </a:prstGeom>
          <a:noFill/>
        </p:spPr>
        <p:txBody>
          <a:bodyPr wrap="square">
            <a:spAutoFit/>
          </a:bodyPr>
          <a:lstStyle/>
          <a:p>
            <a:r>
              <a:rPr lang="en-GB" sz="800" i="1" dirty="0"/>
              <a:t>(6) Market IQ Report 2023 Full.pdf</a:t>
            </a:r>
          </a:p>
        </p:txBody>
      </p:sp>
    </p:spTree>
    <p:extLst>
      <p:ext uri="{BB962C8B-B14F-4D97-AF65-F5344CB8AC3E}">
        <p14:creationId xmlns:p14="http://schemas.microsoft.com/office/powerpoint/2010/main" val="1085010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10.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11.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12.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13.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14.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15.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16.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17.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18.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19.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2.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20.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21.xml><?xml version="1.0" encoding="utf-8"?>
<p:tagLst xmlns:a="http://schemas.openxmlformats.org/drawingml/2006/main" xmlns:r="http://schemas.openxmlformats.org/officeDocument/2006/relationships" xmlns:p="http://schemas.openxmlformats.org/presentationml/2006/main">
  <p:tag name="OUTLINEID" val="3476FF2C766E4C84A6C85ECBE52C025D"/>
</p:tagLst>
</file>

<file path=ppt/tags/tag22.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23.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24.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25.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26.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27.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28.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29.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3.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ags/tag30.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31.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32.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33.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34.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35.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36.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37.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38.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39.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40.xml><?xml version="1.0" encoding="utf-8"?>
<p:tagLst xmlns:a="http://schemas.openxmlformats.org/drawingml/2006/main" xmlns:r="http://schemas.openxmlformats.org/officeDocument/2006/relationships" xmlns:p="http://schemas.openxmlformats.org/presentationml/2006/main">
  <p:tag name="OUTLINEID" val="D954980A390E4C0185B5D0D02505F459"/>
</p:tagLst>
</file>

<file path=ppt/tags/tag41.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42.xml><?xml version="1.0" encoding="utf-8"?>
<p:tagLst xmlns:a="http://schemas.openxmlformats.org/drawingml/2006/main" xmlns:r="http://schemas.openxmlformats.org/officeDocument/2006/relationships" xmlns:p="http://schemas.openxmlformats.org/presentationml/2006/main">
  <p:tag name="OUTLINEID" val="76A117133798466E8FEFED4D3B6BDDA0"/>
</p:tagLst>
</file>

<file path=ppt/tags/tag43.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44.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5.xml><?xml version="1.0" encoding="utf-8"?>
<p:tagLst xmlns:a="http://schemas.openxmlformats.org/drawingml/2006/main" xmlns:r="http://schemas.openxmlformats.org/officeDocument/2006/relationships" xmlns:p="http://schemas.openxmlformats.org/presentationml/2006/main">
  <p:tag name="OUTLINEID" val="7DB279CE95D74C679B4D7C787F34538B"/>
</p:tagLst>
</file>

<file path=ppt/tags/tag46.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7.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48.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49.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5.xml><?xml version="1.0" encoding="utf-8"?>
<p:tagLst xmlns:a="http://schemas.openxmlformats.org/drawingml/2006/main" xmlns:r="http://schemas.openxmlformats.org/officeDocument/2006/relationships" xmlns:p="http://schemas.openxmlformats.org/presentationml/2006/main">
  <p:tag name="OUTLINEID" val="1E280EB74CD743BCB1188BC7723D898D"/>
</p:tagLst>
</file>

<file path=ppt/tags/tag50.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51.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52.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53.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54.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55.xml><?xml version="1.0" encoding="utf-8"?>
<p:tagLst xmlns:a="http://schemas.openxmlformats.org/drawingml/2006/main" xmlns:r="http://schemas.openxmlformats.org/officeDocument/2006/relationships" xmlns:p="http://schemas.openxmlformats.org/presentationml/2006/main">
  <p:tag name="OUTLINEID" val="7DB279CE95D74C679B4D7C787F34538B"/>
</p:tagLst>
</file>

<file path=ppt/tags/tag56.xml><?xml version="1.0" encoding="utf-8"?>
<p:tagLst xmlns:a="http://schemas.openxmlformats.org/drawingml/2006/main" xmlns:r="http://schemas.openxmlformats.org/officeDocument/2006/relationships" xmlns:p="http://schemas.openxmlformats.org/presentationml/2006/main">
  <p:tag name="OUTLINEID" val="7DB279CE95D74C679B4D7C787F34538B"/>
</p:tagLst>
</file>

<file path=ppt/tags/tag57.xml><?xml version="1.0" encoding="utf-8"?>
<p:tagLst xmlns:a="http://schemas.openxmlformats.org/drawingml/2006/main" xmlns:r="http://schemas.openxmlformats.org/officeDocument/2006/relationships" xmlns:p="http://schemas.openxmlformats.org/presentationml/2006/main">
  <p:tag name="OUTLINEID" val="D36C7643617A4B5392557236E9DC5EDE"/>
</p:tagLst>
</file>

<file path=ppt/tags/tag58.xml><?xml version="1.0" encoding="utf-8"?>
<p:tagLst xmlns:a="http://schemas.openxmlformats.org/drawingml/2006/main" xmlns:r="http://schemas.openxmlformats.org/officeDocument/2006/relationships" xmlns:p="http://schemas.openxmlformats.org/presentationml/2006/main">
  <p:tag name="OUTLINEID" val="732388A97D8E49DDA5F01350250B3ECB"/>
</p:tagLst>
</file>

<file path=ppt/tags/tag59.xml><?xml version="1.0" encoding="utf-8"?>
<p:tagLst xmlns:a="http://schemas.openxmlformats.org/drawingml/2006/main" xmlns:r="http://schemas.openxmlformats.org/officeDocument/2006/relationships" xmlns:p="http://schemas.openxmlformats.org/presentationml/2006/main">
  <p:tag name="OUTLINEID" val="FEE3F1C0E74941238C8398D9D7A1F967"/>
</p:tagLst>
</file>

<file path=ppt/tags/tag6.xml><?xml version="1.0" encoding="utf-8"?>
<p:tagLst xmlns:a="http://schemas.openxmlformats.org/drawingml/2006/main" xmlns:r="http://schemas.openxmlformats.org/officeDocument/2006/relationships" xmlns:p="http://schemas.openxmlformats.org/presentationml/2006/main">
  <p:tag name="OUTLINEID" val="16C6CBBD61F1411FAB7E29F0ABB2E563"/>
</p:tagLst>
</file>

<file path=ppt/tags/tag60.xml><?xml version="1.0" encoding="utf-8"?>
<p:tagLst xmlns:a="http://schemas.openxmlformats.org/drawingml/2006/main" xmlns:r="http://schemas.openxmlformats.org/officeDocument/2006/relationships" xmlns:p="http://schemas.openxmlformats.org/presentationml/2006/main">
  <p:tag name="OUTLINEID" val="9B4D4DA5975F4411A2C1AFAB2BFA5851"/>
</p:tagLst>
</file>

<file path=ppt/tags/tag61.xml><?xml version="1.0" encoding="utf-8"?>
<p:tagLst xmlns:a="http://schemas.openxmlformats.org/drawingml/2006/main" xmlns:r="http://schemas.openxmlformats.org/officeDocument/2006/relationships" xmlns:p="http://schemas.openxmlformats.org/presentationml/2006/main">
  <p:tag name="OUTLINEID" val="10434FC9850E4AA4A8197D7C715105C4"/>
</p:tagLst>
</file>

<file path=ppt/tags/tag62.xml><?xml version="1.0" encoding="utf-8"?>
<p:tagLst xmlns:a="http://schemas.openxmlformats.org/drawingml/2006/main" xmlns:r="http://schemas.openxmlformats.org/officeDocument/2006/relationships" xmlns:p="http://schemas.openxmlformats.org/presentationml/2006/main">
  <p:tag name="OUTLINEID" val="88AFBD467B5341D89D02932E45BF0D6A"/>
</p:tagLst>
</file>

<file path=ppt/tags/tag63.xml><?xml version="1.0" encoding="utf-8"?>
<p:tagLst xmlns:a="http://schemas.openxmlformats.org/drawingml/2006/main" xmlns:r="http://schemas.openxmlformats.org/officeDocument/2006/relationships" xmlns:p="http://schemas.openxmlformats.org/presentationml/2006/main">
  <p:tag name="OUTLINEID" val="DF8EF966E9C04D47BDEB461F408FF8E2"/>
</p:tagLst>
</file>

<file path=ppt/tags/tag64.xml><?xml version="1.0" encoding="utf-8"?>
<p:tagLst xmlns:a="http://schemas.openxmlformats.org/drawingml/2006/main" xmlns:r="http://schemas.openxmlformats.org/officeDocument/2006/relationships" xmlns:p="http://schemas.openxmlformats.org/presentationml/2006/main">
  <p:tag name="OUTLINEID" val="355AABB1E8E048A7A5F15C1A15F099A5"/>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7T4A9ZKxEWuY6SKr_JU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t4uxjPJv0SvH5PgA9EU5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7zVCOLuwEmj_TukBqNP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O3eS7V3WESvKmTIxVFc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mH3Qg3ej0yBUr.mezIMNw"/>
</p:tagLst>
</file>

<file path=ppt/tags/tag7.xml><?xml version="1.0" encoding="utf-8"?>
<p:tagLst xmlns:a="http://schemas.openxmlformats.org/drawingml/2006/main" xmlns:r="http://schemas.openxmlformats.org/officeDocument/2006/relationships" xmlns:p="http://schemas.openxmlformats.org/presentationml/2006/main">
  <p:tag name="OUTLINEID" val="22746113C1B749A68CA50414B44FE42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dgbTm0F8ES7evyyLI7F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89TniVXCE2MkZrNaqmQ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aUp3T0q0iWW4dLBh7g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OB_gkLVrEekO1L.yOx8sQ"/>
</p:tagLst>
</file>

<file path=ppt/tags/tag8.xml><?xml version="1.0" encoding="utf-8"?>
<p:tagLst xmlns:a="http://schemas.openxmlformats.org/drawingml/2006/main" xmlns:r="http://schemas.openxmlformats.org/officeDocument/2006/relationships" xmlns:p="http://schemas.openxmlformats.org/presentationml/2006/main">
  <p:tag name="OUTLINEID" val="80287F26AE9043778246D8D216B04818"/>
</p:tagLst>
</file>

<file path=ppt/tags/tag9.xml><?xml version="1.0" encoding="utf-8"?>
<p:tagLst xmlns:a="http://schemas.openxmlformats.org/drawingml/2006/main" xmlns:r="http://schemas.openxmlformats.org/officeDocument/2006/relationships" xmlns:p="http://schemas.openxmlformats.org/presentationml/2006/main">
  <p:tag name="OUTLINEID" val="C5EBD86AF0B44BF0A8383A2B7ED424AD"/>
</p:tagLst>
</file>

<file path=ppt/theme/theme1.xml><?xml version="1.0" encoding="utf-8"?>
<a:theme xmlns:a="http://schemas.openxmlformats.org/drawingml/2006/main" name="Intermediary pattern">
  <a:themeElements>
    <a:clrScheme name="Future Facing">
      <a:dk1>
        <a:sysClr val="windowText" lastClr="000000"/>
      </a:dk1>
      <a:lt1>
        <a:sysClr val="window" lastClr="FFFFFF"/>
      </a:lt1>
      <a:dk2>
        <a:srgbClr val="0D535F"/>
      </a:dk2>
      <a:lt2>
        <a:srgbClr val="E7E6E6"/>
      </a:lt2>
      <a:accent1>
        <a:srgbClr val="0D535F"/>
      </a:accent1>
      <a:accent2>
        <a:srgbClr val="FBBA00"/>
      </a:accent2>
      <a:accent3>
        <a:srgbClr val="EC6602"/>
      </a:accent3>
      <a:accent4>
        <a:srgbClr val="E50071"/>
      </a:accent4>
      <a:accent5>
        <a:srgbClr val="004D90"/>
      </a:accent5>
      <a:accent6>
        <a:srgbClr val="422373"/>
      </a:accent6>
      <a:hlink>
        <a:srgbClr val="004D90"/>
      </a:hlink>
      <a:folHlink>
        <a:srgbClr val="421A79"/>
      </a:folHlink>
    </a:clrScheme>
    <a:fontScheme name="CMS_Legal_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93703F83-3A43-E34A-915A-D32828800C76}" vid="{B23C4AEF-1F7A-A140-ABFE-4E9251091C94}"/>
    </a:ext>
  </a:extLst>
</a:theme>
</file>

<file path=ppt/theme/theme10.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Front Cover Option 1">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heme1">
  <a:themeElements>
    <a:clrScheme name="GREAT">
      <a:dk1>
        <a:sysClr val="windowText" lastClr="000000"/>
      </a:dk1>
      <a:lt1>
        <a:sysClr val="window" lastClr="FFFFFF"/>
      </a:lt1>
      <a:dk2>
        <a:srgbClr val="1E1348"/>
      </a:dk2>
      <a:lt2>
        <a:srgbClr val="DFD5C5"/>
      </a:lt2>
      <a:accent1>
        <a:srgbClr val="B00D23"/>
      </a:accent1>
      <a:accent2>
        <a:srgbClr val="1E1348"/>
      </a:accent2>
      <a:accent3>
        <a:srgbClr val="E41F13"/>
      </a:accent3>
      <a:accent4>
        <a:srgbClr val="4F0B7B"/>
      </a:accent4>
      <a:accent5>
        <a:srgbClr val="00549F"/>
      </a:accent5>
      <a:accent6>
        <a:srgbClr val="007EA3"/>
      </a:accent6>
      <a:hlink>
        <a:srgbClr val="0000FF"/>
      </a:hlink>
      <a:folHlink>
        <a:srgbClr val="800080"/>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68D35BDB-0490-1042-99B9-99879F03F70A}" vid="{E070BF19-3B60-1E42-AA5F-30150BD8B060}"/>
    </a:ext>
  </a:extLst>
</a:theme>
</file>

<file path=ppt/theme/theme14.xml><?xml version="1.0" encoding="utf-8"?>
<a:theme xmlns:a="http://schemas.openxmlformats.org/drawingml/2006/main" name="GREAT-Template_v6">
  <a:themeElements>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Theme1">
  <a:themeElements>
    <a:clrScheme name="GREAT">
      <a:dk1>
        <a:sysClr val="windowText" lastClr="000000"/>
      </a:dk1>
      <a:lt1>
        <a:sysClr val="window" lastClr="FFFFFF"/>
      </a:lt1>
      <a:dk2>
        <a:srgbClr val="1E1348"/>
      </a:dk2>
      <a:lt2>
        <a:srgbClr val="DFD5C5"/>
      </a:lt2>
      <a:accent1>
        <a:srgbClr val="B00D23"/>
      </a:accent1>
      <a:accent2>
        <a:srgbClr val="1E1348"/>
      </a:accent2>
      <a:accent3>
        <a:srgbClr val="E41F13"/>
      </a:accent3>
      <a:accent4>
        <a:srgbClr val="4F0B7B"/>
      </a:accent4>
      <a:accent5>
        <a:srgbClr val="00549F"/>
      </a:accent5>
      <a:accent6>
        <a:srgbClr val="007EA3"/>
      </a:accent6>
      <a:hlink>
        <a:srgbClr val="0000FF"/>
      </a:hlink>
      <a:folHlink>
        <a:srgbClr val="800080"/>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68D35BDB-0490-1042-99B9-99879F03F70A}" vid="{E070BF19-3B60-1E42-AA5F-30150BD8B060}"/>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cover">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MS PowerPoint 16_9 - Supergraphic.potx" id="{F0867AF9-6C33-4411-98F7-2AEB7012683C}" vid="{923CE1F8-734F-45DE-9046-C7CFFE3C1E85}"/>
    </a:ext>
  </a:extLst>
</a:theme>
</file>

<file path=ppt/theme/theme18.xml><?xml version="1.0" encoding="utf-8"?>
<a:theme xmlns:a="http://schemas.openxmlformats.org/drawingml/2006/main" name="supergraphic_content">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wrap="square" rtlCol="0">
        <a:spAutoFit/>
      </a:bodyPr>
      <a:lstStyle>
        <a:defPPr>
          <a:defRPr sz="1000" dirty="0" smtClean="0">
            <a:solidFill>
              <a:srgbClr val="766A6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CMS PowerPoint 16_9 - Supergraphic.potx" id="{F0867AF9-6C33-4411-98F7-2AEB7012683C}" vid="{4F6C2EC0-4FB8-459D-80CD-8C57A11BFFA5}"/>
    </a:ext>
  </a:extLst>
</a:theme>
</file>

<file path=ppt/theme/theme19.xml><?xml version="1.0" encoding="utf-8"?>
<a:theme xmlns:a="http://schemas.openxmlformats.org/drawingml/2006/main" name="master_content">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wrap="square" rtlCol="0">
        <a:spAutoFit/>
      </a:bodyPr>
      <a:lstStyle>
        <a:defPPr>
          <a:defRPr sz="1000" dirty="0" smtClean="0">
            <a:solidFill>
              <a:srgbClr val="766A6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CMS PowerPoint 16_9 - Supergraphic.potx" id="{F0867AF9-6C33-4411-98F7-2AEB7012683C}" vid="{4FCDD66E-C27E-4D01-9330-02F53D6723AD}"/>
    </a:ext>
  </a:extLst>
</a:theme>
</file>

<file path=ppt/theme/theme2.xml><?xml version="1.0" encoding="utf-8"?>
<a:theme xmlns:a="http://schemas.openxmlformats.org/drawingml/2006/main" name="Copy and icon slid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empty_slide_Design">
  <a:themeElements>
    <a:clrScheme name="CMS Blue">
      <a:dk1>
        <a:sysClr val="windowText" lastClr="000000"/>
      </a:dk1>
      <a:lt1>
        <a:srgbClr val="FFFFFF"/>
      </a:lt1>
      <a:dk2>
        <a:srgbClr val="004D90"/>
      </a:dk2>
      <a:lt2>
        <a:srgbClr val="FFFFFF"/>
      </a:lt2>
      <a:accent1>
        <a:srgbClr val="004D90"/>
      </a:accent1>
      <a:accent2>
        <a:srgbClr val="3371A6"/>
      </a:accent2>
      <a:accent3>
        <a:srgbClr val="6694BC"/>
      </a:accent3>
      <a:accent4>
        <a:srgbClr val="80A6C8"/>
      </a:accent4>
      <a:accent5>
        <a:srgbClr val="99B8D3"/>
      </a:accent5>
      <a:accent6>
        <a:srgbClr val="CCDBE9"/>
      </a:accent6>
      <a:hlink>
        <a:srgbClr val="000000"/>
      </a:hlink>
      <a:folHlink>
        <a:srgbClr val="000000"/>
      </a:folHlink>
    </a:clrScheme>
    <a:fontScheme name="CMS_Legal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wrap="square" rtlCol="0">
        <a:spAutoFit/>
      </a:bodyPr>
      <a:lstStyle>
        <a:defPPr>
          <a:defRPr sz="1000" dirty="0" smtClean="0">
            <a:solidFill>
              <a:srgbClr val="766A6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CMS PowerPoint 16_9 - Supergraphic.potx" id="{F0867AF9-6C33-4411-98F7-2AEB7012683C}" vid="{7158D8A1-C85B-4BBD-92F0-D84AE4C21901}"/>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xt slid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py and icon slide 2">
  <a:themeElements>
    <a:clrScheme name="MedCity colour palette">
      <a:dk1>
        <a:srgbClr val="000941"/>
      </a:dk1>
      <a:lt1>
        <a:srgbClr val="E6E6E6"/>
      </a:lt1>
      <a:dk2>
        <a:srgbClr val="1B616F"/>
      </a:dk2>
      <a:lt2>
        <a:srgbClr val="59FAFA"/>
      </a:lt2>
      <a:accent1>
        <a:srgbClr val="1EDEB9"/>
      </a:accent1>
      <a:accent2>
        <a:srgbClr val="5966FC"/>
      </a:accent2>
      <a:accent3>
        <a:srgbClr val="F65792"/>
      </a:accent3>
      <a:accent4>
        <a:srgbClr val="F65341"/>
      </a:accent4>
      <a:accent5>
        <a:srgbClr val="4CFA87"/>
      </a:accent5>
      <a:accent6>
        <a:srgbClr val="9A55F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hart slid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Front Cover Option 2 GRADIENT">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U K ! 6 9 2 6 2 5 6 7 3 . 7 < / d o c u m e n t i d >  
     < s e n d e r i d > E V T A < / s e n d e r i d >  
     < s e n d e r e m a i l > E V A . T A L M A C S I @ C M S - C M N O . C O M < / s e n d e r e m a i l >  
     < l a s t m o d i f i e d > 2 0 2 4 - 0 4 - 1 1 T 1 8 : 4 2 : 5 1 . 0 0 0 0 0 0 0 + 0 0 : 0 0 < / l a s t m o d i f i e d >  
     < d a t a b a s e > U K < / d a t a b a s e >  
 < / p r o p e r t i e s > 
</file>

<file path=customXml/itemProps1.xml><?xml version="1.0" encoding="utf-8"?>
<ds:datastoreItem xmlns:ds="http://schemas.openxmlformats.org/officeDocument/2006/customXml" ds:itemID="{DD1B3D36-62FE-4B7C-A2D6-92422DB35857}">
  <ds:schemaRefs>
    <ds:schemaRef ds:uri="http://www.imanage.com/work/xmlschema"/>
  </ds:schemaRefs>
</ds:datastoreItem>
</file>

<file path=docMetadata/LabelInfo.xml><?xml version="1.0" encoding="utf-8"?>
<clbl:labelList xmlns:clbl="http://schemas.microsoft.com/office/2020/mipLabelMetadata">
  <clbl:label id="{9e9cc48d-6fba-4c12-9882-137473def580}" enabled="1" method="Privileged" siteId="{d3a2d0d3-7cc8-4f52-bbf9-85bd43d94279}" contentBits="3" removed="0"/>
</clbl:labelList>
</file>

<file path=docProps/app.xml><?xml version="1.0" encoding="utf-8"?>
<Properties xmlns="http://schemas.openxmlformats.org/officeDocument/2006/extended-properties" xmlns:vt="http://schemas.openxmlformats.org/officeDocument/2006/docPropsVTypes">
  <Template/>
  <TotalTime>115</TotalTime>
  <Words>5817</Words>
  <Application>Microsoft Office PowerPoint</Application>
  <PresentationFormat>Widescreen</PresentationFormat>
  <Paragraphs>1009</Paragraphs>
  <Slides>71</Slides>
  <Notes>14</Notes>
  <HiddenSlides>0</HiddenSlides>
  <MMClips>0</MMClips>
  <ScaleCrop>false</ScaleCrop>
  <HeadingPairs>
    <vt:vector size="6" baseType="variant">
      <vt:variant>
        <vt:lpstr>Fonts Used</vt:lpstr>
      </vt:variant>
      <vt:variant>
        <vt:i4>22</vt:i4>
      </vt:variant>
      <vt:variant>
        <vt:lpstr>Theme</vt:lpstr>
      </vt:variant>
      <vt:variant>
        <vt:i4>20</vt:i4>
      </vt:variant>
      <vt:variant>
        <vt:lpstr>Slide Titles</vt:lpstr>
      </vt:variant>
      <vt:variant>
        <vt:i4>71</vt:i4>
      </vt:variant>
    </vt:vector>
  </HeadingPairs>
  <TitlesOfParts>
    <vt:vector size="113" baseType="lpstr">
      <vt:lpstr>.PingFang SC Regular</vt:lpstr>
      <vt:lpstr>Arial</vt:lpstr>
      <vt:lpstr>Calibri</vt:lpstr>
      <vt:lpstr>Calibri Light</vt:lpstr>
      <vt:lpstr>Helvetica</vt:lpstr>
      <vt:lpstr>Helvetica Light</vt:lpstr>
      <vt:lpstr>Helvetica Neue</vt:lpstr>
      <vt:lpstr>Helvetica Neue Medium</vt:lpstr>
      <vt:lpstr>Lato</vt:lpstr>
      <vt:lpstr>Lato Black</vt:lpstr>
      <vt:lpstr>Lato Light</vt:lpstr>
      <vt:lpstr>Lato Medium</vt:lpstr>
      <vt:lpstr>Lato Semibold</vt:lpstr>
      <vt:lpstr>Novel Pro</vt:lpstr>
      <vt:lpstr>Novel Pro Light</vt:lpstr>
      <vt:lpstr>Novel Pro SemiBold</vt:lpstr>
      <vt:lpstr>Novel Pro XLight</vt:lpstr>
      <vt:lpstr>Open sans</vt:lpstr>
      <vt:lpstr>Symbol</vt:lpstr>
      <vt:lpstr>Tahoma</vt:lpstr>
      <vt:lpstr>Verdana</vt:lpstr>
      <vt:lpstr>Wingdings</vt:lpstr>
      <vt:lpstr>Intermediary pattern</vt:lpstr>
      <vt:lpstr>Copy and icon slide 1</vt:lpstr>
      <vt:lpstr>Text slide 1</vt:lpstr>
      <vt:lpstr>Copy and icon slide 2</vt:lpstr>
      <vt:lpstr>Chart slide 1</vt:lpstr>
      <vt:lpstr>Front Cover Option 2 GRADIENT</vt:lpstr>
      <vt:lpstr>6_Custom Design</vt:lpstr>
      <vt:lpstr>7_Custom Design</vt:lpstr>
      <vt:lpstr>4_Custom Design</vt:lpstr>
      <vt:lpstr>9_Custom Design</vt:lpstr>
      <vt:lpstr>2_Custom Design</vt:lpstr>
      <vt:lpstr>1_Front Cover Option 1</vt:lpstr>
      <vt:lpstr>Theme1</vt:lpstr>
      <vt:lpstr>GREAT-Template_v6</vt:lpstr>
      <vt:lpstr>1_Theme1</vt:lpstr>
      <vt:lpstr>2_Office Theme</vt:lpstr>
      <vt:lpstr>cover</vt:lpstr>
      <vt:lpstr>supergraphic_content</vt:lpstr>
      <vt:lpstr>master_content</vt:lpstr>
      <vt:lpstr>empty_slide_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01</vt:lpstr>
      <vt:lpstr>02</vt:lpstr>
      <vt:lpstr>03</vt:lpstr>
      <vt:lpstr>04</vt:lpstr>
      <vt:lpstr>0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urance of - direct investment abroad  - financing of such investment</vt:lpstr>
      <vt:lpstr>KUKE is the official Polish export credit agency</vt:lpstr>
      <vt:lpstr>Who we are?</vt:lpstr>
      <vt:lpstr>What can be the subject of the loan?</vt:lpstr>
      <vt:lpstr>Solutions available:</vt:lpstr>
      <vt:lpstr>Transaction scheme with a participation of KUKE (IBZ)</vt:lpstr>
      <vt:lpstr>Example of a transaction scheme with KUKE (IBZ+)</vt:lpstr>
      <vt:lpstr>Upon the occurrence of nonpayment of the loan KUKE pays indemnity to the bank (IBZ+)</vt:lpstr>
      <vt:lpstr>Thank you  we look forward to working with you</vt:lpstr>
      <vt:lpstr>PowerPoint Presentation</vt:lpstr>
      <vt:lpstr>PowerPoint Presentation</vt:lpstr>
      <vt:lpstr>PowerPoint Presentation</vt:lpstr>
    </vt:vector>
  </TitlesOfParts>
  <Company>CMS CAMERON MCKENNA NABARRO OLSWANG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ga Kolendowicz</dc:creator>
  <cp:lastModifiedBy>Sandra Piotrowska</cp:lastModifiedBy>
  <cp:revision>33</cp:revision>
  <dcterms:created xsi:type="dcterms:W3CDTF">2024-03-12T11:30:46Z</dcterms:created>
  <dcterms:modified xsi:type="dcterms:W3CDTF">2024-04-12T14:3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Intermediary pattern:7\Copy and icon slide 1:5\Text slide 1:5\Copy and icon slide 2:5\Chart slide 1:5\Front Cover Option 2 GRADIENT:10\6_Custom Design:6\7_Custom Design:6\4_Custom Design:10\9_Custom Design:6\2_Custom Design:6\1_Front Cover Option 1:10\Theme1:6\GREAT-Template_v6:7\1_Theme1:5\2_Office Theme:10\cover:5\supergraphic_content:6\master_content:5\empty_slide_Design:5</vt:lpwstr>
  </property>
  <property fmtid="{D5CDD505-2E9C-101B-9397-08002B2CF9AE}" pid="3" name="ClassificationContentMarkingFooterText">
    <vt:lpwstr>OFFICIAL</vt:lpwstr>
  </property>
  <property fmtid="{D5CDD505-2E9C-101B-9397-08002B2CF9AE}" pid="4" name="ClassificationContentMarkingHeaderLocations">
    <vt:lpwstr>Intermediary pattern:6\Copy and icon slide 1:4\Text slide 1:4\Copy and icon slide 2:4\Chart slide 1:4\Front Cover Option 2 GRADIENT:9\6_Custom Design:5\7_Custom Design:5\4_Custom Design:9\9_Custom Design:5\2_Custom Design:5\1_Front Cover Option 1:8\Theme1:4\GREAT-Template_v6:6\1_Theme1:4\2_Office Theme:9\cover:4\supergraphic_content:5\master_content:4\empty_slide_Design:4</vt:lpwstr>
  </property>
  <property fmtid="{D5CDD505-2E9C-101B-9397-08002B2CF9AE}" pid="5" name="ClassificationContentMarkingHeaderText">
    <vt:lpwstr>OFFICIAL</vt:lpwstr>
  </property>
</Properties>
</file>